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23" r:id="rId2"/>
  </p:sldMasterIdLst>
  <p:notesMasterIdLst>
    <p:notesMasterId r:id="rId10"/>
  </p:notesMasterIdLst>
  <p:sldIdLst>
    <p:sldId id="256" r:id="rId3"/>
    <p:sldId id="2134807143" r:id="rId4"/>
    <p:sldId id="430" r:id="rId5"/>
    <p:sldId id="2147374630" r:id="rId6"/>
    <p:sldId id="2145706696" r:id="rId7"/>
    <p:sldId id="2147374632" r:id="rId8"/>
    <p:sldId id="2147374631" r:id="rId9"/>
  </p:sldIdLst>
  <p:sldSz cx="13436600" cy="7562850"/>
  <p:notesSz cx="13436600" cy="75628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57" d="100"/>
          <a:sy n="57" d="100"/>
        </p:scale>
        <p:origin x="768" y="4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abec, Gregory" userId="80450cda-6489-4f0f-b386-d02815030ed8" providerId="ADAL" clId="{D2E0483B-A4AE-4DA3-9FAE-43E1977BED3B}"/>
    <pc:docChg chg="custSel addSld delSld modSld sldOrd">
      <pc:chgData name="Brabec, Gregory" userId="80450cda-6489-4f0f-b386-d02815030ed8" providerId="ADAL" clId="{D2E0483B-A4AE-4DA3-9FAE-43E1977BED3B}" dt="2024-02-15T02:33:18.310" v="581" actId="20577"/>
      <pc:docMkLst>
        <pc:docMk/>
      </pc:docMkLst>
      <pc:sldChg chg="modSp mod">
        <pc:chgData name="Brabec, Gregory" userId="80450cda-6489-4f0f-b386-d02815030ed8" providerId="ADAL" clId="{D2E0483B-A4AE-4DA3-9FAE-43E1977BED3B}" dt="2024-02-15T02:33:18.310" v="581" actId="20577"/>
        <pc:sldMkLst>
          <pc:docMk/>
          <pc:sldMk cId="0" sldId="256"/>
        </pc:sldMkLst>
        <pc:spChg chg="mod">
          <ac:chgData name="Brabec, Gregory" userId="80450cda-6489-4f0f-b386-d02815030ed8" providerId="ADAL" clId="{D2E0483B-A4AE-4DA3-9FAE-43E1977BED3B}" dt="2024-02-15T02:33:18.310" v="581" actId="20577"/>
          <ac:spMkLst>
            <pc:docMk/>
            <pc:sldMk cId="0" sldId="256"/>
            <ac:spMk id="3" creationId="{00000000-0000-0000-0000-000000000000}"/>
          </ac:spMkLst>
        </pc:spChg>
      </pc:sldChg>
      <pc:sldChg chg="delSp modSp mod ord">
        <pc:chgData name="Brabec, Gregory" userId="80450cda-6489-4f0f-b386-d02815030ed8" providerId="ADAL" clId="{D2E0483B-A4AE-4DA3-9FAE-43E1977BED3B}" dt="2024-02-15T02:33:05.132" v="573"/>
        <pc:sldMkLst>
          <pc:docMk/>
          <pc:sldMk cId="0" sldId="264"/>
        </pc:sldMkLst>
        <pc:spChg chg="del">
          <ac:chgData name="Brabec, Gregory" userId="80450cda-6489-4f0f-b386-d02815030ed8" providerId="ADAL" clId="{D2E0483B-A4AE-4DA3-9FAE-43E1977BED3B}" dt="2024-02-15T02:25:58.632" v="17" actId="478"/>
          <ac:spMkLst>
            <pc:docMk/>
            <pc:sldMk cId="0" sldId="264"/>
            <ac:spMk id="2" creationId="{00000000-0000-0000-0000-000000000000}"/>
          </ac:spMkLst>
        </pc:spChg>
        <pc:spChg chg="del">
          <ac:chgData name="Brabec, Gregory" userId="80450cda-6489-4f0f-b386-d02815030ed8" providerId="ADAL" clId="{D2E0483B-A4AE-4DA3-9FAE-43E1977BED3B}" dt="2024-02-15T02:26:01.595" v="18" actId="478"/>
          <ac:spMkLst>
            <pc:docMk/>
            <pc:sldMk cId="0" sldId="264"/>
            <ac:spMk id="52" creationId="{00000000-0000-0000-0000-000000000000}"/>
          </ac:spMkLst>
        </pc:spChg>
        <pc:spChg chg="mod">
          <ac:chgData name="Brabec, Gregory" userId="80450cda-6489-4f0f-b386-d02815030ed8" providerId="ADAL" clId="{D2E0483B-A4AE-4DA3-9FAE-43E1977BED3B}" dt="2024-02-15T02:25:53.938" v="15" actId="14100"/>
          <ac:spMkLst>
            <pc:docMk/>
            <pc:sldMk cId="0" sldId="264"/>
            <ac:spMk id="59" creationId="{4063FAA5-AAFD-B62B-6E26-827ECC7F135B}"/>
          </ac:spMkLst>
        </pc:spChg>
        <pc:spChg chg="del">
          <ac:chgData name="Brabec, Gregory" userId="80450cda-6489-4f0f-b386-d02815030ed8" providerId="ADAL" clId="{D2E0483B-A4AE-4DA3-9FAE-43E1977BED3B}" dt="2024-02-15T02:25:45.508" v="13" actId="478"/>
          <ac:spMkLst>
            <pc:docMk/>
            <pc:sldMk cId="0" sldId="264"/>
            <ac:spMk id="61" creationId="{7A04A99C-8F05-1640-186B-C3B0DEF6D109}"/>
          </ac:spMkLst>
        </pc:spChg>
        <pc:grpChg chg="del">
          <ac:chgData name="Brabec, Gregory" userId="80450cda-6489-4f0f-b386-d02815030ed8" providerId="ADAL" clId="{D2E0483B-A4AE-4DA3-9FAE-43E1977BED3B}" dt="2024-02-15T02:25:57.144" v="16" actId="478"/>
          <ac:grpSpMkLst>
            <pc:docMk/>
            <pc:sldMk cId="0" sldId="264"/>
            <ac:grpSpMk id="53" creationId="{00000000-0000-0000-0000-000000000000}"/>
          </ac:grpSpMkLst>
        </pc:grpChg>
      </pc:sldChg>
      <pc:sldChg chg="ord">
        <pc:chgData name="Brabec, Gregory" userId="80450cda-6489-4f0f-b386-d02815030ed8" providerId="ADAL" clId="{D2E0483B-A4AE-4DA3-9FAE-43E1977BED3B}" dt="2024-02-15T02:26:43.743" v="26"/>
        <pc:sldMkLst>
          <pc:docMk/>
          <pc:sldMk cId="3887044403" sldId="272"/>
        </pc:sldMkLst>
      </pc:sldChg>
      <pc:sldChg chg="del">
        <pc:chgData name="Brabec, Gregory" userId="80450cda-6489-4f0f-b386-d02815030ed8" providerId="ADAL" clId="{D2E0483B-A4AE-4DA3-9FAE-43E1977BED3B}" dt="2024-02-15T02:22:21.725" v="0" actId="47"/>
        <pc:sldMkLst>
          <pc:docMk/>
          <pc:sldMk cId="3649391545" sldId="872"/>
        </pc:sldMkLst>
      </pc:sldChg>
      <pc:sldChg chg="ord">
        <pc:chgData name="Brabec, Gregory" userId="80450cda-6489-4f0f-b386-d02815030ed8" providerId="ADAL" clId="{D2E0483B-A4AE-4DA3-9FAE-43E1977BED3B}" dt="2024-02-15T02:26:14.515" v="22"/>
        <pc:sldMkLst>
          <pc:docMk/>
          <pc:sldMk cId="3206294460" sldId="2134806468"/>
        </pc:sldMkLst>
      </pc:sldChg>
      <pc:sldChg chg="modSp mod ord">
        <pc:chgData name="Brabec, Gregory" userId="80450cda-6489-4f0f-b386-d02815030ed8" providerId="ADAL" clId="{D2E0483B-A4AE-4DA3-9FAE-43E1977BED3B}" dt="2024-02-15T02:25:18.567" v="10" actId="1076"/>
        <pc:sldMkLst>
          <pc:docMk/>
          <pc:sldMk cId="994770608" sldId="2145706696"/>
        </pc:sldMkLst>
        <pc:spChg chg="mod">
          <ac:chgData name="Brabec, Gregory" userId="80450cda-6489-4f0f-b386-d02815030ed8" providerId="ADAL" clId="{D2E0483B-A4AE-4DA3-9FAE-43E1977BED3B}" dt="2024-02-15T02:25:18.567" v="10" actId="1076"/>
          <ac:spMkLst>
            <pc:docMk/>
            <pc:sldMk cId="994770608" sldId="2145706696"/>
            <ac:spMk id="14" creationId="{C0B40150-63F4-AB84-1FC0-1AD4102D4C56}"/>
          </ac:spMkLst>
        </pc:spChg>
      </pc:sldChg>
      <pc:sldChg chg="del">
        <pc:chgData name="Brabec, Gregory" userId="80450cda-6489-4f0f-b386-d02815030ed8" providerId="ADAL" clId="{D2E0483B-A4AE-4DA3-9FAE-43E1977BED3B}" dt="2024-02-15T02:26:22.928" v="23" actId="47"/>
        <pc:sldMkLst>
          <pc:docMk/>
          <pc:sldMk cId="2034175901" sldId="2145706754"/>
        </pc:sldMkLst>
      </pc:sldChg>
      <pc:sldChg chg="del">
        <pc:chgData name="Brabec, Gregory" userId="80450cda-6489-4f0f-b386-d02815030ed8" providerId="ADAL" clId="{D2E0483B-A4AE-4DA3-9FAE-43E1977BED3B}" dt="2024-02-15T02:26:34.282" v="24" actId="47"/>
        <pc:sldMkLst>
          <pc:docMk/>
          <pc:sldMk cId="1516289531" sldId="2147374628"/>
        </pc:sldMkLst>
      </pc:sldChg>
      <pc:sldChg chg="delSp modSp mod">
        <pc:chgData name="Brabec, Gregory" userId="80450cda-6489-4f0f-b386-d02815030ed8" providerId="ADAL" clId="{D2E0483B-A4AE-4DA3-9FAE-43E1977BED3B}" dt="2024-02-15T02:24:30.823" v="7" actId="14100"/>
        <pc:sldMkLst>
          <pc:docMk/>
          <pc:sldMk cId="3150506202" sldId="2147374630"/>
        </pc:sldMkLst>
        <pc:spChg chg="del mod">
          <ac:chgData name="Brabec, Gregory" userId="80450cda-6489-4f0f-b386-d02815030ed8" providerId="ADAL" clId="{D2E0483B-A4AE-4DA3-9FAE-43E1977BED3B}" dt="2024-02-15T02:24:22.919" v="6" actId="478"/>
          <ac:spMkLst>
            <pc:docMk/>
            <pc:sldMk cId="3150506202" sldId="2147374630"/>
            <ac:spMk id="3" creationId="{AF6FF169-D783-65D7-D989-EDEA9D3E474C}"/>
          </ac:spMkLst>
        </pc:spChg>
        <pc:spChg chg="del mod">
          <ac:chgData name="Brabec, Gregory" userId="80450cda-6489-4f0f-b386-d02815030ed8" providerId="ADAL" clId="{D2E0483B-A4AE-4DA3-9FAE-43E1977BED3B}" dt="2024-02-15T02:24:19.487" v="4" actId="478"/>
          <ac:spMkLst>
            <pc:docMk/>
            <pc:sldMk cId="3150506202" sldId="2147374630"/>
            <ac:spMk id="7" creationId="{A78E072A-CEBB-A0C0-9D0A-E8AAE83B7949}"/>
          </ac:spMkLst>
        </pc:spChg>
        <pc:picChg chg="mod">
          <ac:chgData name="Brabec, Gregory" userId="80450cda-6489-4f0f-b386-d02815030ed8" providerId="ADAL" clId="{D2E0483B-A4AE-4DA3-9FAE-43E1977BED3B}" dt="2024-02-15T02:24:30.823" v="7" actId="14100"/>
          <ac:picMkLst>
            <pc:docMk/>
            <pc:sldMk cId="3150506202" sldId="2147374630"/>
            <ac:picMk id="5" creationId="{A06C7F5E-336B-AA1F-4F9D-A9948D777FA6}"/>
          </ac:picMkLst>
        </pc:picChg>
      </pc:sldChg>
      <pc:sldChg chg="modSp new mod">
        <pc:chgData name="Brabec, Gregory" userId="80450cda-6489-4f0f-b386-d02815030ed8" providerId="ADAL" clId="{D2E0483B-A4AE-4DA3-9FAE-43E1977BED3B}" dt="2024-02-15T02:27:33.805" v="45" actId="20577"/>
        <pc:sldMkLst>
          <pc:docMk/>
          <pc:sldMk cId="2133420686" sldId="2147374631"/>
        </pc:sldMkLst>
        <pc:spChg chg="mod">
          <ac:chgData name="Brabec, Gregory" userId="80450cda-6489-4f0f-b386-d02815030ed8" providerId="ADAL" clId="{D2E0483B-A4AE-4DA3-9FAE-43E1977BED3B}" dt="2024-02-15T02:27:33.805" v="45" actId="20577"/>
          <ac:spMkLst>
            <pc:docMk/>
            <pc:sldMk cId="2133420686" sldId="2147374631"/>
            <ac:spMk id="2" creationId="{072688D2-C9A2-84A6-D3E1-F55922A9A5A2}"/>
          </ac:spMkLst>
        </pc:spChg>
      </pc:sldChg>
      <pc:sldChg chg="modSp new mod ord">
        <pc:chgData name="Brabec, Gregory" userId="80450cda-6489-4f0f-b386-d02815030ed8" providerId="ADAL" clId="{D2E0483B-A4AE-4DA3-9FAE-43E1977BED3B}" dt="2024-02-15T02:32:46.868" v="571" actId="255"/>
        <pc:sldMkLst>
          <pc:docMk/>
          <pc:sldMk cId="884081829" sldId="2147374632"/>
        </pc:sldMkLst>
        <pc:spChg chg="mod">
          <ac:chgData name="Brabec, Gregory" userId="80450cda-6489-4f0f-b386-d02815030ed8" providerId="ADAL" clId="{D2E0483B-A4AE-4DA3-9FAE-43E1977BED3B}" dt="2024-02-15T02:28:02.191" v="65" actId="20577"/>
          <ac:spMkLst>
            <pc:docMk/>
            <pc:sldMk cId="884081829" sldId="2147374632"/>
            <ac:spMk id="2" creationId="{714AAECD-6360-9E42-9160-D18DFA86C0DD}"/>
          </ac:spMkLst>
        </pc:spChg>
        <pc:spChg chg="mod">
          <ac:chgData name="Brabec, Gregory" userId="80450cda-6489-4f0f-b386-d02815030ed8" providerId="ADAL" clId="{D2E0483B-A4AE-4DA3-9FAE-43E1977BED3B}" dt="2024-02-15T02:32:46.868" v="571" actId="255"/>
          <ac:spMkLst>
            <pc:docMk/>
            <pc:sldMk cId="884081829" sldId="2147374632"/>
            <ac:spMk id="3" creationId="{CFA9954F-98CE-1E68-183E-B7B646768E04}"/>
          </ac:spMkLst>
        </pc:spChg>
      </pc:sldChg>
      <pc:sldMasterChg chg="delSldLayout">
        <pc:chgData name="Brabec, Gregory" userId="80450cda-6489-4f0f-b386-d02815030ed8" providerId="ADAL" clId="{D2E0483B-A4AE-4DA3-9FAE-43E1977BED3B}" dt="2024-02-15T02:22:21.725" v="0" actId="47"/>
        <pc:sldMasterMkLst>
          <pc:docMk/>
          <pc:sldMasterMk cId="0" sldId="2147483648"/>
        </pc:sldMasterMkLst>
        <pc:sldLayoutChg chg="del">
          <pc:chgData name="Brabec, Gregory" userId="80450cda-6489-4f0f-b386-d02815030ed8" providerId="ADAL" clId="{D2E0483B-A4AE-4DA3-9FAE-43E1977BED3B}" dt="2024-02-15T02:22:21.725" v="0" actId="47"/>
          <pc:sldLayoutMkLst>
            <pc:docMk/>
            <pc:sldMasterMk cId="0" sldId="2147483648"/>
            <pc:sldLayoutMk cId="1912595449" sldId="2147483747"/>
          </pc:sldLayoutMkLst>
        </pc:sldLayoutChg>
      </pc:sldMasterChg>
      <pc:sldMasterChg chg="delSldLayout">
        <pc:chgData name="Brabec, Gregory" userId="80450cda-6489-4f0f-b386-d02815030ed8" providerId="ADAL" clId="{D2E0483B-A4AE-4DA3-9FAE-43E1977BED3B}" dt="2024-02-15T02:26:22.928" v="23" actId="47"/>
        <pc:sldMasterMkLst>
          <pc:docMk/>
          <pc:sldMasterMk cId="2389353943" sldId="2147483666"/>
        </pc:sldMasterMkLst>
        <pc:sldLayoutChg chg="del">
          <pc:chgData name="Brabec, Gregory" userId="80450cda-6489-4f0f-b386-d02815030ed8" providerId="ADAL" clId="{D2E0483B-A4AE-4DA3-9FAE-43E1977BED3B}" dt="2024-02-15T02:26:22.928" v="23" actId="47"/>
          <pc:sldLayoutMkLst>
            <pc:docMk/>
            <pc:sldMasterMk cId="2389353943" sldId="2147483666"/>
            <pc:sldLayoutMk cId="1048219950" sldId="214748374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822950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7610475" y="0"/>
            <a:ext cx="5822950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6126E1-B775-408E-A0E2-E4B6BEDD605F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51350" y="946150"/>
            <a:ext cx="4533900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43025" y="3640138"/>
            <a:ext cx="10750550" cy="29781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183438"/>
            <a:ext cx="5822950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7610475" y="7183438"/>
            <a:ext cx="5822950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FF9A3-2BC4-4C40-932C-508EFBE5CF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170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F05E3C-A148-4669-9307-9458DB6716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95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553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AFF9A3-2BC4-4C40-932C-508EFBE5CF0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0078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6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7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jpg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008221" y="2344483"/>
            <a:ext cx="11426508" cy="1588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016442" y="4235196"/>
            <a:ext cx="9410065" cy="18907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\\nas\INSCALE_aktuelle_Projekte\Wacker\13-0930_Unternehmens-PPT_Zapff\vom Kunden\Material\04_Hauptverwaltung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13440642" cy="756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4961" y="4864018"/>
            <a:ext cx="13459646" cy="2698833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99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799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791941" y="5030255"/>
            <a:ext cx="11842772" cy="1298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791941" y="6521040"/>
            <a:ext cx="8228274" cy="54875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7857643" y="462796"/>
            <a:ext cx="4764209" cy="215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399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52284" y="391116"/>
            <a:ext cx="2031379" cy="360076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29095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19840" y="1544724"/>
            <a:ext cx="11797329" cy="5080666"/>
          </a:xfrm>
        </p:spPr>
        <p:txBody>
          <a:bodyPr lIns="108000" tIns="324000" rIns="108000"/>
          <a:lstStyle>
            <a:lvl1pPr marL="342729" indent="-342729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729" indent="-342729">
              <a:spcBef>
                <a:spcPts val="1999"/>
              </a:spcBef>
              <a:spcAft>
                <a:spcPts val="1999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3pPr>
            <a:lvl4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4pPr>
            <a:lvl5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5pPr>
            <a:lvl6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6pPr>
            <a:lvl7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7pPr>
            <a:lvl8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8pPr>
            <a:lvl9pPr marL="339555" indent="-339555">
              <a:spcBef>
                <a:spcPts val="1999"/>
              </a:spcBef>
              <a:spcAft>
                <a:spcPts val="1999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819840" y="1545459"/>
            <a:ext cx="0" cy="5078983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4188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729" indent="-342729" algn="r" defTabSz="104253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29" lvl="0" indent="-342729" algn="r" defTabSz="104253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818756" y="1544962"/>
            <a:ext cx="11797329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9839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623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729" indent="-342729" algn="r" defTabSz="104253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29" lvl="0" indent="-342729" algn="r" defTabSz="104253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8756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819841" y="6168297"/>
            <a:ext cx="11798914" cy="453278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607" indent="-285607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1999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25900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729" indent="-342729" algn="r" defTabSz="104253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29" lvl="0" indent="-342729" algn="r" defTabSz="104253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8756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818756" y="1543374"/>
            <a:ext cx="11797329" cy="43465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819841" y="6168297"/>
            <a:ext cx="11798914" cy="453278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607" indent="-285607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1999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4672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729" indent="-342729" algn="r" defTabSz="104253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29" lvl="0" indent="-342729" algn="r" defTabSz="104253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819841" y="1544962"/>
            <a:ext cx="5541306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819839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6721944" y="1610063"/>
            <a:ext cx="0" cy="5010621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7074779" y="1544962"/>
            <a:ext cx="5541306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72434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729" indent="-342729" algn="r" defTabSz="104253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29" lvl="0" indent="-342729" algn="r" defTabSz="104253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31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8756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819839" y="2243609"/>
            <a:ext cx="3510248" cy="17424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4962837" y="2243609"/>
            <a:ext cx="3510248" cy="17424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9105837" y="2243609"/>
            <a:ext cx="3510248" cy="1742427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819839" y="1544962"/>
            <a:ext cx="3510248" cy="6398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4962837" y="1544962"/>
            <a:ext cx="3510248" cy="63989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9105837" y="1544962"/>
            <a:ext cx="3510248" cy="64148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819839" y="3985461"/>
            <a:ext cx="3510248" cy="2639354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486" indent="-228486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038" indent="-22055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243" indent="-214206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076" indent="-228486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490" indent="-226899">
              <a:defRPr/>
            </a:lvl6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4646462" y="1610063"/>
            <a:ext cx="0" cy="5010621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8789459" y="1610063"/>
            <a:ext cx="0" cy="5010621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4962837" y="3985461"/>
            <a:ext cx="3510248" cy="2639354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486" indent="-228486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038" indent="-22055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243" indent="-214206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076" indent="-228486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490" indent="-226899">
              <a:defRPr/>
            </a:lvl6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9105837" y="3985461"/>
            <a:ext cx="3510248" cy="2639354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486" indent="-228486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038" indent="-22055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243" indent="-214206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076" indent="-228486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490" indent="-226899">
              <a:defRPr/>
            </a:lvl6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6749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4" y="6626028"/>
            <a:ext cx="12125635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608" indent="-342608" algn="r" defTabSz="1042167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08" lvl="0" indent="-342608" algn="r" defTabSz="1042167" eaLnBrk="0" fontAlgn="auto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3" y="194444"/>
            <a:ext cx="12125635" cy="799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50806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051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4" y="6626028"/>
            <a:ext cx="12125635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608" indent="-342608" algn="r" defTabSz="1042167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08" lvl="0" indent="-342608" algn="r" defTabSz="1042167" eaLnBrk="0" fontAlgn="auto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3" y="194444"/>
            <a:ext cx="12125635" cy="799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50806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61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5835" y="756285"/>
            <a:ext cx="11041457" cy="19327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5837" y="2941108"/>
            <a:ext cx="5394758" cy="3445299"/>
          </a:xfrm>
        </p:spPr>
        <p:txBody>
          <a:bodyPr>
            <a:normAutofit/>
          </a:bodyPr>
          <a:lstStyle>
            <a:lvl1pPr>
              <a:defRPr sz="1983"/>
            </a:lvl1pPr>
            <a:lvl2pPr>
              <a:defRPr sz="1763"/>
            </a:lvl2pPr>
            <a:lvl3pPr>
              <a:defRPr sz="1542"/>
            </a:lvl3pPr>
            <a:lvl4pPr>
              <a:defRPr sz="1322"/>
            </a:lvl4pPr>
            <a:lvl5pPr>
              <a:defRPr sz="1322"/>
            </a:lvl5pPr>
            <a:lvl6pPr>
              <a:defRPr sz="1322"/>
            </a:lvl6pPr>
            <a:lvl7pPr>
              <a:defRPr sz="1322"/>
            </a:lvl7pPr>
            <a:lvl8pPr>
              <a:defRPr sz="1322"/>
            </a:lvl8pPr>
            <a:lvl9pPr>
              <a:defRPr sz="13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82531" y="2941110"/>
            <a:ext cx="5394759" cy="3445298"/>
          </a:xfrm>
        </p:spPr>
        <p:txBody>
          <a:bodyPr>
            <a:normAutofit/>
          </a:bodyPr>
          <a:lstStyle>
            <a:lvl1pPr>
              <a:defRPr sz="1983"/>
            </a:lvl1pPr>
            <a:lvl2pPr>
              <a:defRPr sz="1763"/>
            </a:lvl2pPr>
            <a:lvl3pPr>
              <a:defRPr sz="1542"/>
            </a:lvl3pPr>
            <a:lvl4pPr>
              <a:defRPr sz="1322"/>
            </a:lvl4pPr>
            <a:lvl5pPr>
              <a:defRPr sz="1322"/>
            </a:lvl5pPr>
            <a:lvl6pPr>
              <a:defRPr sz="1322"/>
            </a:lvl6pPr>
            <a:lvl7pPr>
              <a:defRPr sz="1322"/>
            </a:lvl7pPr>
            <a:lvl8pPr>
              <a:defRPr sz="1322"/>
            </a:lvl8pPr>
            <a:lvl9pPr>
              <a:defRPr sz="13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6B511-211A-4811-8ED0-9812CCAFEE96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7EDFC-7214-44F5-8D58-B4F725A8CA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050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2" y="6626028"/>
            <a:ext cx="12125634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608" indent="-342608" algn="r" defTabSz="1042167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08" lvl="0" indent="-342608" algn="r" defTabSz="1042167" eaLnBrk="0" fontAlgn="auto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2" y="194444"/>
            <a:ext cx="12125634" cy="799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381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4" y="6626028"/>
            <a:ext cx="12125635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608" indent="-342608" algn="r" defTabSz="1042167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08" lvl="0" indent="-342608" algn="r" defTabSz="1042167" eaLnBrk="0" fontAlgn="auto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3" y="194444"/>
            <a:ext cx="12125635" cy="799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50806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8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DF1AD8A-5860-495C-A8A3-A75361E11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1458673"/>
              </p:ext>
            </p:extLst>
          </p:nvPr>
        </p:nvGraphicFramePr>
        <p:xfrm>
          <a:off x="1588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2" imgH="353" progId="TCLayout.ActiveDocument.1">
                  <p:embed/>
                </p:oleObj>
              </mc:Choice>
              <mc:Fallback>
                <p:oleObj name="think-cell Folie" r:id="rId3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DF1AD8A-5860-495C-A8A3-A75361E11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4" y="6626028"/>
            <a:ext cx="12125635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608" indent="-342608" algn="r" defTabSz="1042167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08" lvl="0" indent="-342608" algn="r" defTabSz="1042167" eaLnBrk="0" fontAlgn="auto" hangingPunct="0">
              <a:spcBef>
                <a:spcPts val="0"/>
              </a:spcBef>
              <a:spcAft>
                <a:spcPts val="0"/>
              </a:spcAft>
              <a:tabLst>
                <a:tab pos="187164" algn="l"/>
              </a:tabLst>
            </a:pPr>
            <a:r>
              <a:rPr lang="en-US"/>
              <a:t>Mastertextformat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3" y="194444"/>
            <a:ext cx="12125635" cy="799367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508066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234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5BCC8-D12A-4710-AE07-2B4ABDF97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0E750D-DA41-4C73-8107-B72027030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2980A-F63C-42F1-85A7-6A9175D0581F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23D361-4A1F-40F3-870E-62048B496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FB126A-D014-4DDC-8B99-AC2F9EBD5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F9A01-41FC-4817-AF89-D9B3C498D0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95214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660" indent="-342660" algn="r" defTabSz="104232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9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60" lvl="0" indent="-342660" algn="r" defTabSz="1042326" eaLnBrk="0" fontAlgn="auto" hangingPunct="0">
              <a:spcBef>
                <a:spcPts val="0"/>
              </a:spcBef>
              <a:spcAft>
                <a:spcPts val="0"/>
              </a:spcAft>
              <a:tabLst>
                <a:tab pos="187194" algn="l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818756" y="1544962"/>
            <a:ext cx="11797329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/>
              <a:t>Edit Slide Master Format</a:t>
            </a:r>
          </a:p>
          <a:p>
            <a:pPr lvl="1"/>
            <a:r>
              <a:rPr lang="de-DE" dirty="0"/>
              <a:t>Second Level</a:t>
            </a:r>
          </a:p>
          <a:p>
            <a:pPr lvl="2"/>
            <a:r>
              <a:rPr lang="de-DE" dirty="0"/>
              <a:t>Third Level</a:t>
            </a:r>
          </a:p>
          <a:p>
            <a:pPr lvl="3"/>
            <a:r>
              <a:rPr lang="de-DE" dirty="0" err="1"/>
              <a:t>Fourth</a:t>
            </a:r>
            <a:r>
              <a:rPr lang="de-DE" dirty="0"/>
              <a:t> Level </a:t>
            </a:r>
          </a:p>
          <a:p>
            <a:pPr lvl="4"/>
            <a:r>
              <a:rPr lang="de-DE" dirty="0" err="1"/>
              <a:t>Fifth</a:t>
            </a:r>
            <a:r>
              <a:rPr lang="de-DE" dirty="0"/>
              <a:t>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9839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3277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231733"/>
              </p:ext>
            </p:extLst>
          </p:nvPr>
        </p:nvGraphicFramePr>
        <p:xfrm>
          <a:off x="1589" y="1591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547" indent="-342547" algn="r" defTabSz="1041982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3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547" lvl="0" indent="-342547" algn="r" defTabSz="1041982" eaLnBrk="0" fontAlgn="auto" hangingPunct="0">
              <a:spcBef>
                <a:spcPts val="0"/>
              </a:spcBef>
              <a:spcAft>
                <a:spcPts val="0"/>
              </a:spcAft>
              <a:tabLst>
                <a:tab pos="187131" algn="l"/>
              </a:tabLst>
            </a:pPr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818758" y="194448"/>
            <a:ext cx="11797330" cy="7993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84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817846" y="6626028"/>
            <a:ext cx="11800909" cy="290573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660" indent="-342660" algn="r" defTabSz="104232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194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660" lvl="0" indent="-342660" algn="r" defTabSz="1042326" eaLnBrk="0" fontAlgn="auto" hangingPunct="0">
              <a:spcBef>
                <a:spcPts val="0"/>
              </a:spcBef>
              <a:spcAft>
                <a:spcPts val="0"/>
              </a:spcAft>
              <a:tabLst>
                <a:tab pos="187194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819842" y="1544962"/>
            <a:ext cx="5541306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819839" y="194441"/>
            <a:ext cx="11797329" cy="7993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6721944" y="1610063"/>
            <a:ext cx="0" cy="5010621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7074780" y="1544962"/>
            <a:ext cx="5541306" cy="5081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52665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226036"/>
            <a:ext cx="13440155" cy="9035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228090"/>
            <a:ext cx="13439775" cy="9651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6904634"/>
            <a:ext cx="13440155" cy="8839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908165"/>
            <a:ext cx="13439775" cy="6350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99288" y="6803136"/>
            <a:ext cx="12641579" cy="108204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991343" y="6128004"/>
            <a:ext cx="3238500" cy="693420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594359" y="7130795"/>
            <a:ext cx="970915" cy="216535"/>
          </a:xfrm>
          <a:custGeom>
            <a:avLst/>
            <a:gdLst/>
            <a:ahLst/>
            <a:cxnLst/>
            <a:rect l="l" t="t" r="r" b="b"/>
            <a:pathLst>
              <a:path w="970915" h="216534">
                <a:moveTo>
                  <a:pt x="946150" y="0"/>
                </a:moveTo>
                <a:lnTo>
                  <a:pt x="24701" y="0"/>
                </a:lnTo>
                <a:lnTo>
                  <a:pt x="15232" y="1987"/>
                </a:lnTo>
                <a:lnTo>
                  <a:pt x="7364" y="7356"/>
                </a:lnTo>
                <a:lnTo>
                  <a:pt x="1989" y="15216"/>
                </a:lnTo>
                <a:lnTo>
                  <a:pt x="0" y="24676"/>
                </a:lnTo>
                <a:lnTo>
                  <a:pt x="0" y="191731"/>
                </a:lnTo>
                <a:lnTo>
                  <a:pt x="1989" y="201191"/>
                </a:lnTo>
                <a:lnTo>
                  <a:pt x="7364" y="209051"/>
                </a:lnTo>
                <a:lnTo>
                  <a:pt x="15232" y="214420"/>
                </a:lnTo>
                <a:lnTo>
                  <a:pt x="24701" y="216408"/>
                </a:lnTo>
                <a:lnTo>
                  <a:pt x="946150" y="216408"/>
                </a:lnTo>
                <a:lnTo>
                  <a:pt x="955571" y="214420"/>
                </a:lnTo>
                <a:lnTo>
                  <a:pt x="963422" y="209051"/>
                </a:lnTo>
                <a:lnTo>
                  <a:pt x="968795" y="201191"/>
                </a:lnTo>
                <a:lnTo>
                  <a:pt x="970788" y="191731"/>
                </a:lnTo>
                <a:lnTo>
                  <a:pt x="970788" y="24676"/>
                </a:lnTo>
                <a:lnTo>
                  <a:pt x="968795" y="15216"/>
                </a:lnTo>
                <a:lnTo>
                  <a:pt x="963422" y="7356"/>
                </a:lnTo>
                <a:lnTo>
                  <a:pt x="955571" y="1987"/>
                </a:lnTo>
                <a:lnTo>
                  <a:pt x="946150" y="0"/>
                </a:lnTo>
                <a:close/>
              </a:path>
            </a:pathLst>
          </a:custGeom>
          <a:solidFill>
            <a:srgbClr val="4A4A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608075" y="7144511"/>
            <a:ext cx="943610" cy="189230"/>
          </a:xfrm>
          <a:custGeom>
            <a:avLst/>
            <a:gdLst/>
            <a:ahLst/>
            <a:cxnLst/>
            <a:rect l="l" t="t" r="r" b="b"/>
            <a:pathLst>
              <a:path w="943610" h="189229">
                <a:moveTo>
                  <a:pt x="939545" y="0"/>
                </a:moveTo>
                <a:lnTo>
                  <a:pt x="931926" y="0"/>
                </a:lnTo>
                <a:lnTo>
                  <a:pt x="5689" y="0"/>
                </a:lnTo>
                <a:lnTo>
                  <a:pt x="0" y="3784"/>
                </a:lnTo>
                <a:lnTo>
                  <a:pt x="0" y="183311"/>
                </a:lnTo>
                <a:lnTo>
                  <a:pt x="5689" y="188975"/>
                </a:lnTo>
                <a:lnTo>
                  <a:pt x="939545" y="188975"/>
                </a:lnTo>
                <a:lnTo>
                  <a:pt x="943356" y="183311"/>
                </a:lnTo>
                <a:lnTo>
                  <a:pt x="943356" y="3784"/>
                </a:lnTo>
                <a:lnTo>
                  <a:pt x="93954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633983" y="7176515"/>
            <a:ext cx="873760" cy="125095"/>
          </a:xfrm>
          <a:custGeom>
            <a:avLst/>
            <a:gdLst/>
            <a:ahLst/>
            <a:cxnLst/>
            <a:rect l="l" t="t" r="r" b="b"/>
            <a:pathLst>
              <a:path w="873760" h="125095">
                <a:moveTo>
                  <a:pt x="375881" y="0"/>
                </a:moveTo>
                <a:lnTo>
                  <a:pt x="346691" y="4437"/>
                </a:lnTo>
                <a:lnTo>
                  <a:pt x="323195" y="17043"/>
                </a:lnTo>
                <a:lnTo>
                  <a:pt x="307535" y="36743"/>
                </a:lnTo>
                <a:lnTo>
                  <a:pt x="301840" y="62484"/>
                </a:lnTo>
                <a:lnTo>
                  <a:pt x="307269" y="87425"/>
                </a:lnTo>
                <a:lnTo>
                  <a:pt x="322487" y="107218"/>
                </a:lnTo>
                <a:lnTo>
                  <a:pt x="345892" y="120264"/>
                </a:lnTo>
                <a:lnTo>
                  <a:pt x="375881" y="124968"/>
                </a:lnTo>
                <a:lnTo>
                  <a:pt x="386887" y="124613"/>
                </a:lnTo>
                <a:lnTo>
                  <a:pt x="397000" y="123548"/>
                </a:lnTo>
                <a:lnTo>
                  <a:pt x="406044" y="121774"/>
                </a:lnTo>
                <a:lnTo>
                  <a:pt x="413842" y="119291"/>
                </a:lnTo>
                <a:lnTo>
                  <a:pt x="417639" y="117398"/>
                </a:lnTo>
                <a:lnTo>
                  <a:pt x="419544" y="117398"/>
                </a:lnTo>
                <a:lnTo>
                  <a:pt x="419544" y="113601"/>
                </a:lnTo>
                <a:lnTo>
                  <a:pt x="377774" y="113601"/>
                </a:lnTo>
                <a:lnTo>
                  <a:pt x="365315" y="110139"/>
                </a:lnTo>
                <a:lnTo>
                  <a:pt x="356417" y="100110"/>
                </a:lnTo>
                <a:lnTo>
                  <a:pt x="351079" y="84047"/>
                </a:lnTo>
                <a:lnTo>
                  <a:pt x="349300" y="62484"/>
                </a:lnTo>
                <a:lnTo>
                  <a:pt x="351050" y="40912"/>
                </a:lnTo>
                <a:lnTo>
                  <a:pt x="356181" y="24845"/>
                </a:lnTo>
                <a:lnTo>
                  <a:pt x="364516" y="14815"/>
                </a:lnTo>
                <a:lnTo>
                  <a:pt x="375881" y="11353"/>
                </a:lnTo>
                <a:lnTo>
                  <a:pt x="415747" y="11353"/>
                </a:lnTo>
                <a:lnTo>
                  <a:pt x="415747" y="5676"/>
                </a:lnTo>
                <a:lnTo>
                  <a:pt x="411949" y="3784"/>
                </a:lnTo>
                <a:lnTo>
                  <a:pt x="403908" y="2394"/>
                </a:lnTo>
                <a:lnTo>
                  <a:pt x="394625" y="1182"/>
                </a:lnTo>
                <a:lnTo>
                  <a:pt x="384987" y="325"/>
                </a:lnTo>
                <a:lnTo>
                  <a:pt x="375881" y="0"/>
                </a:lnTo>
                <a:close/>
              </a:path>
              <a:path w="873760" h="125095">
                <a:moveTo>
                  <a:pt x="56946" y="13258"/>
                </a:moveTo>
                <a:lnTo>
                  <a:pt x="7594" y="13258"/>
                </a:lnTo>
                <a:lnTo>
                  <a:pt x="11391" y="15151"/>
                </a:lnTo>
                <a:lnTo>
                  <a:pt x="13284" y="15151"/>
                </a:lnTo>
                <a:lnTo>
                  <a:pt x="15189" y="18935"/>
                </a:lnTo>
                <a:lnTo>
                  <a:pt x="47459" y="119291"/>
                </a:lnTo>
                <a:lnTo>
                  <a:pt x="49352" y="121183"/>
                </a:lnTo>
                <a:lnTo>
                  <a:pt x="74040" y="121183"/>
                </a:lnTo>
                <a:lnTo>
                  <a:pt x="74040" y="119291"/>
                </a:lnTo>
                <a:lnTo>
                  <a:pt x="87433" y="73850"/>
                </a:lnTo>
                <a:lnTo>
                  <a:pt x="72136" y="73850"/>
                </a:lnTo>
                <a:lnTo>
                  <a:pt x="55054" y="20828"/>
                </a:lnTo>
                <a:lnTo>
                  <a:pt x="55054" y="15151"/>
                </a:lnTo>
                <a:lnTo>
                  <a:pt x="56946" y="13258"/>
                </a:lnTo>
                <a:close/>
              </a:path>
              <a:path w="873760" h="125095">
                <a:moveTo>
                  <a:pt x="130470" y="54914"/>
                </a:moveTo>
                <a:lnTo>
                  <a:pt x="93014" y="54914"/>
                </a:lnTo>
                <a:lnTo>
                  <a:pt x="112001" y="119291"/>
                </a:lnTo>
                <a:lnTo>
                  <a:pt x="112001" y="121183"/>
                </a:lnTo>
                <a:lnTo>
                  <a:pt x="136677" y="121183"/>
                </a:lnTo>
                <a:lnTo>
                  <a:pt x="138582" y="119291"/>
                </a:lnTo>
                <a:lnTo>
                  <a:pt x="152018" y="75742"/>
                </a:lnTo>
                <a:lnTo>
                  <a:pt x="136677" y="75742"/>
                </a:lnTo>
                <a:lnTo>
                  <a:pt x="130470" y="54914"/>
                </a:lnTo>
                <a:close/>
              </a:path>
              <a:path w="873760" h="125095">
                <a:moveTo>
                  <a:pt x="206921" y="111709"/>
                </a:moveTo>
                <a:lnTo>
                  <a:pt x="163258" y="111709"/>
                </a:lnTo>
                <a:lnTo>
                  <a:pt x="161366" y="113601"/>
                </a:lnTo>
                <a:lnTo>
                  <a:pt x="161366" y="121183"/>
                </a:lnTo>
                <a:lnTo>
                  <a:pt x="206921" y="121183"/>
                </a:lnTo>
                <a:lnTo>
                  <a:pt x="206921" y="111709"/>
                </a:lnTo>
                <a:close/>
              </a:path>
              <a:path w="873760" h="125095">
                <a:moveTo>
                  <a:pt x="305638" y="111709"/>
                </a:moveTo>
                <a:lnTo>
                  <a:pt x="233502" y="111709"/>
                </a:lnTo>
                <a:lnTo>
                  <a:pt x="231597" y="113601"/>
                </a:lnTo>
                <a:lnTo>
                  <a:pt x="231597" y="121183"/>
                </a:lnTo>
                <a:lnTo>
                  <a:pt x="305638" y="121183"/>
                </a:lnTo>
                <a:lnTo>
                  <a:pt x="305638" y="111709"/>
                </a:lnTo>
                <a:close/>
              </a:path>
              <a:path w="873760" h="125095">
                <a:moveTo>
                  <a:pt x="417639" y="83312"/>
                </a:moveTo>
                <a:lnTo>
                  <a:pt x="404355" y="83312"/>
                </a:lnTo>
                <a:lnTo>
                  <a:pt x="402450" y="85204"/>
                </a:lnTo>
                <a:lnTo>
                  <a:pt x="402450" y="87096"/>
                </a:lnTo>
                <a:lnTo>
                  <a:pt x="396760" y="100355"/>
                </a:lnTo>
                <a:lnTo>
                  <a:pt x="394855" y="107924"/>
                </a:lnTo>
                <a:lnTo>
                  <a:pt x="389166" y="113601"/>
                </a:lnTo>
                <a:lnTo>
                  <a:pt x="419544" y="113601"/>
                </a:lnTo>
                <a:lnTo>
                  <a:pt x="419544" y="85204"/>
                </a:lnTo>
                <a:lnTo>
                  <a:pt x="417639" y="83312"/>
                </a:lnTo>
                <a:close/>
              </a:path>
              <a:path w="873760" h="125095">
                <a:moveTo>
                  <a:pt x="248691" y="1892"/>
                </a:moveTo>
                <a:lnTo>
                  <a:pt x="218312" y="1892"/>
                </a:lnTo>
                <a:lnTo>
                  <a:pt x="218312" y="3784"/>
                </a:lnTo>
                <a:lnTo>
                  <a:pt x="216420" y="5676"/>
                </a:lnTo>
                <a:lnTo>
                  <a:pt x="176542" y="102247"/>
                </a:lnTo>
                <a:lnTo>
                  <a:pt x="174650" y="107924"/>
                </a:lnTo>
                <a:lnTo>
                  <a:pt x="172758" y="109816"/>
                </a:lnTo>
                <a:lnTo>
                  <a:pt x="167055" y="111709"/>
                </a:lnTo>
                <a:lnTo>
                  <a:pt x="199326" y="111709"/>
                </a:lnTo>
                <a:lnTo>
                  <a:pt x="193636" y="109816"/>
                </a:lnTo>
                <a:lnTo>
                  <a:pt x="191731" y="109816"/>
                </a:lnTo>
                <a:lnTo>
                  <a:pt x="191731" y="102247"/>
                </a:lnTo>
                <a:lnTo>
                  <a:pt x="193636" y="98463"/>
                </a:lnTo>
                <a:lnTo>
                  <a:pt x="193636" y="96570"/>
                </a:lnTo>
                <a:lnTo>
                  <a:pt x="197434" y="88988"/>
                </a:lnTo>
                <a:lnTo>
                  <a:pt x="283357" y="88988"/>
                </a:lnTo>
                <a:lnTo>
                  <a:pt x="277845" y="75742"/>
                </a:lnTo>
                <a:lnTo>
                  <a:pt x="201231" y="75742"/>
                </a:lnTo>
                <a:lnTo>
                  <a:pt x="218312" y="34086"/>
                </a:lnTo>
                <a:lnTo>
                  <a:pt x="260512" y="34086"/>
                </a:lnTo>
                <a:lnTo>
                  <a:pt x="248691" y="5676"/>
                </a:lnTo>
                <a:lnTo>
                  <a:pt x="248691" y="1892"/>
                </a:lnTo>
                <a:close/>
              </a:path>
              <a:path w="873760" h="125095">
                <a:moveTo>
                  <a:pt x="283357" y="88988"/>
                </a:moveTo>
                <a:lnTo>
                  <a:pt x="239191" y="88988"/>
                </a:lnTo>
                <a:lnTo>
                  <a:pt x="244894" y="104140"/>
                </a:lnTo>
                <a:lnTo>
                  <a:pt x="246786" y="107924"/>
                </a:lnTo>
                <a:lnTo>
                  <a:pt x="244894" y="111709"/>
                </a:lnTo>
                <a:lnTo>
                  <a:pt x="296151" y="111709"/>
                </a:lnTo>
                <a:lnTo>
                  <a:pt x="292353" y="109816"/>
                </a:lnTo>
                <a:lnTo>
                  <a:pt x="290449" y="107924"/>
                </a:lnTo>
                <a:lnTo>
                  <a:pt x="290449" y="106032"/>
                </a:lnTo>
                <a:lnTo>
                  <a:pt x="283357" y="88988"/>
                </a:lnTo>
                <a:close/>
              </a:path>
              <a:path w="873760" h="125095">
                <a:moveTo>
                  <a:pt x="176542" y="13258"/>
                </a:moveTo>
                <a:lnTo>
                  <a:pt x="151866" y="13258"/>
                </a:lnTo>
                <a:lnTo>
                  <a:pt x="153771" y="15151"/>
                </a:lnTo>
                <a:lnTo>
                  <a:pt x="153771" y="18935"/>
                </a:lnTo>
                <a:lnTo>
                  <a:pt x="151866" y="22720"/>
                </a:lnTo>
                <a:lnTo>
                  <a:pt x="151797" y="24845"/>
                </a:lnTo>
                <a:lnTo>
                  <a:pt x="136677" y="75742"/>
                </a:lnTo>
                <a:lnTo>
                  <a:pt x="152018" y="75742"/>
                </a:lnTo>
                <a:lnTo>
                  <a:pt x="168960" y="20828"/>
                </a:lnTo>
                <a:lnTo>
                  <a:pt x="170853" y="17043"/>
                </a:lnTo>
                <a:lnTo>
                  <a:pt x="170853" y="15151"/>
                </a:lnTo>
                <a:lnTo>
                  <a:pt x="176542" y="13258"/>
                </a:lnTo>
                <a:close/>
              </a:path>
              <a:path w="873760" h="125095">
                <a:moveTo>
                  <a:pt x="260512" y="34086"/>
                </a:moveTo>
                <a:lnTo>
                  <a:pt x="218312" y="34086"/>
                </a:lnTo>
                <a:lnTo>
                  <a:pt x="235394" y="75742"/>
                </a:lnTo>
                <a:lnTo>
                  <a:pt x="277845" y="75742"/>
                </a:lnTo>
                <a:lnTo>
                  <a:pt x="260512" y="34086"/>
                </a:lnTo>
                <a:close/>
              </a:path>
              <a:path w="873760" h="125095">
                <a:moveTo>
                  <a:pt x="113906" y="1892"/>
                </a:moveTo>
                <a:lnTo>
                  <a:pt x="91122" y="1892"/>
                </a:lnTo>
                <a:lnTo>
                  <a:pt x="91122" y="5676"/>
                </a:lnTo>
                <a:lnTo>
                  <a:pt x="72136" y="73850"/>
                </a:lnTo>
                <a:lnTo>
                  <a:pt x="87433" y="73850"/>
                </a:lnTo>
                <a:lnTo>
                  <a:pt x="93014" y="54914"/>
                </a:lnTo>
                <a:lnTo>
                  <a:pt x="130470" y="54914"/>
                </a:lnTo>
                <a:lnTo>
                  <a:pt x="115798" y="5676"/>
                </a:lnTo>
                <a:lnTo>
                  <a:pt x="115798" y="3784"/>
                </a:lnTo>
                <a:lnTo>
                  <a:pt x="113906" y="1892"/>
                </a:lnTo>
                <a:close/>
              </a:path>
              <a:path w="873760" h="125095">
                <a:moveTo>
                  <a:pt x="415747" y="11353"/>
                </a:moveTo>
                <a:lnTo>
                  <a:pt x="375881" y="11353"/>
                </a:lnTo>
                <a:lnTo>
                  <a:pt x="383416" y="12124"/>
                </a:lnTo>
                <a:lnTo>
                  <a:pt x="389169" y="14671"/>
                </a:lnTo>
                <a:lnTo>
                  <a:pt x="393498" y="19347"/>
                </a:lnTo>
                <a:lnTo>
                  <a:pt x="396760" y="26504"/>
                </a:lnTo>
                <a:lnTo>
                  <a:pt x="400557" y="37871"/>
                </a:lnTo>
                <a:lnTo>
                  <a:pt x="402450" y="39763"/>
                </a:lnTo>
                <a:lnTo>
                  <a:pt x="415747" y="39763"/>
                </a:lnTo>
                <a:lnTo>
                  <a:pt x="415747" y="11353"/>
                </a:lnTo>
                <a:close/>
              </a:path>
              <a:path w="873760" h="125095">
                <a:moveTo>
                  <a:pt x="66446" y="1892"/>
                </a:moveTo>
                <a:lnTo>
                  <a:pt x="1892" y="1892"/>
                </a:lnTo>
                <a:lnTo>
                  <a:pt x="0" y="3784"/>
                </a:lnTo>
                <a:lnTo>
                  <a:pt x="0" y="11353"/>
                </a:lnTo>
                <a:lnTo>
                  <a:pt x="1892" y="13258"/>
                </a:lnTo>
                <a:lnTo>
                  <a:pt x="64541" y="13258"/>
                </a:lnTo>
                <a:lnTo>
                  <a:pt x="66446" y="11353"/>
                </a:lnTo>
                <a:lnTo>
                  <a:pt x="68338" y="11353"/>
                </a:lnTo>
                <a:lnTo>
                  <a:pt x="68338" y="3784"/>
                </a:lnTo>
                <a:lnTo>
                  <a:pt x="66446" y="1892"/>
                </a:lnTo>
                <a:close/>
              </a:path>
              <a:path w="873760" h="125095">
                <a:moveTo>
                  <a:pt x="182244" y="1892"/>
                </a:moveTo>
                <a:lnTo>
                  <a:pt x="142379" y="1892"/>
                </a:lnTo>
                <a:lnTo>
                  <a:pt x="142379" y="13258"/>
                </a:lnTo>
                <a:lnTo>
                  <a:pt x="180340" y="13258"/>
                </a:lnTo>
                <a:lnTo>
                  <a:pt x="182244" y="11353"/>
                </a:lnTo>
                <a:lnTo>
                  <a:pt x="182244" y="1892"/>
                </a:lnTo>
                <a:close/>
              </a:path>
              <a:path w="873760" h="125095">
                <a:moveTo>
                  <a:pt x="499275" y="109816"/>
                </a:moveTo>
                <a:lnTo>
                  <a:pt x="444220" y="109816"/>
                </a:lnTo>
                <a:lnTo>
                  <a:pt x="436625" y="111709"/>
                </a:lnTo>
                <a:lnTo>
                  <a:pt x="434733" y="113601"/>
                </a:lnTo>
                <a:lnTo>
                  <a:pt x="434733" y="121183"/>
                </a:lnTo>
                <a:lnTo>
                  <a:pt x="506869" y="121183"/>
                </a:lnTo>
                <a:lnTo>
                  <a:pt x="506869" y="111709"/>
                </a:lnTo>
                <a:lnTo>
                  <a:pt x="504964" y="111709"/>
                </a:lnTo>
                <a:lnTo>
                  <a:pt x="499275" y="109816"/>
                </a:lnTo>
                <a:close/>
              </a:path>
              <a:path w="873760" h="125095">
                <a:moveTo>
                  <a:pt x="550295" y="66268"/>
                </a:moveTo>
                <a:lnTo>
                  <a:pt x="503072" y="66268"/>
                </a:lnTo>
                <a:lnTo>
                  <a:pt x="531545" y="119291"/>
                </a:lnTo>
                <a:lnTo>
                  <a:pt x="533438" y="121183"/>
                </a:lnTo>
                <a:lnTo>
                  <a:pt x="588492" y="121183"/>
                </a:lnTo>
                <a:lnTo>
                  <a:pt x="588492" y="111709"/>
                </a:lnTo>
                <a:lnTo>
                  <a:pt x="586600" y="111709"/>
                </a:lnTo>
                <a:lnTo>
                  <a:pt x="580897" y="109816"/>
                </a:lnTo>
                <a:lnTo>
                  <a:pt x="577100" y="109816"/>
                </a:lnTo>
                <a:lnTo>
                  <a:pt x="575208" y="107924"/>
                </a:lnTo>
                <a:lnTo>
                  <a:pt x="573303" y="104140"/>
                </a:lnTo>
                <a:lnTo>
                  <a:pt x="550295" y="66268"/>
                </a:lnTo>
                <a:close/>
              </a:path>
              <a:path w="873760" h="125095">
                <a:moveTo>
                  <a:pt x="501167" y="13258"/>
                </a:moveTo>
                <a:lnTo>
                  <a:pt x="444220" y="13258"/>
                </a:lnTo>
                <a:lnTo>
                  <a:pt x="449910" y="15151"/>
                </a:lnTo>
                <a:lnTo>
                  <a:pt x="451815" y="17043"/>
                </a:lnTo>
                <a:lnTo>
                  <a:pt x="451815" y="107924"/>
                </a:lnTo>
                <a:lnTo>
                  <a:pt x="449910" y="109816"/>
                </a:lnTo>
                <a:lnTo>
                  <a:pt x="495477" y="109816"/>
                </a:lnTo>
                <a:lnTo>
                  <a:pt x="493572" y="107924"/>
                </a:lnTo>
                <a:lnTo>
                  <a:pt x="493572" y="71945"/>
                </a:lnTo>
                <a:lnTo>
                  <a:pt x="503072" y="66268"/>
                </a:lnTo>
                <a:lnTo>
                  <a:pt x="550295" y="66268"/>
                </a:lnTo>
                <a:lnTo>
                  <a:pt x="543398" y="54914"/>
                </a:lnTo>
                <a:lnTo>
                  <a:pt x="493572" y="54914"/>
                </a:lnTo>
                <a:lnTo>
                  <a:pt x="493572" y="17043"/>
                </a:lnTo>
                <a:lnTo>
                  <a:pt x="495477" y="15151"/>
                </a:lnTo>
                <a:lnTo>
                  <a:pt x="501167" y="13258"/>
                </a:lnTo>
                <a:close/>
              </a:path>
              <a:path w="873760" h="125095">
                <a:moveTo>
                  <a:pt x="577100" y="1892"/>
                </a:moveTo>
                <a:lnTo>
                  <a:pt x="527748" y="1892"/>
                </a:lnTo>
                <a:lnTo>
                  <a:pt x="527748" y="13258"/>
                </a:lnTo>
                <a:lnTo>
                  <a:pt x="537235" y="13258"/>
                </a:lnTo>
                <a:lnTo>
                  <a:pt x="537235" y="18935"/>
                </a:lnTo>
                <a:lnTo>
                  <a:pt x="535343" y="20828"/>
                </a:lnTo>
                <a:lnTo>
                  <a:pt x="529640" y="24612"/>
                </a:lnTo>
                <a:lnTo>
                  <a:pt x="493572" y="54914"/>
                </a:lnTo>
                <a:lnTo>
                  <a:pt x="543398" y="54914"/>
                </a:lnTo>
                <a:lnTo>
                  <a:pt x="535343" y="41656"/>
                </a:lnTo>
                <a:lnTo>
                  <a:pt x="558126" y="20828"/>
                </a:lnTo>
                <a:lnTo>
                  <a:pt x="561924" y="17043"/>
                </a:lnTo>
                <a:lnTo>
                  <a:pt x="565721" y="15151"/>
                </a:lnTo>
                <a:lnTo>
                  <a:pt x="569506" y="15151"/>
                </a:lnTo>
                <a:lnTo>
                  <a:pt x="577100" y="13258"/>
                </a:lnTo>
                <a:lnTo>
                  <a:pt x="577100" y="11353"/>
                </a:lnTo>
                <a:lnTo>
                  <a:pt x="579005" y="11353"/>
                </a:lnTo>
                <a:lnTo>
                  <a:pt x="579005" y="3784"/>
                </a:lnTo>
                <a:lnTo>
                  <a:pt x="577100" y="1892"/>
                </a:lnTo>
                <a:close/>
              </a:path>
              <a:path w="873760" h="125095">
                <a:moveTo>
                  <a:pt x="506869" y="1892"/>
                </a:moveTo>
                <a:lnTo>
                  <a:pt x="436625" y="1892"/>
                </a:lnTo>
                <a:lnTo>
                  <a:pt x="434733" y="3784"/>
                </a:lnTo>
                <a:lnTo>
                  <a:pt x="434733" y="11353"/>
                </a:lnTo>
                <a:lnTo>
                  <a:pt x="436625" y="13258"/>
                </a:lnTo>
                <a:lnTo>
                  <a:pt x="504964" y="13258"/>
                </a:lnTo>
                <a:lnTo>
                  <a:pt x="506869" y="11353"/>
                </a:lnTo>
                <a:lnTo>
                  <a:pt x="506869" y="1892"/>
                </a:lnTo>
                <a:close/>
              </a:path>
              <a:path w="873760" h="125095">
                <a:moveTo>
                  <a:pt x="708152" y="1892"/>
                </a:moveTo>
                <a:lnTo>
                  <a:pt x="597992" y="1892"/>
                </a:lnTo>
                <a:lnTo>
                  <a:pt x="597992" y="13258"/>
                </a:lnTo>
                <a:lnTo>
                  <a:pt x="599884" y="13258"/>
                </a:lnTo>
                <a:lnTo>
                  <a:pt x="607479" y="15151"/>
                </a:lnTo>
                <a:lnTo>
                  <a:pt x="611276" y="15151"/>
                </a:lnTo>
                <a:lnTo>
                  <a:pt x="613168" y="17043"/>
                </a:lnTo>
                <a:lnTo>
                  <a:pt x="613168" y="107924"/>
                </a:lnTo>
                <a:lnTo>
                  <a:pt x="611276" y="109816"/>
                </a:lnTo>
                <a:lnTo>
                  <a:pt x="607479" y="109816"/>
                </a:lnTo>
                <a:lnTo>
                  <a:pt x="599884" y="111709"/>
                </a:lnTo>
                <a:lnTo>
                  <a:pt x="597992" y="111709"/>
                </a:lnTo>
                <a:lnTo>
                  <a:pt x="597992" y="121183"/>
                </a:lnTo>
                <a:lnTo>
                  <a:pt x="713740" y="121183"/>
                </a:lnTo>
                <a:lnTo>
                  <a:pt x="713740" y="107924"/>
                </a:lnTo>
                <a:lnTo>
                  <a:pt x="654938" y="107924"/>
                </a:lnTo>
                <a:lnTo>
                  <a:pt x="654938" y="66268"/>
                </a:lnTo>
                <a:lnTo>
                  <a:pt x="685291" y="66268"/>
                </a:lnTo>
                <a:lnTo>
                  <a:pt x="685291" y="53022"/>
                </a:lnTo>
                <a:lnTo>
                  <a:pt x="654938" y="53022"/>
                </a:lnTo>
                <a:lnTo>
                  <a:pt x="654938" y="17043"/>
                </a:lnTo>
                <a:lnTo>
                  <a:pt x="709929" y="17043"/>
                </a:lnTo>
                <a:lnTo>
                  <a:pt x="709929" y="3784"/>
                </a:lnTo>
                <a:lnTo>
                  <a:pt x="708152" y="1892"/>
                </a:lnTo>
                <a:close/>
              </a:path>
              <a:path w="873760" h="125095">
                <a:moveTo>
                  <a:pt x="713740" y="83312"/>
                </a:moveTo>
                <a:lnTo>
                  <a:pt x="698627" y="83312"/>
                </a:lnTo>
                <a:lnTo>
                  <a:pt x="698627" y="85204"/>
                </a:lnTo>
                <a:lnTo>
                  <a:pt x="692912" y="102247"/>
                </a:lnTo>
                <a:lnTo>
                  <a:pt x="692912" y="106032"/>
                </a:lnTo>
                <a:lnTo>
                  <a:pt x="689102" y="107924"/>
                </a:lnTo>
                <a:lnTo>
                  <a:pt x="713740" y="107924"/>
                </a:lnTo>
                <a:lnTo>
                  <a:pt x="713740" y="83312"/>
                </a:lnTo>
                <a:close/>
              </a:path>
              <a:path w="873760" h="125095">
                <a:moveTo>
                  <a:pt x="685291" y="66268"/>
                </a:moveTo>
                <a:lnTo>
                  <a:pt x="670179" y="66268"/>
                </a:lnTo>
                <a:lnTo>
                  <a:pt x="672084" y="68160"/>
                </a:lnTo>
                <a:lnTo>
                  <a:pt x="672084" y="71945"/>
                </a:lnTo>
                <a:lnTo>
                  <a:pt x="673862" y="77635"/>
                </a:lnTo>
                <a:lnTo>
                  <a:pt x="673862" y="79527"/>
                </a:lnTo>
                <a:lnTo>
                  <a:pt x="685291" y="79527"/>
                </a:lnTo>
                <a:lnTo>
                  <a:pt x="685291" y="66268"/>
                </a:lnTo>
                <a:close/>
              </a:path>
              <a:path w="873760" h="125095">
                <a:moveTo>
                  <a:pt x="685291" y="39763"/>
                </a:moveTo>
                <a:lnTo>
                  <a:pt x="673862" y="39763"/>
                </a:lnTo>
                <a:lnTo>
                  <a:pt x="673862" y="43548"/>
                </a:lnTo>
                <a:lnTo>
                  <a:pt x="672084" y="49225"/>
                </a:lnTo>
                <a:lnTo>
                  <a:pt x="672084" y="53022"/>
                </a:lnTo>
                <a:lnTo>
                  <a:pt x="685291" y="53022"/>
                </a:lnTo>
                <a:lnTo>
                  <a:pt x="685291" y="39763"/>
                </a:lnTo>
                <a:close/>
              </a:path>
              <a:path w="873760" h="125095">
                <a:moveTo>
                  <a:pt x="709929" y="17043"/>
                </a:moveTo>
                <a:lnTo>
                  <a:pt x="687197" y="17043"/>
                </a:lnTo>
                <a:lnTo>
                  <a:pt x="689102" y="22720"/>
                </a:lnTo>
                <a:lnTo>
                  <a:pt x="694816" y="34086"/>
                </a:lnTo>
                <a:lnTo>
                  <a:pt x="698627" y="37871"/>
                </a:lnTo>
                <a:lnTo>
                  <a:pt x="708152" y="37871"/>
                </a:lnTo>
                <a:lnTo>
                  <a:pt x="709929" y="35979"/>
                </a:lnTo>
                <a:lnTo>
                  <a:pt x="709929" y="17043"/>
                </a:lnTo>
                <a:close/>
              </a:path>
              <a:path w="873760" h="125095">
                <a:moveTo>
                  <a:pt x="799210" y="111709"/>
                </a:moveTo>
                <a:lnTo>
                  <a:pt x="728979" y="111709"/>
                </a:lnTo>
                <a:lnTo>
                  <a:pt x="728979" y="121183"/>
                </a:lnTo>
                <a:lnTo>
                  <a:pt x="799210" y="121183"/>
                </a:lnTo>
                <a:lnTo>
                  <a:pt x="799210" y="111709"/>
                </a:lnTo>
                <a:close/>
              </a:path>
              <a:path w="873760" h="125095">
                <a:moveTo>
                  <a:pt x="840786" y="71945"/>
                </a:moveTo>
                <a:lnTo>
                  <a:pt x="799210" y="71945"/>
                </a:lnTo>
                <a:lnTo>
                  <a:pt x="820038" y="119291"/>
                </a:lnTo>
                <a:lnTo>
                  <a:pt x="821944" y="121183"/>
                </a:lnTo>
                <a:lnTo>
                  <a:pt x="873252" y="121183"/>
                </a:lnTo>
                <a:lnTo>
                  <a:pt x="873252" y="111709"/>
                </a:lnTo>
                <a:lnTo>
                  <a:pt x="871347" y="111709"/>
                </a:lnTo>
                <a:lnTo>
                  <a:pt x="863727" y="109816"/>
                </a:lnTo>
                <a:lnTo>
                  <a:pt x="859916" y="109816"/>
                </a:lnTo>
                <a:lnTo>
                  <a:pt x="858012" y="107924"/>
                </a:lnTo>
                <a:lnTo>
                  <a:pt x="856107" y="104140"/>
                </a:lnTo>
                <a:lnTo>
                  <a:pt x="840786" y="71945"/>
                </a:lnTo>
                <a:close/>
              </a:path>
              <a:path w="873760" h="125095">
                <a:moveTo>
                  <a:pt x="791591" y="109816"/>
                </a:moveTo>
                <a:lnTo>
                  <a:pt x="738504" y="109816"/>
                </a:lnTo>
                <a:lnTo>
                  <a:pt x="730885" y="111709"/>
                </a:lnTo>
                <a:lnTo>
                  <a:pt x="797306" y="111709"/>
                </a:lnTo>
                <a:lnTo>
                  <a:pt x="791591" y="109816"/>
                </a:lnTo>
                <a:close/>
              </a:path>
              <a:path w="873760" h="125095">
                <a:moveTo>
                  <a:pt x="787781" y="13258"/>
                </a:moveTo>
                <a:lnTo>
                  <a:pt x="730885" y="13258"/>
                </a:lnTo>
                <a:lnTo>
                  <a:pt x="740410" y="15151"/>
                </a:lnTo>
                <a:lnTo>
                  <a:pt x="744219" y="15151"/>
                </a:lnTo>
                <a:lnTo>
                  <a:pt x="745997" y="17043"/>
                </a:lnTo>
                <a:lnTo>
                  <a:pt x="745997" y="107924"/>
                </a:lnTo>
                <a:lnTo>
                  <a:pt x="744219" y="109816"/>
                </a:lnTo>
                <a:lnTo>
                  <a:pt x="787781" y="109816"/>
                </a:lnTo>
                <a:lnTo>
                  <a:pt x="787781" y="71945"/>
                </a:lnTo>
                <a:lnTo>
                  <a:pt x="840786" y="71945"/>
                </a:lnTo>
                <a:lnTo>
                  <a:pt x="837184" y="64376"/>
                </a:lnTo>
                <a:lnTo>
                  <a:pt x="845260" y="60471"/>
                </a:lnTo>
                <a:lnTo>
                  <a:pt x="847205" y="58699"/>
                </a:lnTo>
                <a:lnTo>
                  <a:pt x="787781" y="58699"/>
                </a:lnTo>
                <a:lnTo>
                  <a:pt x="787781" y="13258"/>
                </a:lnTo>
                <a:close/>
              </a:path>
              <a:path w="873760" h="125095">
                <a:moveTo>
                  <a:pt x="810641" y="1892"/>
                </a:moveTo>
                <a:lnTo>
                  <a:pt x="728979" y="1892"/>
                </a:lnTo>
                <a:lnTo>
                  <a:pt x="728979" y="13258"/>
                </a:lnTo>
                <a:lnTo>
                  <a:pt x="795401" y="13258"/>
                </a:lnTo>
                <a:lnTo>
                  <a:pt x="802395" y="14944"/>
                </a:lnTo>
                <a:lnTo>
                  <a:pt x="808497" y="19646"/>
                </a:lnTo>
                <a:lnTo>
                  <a:pt x="812813" y="26835"/>
                </a:lnTo>
                <a:lnTo>
                  <a:pt x="814451" y="35979"/>
                </a:lnTo>
                <a:lnTo>
                  <a:pt x="812784" y="45915"/>
                </a:lnTo>
                <a:lnTo>
                  <a:pt x="808259" y="53016"/>
                </a:lnTo>
                <a:lnTo>
                  <a:pt x="801592" y="57278"/>
                </a:lnTo>
                <a:lnTo>
                  <a:pt x="793496" y="58699"/>
                </a:lnTo>
                <a:lnTo>
                  <a:pt x="847205" y="58699"/>
                </a:lnTo>
                <a:lnTo>
                  <a:pt x="851884" y="54435"/>
                </a:lnTo>
                <a:lnTo>
                  <a:pt x="856364" y="46270"/>
                </a:lnTo>
                <a:lnTo>
                  <a:pt x="858012" y="35979"/>
                </a:lnTo>
                <a:lnTo>
                  <a:pt x="854878" y="21866"/>
                </a:lnTo>
                <a:lnTo>
                  <a:pt x="845708" y="11125"/>
                </a:lnTo>
                <a:lnTo>
                  <a:pt x="830847" y="4289"/>
                </a:lnTo>
                <a:lnTo>
                  <a:pt x="810641" y="1892"/>
                </a:lnTo>
                <a:close/>
              </a:path>
            </a:pathLst>
          </a:custGeom>
          <a:solidFill>
            <a:srgbClr val="4A4A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72147" y="1739455"/>
            <a:ext cx="5847683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923119" y="1739455"/>
            <a:ext cx="5847683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226036"/>
            <a:ext cx="13440155" cy="9035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228090"/>
            <a:ext cx="13439775" cy="9651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6904634"/>
            <a:ext cx="13440155" cy="8839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908164"/>
            <a:ext cx="13439775" cy="6350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99288" y="6803135"/>
            <a:ext cx="12641579" cy="108204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594359" y="7130795"/>
            <a:ext cx="970915" cy="216535"/>
          </a:xfrm>
          <a:custGeom>
            <a:avLst/>
            <a:gdLst/>
            <a:ahLst/>
            <a:cxnLst/>
            <a:rect l="l" t="t" r="r" b="b"/>
            <a:pathLst>
              <a:path w="970915" h="216534">
                <a:moveTo>
                  <a:pt x="946150" y="0"/>
                </a:moveTo>
                <a:lnTo>
                  <a:pt x="24701" y="0"/>
                </a:lnTo>
                <a:lnTo>
                  <a:pt x="15232" y="1987"/>
                </a:lnTo>
                <a:lnTo>
                  <a:pt x="7364" y="7356"/>
                </a:lnTo>
                <a:lnTo>
                  <a:pt x="1989" y="15216"/>
                </a:lnTo>
                <a:lnTo>
                  <a:pt x="0" y="24676"/>
                </a:lnTo>
                <a:lnTo>
                  <a:pt x="0" y="191731"/>
                </a:lnTo>
                <a:lnTo>
                  <a:pt x="1989" y="201191"/>
                </a:lnTo>
                <a:lnTo>
                  <a:pt x="7364" y="209051"/>
                </a:lnTo>
                <a:lnTo>
                  <a:pt x="15232" y="214420"/>
                </a:lnTo>
                <a:lnTo>
                  <a:pt x="24701" y="216408"/>
                </a:lnTo>
                <a:lnTo>
                  <a:pt x="946150" y="216408"/>
                </a:lnTo>
                <a:lnTo>
                  <a:pt x="955571" y="214420"/>
                </a:lnTo>
                <a:lnTo>
                  <a:pt x="963422" y="209051"/>
                </a:lnTo>
                <a:lnTo>
                  <a:pt x="968795" y="201191"/>
                </a:lnTo>
                <a:lnTo>
                  <a:pt x="970788" y="191731"/>
                </a:lnTo>
                <a:lnTo>
                  <a:pt x="970788" y="24676"/>
                </a:lnTo>
                <a:lnTo>
                  <a:pt x="968795" y="15216"/>
                </a:lnTo>
                <a:lnTo>
                  <a:pt x="963422" y="7356"/>
                </a:lnTo>
                <a:lnTo>
                  <a:pt x="955571" y="1987"/>
                </a:lnTo>
                <a:lnTo>
                  <a:pt x="946150" y="0"/>
                </a:lnTo>
                <a:close/>
              </a:path>
            </a:pathLst>
          </a:custGeom>
          <a:solidFill>
            <a:srgbClr val="4A4A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608075" y="7144511"/>
            <a:ext cx="943610" cy="189230"/>
          </a:xfrm>
          <a:custGeom>
            <a:avLst/>
            <a:gdLst/>
            <a:ahLst/>
            <a:cxnLst/>
            <a:rect l="l" t="t" r="r" b="b"/>
            <a:pathLst>
              <a:path w="943610" h="189229">
                <a:moveTo>
                  <a:pt x="939545" y="0"/>
                </a:moveTo>
                <a:lnTo>
                  <a:pt x="931926" y="0"/>
                </a:lnTo>
                <a:lnTo>
                  <a:pt x="5689" y="0"/>
                </a:lnTo>
                <a:lnTo>
                  <a:pt x="0" y="3784"/>
                </a:lnTo>
                <a:lnTo>
                  <a:pt x="0" y="183311"/>
                </a:lnTo>
                <a:lnTo>
                  <a:pt x="5689" y="188975"/>
                </a:lnTo>
                <a:lnTo>
                  <a:pt x="939545" y="188975"/>
                </a:lnTo>
                <a:lnTo>
                  <a:pt x="943356" y="183311"/>
                </a:lnTo>
                <a:lnTo>
                  <a:pt x="943356" y="3784"/>
                </a:lnTo>
                <a:lnTo>
                  <a:pt x="93954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633983" y="7176515"/>
            <a:ext cx="873760" cy="125095"/>
          </a:xfrm>
          <a:custGeom>
            <a:avLst/>
            <a:gdLst/>
            <a:ahLst/>
            <a:cxnLst/>
            <a:rect l="l" t="t" r="r" b="b"/>
            <a:pathLst>
              <a:path w="873760" h="125095">
                <a:moveTo>
                  <a:pt x="375881" y="0"/>
                </a:moveTo>
                <a:lnTo>
                  <a:pt x="346691" y="4437"/>
                </a:lnTo>
                <a:lnTo>
                  <a:pt x="323195" y="17043"/>
                </a:lnTo>
                <a:lnTo>
                  <a:pt x="307535" y="36743"/>
                </a:lnTo>
                <a:lnTo>
                  <a:pt x="301840" y="62484"/>
                </a:lnTo>
                <a:lnTo>
                  <a:pt x="307269" y="87425"/>
                </a:lnTo>
                <a:lnTo>
                  <a:pt x="322487" y="107218"/>
                </a:lnTo>
                <a:lnTo>
                  <a:pt x="345892" y="120264"/>
                </a:lnTo>
                <a:lnTo>
                  <a:pt x="375881" y="124968"/>
                </a:lnTo>
                <a:lnTo>
                  <a:pt x="386887" y="124613"/>
                </a:lnTo>
                <a:lnTo>
                  <a:pt x="397000" y="123548"/>
                </a:lnTo>
                <a:lnTo>
                  <a:pt x="406044" y="121774"/>
                </a:lnTo>
                <a:lnTo>
                  <a:pt x="413842" y="119291"/>
                </a:lnTo>
                <a:lnTo>
                  <a:pt x="417639" y="117398"/>
                </a:lnTo>
                <a:lnTo>
                  <a:pt x="419544" y="117398"/>
                </a:lnTo>
                <a:lnTo>
                  <a:pt x="419544" y="113601"/>
                </a:lnTo>
                <a:lnTo>
                  <a:pt x="377774" y="113601"/>
                </a:lnTo>
                <a:lnTo>
                  <a:pt x="365315" y="110139"/>
                </a:lnTo>
                <a:lnTo>
                  <a:pt x="356417" y="100110"/>
                </a:lnTo>
                <a:lnTo>
                  <a:pt x="351079" y="84047"/>
                </a:lnTo>
                <a:lnTo>
                  <a:pt x="349300" y="62484"/>
                </a:lnTo>
                <a:lnTo>
                  <a:pt x="351050" y="40912"/>
                </a:lnTo>
                <a:lnTo>
                  <a:pt x="356181" y="24845"/>
                </a:lnTo>
                <a:lnTo>
                  <a:pt x="364516" y="14815"/>
                </a:lnTo>
                <a:lnTo>
                  <a:pt x="375881" y="11353"/>
                </a:lnTo>
                <a:lnTo>
                  <a:pt x="415747" y="11353"/>
                </a:lnTo>
                <a:lnTo>
                  <a:pt x="415747" y="5676"/>
                </a:lnTo>
                <a:lnTo>
                  <a:pt x="411949" y="3784"/>
                </a:lnTo>
                <a:lnTo>
                  <a:pt x="403908" y="2394"/>
                </a:lnTo>
                <a:lnTo>
                  <a:pt x="394625" y="1182"/>
                </a:lnTo>
                <a:lnTo>
                  <a:pt x="384987" y="325"/>
                </a:lnTo>
                <a:lnTo>
                  <a:pt x="375881" y="0"/>
                </a:lnTo>
                <a:close/>
              </a:path>
              <a:path w="873760" h="125095">
                <a:moveTo>
                  <a:pt x="56946" y="13258"/>
                </a:moveTo>
                <a:lnTo>
                  <a:pt x="7594" y="13258"/>
                </a:lnTo>
                <a:lnTo>
                  <a:pt x="11391" y="15151"/>
                </a:lnTo>
                <a:lnTo>
                  <a:pt x="13284" y="15151"/>
                </a:lnTo>
                <a:lnTo>
                  <a:pt x="15189" y="18935"/>
                </a:lnTo>
                <a:lnTo>
                  <a:pt x="47459" y="119291"/>
                </a:lnTo>
                <a:lnTo>
                  <a:pt x="49352" y="121183"/>
                </a:lnTo>
                <a:lnTo>
                  <a:pt x="74040" y="121183"/>
                </a:lnTo>
                <a:lnTo>
                  <a:pt x="74040" y="119291"/>
                </a:lnTo>
                <a:lnTo>
                  <a:pt x="87433" y="73850"/>
                </a:lnTo>
                <a:lnTo>
                  <a:pt x="72136" y="73850"/>
                </a:lnTo>
                <a:lnTo>
                  <a:pt x="55054" y="20828"/>
                </a:lnTo>
                <a:lnTo>
                  <a:pt x="55054" y="15151"/>
                </a:lnTo>
                <a:lnTo>
                  <a:pt x="56946" y="13258"/>
                </a:lnTo>
                <a:close/>
              </a:path>
              <a:path w="873760" h="125095">
                <a:moveTo>
                  <a:pt x="130470" y="54914"/>
                </a:moveTo>
                <a:lnTo>
                  <a:pt x="93014" y="54914"/>
                </a:lnTo>
                <a:lnTo>
                  <a:pt x="112001" y="119291"/>
                </a:lnTo>
                <a:lnTo>
                  <a:pt x="112001" y="121183"/>
                </a:lnTo>
                <a:lnTo>
                  <a:pt x="136677" y="121183"/>
                </a:lnTo>
                <a:lnTo>
                  <a:pt x="138582" y="119291"/>
                </a:lnTo>
                <a:lnTo>
                  <a:pt x="152018" y="75742"/>
                </a:lnTo>
                <a:lnTo>
                  <a:pt x="136677" y="75742"/>
                </a:lnTo>
                <a:lnTo>
                  <a:pt x="130470" y="54914"/>
                </a:lnTo>
                <a:close/>
              </a:path>
              <a:path w="873760" h="125095">
                <a:moveTo>
                  <a:pt x="206921" y="111709"/>
                </a:moveTo>
                <a:lnTo>
                  <a:pt x="163258" y="111709"/>
                </a:lnTo>
                <a:lnTo>
                  <a:pt x="161366" y="113601"/>
                </a:lnTo>
                <a:lnTo>
                  <a:pt x="161366" y="121183"/>
                </a:lnTo>
                <a:lnTo>
                  <a:pt x="206921" y="121183"/>
                </a:lnTo>
                <a:lnTo>
                  <a:pt x="206921" y="111709"/>
                </a:lnTo>
                <a:close/>
              </a:path>
              <a:path w="873760" h="125095">
                <a:moveTo>
                  <a:pt x="305638" y="111709"/>
                </a:moveTo>
                <a:lnTo>
                  <a:pt x="233502" y="111709"/>
                </a:lnTo>
                <a:lnTo>
                  <a:pt x="231597" y="113601"/>
                </a:lnTo>
                <a:lnTo>
                  <a:pt x="231597" y="121183"/>
                </a:lnTo>
                <a:lnTo>
                  <a:pt x="305638" y="121183"/>
                </a:lnTo>
                <a:lnTo>
                  <a:pt x="305638" y="111709"/>
                </a:lnTo>
                <a:close/>
              </a:path>
              <a:path w="873760" h="125095">
                <a:moveTo>
                  <a:pt x="417639" y="83312"/>
                </a:moveTo>
                <a:lnTo>
                  <a:pt x="404355" y="83312"/>
                </a:lnTo>
                <a:lnTo>
                  <a:pt x="402450" y="85204"/>
                </a:lnTo>
                <a:lnTo>
                  <a:pt x="402450" y="87096"/>
                </a:lnTo>
                <a:lnTo>
                  <a:pt x="396760" y="100355"/>
                </a:lnTo>
                <a:lnTo>
                  <a:pt x="394855" y="107924"/>
                </a:lnTo>
                <a:lnTo>
                  <a:pt x="389166" y="113601"/>
                </a:lnTo>
                <a:lnTo>
                  <a:pt x="419544" y="113601"/>
                </a:lnTo>
                <a:lnTo>
                  <a:pt x="419544" y="85204"/>
                </a:lnTo>
                <a:lnTo>
                  <a:pt x="417639" y="83312"/>
                </a:lnTo>
                <a:close/>
              </a:path>
              <a:path w="873760" h="125095">
                <a:moveTo>
                  <a:pt x="248691" y="1892"/>
                </a:moveTo>
                <a:lnTo>
                  <a:pt x="218312" y="1892"/>
                </a:lnTo>
                <a:lnTo>
                  <a:pt x="218312" y="3784"/>
                </a:lnTo>
                <a:lnTo>
                  <a:pt x="216420" y="5676"/>
                </a:lnTo>
                <a:lnTo>
                  <a:pt x="176542" y="102247"/>
                </a:lnTo>
                <a:lnTo>
                  <a:pt x="174650" y="107924"/>
                </a:lnTo>
                <a:lnTo>
                  <a:pt x="172758" y="109816"/>
                </a:lnTo>
                <a:lnTo>
                  <a:pt x="167055" y="111709"/>
                </a:lnTo>
                <a:lnTo>
                  <a:pt x="199326" y="111709"/>
                </a:lnTo>
                <a:lnTo>
                  <a:pt x="193636" y="109816"/>
                </a:lnTo>
                <a:lnTo>
                  <a:pt x="191731" y="109816"/>
                </a:lnTo>
                <a:lnTo>
                  <a:pt x="191731" y="102247"/>
                </a:lnTo>
                <a:lnTo>
                  <a:pt x="193636" y="98463"/>
                </a:lnTo>
                <a:lnTo>
                  <a:pt x="193636" y="96570"/>
                </a:lnTo>
                <a:lnTo>
                  <a:pt x="197434" y="88988"/>
                </a:lnTo>
                <a:lnTo>
                  <a:pt x="283357" y="88988"/>
                </a:lnTo>
                <a:lnTo>
                  <a:pt x="277845" y="75742"/>
                </a:lnTo>
                <a:lnTo>
                  <a:pt x="201231" y="75742"/>
                </a:lnTo>
                <a:lnTo>
                  <a:pt x="218312" y="34086"/>
                </a:lnTo>
                <a:lnTo>
                  <a:pt x="260512" y="34086"/>
                </a:lnTo>
                <a:lnTo>
                  <a:pt x="248691" y="5676"/>
                </a:lnTo>
                <a:lnTo>
                  <a:pt x="248691" y="1892"/>
                </a:lnTo>
                <a:close/>
              </a:path>
              <a:path w="873760" h="125095">
                <a:moveTo>
                  <a:pt x="283357" y="88988"/>
                </a:moveTo>
                <a:lnTo>
                  <a:pt x="239191" y="88988"/>
                </a:lnTo>
                <a:lnTo>
                  <a:pt x="244894" y="104140"/>
                </a:lnTo>
                <a:lnTo>
                  <a:pt x="246786" y="107924"/>
                </a:lnTo>
                <a:lnTo>
                  <a:pt x="244894" y="111709"/>
                </a:lnTo>
                <a:lnTo>
                  <a:pt x="296151" y="111709"/>
                </a:lnTo>
                <a:lnTo>
                  <a:pt x="292353" y="109816"/>
                </a:lnTo>
                <a:lnTo>
                  <a:pt x="290449" y="107924"/>
                </a:lnTo>
                <a:lnTo>
                  <a:pt x="290449" y="106032"/>
                </a:lnTo>
                <a:lnTo>
                  <a:pt x="283357" y="88988"/>
                </a:lnTo>
                <a:close/>
              </a:path>
              <a:path w="873760" h="125095">
                <a:moveTo>
                  <a:pt x="176542" y="13258"/>
                </a:moveTo>
                <a:lnTo>
                  <a:pt x="151866" y="13258"/>
                </a:lnTo>
                <a:lnTo>
                  <a:pt x="153771" y="15151"/>
                </a:lnTo>
                <a:lnTo>
                  <a:pt x="153771" y="18935"/>
                </a:lnTo>
                <a:lnTo>
                  <a:pt x="151866" y="22720"/>
                </a:lnTo>
                <a:lnTo>
                  <a:pt x="151797" y="24845"/>
                </a:lnTo>
                <a:lnTo>
                  <a:pt x="136677" y="75742"/>
                </a:lnTo>
                <a:lnTo>
                  <a:pt x="152018" y="75742"/>
                </a:lnTo>
                <a:lnTo>
                  <a:pt x="168960" y="20828"/>
                </a:lnTo>
                <a:lnTo>
                  <a:pt x="170853" y="17043"/>
                </a:lnTo>
                <a:lnTo>
                  <a:pt x="170853" y="15151"/>
                </a:lnTo>
                <a:lnTo>
                  <a:pt x="176542" y="13258"/>
                </a:lnTo>
                <a:close/>
              </a:path>
              <a:path w="873760" h="125095">
                <a:moveTo>
                  <a:pt x="260512" y="34086"/>
                </a:moveTo>
                <a:lnTo>
                  <a:pt x="218312" y="34086"/>
                </a:lnTo>
                <a:lnTo>
                  <a:pt x="235394" y="75742"/>
                </a:lnTo>
                <a:lnTo>
                  <a:pt x="277845" y="75742"/>
                </a:lnTo>
                <a:lnTo>
                  <a:pt x="260512" y="34086"/>
                </a:lnTo>
                <a:close/>
              </a:path>
              <a:path w="873760" h="125095">
                <a:moveTo>
                  <a:pt x="113906" y="1892"/>
                </a:moveTo>
                <a:lnTo>
                  <a:pt x="91122" y="1892"/>
                </a:lnTo>
                <a:lnTo>
                  <a:pt x="91122" y="5676"/>
                </a:lnTo>
                <a:lnTo>
                  <a:pt x="72136" y="73850"/>
                </a:lnTo>
                <a:lnTo>
                  <a:pt x="87433" y="73850"/>
                </a:lnTo>
                <a:lnTo>
                  <a:pt x="93014" y="54914"/>
                </a:lnTo>
                <a:lnTo>
                  <a:pt x="130470" y="54914"/>
                </a:lnTo>
                <a:lnTo>
                  <a:pt x="115798" y="5676"/>
                </a:lnTo>
                <a:lnTo>
                  <a:pt x="115798" y="3784"/>
                </a:lnTo>
                <a:lnTo>
                  <a:pt x="113906" y="1892"/>
                </a:lnTo>
                <a:close/>
              </a:path>
              <a:path w="873760" h="125095">
                <a:moveTo>
                  <a:pt x="415747" y="11353"/>
                </a:moveTo>
                <a:lnTo>
                  <a:pt x="375881" y="11353"/>
                </a:lnTo>
                <a:lnTo>
                  <a:pt x="383416" y="12124"/>
                </a:lnTo>
                <a:lnTo>
                  <a:pt x="389169" y="14671"/>
                </a:lnTo>
                <a:lnTo>
                  <a:pt x="393498" y="19347"/>
                </a:lnTo>
                <a:lnTo>
                  <a:pt x="396760" y="26504"/>
                </a:lnTo>
                <a:lnTo>
                  <a:pt x="400557" y="37871"/>
                </a:lnTo>
                <a:lnTo>
                  <a:pt x="402450" y="39763"/>
                </a:lnTo>
                <a:lnTo>
                  <a:pt x="415747" y="39763"/>
                </a:lnTo>
                <a:lnTo>
                  <a:pt x="415747" y="11353"/>
                </a:lnTo>
                <a:close/>
              </a:path>
              <a:path w="873760" h="125095">
                <a:moveTo>
                  <a:pt x="66446" y="1892"/>
                </a:moveTo>
                <a:lnTo>
                  <a:pt x="1892" y="1892"/>
                </a:lnTo>
                <a:lnTo>
                  <a:pt x="0" y="3784"/>
                </a:lnTo>
                <a:lnTo>
                  <a:pt x="0" y="11353"/>
                </a:lnTo>
                <a:lnTo>
                  <a:pt x="1892" y="13258"/>
                </a:lnTo>
                <a:lnTo>
                  <a:pt x="64541" y="13258"/>
                </a:lnTo>
                <a:lnTo>
                  <a:pt x="66446" y="11353"/>
                </a:lnTo>
                <a:lnTo>
                  <a:pt x="68338" y="11353"/>
                </a:lnTo>
                <a:lnTo>
                  <a:pt x="68338" y="3784"/>
                </a:lnTo>
                <a:lnTo>
                  <a:pt x="66446" y="1892"/>
                </a:lnTo>
                <a:close/>
              </a:path>
              <a:path w="873760" h="125095">
                <a:moveTo>
                  <a:pt x="182244" y="1892"/>
                </a:moveTo>
                <a:lnTo>
                  <a:pt x="142379" y="1892"/>
                </a:lnTo>
                <a:lnTo>
                  <a:pt x="142379" y="13258"/>
                </a:lnTo>
                <a:lnTo>
                  <a:pt x="180340" y="13258"/>
                </a:lnTo>
                <a:lnTo>
                  <a:pt x="182244" y="11353"/>
                </a:lnTo>
                <a:lnTo>
                  <a:pt x="182244" y="1892"/>
                </a:lnTo>
                <a:close/>
              </a:path>
              <a:path w="873760" h="125095">
                <a:moveTo>
                  <a:pt x="499275" y="109816"/>
                </a:moveTo>
                <a:lnTo>
                  <a:pt x="444220" y="109816"/>
                </a:lnTo>
                <a:lnTo>
                  <a:pt x="436625" y="111709"/>
                </a:lnTo>
                <a:lnTo>
                  <a:pt x="434733" y="113601"/>
                </a:lnTo>
                <a:lnTo>
                  <a:pt x="434733" y="121183"/>
                </a:lnTo>
                <a:lnTo>
                  <a:pt x="506869" y="121183"/>
                </a:lnTo>
                <a:lnTo>
                  <a:pt x="506869" y="111709"/>
                </a:lnTo>
                <a:lnTo>
                  <a:pt x="504964" y="111709"/>
                </a:lnTo>
                <a:lnTo>
                  <a:pt x="499275" y="109816"/>
                </a:lnTo>
                <a:close/>
              </a:path>
              <a:path w="873760" h="125095">
                <a:moveTo>
                  <a:pt x="550295" y="66268"/>
                </a:moveTo>
                <a:lnTo>
                  <a:pt x="503072" y="66268"/>
                </a:lnTo>
                <a:lnTo>
                  <a:pt x="531545" y="119291"/>
                </a:lnTo>
                <a:lnTo>
                  <a:pt x="533438" y="121183"/>
                </a:lnTo>
                <a:lnTo>
                  <a:pt x="588492" y="121183"/>
                </a:lnTo>
                <a:lnTo>
                  <a:pt x="588492" y="111709"/>
                </a:lnTo>
                <a:lnTo>
                  <a:pt x="586600" y="111709"/>
                </a:lnTo>
                <a:lnTo>
                  <a:pt x="580897" y="109816"/>
                </a:lnTo>
                <a:lnTo>
                  <a:pt x="577100" y="109816"/>
                </a:lnTo>
                <a:lnTo>
                  <a:pt x="575208" y="107924"/>
                </a:lnTo>
                <a:lnTo>
                  <a:pt x="573303" y="104140"/>
                </a:lnTo>
                <a:lnTo>
                  <a:pt x="550295" y="66268"/>
                </a:lnTo>
                <a:close/>
              </a:path>
              <a:path w="873760" h="125095">
                <a:moveTo>
                  <a:pt x="501167" y="13258"/>
                </a:moveTo>
                <a:lnTo>
                  <a:pt x="444220" y="13258"/>
                </a:lnTo>
                <a:lnTo>
                  <a:pt x="449910" y="15151"/>
                </a:lnTo>
                <a:lnTo>
                  <a:pt x="451815" y="17043"/>
                </a:lnTo>
                <a:lnTo>
                  <a:pt x="451815" y="107924"/>
                </a:lnTo>
                <a:lnTo>
                  <a:pt x="449910" y="109816"/>
                </a:lnTo>
                <a:lnTo>
                  <a:pt x="495477" y="109816"/>
                </a:lnTo>
                <a:lnTo>
                  <a:pt x="493572" y="107924"/>
                </a:lnTo>
                <a:lnTo>
                  <a:pt x="493572" y="71945"/>
                </a:lnTo>
                <a:lnTo>
                  <a:pt x="503072" y="66268"/>
                </a:lnTo>
                <a:lnTo>
                  <a:pt x="550295" y="66268"/>
                </a:lnTo>
                <a:lnTo>
                  <a:pt x="543398" y="54914"/>
                </a:lnTo>
                <a:lnTo>
                  <a:pt x="493572" y="54914"/>
                </a:lnTo>
                <a:lnTo>
                  <a:pt x="493572" y="17043"/>
                </a:lnTo>
                <a:lnTo>
                  <a:pt x="495477" y="15151"/>
                </a:lnTo>
                <a:lnTo>
                  <a:pt x="501167" y="13258"/>
                </a:lnTo>
                <a:close/>
              </a:path>
              <a:path w="873760" h="125095">
                <a:moveTo>
                  <a:pt x="577100" y="1892"/>
                </a:moveTo>
                <a:lnTo>
                  <a:pt x="527748" y="1892"/>
                </a:lnTo>
                <a:lnTo>
                  <a:pt x="527748" y="13258"/>
                </a:lnTo>
                <a:lnTo>
                  <a:pt x="537235" y="13258"/>
                </a:lnTo>
                <a:lnTo>
                  <a:pt x="537235" y="18935"/>
                </a:lnTo>
                <a:lnTo>
                  <a:pt x="535343" y="20828"/>
                </a:lnTo>
                <a:lnTo>
                  <a:pt x="529640" y="24612"/>
                </a:lnTo>
                <a:lnTo>
                  <a:pt x="493572" y="54914"/>
                </a:lnTo>
                <a:lnTo>
                  <a:pt x="543398" y="54914"/>
                </a:lnTo>
                <a:lnTo>
                  <a:pt x="535343" y="41656"/>
                </a:lnTo>
                <a:lnTo>
                  <a:pt x="558126" y="20828"/>
                </a:lnTo>
                <a:lnTo>
                  <a:pt x="561924" y="17043"/>
                </a:lnTo>
                <a:lnTo>
                  <a:pt x="565721" y="15151"/>
                </a:lnTo>
                <a:lnTo>
                  <a:pt x="569506" y="15151"/>
                </a:lnTo>
                <a:lnTo>
                  <a:pt x="577100" y="13258"/>
                </a:lnTo>
                <a:lnTo>
                  <a:pt x="577100" y="11353"/>
                </a:lnTo>
                <a:lnTo>
                  <a:pt x="579005" y="11353"/>
                </a:lnTo>
                <a:lnTo>
                  <a:pt x="579005" y="3784"/>
                </a:lnTo>
                <a:lnTo>
                  <a:pt x="577100" y="1892"/>
                </a:lnTo>
                <a:close/>
              </a:path>
              <a:path w="873760" h="125095">
                <a:moveTo>
                  <a:pt x="506869" y="1892"/>
                </a:moveTo>
                <a:lnTo>
                  <a:pt x="436625" y="1892"/>
                </a:lnTo>
                <a:lnTo>
                  <a:pt x="434733" y="3784"/>
                </a:lnTo>
                <a:lnTo>
                  <a:pt x="434733" y="11353"/>
                </a:lnTo>
                <a:lnTo>
                  <a:pt x="436625" y="13258"/>
                </a:lnTo>
                <a:lnTo>
                  <a:pt x="504964" y="13258"/>
                </a:lnTo>
                <a:lnTo>
                  <a:pt x="506869" y="11353"/>
                </a:lnTo>
                <a:lnTo>
                  <a:pt x="506869" y="1892"/>
                </a:lnTo>
                <a:close/>
              </a:path>
              <a:path w="873760" h="125095">
                <a:moveTo>
                  <a:pt x="708152" y="1892"/>
                </a:moveTo>
                <a:lnTo>
                  <a:pt x="597992" y="1892"/>
                </a:lnTo>
                <a:lnTo>
                  <a:pt x="597992" y="13258"/>
                </a:lnTo>
                <a:lnTo>
                  <a:pt x="599884" y="13258"/>
                </a:lnTo>
                <a:lnTo>
                  <a:pt x="607479" y="15151"/>
                </a:lnTo>
                <a:lnTo>
                  <a:pt x="611276" y="15151"/>
                </a:lnTo>
                <a:lnTo>
                  <a:pt x="613168" y="17043"/>
                </a:lnTo>
                <a:lnTo>
                  <a:pt x="613168" y="107924"/>
                </a:lnTo>
                <a:lnTo>
                  <a:pt x="611276" y="109816"/>
                </a:lnTo>
                <a:lnTo>
                  <a:pt x="607479" y="109816"/>
                </a:lnTo>
                <a:lnTo>
                  <a:pt x="599884" y="111709"/>
                </a:lnTo>
                <a:lnTo>
                  <a:pt x="597992" y="111709"/>
                </a:lnTo>
                <a:lnTo>
                  <a:pt x="597992" y="121183"/>
                </a:lnTo>
                <a:lnTo>
                  <a:pt x="713740" y="121183"/>
                </a:lnTo>
                <a:lnTo>
                  <a:pt x="713740" y="107924"/>
                </a:lnTo>
                <a:lnTo>
                  <a:pt x="654938" y="107924"/>
                </a:lnTo>
                <a:lnTo>
                  <a:pt x="654938" y="66268"/>
                </a:lnTo>
                <a:lnTo>
                  <a:pt x="685291" y="66268"/>
                </a:lnTo>
                <a:lnTo>
                  <a:pt x="685291" y="53022"/>
                </a:lnTo>
                <a:lnTo>
                  <a:pt x="654938" y="53022"/>
                </a:lnTo>
                <a:lnTo>
                  <a:pt x="654938" y="17043"/>
                </a:lnTo>
                <a:lnTo>
                  <a:pt x="709929" y="17043"/>
                </a:lnTo>
                <a:lnTo>
                  <a:pt x="709929" y="3784"/>
                </a:lnTo>
                <a:lnTo>
                  <a:pt x="708152" y="1892"/>
                </a:lnTo>
                <a:close/>
              </a:path>
              <a:path w="873760" h="125095">
                <a:moveTo>
                  <a:pt x="713740" y="83312"/>
                </a:moveTo>
                <a:lnTo>
                  <a:pt x="698627" y="83312"/>
                </a:lnTo>
                <a:lnTo>
                  <a:pt x="698627" y="85204"/>
                </a:lnTo>
                <a:lnTo>
                  <a:pt x="692912" y="102247"/>
                </a:lnTo>
                <a:lnTo>
                  <a:pt x="692912" y="106032"/>
                </a:lnTo>
                <a:lnTo>
                  <a:pt x="689102" y="107924"/>
                </a:lnTo>
                <a:lnTo>
                  <a:pt x="713740" y="107924"/>
                </a:lnTo>
                <a:lnTo>
                  <a:pt x="713740" y="83312"/>
                </a:lnTo>
                <a:close/>
              </a:path>
              <a:path w="873760" h="125095">
                <a:moveTo>
                  <a:pt x="685291" y="66268"/>
                </a:moveTo>
                <a:lnTo>
                  <a:pt x="670179" y="66268"/>
                </a:lnTo>
                <a:lnTo>
                  <a:pt x="672084" y="68160"/>
                </a:lnTo>
                <a:lnTo>
                  <a:pt x="672084" y="71945"/>
                </a:lnTo>
                <a:lnTo>
                  <a:pt x="673862" y="77635"/>
                </a:lnTo>
                <a:lnTo>
                  <a:pt x="673862" y="79527"/>
                </a:lnTo>
                <a:lnTo>
                  <a:pt x="685291" y="79527"/>
                </a:lnTo>
                <a:lnTo>
                  <a:pt x="685291" y="66268"/>
                </a:lnTo>
                <a:close/>
              </a:path>
              <a:path w="873760" h="125095">
                <a:moveTo>
                  <a:pt x="685291" y="39763"/>
                </a:moveTo>
                <a:lnTo>
                  <a:pt x="673862" y="39763"/>
                </a:lnTo>
                <a:lnTo>
                  <a:pt x="673862" y="43548"/>
                </a:lnTo>
                <a:lnTo>
                  <a:pt x="672084" y="49225"/>
                </a:lnTo>
                <a:lnTo>
                  <a:pt x="672084" y="53022"/>
                </a:lnTo>
                <a:lnTo>
                  <a:pt x="685291" y="53022"/>
                </a:lnTo>
                <a:lnTo>
                  <a:pt x="685291" y="39763"/>
                </a:lnTo>
                <a:close/>
              </a:path>
              <a:path w="873760" h="125095">
                <a:moveTo>
                  <a:pt x="709929" y="17043"/>
                </a:moveTo>
                <a:lnTo>
                  <a:pt x="687197" y="17043"/>
                </a:lnTo>
                <a:lnTo>
                  <a:pt x="689102" y="22720"/>
                </a:lnTo>
                <a:lnTo>
                  <a:pt x="694816" y="34086"/>
                </a:lnTo>
                <a:lnTo>
                  <a:pt x="698627" y="37871"/>
                </a:lnTo>
                <a:lnTo>
                  <a:pt x="708152" y="37871"/>
                </a:lnTo>
                <a:lnTo>
                  <a:pt x="709929" y="35979"/>
                </a:lnTo>
                <a:lnTo>
                  <a:pt x="709929" y="17043"/>
                </a:lnTo>
                <a:close/>
              </a:path>
              <a:path w="873760" h="125095">
                <a:moveTo>
                  <a:pt x="799210" y="111709"/>
                </a:moveTo>
                <a:lnTo>
                  <a:pt x="728979" y="111709"/>
                </a:lnTo>
                <a:lnTo>
                  <a:pt x="728979" y="121183"/>
                </a:lnTo>
                <a:lnTo>
                  <a:pt x="799210" y="121183"/>
                </a:lnTo>
                <a:lnTo>
                  <a:pt x="799210" y="111709"/>
                </a:lnTo>
                <a:close/>
              </a:path>
              <a:path w="873760" h="125095">
                <a:moveTo>
                  <a:pt x="840786" y="71945"/>
                </a:moveTo>
                <a:lnTo>
                  <a:pt x="799210" y="71945"/>
                </a:lnTo>
                <a:lnTo>
                  <a:pt x="820038" y="119291"/>
                </a:lnTo>
                <a:lnTo>
                  <a:pt x="821944" y="121183"/>
                </a:lnTo>
                <a:lnTo>
                  <a:pt x="873252" y="121183"/>
                </a:lnTo>
                <a:lnTo>
                  <a:pt x="873252" y="111709"/>
                </a:lnTo>
                <a:lnTo>
                  <a:pt x="871347" y="111709"/>
                </a:lnTo>
                <a:lnTo>
                  <a:pt x="863727" y="109816"/>
                </a:lnTo>
                <a:lnTo>
                  <a:pt x="859916" y="109816"/>
                </a:lnTo>
                <a:lnTo>
                  <a:pt x="858012" y="107924"/>
                </a:lnTo>
                <a:lnTo>
                  <a:pt x="856107" y="104140"/>
                </a:lnTo>
                <a:lnTo>
                  <a:pt x="840786" y="71945"/>
                </a:lnTo>
                <a:close/>
              </a:path>
              <a:path w="873760" h="125095">
                <a:moveTo>
                  <a:pt x="791591" y="109816"/>
                </a:moveTo>
                <a:lnTo>
                  <a:pt x="738504" y="109816"/>
                </a:lnTo>
                <a:lnTo>
                  <a:pt x="730885" y="111709"/>
                </a:lnTo>
                <a:lnTo>
                  <a:pt x="797306" y="111709"/>
                </a:lnTo>
                <a:lnTo>
                  <a:pt x="791591" y="109816"/>
                </a:lnTo>
                <a:close/>
              </a:path>
              <a:path w="873760" h="125095">
                <a:moveTo>
                  <a:pt x="787781" y="13258"/>
                </a:moveTo>
                <a:lnTo>
                  <a:pt x="730885" y="13258"/>
                </a:lnTo>
                <a:lnTo>
                  <a:pt x="740410" y="15151"/>
                </a:lnTo>
                <a:lnTo>
                  <a:pt x="744219" y="15151"/>
                </a:lnTo>
                <a:lnTo>
                  <a:pt x="745997" y="17043"/>
                </a:lnTo>
                <a:lnTo>
                  <a:pt x="745997" y="107924"/>
                </a:lnTo>
                <a:lnTo>
                  <a:pt x="744219" y="109816"/>
                </a:lnTo>
                <a:lnTo>
                  <a:pt x="787781" y="109816"/>
                </a:lnTo>
                <a:lnTo>
                  <a:pt x="787781" y="71945"/>
                </a:lnTo>
                <a:lnTo>
                  <a:pt x="840786" y="71945"/>
                </a:lnTo>
                <a:lnTo>
                  <a:pt x="837184" y="64376"/>
                </a:lnTo>
                <a:lnTo>
                  <a:pt x="845260" y="60471"/>
                </a:lnTo>
                <a:lnTo>
                  <a:pt x="847205" y="58699"/>
                </a:lnTo>
                <a:lnTo>
                  <a:pt x="787781" y="58699"/>
                </a:lnTo>
                <a:lnTo>
                  <a:pt x="787781" y="13258"/>
                </a:lnTo>
                <a:close/>
              </a:path>
              <a:path w="873760" h="125095">
                <a:moveTo>
                  <a:pt x="810641" y="1892"/>
                </a:moveTo>
                <a:lnTo>
                  <a:pt x="728979" y="1892"/>
                </a:lnTo>
                <a:lnTo>
                  <a:pt x="728979" y="13258"/>
                </a:lnTo>
                <a:lnTo>
                  <a:pt x="795401" y="13258"/>
                </a:lnTo>
                <a:lnTo>
                  <a:pt x="802395" y="14944"/>
                </a:lnTo>
                <a:lnTo>
                  <a:pt x="808497" y="19646"/>
                </a:lnTo>
                <a:lnTo>
                  <a:pt x="812813" y="26835"/>
                </a:lnTo>
                <a:lnTo>
                  <a:pt x="814451" y="35979"/>
                </a:lnTo>
                <a:lnTo>
                  <a:pt x="812784" y="45915"/>
                </a:lnTo>
                <a:lnTo>
                  <a:pt x="808259" y="53016"/>
                </a:lnTo>
                <a:lnTo>
                  <a:pt x="801592" y="57278"/>
                </a:lnTo>
                <a:lnTo>
                  <a:pt x="793496" y="58699"/>
                </a:lnTo>
                <a:lnTo>
                  <a:pt x="847205" y="58699"/>
                </a:lnTo>
                <a:lnTo>
                  <a:pt x="851884" y="54435"/>
                </a:lnTo>
                <a:lnTo>
                  <a:pt x="856364" y="46270"/>
                </a:lnTo>
                <a:lnTo>
                  <a:pt x="858012" y="35979"/>
                </a:lnTo>
                <a:lnTo>
                  <a:pt x="854878" y="21866"/>
                </a:lnTo>
                <a:lnTo>
                  <a:pt x="845708" y="11125"/>
                </a:lnTo>
                <a:lnTo>
                  <a:pt x="830847" y="4289"/>
                </a:lnTo>
                <a:lnTo>
                  <a:pt x="810641" y="1892"/>
                </a:lnTo>
                <a:close/>
              </a:path>
            </a:pathLst>
          </a:custGeom>
          <a:solidFill>
            <a:srgbClr val="4A4A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3440155" cy="756056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 bwMode="gray">
          <a:xfrm>
            <a:off x="653104" y="6684426"/>
            <a:ext cx="12125635" cy="232176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10" indent="-342710" algn="r" defTabSz="1042479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21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10" lvl="0" indent="-342710" algn="r" defTabSz="1042479" eaLnBrk="0" fontAlgn="auto" hangingPunct="0">
              <a:spcBef>
                <a:spcPts val="0"/>
              </a:spcBef>
              <a:spcAft>
                <a:spcPts val="0"/>
              </a:spcAft>
              <a:tabLst>
                <a:tab pos="187221" algn="l"/>
              </a:tabLst>
            </a:pPr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53103" y="194443"/>
            <a:ext cx="12125635" cy="3693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81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104"/>
            <a:ext cx="13444682" cy="7565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4961" y="4864018"/>
            <a:ext cx="13459646" cy="2698833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99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799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791941" y="5030255"/>
            <a:ext cx="11842772" cy="1298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791942" y="6521040"/>
            <a:ext cx="8227497" cy="548755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7857643" y="462796"/>
            <a:ext cx="4764209" cy="215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399" dirty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52284" y="391116"/>
            <a:ext cx="2031379" cy="360076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</p:grpSp>
    </p:spTree>
    <p:extLst>
      <p:ext uri="{BB962C8B-B14F-4D97-AF65-F5344CB8AC3E}">
        <p14:creationId xmlns:p14="http://schemas.microsoft.com/office/powerpoint/2010/main" val="1484355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| POLYSILICON – Leading in Quality and Co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70" name="Picture 2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53"/>
            <a:ext cx="13434841" cy="7561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22"/>
          <p:cNvGrpSpPr/>
          <p:nvPr userDrawn="1"/>
        </p:nvGrpSpPr>
        <p:grpSpPr bwMode="gray">
          <a:xfrm>
            <a:off x="-14961" y="4864018"/>
            <a:ext cx="13459646" cy="2698833"/>
            <a:chOff x="-11908" y="4862996"/>
            <a:chExt cx="10711741" cy="2698267"/>
          </a:xfrm>
        </p:grpSpPr>
        <p:sp>
          <p:nvSpPr>
            <p:cNvPr id="6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99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799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8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el 24"/>
          <p:cNvSpPr>
            <a:spLocks noGrp="1"/>
          </p:cNvSpPr>
          <p:nvPr>
            <p:ph type="ctrTitle"/>
          </p:nvPr>
        </p:nvSpPr>
        <p:spPr bwMode="gray">
          <a:xfrm>
            <a:off x="791941" y="5030255"/>
            <a:ext cx="11842772" cy="1298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791941" y="6521040"/>
            <a:ext cx="8228274" cy="54875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grpSp>
        <p:nvGrpSpPr>
          <p:cNvPr id="11" name="Gruppieren 11"/>
          <p:cNvGrpSpPr>
            <a:grpSpLocks noChangeAspect="1"/>
          </p:cNvGrpSpPr>
          <p:nvPr userDrawn="1"/>
        </p:nvGrpSpPr>
        <p:grpSpPr bwMode="gray">
          <a:xfrm>
            <a:off x="652284" y="391116"/>
            <a:ext cx="2031379" cy="360076"/>
            <a:chOff x="4386264" y="3568700"/>
            <a:chExt cx="1917700" cy="427038"/>
          </a:xfrm>
        </p:grpSpPr>
        <p:sp>
          <p:nvSpPr>
            <p:cNvPr id="12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</p:grpSp>
      <p:sp>
        <p:nvSpPr>
          <p:cNvPr id="15" name="Textfeld 30"/>
          <p:cNvSpPr txBox="1"/>
          <p:nvPr userDrawn="1"/>
        </p:nvSpPr>
        <p:spPr bwMode="gray">
          <a:xfrm>
            <a:off x="7857643" y="462796"/>
            <a:ext cx="4764209" cy="215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399" dirty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</a:p>
        </p:txBody>
      </p:sp>
    </p:spTree>
    <p:extLst>
      <p:ext uri="{BB962C8B-B14F-4D97-AF65-F5344CB8AC3E}">
        <p14:creationId xmlns:p14="http://schemas.microsoft.com/office/powerpoint/2010/main" val="262272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6865299" y="13314"/>
            <a:ext cx="6569702" cy="7561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49" tIns="107949" rIns="107949" bIns="107949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sz="1999" dirty="0" err="1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969" y="1443867"/>
            <a:ext cx="5135367" cy="6121284"/>
          </a:xfrm>
          <a:prstGeom prst="rect">
            <a:avLst/>
          </a:prstGeom>
        </p:spPr>
      </p:pic>
      <p:pic>
        <p:nvPicPr>
          <p:cNvPr id="18" name="Bildplatzhalter 21"/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289269" y="1303977"/>
            <a:ext cx="5156808" cy="2198715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stA="0" endPos="65000" dist="50800" dir="5400000" sy="-100000" algn="bl" rotWithShape="0"/>
          </a:effectLst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0" y="1263"/>
            <a:ext cx="7130838" cy="7561587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4961" y="4864018"/>
            <a:ext cx="13459646" cy="2698833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99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799" dirty="0" err="1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791941" y="5030255"/>
            <a:ext cx="11842772" cy="12987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791942" y="6521040"/>
            <a:ext cx="8227497" cy="548755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7857643" y="462796"/>
            <a:ext cx="4764209" cy="2154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399" dirty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52284" y="391116"/>
            <a:ext cx="2031379" cy="360076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</p:grpSp>
    </p:spTree>
    <p:extLst>
      <p:ext uri="{BB962C8B-B14F-4D97-AF65-F5344CB8AC3E}">
        <p14:creationId xmlns:p14="http://schemas.microsoft.com/office/powerpoint/2010/main" val="1123575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8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1226036"/>
            <a:ext cx="13440155" cy="9035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0" y="1228090"/>
            <a:ext cx="13439775" cy="9651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6904634"/>
            <a:ext cx="13440155" cy="8839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0" y="6908164"/>
            <a:ext cx="13439775" cy="6350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399288" y="6803135"/>
            <a:ext cx="12641579" cy="10820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8541" y="225373"/>
            <a:ext cx="12805867" cy="9562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2147" y="1739455"/>
            <a:ext cx="12098655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758823" y="7107006"/>
            <a:ext cx="1416050" cy="2819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ts val="1045"/>
              </a:lnSpc>
              <a:spcBef>
                <a:spcPts val="15"/>
              </a:spcBef>
            </a:pPr>
            <a:r>
              <a:rPr dirty="0"/>
              <a:t>WACKER</a:t>
            </a:r>
            <a:r>
              <a:rPr spc="-15" dirty="0"/>
              <a:t> </a:t>
            </a:r>
            <a:r>
              <a:rPr dirty="0"/>
              <a:t>-</a:t>
            </a:r>
            <a:r>
              <a:rPr spc="-10" dirty="0"/>
              <a:t> POLYSILICON</a:t>
            </a:r>
          </a:p>
          <a:p>
            <a:pPr marL="12700">
              <a:lnSpc>
                <a:spcPts val="1045"/>
              </a:lnSpc>
            </a:pPr>
            <a:r>
              <a:rPr dirty="0"/>
              <a:t>September</a:t>
            </a:r>
            <a:r>
              <a:rPr spc="-20" dirty="0"/>
              <a:t> 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72147" y="7033450"/>
            <a:ext cx="3091878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2589509" y="7162162"/>
            <a:ext cx="244475" cy="182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>
                <a:solidFill>
                  <a:srgbClr val="303030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4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625822573"/>
              </p:ext>
            </p:extLst>
          </p:nvPr>
        </p:nvGraphicFramePr>
        <p:xfrm>
          <a:off x="1997" y="1590"/>
          <a:ext cx="199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97" y="1590"/>
                        <a:ext cx="199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819841" y="1544724"/>
            <a:ext cx="11798914" cy="50806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Slide Master Forma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endParaRPr lang="en-US" dirty="0"/>
          </a:p>
          <a:p>
            <a:pPr lvl="0"/>
            <a:endParaRPr lang="en-US" noProof="0" dirty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542"/>
            <a:ext cx="134366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819841" y="194441"/>
            <a:ext cx="11798915" cy="7993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2128"/>
            <a:ext cx="134366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8950" y="6804106"/>
            <a:ext cx="12638701" cy="10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816849" y="-111320"/>
            <a:ext cx="0" cy="99413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81599" y="1507139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6,03</a:t>
            </a: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73914" y="1548684"/>
            <a:ext cx="0" cy="124889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885115" y="-92398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13,04</a:t>
            </a: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2617668" y="-111321"/>
            <a:ext cx="0" cy="99413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2685934" y="-92399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13,04</a:t>
            </a: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3468439" y="1504066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6,03</a:t>
            </a: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3517559" y="1546480"/>
            <a:ext cx="0" cy="124889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3468439" y="6517649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7,90</a:t>
            </a: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3517559" y="6560063"/>
            <a:ext cx="0" cy="124889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81598" y="6517649"/>
            <a:ext cx="181599" cy="615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>
                <a:solidFill>
                  <a:schemeClr val="bg2"/>
                </a:solidFill>
              </a:rPr>
              <a:t>7,90</a:t>
            </a: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73913" y="6558877"/>
            <a:ext cx="0" cy="124889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747025" y="7132322"/>
            <a:ext cx="1218826" cy="216045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999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11594181" y="7037277"/>
            <a:ext cx="1024574" cy="42553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099" b="1" smtClean="0">
                <a:solidFill>
                  <a:schemeClr val="tx1"/>
                </a:solidFill>
              </a:rPr>
              <a:pPr algn="r"/>
              <a:t>‹#›</a:t>
            </a:fld>
            <a:endParaRPr lang="en-US" sz="1099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65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</p:sldLayoutIdLst>
  <p:hf sldNum="0" hdr="0" ftr="0" dt="0"/>
  <p:txStyles>
    <p:titleStyle>
      <a:lvl1pPr algn="l" defTabSz="995192" rtl="0" eaLnBrk="1" latinLnBrk="0" hangingPunct="1">
        <a:spcBef>
          <a:spcPct val="0"/>
        </a:spcBef>
        <a:buNone/>
        <a:defRPr lang="de-DE" sz="2399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192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1999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192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312" indent="-225312" algn="l" defTabSz="995192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278" indent="-215792" algn="l" defTabSz="806047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484" indent="-211032" algn="l" defTabSz="995192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490" indent="-230073" algn="l" defTabSz="995192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1999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490" indent="-230073" algn="l" defTabSz="995192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1999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490" indent="-230073" algn="l" defTabSz="995192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490" indent="-230073" algn="l" defTabSz="995192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1999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1pPr>
      <a:lvl2pPr marL="497596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2pPr>
      <a:lvl3pPr marL="995192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492788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1990384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487980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85576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83174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980770" algn="l" defTabSz="995192" rtl="0" eaLnBrk="1" latinLnBrk="0" hangingPunct="1"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5" Type="http://schemas.openxmlformats.org/officeDocument/2006/relationships/image" Target="../media/image31.jpe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jpeg"/><Relationship Id="rId14" Type="http://schemas.openxmlformats.org/officeDocument/2006/relationships/image" Target="../media/image30.jpe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20.xml"/><Relationship Id="rId671" Type="http://schemas.openxmlformats.org/officeDocument/2006/relationships/tags" Target="../tags/tag674.xml"/><Relationship Id="rId769" Type="http://schemas.openxmlformats.org/officeDocument/2006/relationships/tags" Target="../tags/tag772.xml"/><Relationship Id="rId976" Type="http://schemas.openxmlformats.org/officeDocument/2006/relationships/tags" Target="../tags/tag979.xml"/><Relationship Id="rId21" Type="http://schemas.openxmlformats.org/officeDocument/2006/relationships/tags" Target="../tags/tag24.xml"/><Relationship Id="rId324" Type="http://schemas.openxmlformats.org/officeDocument/2006/relationships/tags" Target="../tags/tag327.xml"/><Relationship Id="rId531" Type="http://schemas.openxmlformats.org/officeDocument/2006/relationships/tags" Target="../tags/tag534.xml"/><Relationship Id="rId629" Type="http://schemas.openxmlformats.org/officeDocument/2006/relationships/tags" Target="../tags/tag632.xml"/><Relationship Id="rId1161" Type="http://schemas.openxmlformats.org/officeDocument/2006/relationships/tags" Target="../tags/tag1164.xml"/><Relationship Id="rId170" Type="http://schemas.openxmlformats.org/officeDocument/2006/relationships/tags" Target="../tags/tag173.xml"/><Relationship Id="rId836" Type="http://schemas.openxmlformats.org/officeDocument/2006/relationships/tags" Target="../tags/tag839.xml"/><Relationship Id="rId1021" Type="http://schemas.openxmlformats.org/officeDocument/2006/relationships/tags" Target="../tags/tag1024.xml"/><Relationship Id="rId1119" Type="http://schemas.openxmlformats.org/officeDocument/2006/relationships/tags" Target="../tags/tag1122.xml"/><Relationship Id="rId268" Type="http://schemas.openxmlformats.org/officeDocument/2006/relationships/tags" Target="../tags/tag271.xml"/><Relationship Id="rId475" Type="http://schemas.openxmlformats.org/officeDocument/2006/relationships/tags" Target="../tags/tag478.xml"/><Relationship Id="rId682" Type="http://schemas.openxmlformats.org/officeDocument/2006/relationships/tags" Target="../tags/tag685.xml"/><Relationship Id="rId903" Type="http://schemas.openxmlformats.org/officeDocument/2006/relationships/tags" Target="../tags/tag906.xml"/><Relationship Id="rId32" Type="http://schemas.openxmlformats.org/officeDocument/2006/relationships/tags" Target="../tags/tag35.xml"/><Relationship Id="rId128" Type="http://schemas.openxmlformats.org/officeDocument/2006/relationships/tags" Target="../tags/tag131.xml"/><Relationship Id="rId335" Type="http://schemas.openxmlformats.org/officeDocument/2006/relationships/tags" Target="../tags/tag338.xml"/><Relationship Id="rId542" Type="http://schemas.openxmlformats.org/officeDocument/2006/relationships/tags" Target="../tags/tag545.xml"/><Relationship Id="rId987" Type="http://schemas.openxmlformats.org/officeDocument/2006/relationships/tags" Target="../tags/tag990.xml"/><Relationship Id="rId1172" Type="http://schemas.openxmlformats.org/officeDocument/2006/relationships/tags" Target="../tags/tag1175.xml"/><Relationship Id="rId181" Type="http://schemas.openxmlformats.org/officeDocument/2006/relationships/tags" Target="../tags/tag184.xml"/><Relationship Id="rId402" Type="http://schemas.openxmlformats.org/officeDocument/2006/relationships/tags" Target="../tags/tag405.xml"/><Relationship Id="rId847" Type="http://schemas.openxmlformats.org/officeDocument/2006/relationships/tags" Target="../tags/tag850.xml"/><Relationship Id="rId1032" Type="http://schemas.openxmlformats.org/officeDocument/2006/relationships/tags" Target="../tags/tag1035.xml"/><Relationship Id="rId279" Type="http://schemas.openxmlformats.org/officeDocument/2006/relationships/tags" Target="../tags/tag282.xml"/><Relationship Id="rId486" Type="http://schemas.openxmlformats.org/officeDocument/2006/relationships/tags" Target="../tags/tag489.xml"/><Relationship Id="rId693" Type="http://schemas.openxmlformats.org/officeDocument/2006/relationships/tags" Target="../tags/tag696.xml"/><Relationship Id="rId707" Type="http://schemas.openxmlformats.org/officeDocument/2006/relationships/tags" Target="../tags/tag710.xml"/><Relationship Id="rId914" Type="http://schemas.openxmlformats.org/officeDocument/2006/relationships/tags" Target="../tags/tag917.xml"/><Relationship Id="rId43" Type="http://schemas.openxmlformats.org/officeDocument/2006/relationships/tags" Target="../tags/tag46.xml"/><Relationship Id="rId139" Type="http://schemas.openxmlformats.org/officeDocument/2006/relationships/tags" Target="../tags/tag142.xml"/><Relationship Id="rId346" Type="http://schemas.openxmlformats.org/officeDocument/2006/relationships/tags" Target="../tags/tag349.xml"/><Relationship Id="rId553" Type="http://schemas.openxmlformats.org/officeDocument/2006/relationships/tags" Target="../tags/tag556.xml"/><Relationship Id="rId760" Type="http://schemas.openxmlformats.org/officeDocument/2006/relationships/tags" Target="../tags/tag763.xml"/><Relationship Id="rId998" Type="http://schemas.openxmlformats.org/officeDocument/2006/relationships/tags" Target="../tags/tag1001.xml"/><Relationship Id="rId1183" Type="http://schemas.openxmlformats.org/officeDocument/2006/relationships/tags" Target="../tags/tag1186.xml"/><Relationship Id="rId192" Type="http://schemas.openxmlformats.org/officeDocument/2006/relationships/tags" Target="../tags/tag195.xml"/><Relationship Id="rId206" Type="http://schemas.openxmlformats.org/officeDocument/2006/relationships/tags" Target="../tags/tag209.xml"/><Relationship Id="rId413" Type="http://schemas.openxmlformats.org/officeDocument/2006/relationships/tags" Target="../tags/tag416.xml"/><Relationship Id="rId858" Type="http://schemas.openxmlformats.org/officeDocument/2006/relationships/tags" Target="../tags/tag861.xml"/><Relationship Id="rId1043" Type="http://schemas.openxmlformats.org/officeDocument/2006/relationships/tags" Target="../tags/tag1046.xml"/><Relationship Id="rId497" Type="http://schemas.openxmlformats.org/officeDocument/2006/relationships/tags" Target="../tags/tag500.xml"/><Relationship Id="rId620" Type="http://schemas.openxmlformats.org/officeDocument/2006/relationships/tags" Target="../tags/tag623.xml"/><Relationship Id="rId718" Type="http://schemas.openxmlformats.org/officeDocument/2006/relationships/tags" Target="../tags/tag721.xml"/><Relationship Id="rId925" Type="http://schemas.openxmlformats.org/officeDocument/2006/relationships/tags" Target="../tags/tag928.xml"/><Relationship Id="rId1250" Type="http://schemas.openxmlformats.org/officeDocument/2006/relationships/tags" Target="../tags/tag1253.xml"/><Relationship Id="rId357" Type="http://schemas.openxmlformats.org/officeDocument/2006/relationships/tags" Target="../tags/tag360.xml"/><Relationship Id="rId1110" Type="http://schemas.openxmlformats.org/officeDocument/2006/relationships/tags" Target="../tags/tag1113.xml"/><Relationship Id="rId1194" Type="http://schemas.openxmlformats.org/officeDocument/2006/relationships/tags" Target="../tags/tag1197.xml"/><Relationship Id="rId1208" Type="http://schemas.openxmlformats.org/officeDocument/2006/relationships/tags" Target="../tags/tag1211.xml"/><Relationship Id="rId54" Type="http://schemas.openxmlformats.org/officeDocument/2006/relationships/tags" Target="../tags/tag57.xml"/><Relationship Id="rId217" Type="http://schemas.openxmlformats.org/officeDocument/2006/relationships/tags" Target="../tags/tag220.xml"/><Relationship Id="rId564" Type="http://schemas.openxmlformats.org/officeDocument/2006/relationships/tags" Target="../tags/tag567.xml"/><Relationship Id="rId771" Type="http://schemas.openxmlformats.org/officeDocument/2006/relationships/tags" Target="../tags/tag774.xml"/><Relationship Id="rId869" Type="http://schemas.openxmlformats.org/officeDocument/2006/relationships/tags" Target="../tags/tag872.xml"/><Relationship Id="rId424" Type="http://schemas.openxmlformats.org/officeDocument/2006/relationships/tags" Target="../tags/tag427.xml"/><Relationship Id="rId631" Type="http://schemas.openxmlformats.org/officeDocument/2006/relationships/tags" Target="../tags/tag634.xml"/><Relationship Id="rId729" Type="http://schemas.openxmlformats.org/officeDocument/2006/relationships/tags" Target="../tags/tag732.xml"/><Relationship Id="rId1054" Type="http://schemas.openxmlformats.org/officeDocument/2006/relationships/tags" Target="../tags/tag1057.xml"/><Relationship Id="rId270" Type="http://schemas.openxmlformats.org/officeDocument/2006/relationships/tags" Target="../tags/tag273.xml"/><Relationship Id="rId936" Type="http://schemas.openxmlformats.org/officeDocument/2006/relationships/tags" Target="../tags/tag939.xml"/><Relationship Id="rId1121" Type="http://schemas.openxmlformats.org/officeDocument/2006/relationships/tags" Target="../tags/tag1124.xml"/><Relationship Id="rId1219" Type="http://schemas.openxmlformats.org/officeDocument/2006/relationships/tags" Target="../tags/tag1222.xml"/><Relationship Id="rId65" Type="http://schemas.openxmlformats.org/officeDocument/2006/relationships/tags" Target="../tags/tag68.xml"/><Relationship Id="rId130" Type="http://schemas.openxmlformats.org/officeDocument/2006/relationships/tags" Target="../tags/tag133.xml"/><Relationship Id="rId368" Type="http://schemas.openxmlformats.org/officeDocument/2006/relationships/tags" Target="../tags/tag371.xml"/><Relationship Id="rId575" Type="http://schemas.openxmlformats.org/officeDocument/2006/relationships/tags" Target="../tags/tag578.xml"/><Relationship Id="rId782" Type="http://schemas.openxmlformats.org/officeDocument/2006/relationships/tags" Target="../tags/tag785.xml"/><Relationship Id="rId228" Type="http://schemas.openxmlformats.org/officeDocument/2006/relationships/tags" Target="../tags/tag231.xml"/><Relationship Id="rId435" Type="http://schemas.openxmlformats.org/officeDocument/2006/relationships/tags" Target="../tags/tag438.xml"/><Relationship Id="rId642" Type="http://schemas.openxmlformats.org/officeDocument/2006/relationships/tags" Target="../tags/tag645.xml"/><Relationship Id="rId1065" Type="http://schemas.openxmlformats.org/officeDocument/2006/relationships/tags" Target="../tags/tag1068.xml"/><Relationship Id="rId281" Type="http://schemas.openxmlformats.org/officeDocument/2006/relationships/tags" Target="../tags/tag284.xml"/><Relationship Id="rId502" Type="http://schemas.openxmlformats.org/officeDocument/2006/relationships/tags" Target="../tags/tag505.xml"/><Relationship Id="rId947" Type="http://schemas.openxmlformats.org/officeDocument/2006/relationships/tags" Target="../tags/tag950.xml"/><Relationship Id="rId1132" Type="http://schemas.openxmlformats.org/officeDocument/2006/relationships/tags" Target="../tags/tag1135.xml"/><Relationship Id="rId76" Type="http://schemas.openxmlformats.org/officeDocument/2006/relationships/tags" Target="../tags/tag79.xml"/><Relationship Id="rId141" Type="http://schemas.openxmlformats.org/officeDocument/2006/relationships/tags" Target="../tags/tag144.xml"/><Relationship Id="rId379" Type="http://schemas.openxmlformats.org/officeDocument/2006/relationships/tags" Target="../tags/tag382.xml"/><Relationship Id="rId586" Type="http://schemas.openxmlformats.org/officeDocument/2006/relationships/tags" Target="../tags/tag589.xml"/><Relationship Id="rId793" Type="http://schemas.openxmlformats.org/officeDocument/2006/relationships/tags" Target="../tags/tag796.xml"/><Relationship Id="rId807" Type="http://schemas.openxmlformats.org/officeDocument/2006/relationships/tags" Target="../tags/tag810.xml"/><Relationship Id="rId7" Type="http://schemas.openxmlformats.org/officeDocument/2006/relationships/tags" Target="../tags/tag10.xml"/><Relationship Id="rId239" Type="http://schemas.openxmlformats.org/officeDocument/2006/relationships/tags" Target="../tags/tag242.xml"/><Relationship Id="rId446" Type="http://schemas.openxmlformats.org/officeDocument/2006/relationships/tags" Target="../tags/tag449.xml"/><Relationship Id="rId653" Type="http://schemas.openxmlformats.org/officeDocument/2006/relationships/tags" Target="../tags/tag656.xml"/><Relationship Id="rId1076" Type="http://schemas.openxmlformats.org/officeDocument/2006/relationships/tags" Target="../tags/tag1079.xml"/><Relationship Id="rId292" Type="http://schemas.openxmlformats.org/officeDocument/2006/relationships/tags" Target="../tags/tag295.xml"/><Relationship Id="rId306" Type="http://schemas.openxmlformats.org/officeDocument/2006/relationships/tags" Target="../tags/tag309.xml"/><Relationship Id="rId860" Type="http://schemas.openxmlformats.org/officeDocument/2006/relationships/tags" Target="../tags/tag863.xml"/><Relationship Id="rId958" Type="http://schemas.openxmlformats.org/officeDocument/2006/relationships/tags" Target="../tags/tag961.xml"/><Relationship Id="rId1143" Type="http://schemas.openxmlformats.org/officeDocument/2006/relationships/tags" Target="../tags/tag1146.xml"/><Relationship Id="rId87" Type="http://schemas.openxmlformats.org/officeDocument/2006/relationships/tags" Target="../tags/tag90.xml"/><Relationship Id="rId513" Type="http://schemas.openxmlformats.org/officeDocument/2006/relationships/tags" Target="../tags/tag516.xml"/><Relationship Id="rId597" Type="http://schemas.openxmlformats.org/officeDocument/2006/relationships/tags" Target="../tags/tag600.xml"/><Relationship Id="rId720" Type="http://schemas.openxmlformats.org/officeDocument/2006/relationships/tags" Target="../tags/tag723.xml"/><Relationship Id="rId818" Type="http://schemas.openxmlformats.org/officeDocument/2006/relationships/tags" Target="../tags/tag821.xml"/><Relationship Id="rId152" Type="http://schemas.openxmlformats.org/officeDocument/2006/relationships/tags" Target="../tags/tag155.xml"/><Relationship Id="rId457" Type="http://schemas.openxmlformats.org/officeDocument/2006/relationships/tags" Target="../tags/tag460.xml"/><Relationship Id="rId1003" Type="http://schemas.openxmlformats.org/officeDocument/2006/relationships/tags" Target="../tags/tag1006.xml"/><Relationship Id="rId1087" Type="http://schemas.openxmlformats.org/officeDocument/2006/relationships/tags" Target="../tags/tag1090.xml"/><Relationship Id="rId1210" Type="http://schemas.openxmlformats.org/officeDocument/2006/relationships/tags" Target="../tags/tag1213.xml"/><Relationship Id="rId664" Type="http://schemas.openxmlformats.org/officeDocument/2006/relationships/tags" Target="../tags/tag667.xml"/><Relationship Id="rId871" Type="http://schemas.openxmlformats.org/officeDocument/2006/relationships/tags" Target="../tags/tag874.xml"/><Relationship Id="rId969" Type="http://schemas.openxmlformats.org/officeDocument/2006/relationships/tags" Target="../tags/tag972.xml"/><Relationship Id="rId14" Type="http://schemas.openxmlformats.org/officeDocument/2006/relationships/tags" Target="../tags/tag17.xml"/><Relationship Id="rId317" Type="http://schemas.openxmlformats.org/officeDocument/2006/relationships/tags" Target="../tags/tag320.xml"/><Relationship Id="rId524" Type="http://schemas.openxmlformats.org/officeDocument/2006/relationships/tags" Target="../tags/tag527.xml"/><Relationship Id="rId731" Type="http://schemas.openxmlformats.org/officeDocument/2006/relationships/tags" Target="../tags/tag734.xml"/><Relationship Id="rId1154" Type="http://schemas.openxmlformats.org/officeDocument/2006/relationships/tags" Target="../tags/tag1157.xml"/><Relationship Id="rId98" Type="http://schemas.openxmlformats.org/officeDocument/2006/relationships/tags" Target="../tags/tag101.xml"/><Relationship Id="rId163" Type="http://schemas.openxmlformats.org/officeDocument/2006/relationships/tags" Target="../tags/tag166.xml"/><Relationship Id="rId370" Type="http://schemas.openxmlformats.org/officeDocument/2006/relationships/tags" Target="../tags/tag373.xml"/><Relationship Id="rId829" Type="http://schemas.openxmlformats.org/officeDocument/2006/relationships/tags" Target="../tags/tag832.xml"/><Relationship Id="rId1014" Type="http://schemas.openxmlformats.org/officeDocument/2006/relationships/tags" Target="../tags/tag1017.xml"/><Relationship Id="rId1221" Type="http://schemas.openxmlformats.org/officeDocument/2006/relationships/tags" Target="../tags/tag1224.xml"/><Relationship Id="rId230" Type="http://schemas.openxmlformats.org/officeDocument/2006/relationships/tags" Target="../tags/tag233.xml"/><Relationship Id="rId468" Type="http://schemas.openxmlformats.org/officeDocument/2006/relationships/tags" Target="../tags/tag471.xml"/><Relationship Id="rId675" Type="http://schemas.openxmlformats.org/officeDocument/2006/relationships/tags" Target="../tags/tag678.xml"/><Relationship Id="rId882" Type="http://schemas.openxmlformats.org/officeDocument/2006/relationships/tags" Target="../tags/tag885.xml"/><Relationship Id="rId1098" Type="http://schemas.openxmlformats.org/officeDocument/2006/relationships/tags" Target="../tags/tag1101.xml"/><Relationship Id="rId25" Type="http://schemas.openxmlformats.org/officeDocument/2006/relationships/tags" Target="../tags/tag28.xml"/><Relationship Id="rId328" Type="http://schemas.openxmlformats.org/officeDocument/2006/relationships/tags" Target="../tags/tag331.xml"/><Relationship Id="rId535" Type="http://schemas.openxmlformats.org/officeDocument/2006/relationships/tags" Target="../tags/tag538.xml"/><Relationship Id="rId742" Type="http://schemas.openxmlformats.org/officeDocument/2006/relationships/tags" Target="../tags/tag745.xml"/><Relationship Id="rId1165" Type="http://schemas.openxmlformats.org/officeDocument/2006/relationships/tags" Target="../tags/tag1168.xml"/><Relationship Id="rId174" Type="http://schemas.openxmlformats.org/officeDocument/2006/relationships/tags" Target="../tags/tag177.xml"/><Relationship Id="rId381" Type="http://schemas.openxmlformats.org/officeDocument/2006/relationships/tags" Target="../tags/tag384.xml"/><Relationship Id="rId602" Type="http://schemas.openxmlformats.org/officeDocument/2006/relationships/tags" Target="../tags/tag605.xml"/><Relationship Id="rId1025" Type="http://schemas.openxmlformats.org/officeDocument/2006/relationships/tags" Target="../tags/tag1028.xml"/><Relationship Id="rId1232" Type="http://schemas.openxmlformats.org/officeDocument/2006/relationships/tags" Target="../tags/tag1235.xml"/><Relationship Id="rId241" Type="http://schemas.openxmlformats.org/officeDocument/2006/relationships/tags" Target="../tags/tag244.xml"/><Relationship Id="rId479" Type="http://schemas.openxmlformats.org/officeDocument/2006/relationships/tags" Target="../tags/tag482.xml"/><Relationship Id="rId686" Type="http://schemas.openxmlformats.org/officeDocument/2006/relationships/tags" Target="../tags/tag689.xml"/><Relationship Id="rId893" Type="http://schemas.openxmlformats.org/officeDocument/2006/relationships/tags" Target="../tags/tag896.xml"/><Relationship Id="rId907" Type="http://schemas.openxmlformats.org/officeDocument/2006/relationships/tags" Target="../tags/tag910.xml"/><Relationship Id="rId36" Type="http://schemas.openxmlformats.org/officeDocument/2006/relationships/tags" Target="../tags/tag39.xml"/><Relationship Id="rId339" Type="http://schemas.openxmlformats.org/officeDocument/2006/relationships/tags" Target="../tags/tag342.xml"/><Relationship Id="rId546" Type="http://schemas.openxmlformats.org/officeDocument/2006/relationships/tags" Target="../tags/tag549.xml"/><Relationship Id="rId753" Type="http://schemas.openxmlformats.org/officeDocument/2006/relationships/tags" Target="../tags/tag756.xml"/><Relationship Id="rId1176" Type="http://schemas.openxmlformats.org/officeDocument/2006/relationships/tags" Target="../tags/tag1179.xml"/><Relationship Id="rId101" Type="http://schemas.openxmlformats.org/officeDocument/2006/relationships/tags" Target="../tags/tag104.xml"/><Relationship Id="rId185" Type="http://schemas.openxmlformats.org/officeDocument/2006/relationships/tags" Target="../tags/tag188.xml"/><Relationship Id="rId406" Type="http://schemas.openxmlformats.org/officeDocument/2006/relationships/tags" Target="../tags/tag409.xml"/><Relationship Id="rId960" Type="http://schemas.openxmlformats.org/officeDocument/2006/relationships/tags" Target="../tags/tag963.xml"/><Relationship Id="rId1036" Type="http://schemas.openxmlformats.org/officeDocument/2006/relationships/tags" Target="../tags/tag1039.xml"/><Relationship Id="rId1243" Type="http://schemas.openxmlformats.org/officeDocument/2006/relationships/tags" Target="../tags/tag1246.xml"/><Relationship Id="rId392" Type="http://schemas.openxmlformats.org/officeDocument/2006/relationships/tags" Target="../tags/tag395.xml"/><Relationship Id="rId613" Type="http://schemas.openxmlformats.org/officeDocument/2006/relationships/tags" Target="../tags/tag616.xml"/><Relationship Id="rId697" Type="http://schemas.openxmlformats.org/officeDocument/2006/relationships/tags" Target="../tags/tag700.xml"/><Relationship Id="rId820" Type="http://schemas.openxmlformats.org/officeDocument/2006/relationships/tags" Target="../tags/tag823.xml"/><Relationship Id="rId918" Type="http://schemas.openxmlformats.org/officeDocument/2006/relationships/tags" Target="../tags/tag921.xml"/><Relationship Id="rId252" Type="http://schemas.openxmlformats.org/officeDocument/2006/relationships/tags" Target="../tags/tag255.xml"/><Relationship Id="rId1103" Type="http://schemas.openxmlformats.org/officeDocument/2006/relationships/tags" Target="../tags/tag1106.xml"/><Relationship Id="rId1187" Type="http://schemas.openxmlformats.org/officeDocument/2006/relationships/tags" Target="../tags/tag1190.xml"/><Relationship Id="rId47" Type="http://schemas.openxmlformats.org/officeDocument/2006/relationships/tags" Target="../tags/tag50.xml"/><Relationship Id="rId112" Type="http://schemas.openxmlformats.org/officeDocument/2006/relationships/tags" Target="../tags/tag115.xml"/><Relationship Id="rId557" Type="http://schemas.openxmlformats.org/officeDocument/2006/relationships/tags" Target="../tags/tag560.xml"/><Relationship Id="rId764" Type="http://schemas.openxmlformats.org/officeDocument/2006/relationships/tags" Target="../tags/tag767.xml"/><Relationship Id="rId971" Type="http://schemas.openxmlformats.org/officeDocument/2006/relationships/tags" Target="../tags/tag974.xml"/><Relationship Id="rId196" Type="http://schemas.openxmlformats.org/officeDocument/2006/relationships/tags" Target="../tags/tag199.xml"/><Relationship Id="rId417" Type="http://schemas.openxmlformats.org/officeDocument/2006/relationships/tags" Target="../tags/tag420.xml"/><Relationship Id="rId624" Type="http://schemas.openxmlformats.org/officeDocument/2006/relationships/tags" Target="../tags/tag627.xml"/><Relationship Id="rId831" Type="http://schemas.openxmlformats.org/officeDocument/2006/relationships/tags" Target="../tags/tag834.xml"/><Relationship Id="rId1047" Type="http://schemas.openxmlformats.org/officeDocument/2006/relationships/tags" Target="../tags/tag1050.xml"/><Relationship Id="rId263" Type="http://schemas.openxmlformats.org/officeDocument/2006/relationships/tags" Target="../tags/tag266.xml"/><Relationship Id="rId470" Type="http://schemas.openxmlformats.org/officeDocument/2006/relationships/tags" Target="../tags/tag473.xml"/><Relationship Id="rId929" Type="http://schemas.openxmlformats.org/officeDocument/2006/relationships/tags" Target="../tags/tag932.xml"/><Relationship Id="rId1114" Type="http://schemas.openxmlformats.org/officeDocument/2006/relationships/tags" Target="../tags/tag1117.xml"/><Relationship Id="rId58" Type="http://schemas.openxmlformats.org/officeDocument/2006/relationships/tags" Target="../tags/tag61.xml"/><Relationship Id="rId123" Type="http://schemas.openxmlformats.org/officeDocument/2006/relationships/tags" Target="../tags/tag126.xml"/><Relationship Id="rId330" Type="http://schemas.openxmlformats.org/officeDocument/2006/relationships/tags" Target="../tags/tag333.xml"/><Relationship Id="rId568" Type="http://schemas.openxmlformats.org/officeDocument/2006/relationships/tags" Target="../tags/tag571.xml"/><Relationship Id="rId775" Type="http://schemas.openxmlformats.org/officeDocument/2006/relationships/tags" Target="../tags/tag778.xml"/><Relationship Id="rId982" Type="http://schemas.openxmlformats.org/officeDocument/2006/relationships/tags" Target="../tags/tag985.xml"/><Relationship Id="rId1198" Type="http://schemas.openxmlformats.org/officeDocument/2006/relationships/tags" Target="../tags/tag1201.xml"/><Relationship Id="rId428" Type="http://schemas.openxmlformats.org/officeDocument/2006/relationships/tags" Target="../tags/tag431.xml"/><Relationship Id="rId635" Type="http://schemas.openxmlformats.org/officeDocument/2006/relationships/tags" Target="../tags/tag638.xml"/><Relationship Id="rId842" Type="http://schemas.openxmlformats.org/officeDocument/2006/relationships/tags" Target="../tags/tag845.xml"/><Relationship Id="rId1058" Type="http://schemas.openxmlformats.org/officeDocument/2006/relationships/tags" Target="../tags/tag1061.xml"/><Relationship Id="rId274" Type="http://schemas.openxmlformats.org/officeDocument/2006/relationships/tags" Target="../tags/tag277.xml"/><Relationship Id="rId481" Type="http://schemas.openxmlformats.org/officeDocument/2006/relationships/tags" Target="../tags/tag484.xml"/><Relationship Id="rId702" Type="http://schemas.openxmlformats.org/officeDocument/2006/relationships/tags" Target="../tags/tag705.xml"/><Relationship Id="rId1125" Type="http://schemas.openxmlformats.org/officeDocument/2006/relationships/tags" Target="../tags/tag1128.xml"/><Relationship Id="rId69" Type="http://schemas.openxmlformats.org/officeDocument/2006/relationships/tags" Target="../tags/tag72.xml"/><Relationship Id="rId134" Type="http://schemas.openxmlformats.org/officeDocument/2006/relationships/tags" Target="../tags/tag137.xml"/><Relationship Id="rId579" Type="http://schemas.openxmlformats.org/officeDocument/2006/relationships/tags" Target="../tags/tag582.xml"/><Relationship Id="rId786" Type="http://schemas.openxmlformats.org/officeDocument/2006/relationships/tags" Target="../tags/tag789.xml"/><Relationship Id="rId993" Type="http://schemas.openxmlformats.org/officeDocument/2006/relationships/tags" Target="../tags/tag996.xml"/><Relationship Id="rId341" Type="http://schemas.openxmlformats.org/officeDocument/2006/relationships/tags" Target="../tags/tag344.xml"/><Relationship Id="rId439" Type="http://schemas.openxmlformats.org/officeDocument/2006/relationships/tags" Target="../tags/tag442.xml"/><Relationship Id="rId646" Type="http://schemas.openxmlformats.org/officeDocument/2006/relationships/tags" Target="../tags/tag649.xml"/><Relationship Id="rId1069" Type="http://schemas.openxmlformats.org/officeDocument/2006/relationships/tags" Target="../tags/tag1072.xml"/><Relationship Id="rId201" Type="http://schemas.openxmlformats.org/officeDocument/2006/relationships/tags" Target="../tags/tag204.xml"/><Relationship Id="rId285" Type="http://schemas.openxmlformats.org/officeDocument/2006/relationships/tags" Target="../tags/tag288.xml"/><Relationship Id="rId506" Type="http://schemas.openxmlformats.org/officeDocument/2006/relationships/tags" Target="../tags/tag509.xml"/><Relationship Id="rId853" Type="http://schemas.openxmlformats.org/officeDocument/2006/relationships/tags" Target="../tags/tag856.xml"/><Relationship Id="rId1136" Type="http://schemas.openxmlformats.org/officeDocument/2006/relationships/tags" Target="../tags/tag1139.xml"/><Relationship Id="rId492" Type="http://schemas.openxmlformats.org/officeDocument/2006/relationships/tags" Target="../tags/tag495.xml"/><Relationship Id="rId713" Type="http://schemas.openxmlformats.org/officeDocument/2006/relationships/tags" Target="../tags/tag716.xml"/><Relationship Id="rId797" Type="http://schemas.openxmlformats.org/officeDocument/2006/relationships/tags" Target="../tags/tag800.xml"/><Relationship Id="rId920" Type="http://schemas.openxmlformats.org/officeDocument/2006/relationships/tags" Target="../tags/tag923.xml"/><Relationship Id="rId145" Type="http://schemas.openxmlformats.org/officeDocument/2006/relationships/tags" Target="../tags/tag148.xml"/><Relationship Id="rId352" Type="http://schemas.openxmlformats.org/officeDocument/2006/relationships/tags" Target="../tags/tag355.xml"/><Relationship Id="rId1203" Type="http://schemas.openxmlformats.org/officeDocument/2006/relationships/tags" Target="../tags/tag1206.xml"/><Relationship Id="rId212" Type="http://schemas.openxmlformats.org/officeDocument/2006/relationships/tags" Target="../tags/tag215.xml"/><Relationship Id="rId657" Type="http://schemas.openxmlformats.org/officeDocument/2006/relationships/tags" Target="../tags/tag660.xml"/><Relationship Id="rId864" Type="http://schemas.openxmlformats.org/officeDocument/2006/relationships/tags" Target="../tags/tag867.xml"/><Relationship Id="rId296" Type="http://schemas.openxmlformats.org/officeDocument/2006/relationships/tags" Target="../tags/tag299.xml"/><Relationship Id="rId517" Type="http://schemas.openxmlformats.org/officeDocument/2006/relationships/tags" Target="../tags/tag520.xml"/><Relationship Id="rId724" Type="http://schemas.openxmlformats.org/officeDocument/2006/relationships/tags" Target="../tags/tag727.xml"/><Relationship Id="rId931" Type="http://schemas.openxmlformats.org/officeDocument/2006/relationships/tags" Target="../tags/tag934.xml"/><Relationship Id="rId1147" Type="http://schemas.openxmlformats.org/officeDocument/2006/relationships/tags" Target="../tags/tag1150.xml"/><Relationship Id="rId60" Type="http://schemas.openxmlformats.org/officeDocument/2006/relationships/tags" Target="../tags/tag63.xml"/><Relationship Id="rId156" Type="http://schemas.openxmlformats.org/officeDocument/2006/relationships/tags" Target="../tags/tag159.xml"/><Relationship Id="rId363" Type="http://schemas.openxmlformats.org/officeDocument/2006/relationships/tags" Target="../tags/tag366.xml"/><Relationship Id="rId570" Type="http://schemas.openxmlformats.org/officeDocument/2006/relationships/tags" Target="../tags/tag573.xml"/><Relationship Id="rId1007" Type="http://schemas.openxmlformats.org/officeDocument/2006/relationships/tags" Target="../tags/tag1010.xml"/><Relationship Id="rId1214" Type="http://schemas.openxmlformats.org/officeDocument/2006/relationships/tags" Target="../tags/tag1217.xml"/><Relationship Id="rId223" Type="http://schemas.openxmlformats.org/officeDocument/2006/relationships/tags" Target="../tags/tag226.xml"/><Relationship Id="rId430" Type="http://schemas.openxmlformats.org/officeDocument/2006/relationships/tags" Target="../tags/tag433.xml"/><Relationship Id="rId668" Type="http://schemas.openxmlformats.org/officeDocument/2006/relationships/tags" Target="../tags/tag671.xml"/><Relationship Id="rId875" Type="http://schemas.openxmlformats.org/officeDocument/2006/relationships/tags" Target="../tags/tag878.xml"/><Relationship Id="rId1060" Type="http://schemas.openxmlformats.org/officeDocument/2006/relationships/tags" Target="../tags/tag1063.xml"/><Relationship Id="rId18" Type="http://schemas.openxmlformats.org/officeDocument/2006/relationships/tags" Target="../tags/tag21.xml"/><Relationship Id="rId528" Type="http://schemas.openxmlformats.org/officeDocument/2006/relationships/tags" Target="../tags/tag531.xml"/><Relationship Id="rId735" Type="http://schemas.openxmlformats.org/officeDocument/2006/relationships/tags" Target="../tags/tag738.xml"/><Relationship Id="rId942" Type="http://schemas.openxmlformats.org/officeDocument/2006/relationships/tags" Target="../tags/tag945.xml"/><Relationship Id="rId1158" Type="http://schemas.openxmlformats.org/officeDocument/2006/relationships/tags" Target="../tags/tag1161.xml"/><Relationship Id="rId167" Type="http://schemas.openxmlformats.org/officeDocument/2006/relationships/tags" Target="../tags/tag170.xml"/><Relationship Id="rId374" Type="http://schemas.openxmlformats.org/officeDocument/2006/relationships/tags" Target="../tags/tag377.xml"/><Relationship Id="rId581" Type="http://schemas.openxmlformats.org/officeDocument/2006/relationships/tags" Target="../tags/tag584.xml"/><Relationship Id="rId1018" Type="http://schemas.openxmlformats.org/officeDocument/2006/relationships/tags" Target="../tags/tag1021.xml"/><Relationship Id="rId1225" Type="http://schemas.openxmlformats.org/officeDocument/2006/relationships/tags" Target="../tags/tag1228.xml"/><Relationship Id="rId71" Type="http://schemas.openxmlformats.org/officeDocument/2006/relationships/tags" Target="../tags/tag74.xml"/><Relationship Id="rId234" Type="http://schemas.openxmlformats.org/officeDocument/2006/relationships/tags" Target="../tags/tag237.xml"/><Relationship Id="rId679" Type="http://schemas.openxmlformats.org/officeDocument/2006/relationships/tags" Target="../tags/tag682.xml"/><Relationship Id="rId802" Type="http://schemas.openxmlformats.org/officeDocument/2006/relationships/tags" Target="../tags/tag805.xml"/><Relationship Id="rId886" Type="http://schemas.openxmlformats.org/officeDocument/2006/relationships/tags" Target="../tags/tag889.xml"/><Relationship Id="rId2" Type="http://schemas.openxmlformats.org/officeDocument/2006/relationships/tags" Target="../tags/tag5.xml"/><Relationship Id="rId29" Type="http://schemas.openxmlformats.org/officeDocument/2006/relationships/tags" Target="../tags/tag32.xml"/><Relationship Id="rId441" Type="http://schemas.openxmlformats.org/officeDocument/2006/relationships/tags" Target="../tags/tag444.xml"/><Relationship Id="rId539" Type="http://schemas.openxmlformats.org/officeDocument/2006/relationships/tags" Target="../tags/tag542.xml"/><Relationship Id="rId746" Type="http://schemas.openxmlformats.org/officeDocument/2006/relationships/tags" Target="../tags/tag749.xml"/><Relationship Id="rId1071" Type="http://schemas.openxmlformats.org/officeDocument/2006/relationships/tags" Target="../tags/tag1074.xml"/><Relationship Id="rId1169" Type="http://schemas.openxmlformats.org/officeDocument/2006/relationships/tags" Target="../tags/tag1172.xml"/><Relationship Id="rId178" Type="http://schemas.openxmlformats.org/officeDocument/2006/relationships/tags" Target="../tags/tag181.xml"/><Relationship Id="rId301" Type="http://schemas.openxmlformats.org/officeDocument/2006/relationships/tags" Target="../tags/tag304.xml"/><Relationship Id="rId953" Type="http://schemas.openxmlformats.org/officeDocument/2006/relationships/tags" Target="../tags/tag956.xml"/><Relationship Id="rId1029" Type="http://schemas.openxmlformats.org/officeDocument/2006/relationships/tags" Target="../tags/tag1032.xml"/><Relationship Id="rId1236" Type="http://schemas.openxmlformats.org/officeDocument/2006/relationships/tags" Target="../tags/tag1239.xml"/><Relationship Id="rId82" Type="http://schemas.openxmlformats.org/officeDocument/2006/relationships/tags" Target="../tags/tag85.xml"/><Relationship Id="rId385" Type="http://schemas.openxmlformats.org/officeDocument/2006/relationships/tags" Target="../tags/tag388.xml"/><Relationship Id="rId592" Type="http://schemas.openxmlformats.org/officeDocument/2006/relationships/tags" Target="../tags/tag595.xml"/><Relationship Id="rId606" Type="http://schemas.openxmlformats.org/officeDocument/2006/relationships/tags" Target="../tags/tag609.xml"/><Relationship Id="rId813" Type="http://schemas.openxmlformats.org/officeDocument/2006/relationships/tags" Target="../tags/tag816.xml"/><Relationship Id="rId245" Type="http://schemas.openxmlformats.org/officeDocument/2006/relationships/tags" Target="../tags/tag248.xml"/><Relationship Id="rId452" Type="http://schemas.openxmlformats.org/officeDocument/2006/relationships/tags" Target="../tags/tag455.xml"/><Relationship Id="rId897" Type="http://schemas.openxmlformats.org/officeDocument/2006/relationships/tags" Target="../tags/tag900.xml"/><Relationship Id="rId1082" Type="http://schemas.openxmlformats.org/officeDocument/2006/relationships/tags" Target="../tags/tag1085.xml"/><Relationship Id="rId105" Type="http://schemas.openxmlformats.org/officeDocument/2006/relationships/tags" Target="../tags/tag108.xml"/><Relationship Id="rId312" Type="http://schemas.openxmlformats.org/officeDocument/2006/relationships/tags" Target="../tags/tag315.xml"/><Relationship Id="rId757" Type="http://schemas.openxmlformats.org/officeDocument/2006/relationships/tags" Target="../tags/tag760.xml"/><Relationship Id="rId964" Type="http://schemas.openxmlformats.org/officeDocument/2006/relationships/tags" Target="../tags/tag967.xml"/><Relationship Id="rId93" Type="http://schemas.openxmlformats.org/officeDocument/2006/relationships/tags" Target="../tags/tag96.xml"/><Relationship Id="rId189" Type="http://schemas.openxmlformats.org/officeDocument/2006/relationships/tags" Target="../tags/tag192.xml"/><Relationship Id="rId396" Type="http://schemas.openxmlformats.org/officeDocument/2006/relationships/tags" Target="../tags/tag399.xml"/><Relationship Id="rId617" Type="http://schemas.openxmlformats.org/officeDocument/2006/relationships/tags" Target="../tags/tag620.xml"/><Relationship Id="rId824" Type="http://schemas.openxmlformats.org/officeDocument/2006/relationships/tags" Target="../tags/tag827.xml"/><Relationship Id="rId1247" Type="http://schemas.openxmlformats.org/officeDocument/2006/relationships/tags" Target="../tags/tag1250.xml"/><Relationship Id="rId256" Type="http://schemas.openxmlformats.org/officeDocument/2006/relationships/tags" Target="../tags/tag259.xml"/><Relationship Id="rId463" Type="http://schemas.openxmlformats.org/officeDocument/2006/relationships/tags" Target="../tags/tag466.xml"/><Relationship Id="rId670" Type="http://schemas.openxmlformats.org/officeDocument/2006/relationships/tags" Target="../tags/tag673.xml"/><Relationship Id="rId1093" Type="http://schemas.openxmlformats.org/officeDocument/2006/relationships/tags" Target="../tags/tag1096.xml"/><Relationship Id="rId1107" Type="http://schemas.openxmlformats.org/officeDocument/2006/relationships/tags" Target="../tags/tag1110.xml"/><Relationship Id="rId116" Type="http://schemas.openxmlformats.org/officeDocument/2006/relationships/tags" Target="../tags/tag119.xml"/><Relationship Id="rId323" Type="http://schemas.openxmlformats.org/officeDocument/2006/relationships/tags" Target="../tags/tag326.xml"/><Relationship Id="rId530" Type="http://schemas.openxmlformats.org/officeDocument/2006/relationships/tags" Target="../tags/tag533.xml"/><Relationship Id="rId768" Type="http://schemas.openxmlformats.org/officeDocument/2006/relationships/tags" Target="../tags/tag771.xml"/><Relationship Id="rId975" Type="http://schemas.openxmlformats.org/officeDocument/2006/relationships/tags" Target="../tags/tag978.xml"/><Relationship Id="rId1160" Type="http://schemas.openxmlformats.org/officeDocument/2006/relationships/tags" Target="../tags/tag1163.xml"/><Relationship Id="rId20" Type="http://schemas.openxmlformats.org/officeDocument/2006/relationships/tags" Target="../tags/tag23.xml"/><Relationship Id="rId628" Type="http://schemas.openxmlformats.org/officeDocument/2006/relationships/tags" Target="../tags/tag631.xml"/><Relationship Id="rId835" Type="http://schemas.openxmlformats.org/officeDocument/2006/relationships/tags" Target="../tags/tag838.xml"/><Relationship Id="rId267" Type="http://schemas.openxmlformats.org/officeDocument/2006/relationships/tags" Target="../tags/tag270.xml"/><Relationship Id="rId474" Type="http://schemas.openxmlformats.org/officeDocument/2006/relationships/tags" Target="../tags/tag477.xml"/><Relationship Id="rId1020" Type="http://schemas.openxmlformats.org/officeDocument/2006/relationships/tags" Target="../tags/tag1023.xml"/><Relationship Id="rId1118" Type="http://schemas.openxmlformats.org/officeDocument/2006/relationships/tags" Target="../tags/tag1121.xml"/><Relationship Id="rId127" Type="http://schemas.openxmlformats.org/officeDocument/2006/relationships/tags" Target="../tags/tag130.xml"/><Relationship Id="rId681" Type="http://schemas.openxmlformats.org/officeDocument/2006/relationships/tags" Target="../tags/tag684.xml"/><Relationship Id="rId779" Type="http://schemas.openxmlformats.org/officeDocument/2006/relationships/tags" Target="../tags/tag782.xml"/><Relationship Id="rId902" Type="http://schemas.openxmlformats.org/officeDocument/2006/relationships/tags" Target="../tags/tag905.xml"/><Relationship Id="rId986" Type="http://schemas.openxmlformats.org/officeDocument/2006/relationships/tags" Target="../tags/tag989.xml"/><Relationship Id="rId31" Type="http://schemas.openxmlformats.org/officeDocument/2006/relationships/tags" Target="../tags/tag34.xml"/><Relationship Id="rId334" Type="http://schemas.openxmlformats.org/officeDocument/2006/relationships/tags" Target="../tags/tag337.xml"/><Relationship Id="rId541" Type="http://schemas.openxmlformats.org/officeDocument/2006/relationships/tags" Target="../tags/tag544.xml"/><Relationship Id="rId639" Type="http://schemas.openxmlformats.org/officeDocument/2006/relationships/tags" Target="../tags/tag642.xml"/><Relationship Id="rId1171" Type="http://schemas.openxmlformats.org/officeDocument/2006/relationships/tags" Target="../tags/tag1174.xml"/><Relationship Id="rId180" Type="http://schemas.openxmlformats.org/officeDocument/2006/relationships/tags" Target="../tags/tag183.xml"/><Relationship Id="rId278" Type="http://schemas.openxmlformats.org/officeDocument/2006/relationships/tags" Target="../tags/tag281.xml"/><Relationship Id="rId401" Type="http://schemas.openxmlformats.org/officeDocument/2006/relationships/tags" Target="../tags/tag404.xml"/><Relationship Id="rId846" Type="http://schemas.openxmlformats.org/officeDocument/2006/relationships/tags" Target="../tags/tag849.xml"/><Relationship Id="rId1031" Type="http://schemas.openxmlformats.org/officeDocument/2006/relationships/tags" Target="../tags/tag1034.xml"/><Relationship Id="rId1129" Type="http://schemas.openxmlformats.org/officeDocument/2006/relationships/tags" Target="../tags/tag1132.xml"/><Relationship Id="rId485" Type="http://schemas.openxmlformats.org/officeDocument/2006/relationships/tags" Target="../tags/tag488.xml"/><Relationship Id="rId692" Type="http://schemas.openxmlformats.org/officeDocument/2006/relationships/tags" Target="../tags/tag695.xml"/><Relationship Id="rId706" Type="http://schemas.openxmlformats.org/officeDocument/2006/relationships/tags" Target="../tags/tag709.xml"/><Relationship Id="rId913" Type="http://schemas.openxmlformats.org/officeDocument/2006/relationships/tags" Target="../tags/tag916.xml"/><Relationship Id="rId42" Type="http://schemas.openxmlformats.org/officeDocument/2006/relationships/tags" Target="../tags/tag45.xml"/><Relationship Id="rId138" Type="http://schemas.openxmlformats.org/officeDocument/2006/relationships/tags" Target="../tags/tag141.xml"/><Relationship Id="rId345" Type="http://schemas.openxmlformats.org/officeDocument/2006/relationships/tags" Target="../tags/tag348.xml"/><Relationship Id="rId552" Type="http://schemas.openxmlformats.org/officeDocument/2006/relationships/tags" Target="../tags/tag555.xml"/><Relationship Id="rId997" Type="http://schemas.openxmlformats.org/officeDocument/2006/relationships/tags" Target="../tags/tag1000.xml"/><Relationship Id="rId1182" Type="http://schemas.openxmlformats.org/officeDocument/2006/relationships/tags" Target="../tags/tag1185.xml"/><Relationship Id="rId191" Type="http://schemas.openxmlformats.org/officeDocument/2006/relationships/tags" Target="../tags/tag194.xml"/><Relationship Id="rId205" Type="http://schemas.openxmlformats.org/officeDocument/2006/relationships/tags" Target="../tags/tag208.xml"/><Relationship Id="rId412" Type="http://schemas.openxmlformats.org/officeDocument/2006/relationships/tags" Target="../tags/tag415.xml"/><Relationship Id="rId857" Type="http://schemas.openxmlformats.org/officeDocument/2006/relationships/tags" Target="../tags/tag860.xml"/><Relationship Id="rId1042" Type="http://schemas.openxmlformats.org/officeDocument/2006/relationships/tags" Target="../tags/tag1045.xml"/><Relationship Id="rId289" Type="http://schemas.openxmlformats.org/officeDocument/2006/relationships/tags" Target="../tags/tag292.xml"/><Relationship Id="rId496" Type="http://schemas.openxmlformats.org/officeDocument/2006/relationships/tags" Target="../tags/tag499.xml"/><Relationship Id="rId717" Type="http://schemas.openxmlformats.org/officeDocument/2006/relationships/tags" Target="../tags/tag720.xml"/><Relationship Id="rId924" Type="http://schemas.openxmlformats.org/officeDocument/2006/relationships/tags" Target="../tags/tag927.xml"/><Relationship Id="rId53" Type="http://schemas.openxmlformats.org/officeDocument/2006/relationships/tags" Target="../tags/tag56.xml"/><Relationship Id="rId149" Type="http://schemas.openxmlformats.org/officeDocument/2006/relationships/tags" Target="../tags/tag152.xml"/><Relationship Id="rId356" Type="http://schemas.openxmlformats.org/officeDocument/2006/relationships/tags" Target="../tags/tag359.xml"/><Relationship Id="rId563" Type="http://schemas.openxmlformats.org/officeDocument/2006/relationships/tags" Target="../tags/tag566.xml"/><Relationship Id="rId770" Type="http://schemas.openxmlformats.org/officeDocument/2006/relationships/tags" Target="../tags/tag773.xml"/><Relationship Id="rId1193" Type="http://schemas.openxmlformats.org/officeDocument/2006/relationships/tags" Target="../tags/tag1196.xml"/><Relationship Id="rId1207" Type="http://schemas.openxmlformats.org/officeDocument/2006/relationships/tags" Target="../tags/tag1210.xml"/><Relationship Id="rId216" Type="http://schemas.openxmlformats.org/officeDocument/2006/relationships/tags" Target="../tags/tag219.xml"/><Relationship Id="rId423" Type="http://schemas.openxmlformats.org/officeDocument/2006/relationships/tags" Target="../tags/tag426.xml"/><Relationship Id="rId868" Type="http://schemas.openxmlformats.org/officeDocument/2006/relationships/tags" Target="../tags/tag871.xml"/><Relationship Id="rId1053" Type="http://schemas.openxmlformats.org/officeDocument/2006/relationships/tags" Target="../tags/tag1056.xml"/><Relationship Id="rId630" Type="http://schemas.openxmlformats.org/officeDocument/2006/relationships/tags" Target="../tags/tag633.xml"/><Relationship Id="rId728" Type="http://schemas.openxmlformats.org/officeDocument/2006/relationships/tags" Target="../tags/tag731.xml"/><Relationship Id="rId935" Type="http://schemas.openxmlformats.org/officeDocument/2006/relationships/tags" Target="../tags/tag938.xml"/><Relationship Id="rId64" Type="http://schemas.openxmlformats.org/officeDocument/2006/relationships/tags" Target="../tags/tag67.xml"/><Relationship Id="rId367" Type="http://schemas.openxmlformats.org/officeDocument/2006/relationships/tags" Target="../tags/tag370.xml"/><Relationship Id="rId574" Type="http://schemas.openxmlformats.org/officeDocument/2006/relationships/tags" Target="../tags/tag577.xml"/><Relationship Id="rId1120" Type="http://schemas.openxmlformats.org/officeDocument/2006/relationships/tags" Target="../tags/tag1123.xml"/><Relationship Id="rId1218" Type="http://schemas.openxmlformats.org/officeDocument/2006/relationships/tags" Target="../tags/tag1221.xml"/><Relationship Id="rId227" Type="http://schemas.openxmlformats.org/officeDocument/2006/relationships/tags" Target="../tags/tag230.xml"/><Relationship Id="rId781" Type="http://schemas.openxmlformats.org/officeDocument/2006/relationships/tags" Target="../tags/tag784.xml"/><Relationship Id="rId879" Type="http://schemas.openxmlformats.org/officeDocument/2006/relationships/tags" Target="../tags/tag882.xml"/><Relationship Id="rId434" Type="http://schemas.openxmlformats.org/officeDocument/2006/relationships/tags" Target="../tags/tag437.xml"/><Relationship Id="rId641" Type="http://schemas.openxmlformats.org/officeDocument/2006/relationships/tags" Target="../tags/tag644.xml"/><Relationship Id="rId739" Type="http://schemas.openxmlformats.org/officeDocument/2006/relationships/tags" Target="../tags/tag742.xml"/><Relationship Id="rId1064" Type="http://schemas.openxmlformats.org/officeDocument/2006/relationships/tags" Target="../tags/tag1067.xml"/><Relationship Id="rId280" Type="http://schemas.openxmlformats.org/officeDocument/2006/relationships/tags" Target="../tags/tag283.xml"/><Relationship Id="rId501" Type="http://schemas.openxmlformats.org/officeDocument/2006/relationships/tags" Target="../tags/tag504.xml"/><Relationship Id="rId946" Type="http://schemas.openxmlformats.org/officeDocument/2006/relationships/tags" Target="../tags/tag949.xml"/><Relationship Id="rId1131" Type="http://schemas.openxmlformats.org/officeDocument/2006/relationships/tags" Target="../tags/tag1134.xml"/><Relationship Id="rId1229" Type="http://schemas.openxmlformats.org/officeDocument/2006/relationships/tags" Target="../tags/tag1232.xml"/><Relationship Id="rId75" Type="http://schemas.openxmlformats.org/officeDocument/2006/relationships/tags" Target="../tags/tag78.xml"/><Relationship Id="rId140" Type="http://schemas.openxmlformats.org/officeDocument/2006/relationships/tags" Target="../tags/tag143.xml"/><Relationship Id="rId378" Type="http://schemas.openxmlformats.org/officeDocument/2006/relationships/tags" Target="../tags/tag381.xml"/><Relationship Id="rId585" Type="http://schemas.openxmlformats.org/officeDocument/2006/relationships/tags" Target="../tags/tag588.xml"/><Relationship Id="rId792" Type="http://schemas.openxmlformats.org/officeDocument/2006/relationships/tags" Target="../tags/tag795.xml"/><Relationship Id="rId806" Type="http://schemas.openxmlformats.org/officeDocument/2006/relationships/tags" Target="../tags/tag809.xml"/><Relationship Id="rId6" Type="http://schemas.openxmlformats.org/officeDocument/2006/relationships/tags" Target="../tags/tag9.xml"/><Relationship Id="rId238" Type="http://schemas.openxmlformats.org/officeDocument/2006/relationships/tags" Target="../tags/tag241.xml"/><Relationship Id="rId445" Type="http://schemas.openxmlformats.org/officeDocument/2006/relationships/tags" Target="../tags/tag448.xml"/><Relationship Id="rId652" Type="http://schemas.openxmlformats.org/officeDocument/2006/relationships/tags" Target="../tags/tag655.xml"/><Relationship Id="rId1075" Type="http://schemas.openxmlformats.org/officeDocument/2006/relationships/tags" Target="../tags/tag1078.xml"/><Relationship Id="rId291" Type="http://schemas.openxmlformats.org/officeDocument/2006/relationships/tags" Target="../tags/tag294.xml"/><Relationship Id="rId305" Type="http://schemas.openxmlformats.org/officeDocument/2006/relationships/tags" Target="../tags/tag308.xml"/><Relationship Id="rId512" Type="http://schemas.openxmlformats.org/officeDocument/2006/relationships/tags" Target="../tags/tag515.xml"/><Relationship Id="rId957" Type="http://schemas.openxmlformats.org/officeDocument/2006/relationships/tags" Target="../tags/tag960.xml"/><Relationship Id="rId1142" Type="http://schemas.openxmlformats.org/officeDocument/2006/relationships/tags" Target="../tags/tag1145.xml"/><Relationship Id="rId86" Type="http://schemas.openxmlformats.org/officeDocument/2006/relationships/tags" Target="../tags/tag89.xml"/><Relationship Id="rId151" Type="http://schemas.openxmlformats.org/officeDocument/2006/relationships/tags" Target="../tags/tag154.xml"/><Relationship Id="rId389" Type="http://schemas.openxmlformats.org/officeDocument/2006/relationships/tags" Target="../tags/tag392.xml"/><Relationship Id="rId596" Type="http://schemas.openxmlformats.org/officeDocument/2006/relationships/tags" Target="../tags/tag599.xml"/><Relationship Id="rId817" Type="http://schemas.openxmlformats.org/officeDocument/2006/relationships/tags" Target="../tags/tag820.xml"/><Relationship Id="rId1002" Type="http://schemas.openxmlformats.org/officeDocument/2006/relationships/tags" Target="../tags/tag1005.xml"/><Relationship Id="rId249" Type="http://schemas.openxmlformats.org/officeDocument/2006/relationships/tags" Target="../tags/tag252.xml"/><Relationship Id="rId456" Type="http://schemas.openxmlformats.org/officeDocument/2006/relationships/tags" Target="../tags/tag459.xml"/><Relationship Id="rId663" Type="http://schemas.openxmlformats.org/officeDocument/2006/relationships/tags" Target="../tags/tag666.xml"/><Relationship Id="rId870" Type="http://schemas.openxmlformats.org/officeDocument/2006/relationships/tags" Target="../tags/tag873.xml"/><Relationship Id="rId1086" Type="http://schemas.openxmlformats.org/officeDocument/2006/relationships/tags" Target="../tags/tag1089.xml"/><Relationship Id="rId13" Type="http://schemas.openxmlformats.org/officeDocument/2006/relationships/tags" Target="../tags/tag16.xml"/><Relationship Id="rId109" Type="http://schemas.openxmlformats.org/officeDocument/2006/relationships/tags" Target="../tags/tag112.xml"/><Relationship Id="rId316" Type="http://schemas.openxmlformats.org/officeDocument/2006/relationships/tags" Target="../tags/tag319.xml"/><Relationship Id="rId523" Type="http://schemas.openxmlformats.org/officeDocument/2006/relationships/tags" Target="../tags/tag526.xml"/><Relationship Id="rId968" Type="http://schemas.openxmlformats.org/officeDocument/2006/relationships/tags" Target="../tags/tag971.xml"/><Relationship Id="rId1153" Type="http://schemas.openxmlformats.org/officeDocument/2006/relationships/tags" Target="../tags/tag1156.xml"/><Relationship Id="rId55" Type="http://schemas.openxmlformats.org/officeDocument/2006/relationships/tags" Target="../tags/tag58.xml"/><Relationship Id="rId97" Type="http://schemas.openxmlformats.org/officeDocument/2006/relationships/tags" Target="../tags/tag100.xml"/><Relationship Id="rId120" Type="http://schemas.openxmlformats.org/officeDocument/2006/relationships/tags" Target="../tags/tag123.xml"/><Relationship Id="rId358" Type="http://schemas.openxmlformats.org/officeDocument/2006/relationships/tags" Target="../tags/tag361.xml"/><Relationship Id="rId565" Type="http://schemas.openxmlformats.org/officeDocument/2006/relationships/tags" Target="../tags/tag568.xml"/><Relationship Id="rId730" Type="http://schemas.openxmlformats.org/officeDocument/2006/relationships/tags" Target="../tags/tag733.xml"/><Relationship Id="rId772" Type="http://schemas.openxmlformats.org/officeDocument/2006/relationships/tags" Target="../tags/tag775.xml"/><Relationship Id="rId828" Type="http://schemas.openxmlformats.org/officeDocument/2006/relationships/tags" Target="../tags/tag831.xml"/><Relationship Id="rId1013" Type="http://schemas.openxmlformats.org/officeDocument/2006/relationships/tags" Target="../tags/tag1016.xml"/><Relationship Id="rId1195" Type="http://schemas.openxmlformats.org/officeDocument/2006/relationships/tags" Target="../tags/tag1198.xml"/><Relationship Id="rId1209" Type="http://schemas.openxmlformats.org/officeDocument/2006/relationships/tags" Target="../tags/tag1212.xml"/><Relationship Id="rId162" Type="http://schemas.openxmlformats.org/officeDocument/2006/relationships/tags" Target="../tags/tag165.xml"/><Relationship Id="rId218" Type="http://schemas.openxmlformats.org/officeDocument/2006/relationships/tags" Target="../tags/tag221.xml"/><Relationship Id="rId425" Type="http://schemas.openxmlformats.org/officeDocument/2006/relationships/tags" Target="../tags/tag428.xml"/><Relationship Id="rId467" Type="http://schemas.openxmlformats.org/officeDocument/2006/relationships/tags" Target="../tags/tag470.xml"/><Relationship Id="rId632" Type="http://schemas.openxmlformats.org/officeDocument/2006/relationships/tags" Target="../tags/tag635.xml"/><Relationship Id="rId1055" Type="http://schemas.openxmlformats.org/officeDocument/2006/relationships/tags" Target="../tags/tag1058.xml"/><Relationship Id="rId1097" Type="http://schemas.openxmlformats.org/officeDocument/2006/relationships/tags" Target="../tags/tag1100.xml"/><Relationship Id="rId1220" Type="http://schemas.openxmlformats.org/officeDocument/2006/relationships/tags" Target="../tags/tag1223.xml"/><Relationship Id="rId271" Type="http://schemas.openxmlformats.org/officeDocument/2006/relationships/tags" Target="../tags/tag274.xml"/><Relationship Id="rId674" Type="http://schemas.openxmlformats.org/officeDocument/2006/relationships/tags" Target="../tags/tag677.xml"/><Relationship Id="rId881" Type="http://schemas.openxmlformats.org/officeDocument/2006/relationships/tags" Target="../tags/tag884.xml"/><Relationship Id="rId937" Type="http://schemas.openxmlformats.org/officeDocument/2006/relationships/tags" Target="../tags/tag940.xml"/><Relationship Id="rId979" Type="http://schemas.openxmlformats.org/officeDocument/2006/relationships/tags" Target="../tags/tag982.xml"/><Relationship Id="rId1122" Type="http://schemas.openxmlformats.org/officeDocument/2006/relationships/tags" Target="../tags/tag1125.xml"/><Relationship Id="rId24" Type="http://schemas.openxmlformats.org/officeDocument/2006/relationships/tags" Target="../tags/tag27.xml"/><Relationship Id="rId66" Type="http://schemas.openxmlformats.org/officeDocument/2006/relationships/tags" Target="../tags/tag69.xml"/><Relationship Id="rId131" Type="http://schemas.openxmlformats.org/officeDocument/2006/relationships/tags" Target="../tags/tag134.xml"/><Relationship Id="rId327" Type="http://schemas.openxmlformats.org/officeDocument/2006/relationships/tags" Target="../tags/tag330.xml"/><Relationship Id="rId369" Type="http://schemas.openxmlformats.org/officeDocument/2006/relationships/tags" Target="../tags/tag372.xml"/><Relationship Id="rId534" Type="http://schemas.openxmlformats.org/officeDocument/2006/relationships/tags" Target="../tags/tag537.xml"/><Relationship Id="rId576" Type="http://schemas.openxmlformats.org/officeDocument/2006/relationships/tags" Target="../tags/tag579.xml"/><Relationship Id="rId741" Type="http://schemas.openxmlformats.org/officeDocument/2006/relationships/tags" Target="../tags/tag744.xml"/><Relationship Id="rId783" Type="http://schemas.openxmlformats.org/officeDocument/2006/relationships/tags" Target="../tags/tag786.xml"/><Relationship Id="rId839" Type="http://schemas.openxmlformats.org/officeDocument/2006/relationships/tags" Target="../tags/tag842.xml"/><Relationship Id="rId990" Type="http://schemas.openxmlformats.org/officeDocument/2006/relationships/tags" Target="../tags/tag993.xml"/><Relationship Id="rId1164" Type="http://schemas.openxmlformats.org/officeDocument/2006/relationships/tags" Target="../tags/tag1167.xml"/><Relationship Id="rId173" Type="http://schemas.openxmlformats.org/officeDocument/2006/relationships/tags" Target="../tags/tag176.xml"/><Relationship Id="rId229" Type="http://schemas.openxmlformats.org/officeDocument/2006/relationships/tags" Target="../tags/tag232.xml"/><Relationship Id="rId380" Type="http://schemas.openxmlformats.org/officeDocument/2006/relationships/tags" Target="../tags/tag383.xml"/><Relationship Id="rId436" Type="http://schemas.openxmlformats.org/officeDocument/2006/relationships/tags" Target="../tags/tag439.xml"/><Relationship Id="rId601" Type="http://schemas.openxmlformats.org/officeDocument/2006/relationships/tags" Target="../tags/tag604.xml"/><Relationship Id="rId643" Type="http://schemas.openxmlformats.org/officeDocument/2006/relationships/tags" Target="../tags/tag646.xml"/><Relationship Id="rId1024" Type="http://schemas.openxmlformats.org/officeDocument/2006/relationships/tags" Target="../tags/tag1027.xml"/><Relationship Id="rId1066" Type="http://schemas.openxmlformats.org/officeDocument/2006/relationships/tags" Target="../tags/tag1069.xml"/><Relationship Id="rId1231" Type="http://schemas.openxmlformats.org/officeDocument/2006/relationships/tags" Target="../tags/tag1234.xml"/><Relationship Id="rId240" Type="http://schemas.openxmlformats.org/officeDocument/2006/relationships/tags" Target="../tags/tag243.xml"/><Relationship Id="rId478" Type="http://schemas.openxmlformats.org/officeDocument/2006/relationships/tags" Target="../tags/tag481.xml"/><Relationship Id="rId685" Type="http://schemas.openxmlformats.org/officeDocument/2006/relationships/tags" Target="../tags/tag688.xml"/><Relationship Id="rId850" Type="http://schemas.openxmlformats.org/officeDocument/2006/relationships/tags" Target="../tags/tag853.xml"/><Relationship Id="rId892" Type="http://schemas.openxmlformats.org/officeDocument/2006/relationships/tags" Target="../tags/tag895.xml"/><Relationship Id="rId906" Type="http://schemas.openxmlformats.org/officeDocument/2006/relationships/tags" Target="../tags/tag909.xml"/><Relationship Id="rId948" Type="http://schemas.openxmlformats.org/officeDocument/2006/relationships/tags" Target="../tags/tag951.xml"/><Relationship Id="rId1133" Type="http://schemas.openxmlformats.org/officeDocument/2006/relationships/tags" Target="../tags/tag1136.xml"/><Relationship Id="rId35" Type="http://schemas.openxmlformats.org/officeDocument/2006/relationships/tags" Target="../tags/tag38.xml"/><Relationship Id="rId77" Type="http://schemas.openxmlformats.org/officeDocument/2006/relationships/tags" Target="../tags/tag80.xml"/><Relationship Id="rId100" Type="http://schemas.openxmlformats.org/officeDocument/2006/relationships/tags" Target="../tags/tag103.xml"/><Relationship Id="rId282" Type="http://schemas.openxmlformats.org/officeDocument/2006/relationships/tags" Target="../tags/tag285.xml"/><Relationship Id="rId338" Type="http://schemas.openxmlformats.org/officeDocument/2006/relationships/tags" Target="../tags/tag341.xml"/><Relationship Id="rId503" Type="http://schemas.openxmlformats.org/officeDocument/2006/relationships/tags" Target="../tags/tag506.xml"/><Relationship Id="rId545" Type="http://schemas.openxmlformats.org/officeDocument/2006/relationships/tags" Target="../tags/tag548.xml"/><Relationship Id="rId587" Type="http://schemas.openxmlformats.org/officeDocument/2006/relationships/tags" Target="../tags/tag590.xml"/><Relationship Id="rId710" Type="http://schemas.openxmlformats.org/officeDocument/2006/relationships/tags" Target="../tags/tag713.xml"/><Relationship Id="rId752" Type="http://schemas.openxmlformats.org/officeDocument/2006/relationships/tags" Target="../tags/tag755.xml"/><Relationship Id="rId808" Type="http://schemas.openxmlformats.org/officeDocument/2006/relationships/tags" Target="../tags/tag811.xml"/><Relationship Id="rId1175" Type="http://schemas.openxmlformats.org/officeDocument/2006/relationships/tags" Target="../tags/tag1178.xml"/><Relationship Id="rId8" Type="http://schemas.openxmlformats.org/officeDocument/2006/relationships/tags" Target="../tags/tag11.xml"/><Relationship Id="rId142" Type="http://schemas.openxmlformats.org/officeDocument/2006/relationships/tags" Target="../tags/tag145.xml"/><Relationship Id="rId184" Type="http://schemas.openxmlformats.org/officeDocument/2006/relationships/tags" Target="../tags/tag187.xml"/><Relationship Id="rId391" Type="http://schemas.openxmlformats.org/officeDocument/2006/relationships/tags" Target="../tags/tag394.xml"/><Relationship Id="rId405" Type="http://schemas.openxmlformats.org/officeDocument/2006/relationships/tags" Target="../tags/tag408.xml"/><Relationship Id="rId447" Type="http://schemas.openxmlformats.org/officeDocument/2006/relationships/tags" Target="../tags/tag450.xml"/><Relationship Id="rId612" Type="http://schemas.openxmlformats.org/officeDocument/2006/relationships/tags" Target="../tags/tag615.xml"/><Relationship Id="rId794" Type="http://schemas.openxmlformats.org/officeDocument/2006/relationships/tags" Target="../tags/tag797.xml"/><Relationship Id="rId1035" Type="http://schemas.openxmlformats.org/officeDocument/2006/relationships/tags" Target="../tags/tag1038.xml"/><Relationship Id="rId1077" Type="http://schemas.openxmlformats.org/officeDocument/2006/relationships/tags" Target="../tags/tag1080.xml"/><Relationship Id="rId1200" Type="http://schemas.openxmlformats.org/officeDocument/2006/relationships/tags" Target="../tags/tag1203.xml"/><Relationship Id="rId1242" Type="http://schemas.openxmlformats.org/officeDocument/2006/relationships/tags" Target="../tags/tag1245.xml"/><Relationship Id="rId251" Type="http://schemas.openxmlformats.org/officeDocument/2006/relationships/tags" Target="../tags/tag254.xml"/><Relationship Id="rId489" Type="http://schemas.openxmlformats.org/officeDocument/2006/relationships/tags" Target="../tags/tag492.xml"/><Relationship Id="rId654" Type="http://schemas.openxmlformats.org/officeDocument/2006/relationships/tags" Target="../tags/tag657.xml"/><Relationship Id="rId696" Type="http://schemas.openxmlformats.org/officeDocument/2006/relationships/tags" Target="../tags/tag699.xml"/><Relationship Id="rId861" Type="http://schemas.openxmlformats.org/officeDocument/2006/relationships/tags" Target="../tags/tag864.xml"/><Relationship Id="rId917" Type="http://schemas.openxmlformats.org/officeDocument/2006/relationships/tags" Target="../tags/tag920.xml"/><Relationship Id="rId959" Type="http://schemas.openxmlformats.org/officeDocument/2006/relationships/tags" Target="../tags/tag962.xml"/><Relationship Id="rId1102" Type="http://schemas.openxmlformats.org/officeDocument/2006/relationships/tags" Target="../tags/tag1105.xml"/><Relationship Id="rId46" Type="http://schemas.openxmlformats.org/officeDocument/2006/relationships/tags" Target="../tags/tag49.xml"/><Relationship Id="rId293" Type="http://schemas.openxmlformats.org/officeDocument/2006/relationships/tags" Target="../tags/tag296.xml"/><Relationship Id="rId307" Type="http://schemas.openxmlformats.org/officeDocument/2006/relationships/tags" Target="../tags/tag310.xml"/><Relationship Id="rId349" Type="http://schemas.openxmlformats.org/officeDocument/2006/relationships/tags" Target="../tags/tag352.xml"/><Relationship Id="rId514" Type="http://schemas.openxmlformats.org/officeDocument/2006/relationships/tags" Target="../tags/tag517.xml"/><Relationship Id="rId556" Type="http://schemas.openxmlformats.org/officeDocument/2006/relationships/tags" Target="../tags/tag559.xml"/><Relationship Id="rId721" Type="http://schemas.openxmlformats.org/officeDocument/2006/relationships/tags" Target="../tags/tag724.xml"/><Relationship Id="rId763" Type="http://schemas.openxmlformats.org/officeDocument/2006/relationships/tags" Target="../tags/tag766.xml"/><Relationship Id="rId1144" Type="http://schemas.openxmlformats.org/officeDocument/2006/relationships/tags" Target="../tags/tag1147.xml"/><Relationship Id="rId1186" Type="http://schemas.openxmlformats.org/officeDocument/2006/relationships/tags" Target="../tags/tag1189.xml"/><Relationship Id="rId88" Type="http://schemas.openxmlformats.org/officeDocument/2006/relationships/tags" Target="../tags/tag91.xml"/><Relationship Id="rId111" Type="http://schemas.openxmlformats.org/officeDocument/2006/relationships/tags" Target="../tags/tag114.xml"/><Relationship Id="rId153" Type="http://schemas.openxmlformats.org/officeDocument/2006/relationships/tags" Target="../tags/tag156.xml"/><Relationship Id="rId195" Type="http://schemas.openxmlformats.org/officeDocument/2006/relationships/tags" Target="../tags/tag198.xml"/><Relationship Id="rId209" Type="http://schemas.openxmlformats.org/officeDocument/2006/relationships/tags" Target="../tags/tag212.xml"/><Relationship Id="rId360" Type="http://schemas.openxmlformats.org/officeDocument/2006/relationships/tags" Target="../tags/tag363.xml"/><Relationship Id="rId416" Type="http://schemas.openxmlformats.org/officeDocument/2006/relationships/tags" Target="../tags/tag419.xml"/><Relationship Id="rId598" Type="http://schemas.openxmlformats.org/officeDocument/2006/relationships/tags" Target="../tags/tag601.xml"/><Relationship Id="rId819" Type="http://schemas.openxmlformats.org/officeDocument/2006/relationships/tags" Target="../tags/tag822.xml"/><Relationship Id="rId970" Type="http://schemas.openxmlformats.org/officeDocument/2006/relationships/tags" Target="../tags/tag973.xml"/><Relationship Id="rId1004" Type="http://schemas.openxmlformats.org/officeDocument/2006/relationships/tags" Target="../tags/tag1007.xml"/><Relationship Id="rId1046" Type="http://schemas.openxmlformats.org/officeDocument/2006/relationships/tags" Target="../tags/tag1049.xml"/><Relationship Id="rId1211" Type="http://schemas.openxmlformats.org/officeDocument/2006/relationships/tags" Target="../tags/tag1214.xml"/><Relationship Id="rId1253" Type="http://schemas.openxmlformats.org/officeDocument/2006/relationships/notesSlide" Target="../notesSlides/notesSlide1.xml"/><Relationship Id="rId220" Type="http://schemas.openxmlformats.org/officeDocument/2006/relationships/tags" Target="../tags/tag223.xml"/><Relationship Id="rId458" Type="http://schemas.openxmlformats.org/officeDocument/2006/relationships/tags" Target="../tags/tag461.xml"/><Relationship Id="rId623" Type="http://schemas.openxmlformats.org/officeDocument/2006/relationships/tags" Target="../tags/tag626.xml"/><Relationship Id="rId665" Type="http://schemas.openxmlformats.org/officeDocument/2006/relationships/tags" Target="../tags/tag668.xml"/><Relationship Id="rId830" Type="http://schemas.openxmlformats.org/officeDocument/2006/relationships/tags" Target="../tags/tag833.xml"/><Relationship Id="rId872" Type="http://schemas.openxmlformats.org/officeDocument/2006/relationships/tags" Target="../tags/tag875.xml"/><Relationship Id="rId928" Type="http://schemas.openxmlformats.org/officeDocument/2006/relationships/tags" Target="../tags/tag931.xml"/><Relationship Id="rId1088" Type="http://schemas.openxmlformats.org/officeDocument/2006/relationships/tags" Target="../tags/tag1091.xml"/><Relationship Id="rId15" Type="http://schemas.openxmlformats.org/officeDocument/2006/relationships/tags" Target="../tags/tag18.xml"/><Relationship Id="rId57" Type="http://schemas.openxmlformats.org/officeDocument/2006/relationships/tags" Target="../tags/tag60.xml"/><Relationship Id="rId262" Type="http://schemas.openxmlformats.org/officeDocument/2006/relationships/tags" Target="../tags/tag265.xml"/><Relationship Id="rId318" Type="http://schemas.openxmlformats.org/officeDocument/2006/relationships/tags" Target="../tags/tag321.xml"/><Relationship Id="rId525" Type="http://schemas.openxmlformats.org/officeDocument/2006/relationships/tags" Target="../tags/tag528.xml"/><Relationship Id="rId567" Type="http://schemas.openxmlformats.org/officeDocument/2006/relationships/tags" Target="../tags/tag570.xml"/><Relationship Id="rId732" Type="http://schemas.openxmlformats.org/officeDocument/2006/relationships/tags" Target="../tags/tag735.xml"/><Relationship Id="rId1113" Type="http://schemas.openxmlformats.org/officeDocument/2006/relationships/tags" Target="../tags/tag1116.xml"/><Relationship Id="rId1155" Type="http://schemas.openxmlformats.org/officeDocument/2006/relationships/tags" Target="../tags/tag1158.xml"/><Relationship Id="rId1197" Type="http://schemas.openxmlformats.org/officeDocument/2006/relationships/tags" Target="../tags/tag1200.xml"/><Relationship Id="rId99" Type="http://schemas.openxmlformats.org/officeDocument/2006/relationships/tags" Target="../tags/tag102.xml"/><Relationship Id="rId122" Type="http://schemas.openxmlformats.org/officeDocument/2006/relationships/tags" Target="../tags/tag125.xml"/><Relationship Id="rId164" Type="http://schemas.openxmlformats.org/officeDocument/2006/relationships/tags" Target="../tags/tag167.xml"/><Relationship Id="rId371" Type="http://schemas.openxmlformats.org/officeDocument/2006/relationships/tags" Target="../tags/tag374.xml"/><Relationship Id="rId774" Type="http://schemas.openxmlformats.org/officeDocument/2006/relationships/tags" Target="../tags/tag777.xml"/><Relationship Id="rId981" Type="http://schemas.openxmlformats.org/officeDocument/2006/relationships/tags" Target="../tags/tag984.xml"/><Relationship Id="rId1015" Type="http://schemas.openxmlformats.org/officeDocument/2006/relationships/tags" Target="../tags/tag1018.xml"/><Relationship Id="rId1057" Type="http://schemas.openxmlformats.org/officeDocument/2006/relationships/tags" Target="../tags/tag1060.xml"/><Relationship Id="rId1222" Type="http://schemas.openxmlformats.org/officeDocument/2006/relationships/tags" Target="../tags/tag1225.xml"/><Relationship Id="rId427" Type="http://schemas.openxmlformats.org/officeDocument/2006/relationships/tags" Target="../tags/tag430.xml"/><Relationship Id="rId469" Type="http://schemas.openxmlformats.org/officeDocument/2006/relationships/tags" Target="../tags/tag472.xml"/><Relationship Id="rId634" Type="http://schemas.openxmlformats.org/officeDocument/2006/relationships/tags" Target="../tags/tag637.xml"/><Relationship Id="rId676" Type="http://schemas.openxmlformats.org/officeDocument/2006/relationships/tags" Target="../tags/tag679.xml"/><Relationship Id="rId841" Type="http://schemas.openxmlformats.org/officeDocument/2006/relationships/tags" Target="../tags/tag844.xml"/><Relationship Id="rId883" Type="http://schemas.openxmlformats.org/officeDocument/2006/relationships/tags" Target="../tags/tag886.xml"/><Relationship Id="rId1099" Type="http://schemas.openxmlformats.org/officeDocument/2006/relationships/tags" Target="../tags/tag1102.xml"/><Relationship Id="rId26" Type="http://schemas.openxmlformats.org/officeDocument/2006/relationships/tags" Target="../tags/tag29.xml"/><Relationship Id="rId231" Type="http://schemas.openxmlformats.org/officeDocument/2006/relationships/tags" Target="../tags/tag234.xml"/><Relationship Id="rId273" Type="http://schemas.openxmlformats.org/officeDocument/2006/relationships/tags" Target="../tags/tag276.xml"/><Relationship Id="rId329" Type="http://schemas.openxmlformats.org/officeDocument/2006/relationships/tags" Target="../tags/tag332.xml"/><Relationship Id="rId480" Type="http://schemas.openxmlformats.org/officeDocument/2006/relationships/tags" Target="../tags/tag483.xml"/><Relationship Id="rId536" Type="http://schemas.openxmlformats.org/officeDocument/2006/relationships/tags" Target="../tags/tag539.xml"/><Relationship Id="rId701" Type="http://schemas.openxmlformats.org/officeDocument/2006/relationships/tags" Target="../tags/tag704.xml"/><Relationship Id="rId939" Type="http://schemas.openxmlformats.org/officeDocument/2006/relationships/tags" Target="../tags/tag942.xml"/><Relationship Id="rId1124" Type="http://schemas.openxmlformats.org/officeDocument/2006/relationships/tags" Target="../tags/tag1127.xml"/><Relationship Id="rId1166" Type="http://schemas.openxmlformats.org/officeDocument/2006/relationships/tags" Target="../tags/tag1169.xml"/><Relationship Id="rId68" Type="http://schemas.openxmlformats.org/officeDocument/2006/relationships/tags" Target="../tags/tag71.xml"/><Relationship Id="rId133" Type="http://schemas.openxmlformats.org/officeDocument/2006/relationships/tags" Target="../tags/tag136.xml"/><Relationship Id="rId175" Type="http://schemas.openxmlformats.org/officeDocument/2006/relationships/tags" Target="../tags/tag178.xml"/><Relationship Id="rId340" Type="http://schemas.openxmlformats.org/officeDocument/2006/relationships/tags" Target="../tags/tag343.xml"/><Relationship Id="rId578" Type="http://schemas.openxmlformats.org/officeDocument/2006/relationships/tags" Target="../tags/tag581.xml"/><Relationship Id="rId743" Type="http://schemas.openxmlformats.org/officeDocument/2006/relationships/tags" Target="../tags/tag746.xml"/><Relationship Id="rId785" Type="http://schemas.openxmlformats.org/officeDocument/2006/relationships/tags" Target="../tags/tag788.xml"/><Relationship Id="rId950" Type="http://schemas.openxmlformats.org/officeDocument/2006/relationships/tags" Target="../tags/tag953.xml"/><Relationship Id="rId992" Type="http://schemas.openxmlformats.org/officeDocument/2006/relationships/tags" Target="../tags/tag995.xml"/><Relationship Id="rId1026" Type="http://schemas.openxmlformats.org/officeDocument/2006/relationships/tags" Target="../tags/tag1029.xml"/><Relationship Id="rId200" Type="http://schemas.openxmlformats.org/officeDocument/2006/relationships/tags" Target="../tags/tag203.xml"/><Relationship Id="rId382" Type="http://schemas.openxmlformats.org/officeDocument/2006/relationships/tags" Target="../tags/tag385.xml"/><Relationship Id="rId438" Type="http://schemas.openxmlformats.org/officeDocument/2006/relationships/tags" Target="../tags/tag441.xml"/><Relationship Id="rId603" Type="http://schemas.openxmlformats.org/officeDocument/2006/relationships/tags" Target="../tags/tag606.xml"/><Relationship Id="rId645" Type="http://schemas.openxmlformats.org/officeDocument/2006/relationships/tags" Target="../tags/tag648.xml"/><Relationship Id="rId687" Type="http://schemas.openxmlformats.org/officeDocument/2006/relationships/tags" Target="../tags/tag690.xml"/><Relationship Id="rId810" Type="http://schemas.openxmlformats.org/officeDocument/2006/relationships/tags" Target="../tags/tag813.xml"/><Relationship Id="rId852" Type="http://schemas.openxmlformats.org/officeDocument/2006/relationships/tags" Target="../tags/tag855.xml"/><Relationship Id="rId908" Type="http://schemas.openxmlformats.org/officeDocument/2006/relationships/tags" Target="../tags/tag911.xml"/><Relationship Id="rId1068" Type="http://schemas.openxmlformats.org/officeDocument/2006/relationships/tags" Target="../tags/tag1071.xml"/><Relationship Id="rId1233" Type="http://schemas.openxmlformats.org/officeDocument/2006/relationships/tags" Target="../tags/tag1236.xml"/><Relationship Id="rId242" Type="http://schemas.openxmlformats.org/officeDocument/2006/relationships/tags" Target="../tags/tag245.xml"/><Relationship Id="rId284" Type="http://schemas.openxmlformats.org/officeDocument/2006/relationships/tags" Target="../tags/tag287.xml"/><Relationship Id="rId491" Type="http://schemas.openxmlformats.org/officeDocument/2006/relationships/tags" Target="../tags/tag494.xml"/><Relationship Id="rId505" Type="http://schemas.openxmlformats.org/officeDocument/2006/relationships/tags" Target="../tags/tag508.xml"/><Relationship Id="rId712" Type="http://schemas.openxmlformats.org/officeDocument/2006/relationships/tags" Target="../tags/tag715.xml"/><Relationship Id="rId894" Type="http://schemas.openxmlformats.org/officeDocument/2006/relationships/tags" Target="../tags/tag897.xml"/><Relationship Id="rId1135" Type="http://schemas.openxmlformats.org/officeDocument/2006/relationships/tags" Target="../tags/tag1138.xml"/><Relationship Id="rId1177" Type="http://schemas.openxmlformats.org/officeDocument/2006/relationships/tags" Target="../tags/tag1180.xml"/><Relationship Id="rId37" Type="http://schemas.openxmlformats.org/officeDocument/2006/relationships/tags" Target="../tags/tag40.xml"/><Relationship Id="rId79" Type="http://schemas.openxmlformats.org/officeDocument/2006/relationships/tags" Target="../tags/tag82.xml"/><Relationship Id="rId102" Type="http://schemas.openxmlformats.org/officeDocument/2006/relationships/tags" Target="../tags/tag105.xml"/><Relationship Id="rId144" Type="http://schemas.openxmlformats.org/officeDocument/2006/relationships/tags" Target="../tags/tag147.xml"/><Relationship Id="rId547" Type="http://schemas.openxmlformats.org/officeDocument/2006/relationships/tags" Target="../tags/tag550.xml"/><Relationship Id="rId589" Type="http://schemas.openxmlformats.org/officeDocument/2006/relationships/tags" Target="../tags/tag592.xml"/><Relationship Id="rId754" Type="http://schemas.openxmlformats.org/officeDocument/2006/relationships/tags" Target="../tags/tag757.xml"/><Relationship Id="rId796" Type="http://schemas.openxmlformats.org/officeDocument/2006/relationships/tags" Target="../tags/tag799.xml"/><Relationship Id="rId961" Type="http://schemas.openxmlformats.org/officeDocument/2006/relationships/tags" Target="../tags/tag964.xml"/><Relationship Id="rId1202" Type="http://schemas.openxmlformats.org/officeDocument/2006/relationships/tags" Target="../tags/tag1205.xml"/><Relationship Id="rId90" Type="http://schemas.openxmlformats.org/officeDocument/2006/relationships/tags" Target="../tags/tag93.xml"/><Relationship Id="rId186" Type="http://schemas.openxmlformats.org/officeDocument/2006/relationships/tags" Target="../tags/tag189.xml"/><Relationship Id="rId351" Type="http://schemas.openxmlformats.org/officeDocument/2006/relationships/tags" Target="../tags/tag354.xml"/><Relationship Id="rId393" Type="http://schemas.openxmlformats.org/officeDocument/2006/relationships/tags" Target="../tags/tag396.xml"/><Relationship Id="rId407" Type="http://schemas.openxmlformats.org/officeDocument/2006/relationships/tags" Target="../tags/tag410.xml"/><Relationship Id="rId449" Type="http://schemas.openxmlformats.org/officeDocument/2006/relationships/tags" Target="../tags/tag452.xml"/><Relationship Id="rId614" Type="http://schemas.openxmlformats.org/officeDocument/2006/relationships/tags" Target="../tags/tag617.xml"/><Relationship Id="rId656" Type="http://schemas.openxmlformats.org/officeDocument/2006/relationships/tags" Target="../tags/tag659.xml"/><Relationship Id="rId821" Type="http://schemas.openxmlformats.org/officeDocument/2006/relationships/tags" Target="../tags/tag824.xml"/><Relationship Id="rId863" Type="http://schemas.openxmlformats.org/officeDocument/2006/relationships/tags" Target="../tags/tag866.xml"/><Relationship Id="rId1037" Type="http://schemas.openxmlformats.org/officeDocument/2006/relationships/tags" Target="../tags/tag1040.xml"/><Relationship Id="rId1079" Type="http://schemas.openxmlformats.org/officeDocument/2006/relationships/tags" Target="../tags/tag1082.xml"/><Relationship Id="rId1244" Type="http://schemas.openxmlformats.org/officeDocument/2006/relationships/tags" Target="../tags/tag1247.xml"/><Relationship Id="rId211" Type="http://schemas.openxmlformats.org/officeDocument/2006/relationships/tags" Target="../tags/tag214.xml"/><Relationship Id="rId253" Type="http://schemas.openxmlformats.org/officeDocument/2006/relationships/tags" Target="../tags/tag256.xml"/><Relationship Id="rId295" Type="http://schemas.openxmlformats.org/officeDocument/2006/relationships/tags" Target="../tags/tag298.xml"/><Relationship Id="rId309" Type="http://schemas.openxmlformats.org/officeDocument/2006/relationships/tags" Target="../tags/tag312.xml"/><Relationship Id="rId460" Type="http://schemas.openxmlformats.org/officeDocument/2006/relationships/tags" Target="../tags/tag463.xml"/><Relationship Id="rId516" Type="http://schemas.openxmlformats.org/officeDocument/2006/relationships/tags" Target="../tags/tag519.xml"/><Relationship Id="rId698" Type="http://schemas.openxmlformats.org/officeDocument/2006/relationships/tags" Target="../tags/tag701.xml"/><Relationship Id="rId919" Type="http://schemas.openxmlformats.org/officeDocument/2006/relationships/tags" Target="../tags/tag922.xml"/><Relationship Id="rId1090" Type="http://schemas.openxmlformats.org/officeDocument/2006/relationships/tags" Target="../tags/tag1093.xml"/><Relationship Id="rId1104" Type="http://schemas.openxmlformats.org/officeDocument/2006/relationships/tags" Target="../tags/tag1107.xml"/><Relationship Id="rId1146" Type="http://schemas.openxmlformats.org/officeDocument/2006/relationships/tags" Target="../tags/tag1149.xml"/><Relationship Id="rId48" Type="http://schemas.openxmlformats.org/officeDocument/2006/relationships/tags" Target="../tags/tag51.xml"/><Relationship Id="rId113" Type="http://schemas.openxmlformats.org/officeDocument/2006/relationships/tags" Target="../tags/tag116.xml"/><Relationship Id="rId320" Type="http://schemas.openxmlformats.org/officeDocument/2006/relationships/tags" Target="../tags/tag323.xml"/><Relationship Id="rId558" Type="http://schemas.openxmlformats.org/officeDocument/2006/relationships/tags" Target="../tags/tag561.xml"/><Relationship Id="rId723" Type="http://schemas.openxmlformats.org/officeDocument/2006/relationships/tags" Target="../tags/tag726.xml"/><Relationship Id="rId765" Type="http://schemas.openxmlformats.org/officeDocument/2006/relationships/tags" Target="../tags/tag768.xml"/><Relationship Id="rId930" Type="http://schemas.openxmlformats.org/officeDocument/2006/relationships/tags" Target="../tags/tag933.xml"/><Relationship Id="rId972" Type="http://schemas.openxmlformats.org/officeDocument/2006/relationships/tags" Target="../tags/tag975.xml"/><Relationship Id="rId1006" Type="http://schemas.openxmlformats.org/officeDocument/2006/relationships/tags" Target="../tags/tag1009.xml"/><Relationship Id="rId1188" Type="http://schemas.openxmlformats.org/officeDocument/2006/relationships/tags" Target="../tags/tag1191.xml"/><Relationship Id="rId155" Type="http://schemas.openxmlformats.org/officeDocument/2006/relationships/tags" Target="../tags/tag158.xml"/><Relationship Id="rId197" Type="http://schemas.openxmlformats.org/officeDocument/2006/relationships/tags" Target="../tags/tag200.xml"/><Relationship Id="rId362" Type="http://schemas.openxmlformats.org/officeDocument/2006/relationships/tags" Target="../tags/tag365.xml"/><Relationship Id="rId418" Type="http://schemas.openxmlformats.org/officeDocument/2006/relationships/tags" Target="../tags/tag421.xml"/><Relationship Id="rId625" Type="http://schemas.openxmlformats.org/officeDocument/2006/relationships/tags" Target="../tags/tag628.xml"/><Relationship Id="rId832" Type="http://schemas.openxmlformats.org/officeDocument/2006/relationships/tags" Target="../tags/tag835.xml"/><Relationship Id="rId1048" Type="http://schemas.openxmlformats.org/officeDocument/2006/relationships/tags" Target="../tags/tag1051.xml"/><Relationship Id="rId1213" Type="http://schemas.openxmlformats.org/officeDocument/2006/relationships/tags" Target="../tags/tag1216.xml"/><Relationship Id="rId222" Type="http://schemas.openxmlformats.org/officeDocument/2006/relationships/tags" Target="../tags/tag225.xml"/><Relationship Id="rId264" Type="http://schemas.openxmlformats.org/officeDocument/2006/relationships/tags" Target="../tags/tag267.xml"/><Relationship Id="rId471" Type="http://schemas.openxmlformats.org/officeDocument/2006/relationships/tags" Target="../tags/tag474.xml"/><Relationship Id="rId667" Type="http://schemas.openxmlformats.org/officeDocument/2006/relationships/tags" Target="../tags/tag670.xml"/><Relationship Id="rId874" Type="http://schemas.openxmlformats.org/officeDocument/2006/relationships/tags" Target="../tags/tag877.xml"/><Relationship Id="rId1115" Type="http://schemas.openxmlformats.org/officeDocument/2006/relationships/tags" Target="../tags/tag1118.xml"/><Relationship Id="rId17" Type="http://schemas.openxmlformats.org/officeDocument/2006/relationships/tags" Target="../tags/tag20.xml"/><Relationship Id="rId59" Type="http://schemas.openxmlformats.org/officeDocument/2006/relationships/tags" Target="../tags/tag62.xml"/><Relationship Id="rId124" Type="http://schemas.openxmlformats.org/officeDocument/2006/relationships/tags" Target="../tags/tag127.xml"/><Relationship Id="rId527" Type="http://schemas.openxmlformats.org/officeDocument/2006/relationships/tags" Target="../tags/tag530.xml"/><Relationship Id="rId569" Type="http://schemas.openxmlformats.org/officeDocument/2006/relationships/tags" Target="../tags/tag572.xml"/><Relationship Id="rId734" Type="http://schemas.openxmlformats.org/officeDocument/2006/relationships/tags" Target="../tags/tag737.xml"/><Relationship Id="rId776" Type="http://schemas.openxmlformats.org/officeDocument/2006/relationships/tags" Target="../tags/tag779.xml"/><Relationship Id="rId941" Type="http://schemas.openxmlformats.org/officeDocument/2006/relationships/tags" Target="../tags/tag944.xml"/><Relationship Id="rId983" Type="http://schemas.openxmlformats.org/officeDocument/2006/relationships/tags" Target="../tags/tag986.xml"/><Relationship Id="rId1157" Type="http://schemas.openxmlformats.org/officeDocument/2006/relationships/tags" Target="../tags/tag1160.xml"/><Relationship Id="rId1199" Type="http://schemas.openxmlformats.org/officeDocument/2006/relationships/tags" Target="../tags/tag1202.xml"/><Relationship Id="rId70" Type="http://schemas.openxmlformats.org/officeDocument/2006/relationships/tags" Target="../tags/tag73.xml"/><Relationship Id="rId166" Type="http://schemas.openxmlformats.org/officeDocument/2006/relationships/tags" Target="../tags/tag169.xml"/><Relationship Id="rId331" Type="http://schemas.openxmlformats.org/officeDocument/2006/relationships/tags" Target="../tags/tag334.xml"/><Relationship Id="rId373" Type="http://schemas.openxmlformats.org/officeDocument/2006/relationships/tags" Target="../tags/tag376.xml"/><Relationship Id="rId429" Type="http://schemas.openxmlformats.org/officeDocument/2006/relationships/tags" Target="../tags/tag432.xml"/><Relationship Id="rId580" Type="http://schemas.openxmlformats.org/officeDocument/2006/relationships/tags" Target="../tags/tag583.xml"/><Relationship Id="rId636" Type="http://schemas.openxmlformats.org/officeDocument/2006/relationships/tags" Target="../tags/tag639.xml"/><Relationship Id="rId801" Type="http://schemas.openxmlformats.org/officeDocument/2006/relationships/tags" Target="../tags/tag804.xml"/><Relationship Id="rId1017" Type="http://schemas.openxmlformats.org/officeDocument/2006/relationships/tags" Target="../tags/tag1020.xml"/><Relationship Id="rId1059" Type="http://schemas.openxmlformats.org/officeDocument/2006/relationships/tags" Target="../tags/tag1062.xml"/><Relationship Id="rId1224" Type="http://schemas.openxmlformats.org/officeDocument/2006/relationships/tags" Target="../tags/tag1227.xml"/><Relationship Id="rId1" Type="http://schemas.openxmlformats.org/officeDocument/2006/relationships/tags" Target="../tags/tag4.xml"/><Relationship Id="rId233" Type="http://schemas.openxmlformats.org/officeDocument/2006/relationships/tags" Target="../tags/tag236.xml"/><Relationship Id="rId440" Type="http://schemas.openxmlformats.org/officeDocument/2006/relationships/tags" Target="../tags/tag443.xml"/><Relationship Id="rId678" Type="http://schemas.openxmlformats.org/officeDocument/2006/relationships/tags" Target="../tags/tag681.xml"/><Relationship Id="rId843" Type="http://schemas.openxmlformats.org/officeDocument/2006/relationships/tags" Target="../tags/tag846.xml"/><Relationship Id="rId885" Type="http://schemas.openxmlformats.org/officeDocument/2006/relationships/tags" Target="../tags/tag888.xml"/><Relationship Id="rId1070" Type="http://schemas.openxmlformats.org/officeDocument/2006/relationships/tags" Target="../tags/tag1073.xml"/><Relationship Id="rId1126" Type="http://schemas.openxmlformats.org/officeDocument/2006/relationships/tags" Target="../tags/tag1129.xml"/><Relationship Id="rId28" Type="http://schemas.openxmlformats.org/officeDocument/2006/relationships/tags" Target="../tags/tag31.xml"/><Relationship Id="rId275" Type="http://schemas.openxmlformats.org/officeDocument/2006/relationships/tags" Target="../tags/tag278.xml"/><Relationship Id="rId300" Type="http://schemas.openxmlformats.org/officeDocument/2006/relationships/tags" Target="../tags/tag303.xml"/><Relationship Id="rId482" Type="http://schemas.openxmlformats.org/officeDocument/2006/relationships/tags" Target="../tags/tag485.xml"/><Relationship Id="rId538" Type="http://schemas.openxmlformats.org/officeDocument/2006/relationships/tags" Target="../tags/tag541.xml"/><Relationship Id="rId703" Type="http://schemas.openxmlformats.org/officeDocument/2006/relationships/tags" Target="../tags/tag706.xml"/><Relationship Id="rId745" Type="http://schemas.openxmlformats.org/officeDocument/2006/relationships/tags" Target="../tags/tag748.xml"/><Relationship Id="rId910" Type="http://schemas.openxmlformats.org/officeDocument/2006/relationships/tags" Target="../tags/tag913.xml"/><Relationship Id="rId952" Type="http://schemas.openxmlformats.org/officeDocument/2006/relationships/tags" Target="../tags/tag955.xml"/><Relationship Id="rId1168" Type="http://schemas.openxmlformats.org/officeDocument/2006/relationships/tags" Target="../tags/tag1171.xml"/><Relationship Id="rId81" Type="http://schemas.openxmlformats.org/officeDocument/2006/relationships/tags" Target="../tags/tag84.xml"/><Relationship Id="rId135" Type="http://schemas.openxmlformats.org/officeDocument/2006/relationships/tags" Target="../tags/tag138.xml"/><Relationship Id="rId177" Type="http://schemas.openxmlformats.org/officeDocument/2006/relationships/tags" Target="../tags/tag180.xml"/><Relationship Id="rId342" Type="http://schemas.openxmlformats.org/officeDocument/2006/relationships/tags" Target="../tags/tag345.xml"/><Relationship Id="rId384" Type="http://schemas.openxmlformats.org/officeDocument/2006/relationships/tags" Target="../tags/tag387.xml"/><Relationship Id="rId591" Type="http://schemas.openxmlformats.org/officeDocument/2006/relationships/tags" Target="../tags/tag594.xml"/><Relationship Id="rId605" Type="http://schemas.openxmlformats.org/officeDocument/2006/relationships/tags" Target="../tags/tag608.xml"/><Relationship Id="rId787" Type="http://schemas.openxmlformats.org/officeDocument/2006/relationships/tags" Target="../tags/tag790.xml"/><Relationship Id="rId812" Type="http://schemas.openxmlformats.org/officeDocument/2006/relationships/tags" Target="../tags/tag815.xml"/><Relationship Id="rId994" Type="http://schemas.openxmlformats.org/officeDocument/2006/relationships/tags" Target="../tags/tag997.xml"/><Relationship Id="rId1028" Type="http://schemas.openxmlformats.org/officeDocument/2006/relationships/tags" Target="../tags/tag1031.xml"/><Relationship Id="rId1235" Type="http://schemas.openxmlformats.org/officeDocument/2006/relationships/tags" Target="../tags/tag1238.xml"/><Relationship Id="rId202" Type="http://schemas.openxmlformats.org/officeDocument/2006/relationships/tags" Target="../tags/tag205.xml"/><Relationship Id="rId244" Type="http://schemas.openxmlformats.org/officeDocument/2006/relationships/tags" Target="../tags/tag247.xml"/><Relationship Id="rId647" Type="http://schemas.openxmlformats.org/officeDocument/2006/relationships/tags" Target="../tags/tag650.xml"/><Relationship Id="rId689" Type="http://schemas.openxmlformats.org/officeDocument/2006/relationships/tags" Target="../tags/tag692.xml"/><Relationship Id="rId854" Type="http://schemas.openxmlformats.org/officeDocument/2006/relationships/tags" Target="../tags/tag857.xml"/><Relationship Id="rId896" Type="http://schemas.openxmlformats.org/officeDocument/2006/relationships/tags" Target="../tags/tag899.xml"/><Relationship Id="rId1081" Type="http://schemas.openxmlformats.org/officeDocument/2006/relationships/tags" Target="../tags/tag1084.xml"/><Relationship Id="rId39" Type="http://schemas.openxmlformats.org/officeDocument/2006/relationships/tags" Target="../tags/tag42.xml"/><Relationship Id="rId286" Type="http://schemas.openxmlformats.org/officeDocument/2006/relationships/tags" Target="../tags/tag289.xml"/><Relationship Id="rId451" Type="http://schemas.openxmlformats.org/officeDocument/2006/relationships/tags" Target="../tags/tag454.xml"/><Relationship Id="rId493" Type="http://schemas.openxmlformats.org/officeDocument/2006/relationships/tags" Target="../tags/tag496.xml"/><Relationship Id="rId507" Type="http://schemas.openxmlformats.org/officeDocument/2006/relationships/tags" Target="../tags/tag510.xml"/><Relationship Id="rId549" Type="http://schemas.openxmlformats.org/officeDocument/2006/relationships/tags" Target="../tags/tag552.xml"/><Relationship Id="rId714" Type="http://schemas.openxmlformats.org/officeDocument/2006/relationships/tags" Target="../tags/tag717.xml"/><Relationship Id="rId756" Type="http://schemas.openxmlformats.org/officeDocument/2006/relationships/tags" Target="../tags/tag759.xml"/><Relationship Id="rId921" Type="http://schemas.openxmlformats.org/officeDocument/2006/relationships/tags" Target="../tags/tag924.xml"/><Relationship Id="rId1137" Type="http://schemas.openxmlformats.org/officeDocument/2006/relationships/tags" Target="../tags/tag1140.xml"/><Relationship Id="rId1179" Type="http://schemas.openxmlformats.org/officeDocument/2006/relationships/tags" Target="../tags/tag1182.xml"/><Relationship Id="rId50" Type="http://schemas.openxmlformats.org/officeDocument/2006/relationships/tags" Target="../tags/tag53.xml"/><Relationship Id="rId104" Type="http://schemas.openxmlformats.org/officeDocument/2006/relationships/tags" Target="../tags/tag107.xml"/><Relationship Id="rId146" Type="http://schemas.openxmlformats.org/officeDocument/2006/relationships/tags" Target="../tags/tag149.xml"/><Relationship Id="rId188" Type="http://schemas.openxmlformats.org/officeDocument/2006/relationships/tags" Target="../tags/tag191.xml"/><Relationship Id="rId311" Type="http://schemas.openxmlformats.org/officeDocument/2006/relationships/tags" Target="../tags/tag314.xml"/><Relationship Id="rId353" Type="http://schemas.openxmlformats.org/officeDocument/2006/relationships/tags" Target="../tags/tag356.xml"/><Relationship Id="rId395" Type="http://schemas.openxmlformats.org/officeDocument/2006/relationships/tags" Target="../tags/tag398.xml"/><Relationship Id="rId409" Type="http://schemas.openxmlformats.org/officeDocument/2006/relationships/tags" Target="../tags/tag412.xml"/><Relationship Id="rId560" Type="http://schemas.openxmlformats.org/officeDocument/2006/relationships/tags" Target="../tags/tag563.xml"/><Relationship Id="rId798" Type="http://schemas.openxmlformats.org/officeDocument/2006/relationships/tags" Target="../tags/tag801.xml"/><Relationship Id="rId963" Type="http://schemas.openxmlformats.org/officeDocument/2006/relationships/tags" Target="../tags/tag966.xml"/><Relationship Id="rId1039" Type="http://schemas.openxmlformats.org/officeDocument/2006/relationships/tags" Target="../tags/tag1042.xml"/><Relationship Id="rId1190" Type="http://schemas.openxmlformats.org/officeDocument/2006/relationships/tags" Target="../tags/tag1193.xml"/><Relationship Id="rId1204" Type="http://schemas.openxmlformats.org/officeDocument/2006/relationships/tags" Target="../tags/tag1207.xml"/><Relationship Id="rId1246" Type="http://schemas.openxmlformats.org/officeDocument/2006/relationships/tags" Target="../tags/tag1249.xml"/><Relationship Id="rId92" Type="http://schemas.openxmlformats.org/officeDocument/2006/relationships/tags" Target="../tags/tag95.xml"/><Relationship Id="rId213" Type="http://schemas.openxmlformats.org/officeDocument/2006/relationships/tags" Target="../tags/tag216.xml"/><Relationship Id="rId420" Type="http://schemas.openxmlformats.org/officeDocument/2006/relationships/tags" Target="../tags/tag423.xml"/><Relationship Id="rId616" Type="http://schemas.openxmlformats.org/officeDocument/2006/relationships/tags" Target="../tags/tag619.xml"/><Relationship Id="rId658" Type="http://schemas.openxmlformats.org/officeDocument/2006/relationships/tags" Target="../tags/tag661.xml"/><Relationship Id="rId823" Type="http://schemas.openxmlformats.org/officeDocument/2006/relationships/tags" Target="../tags/tag826.xml"/><Relationship Id="rId865" Type="http://schemas.openxmlformats.org/officeDocument/2006/relationships/tags" Target="../tags/tag868.xml"/><Relationship Id="rId1050" Type="http://schemas.openxmlformats.org/officeDocument/2006/relationships/tags" Target="../tags/tag1053.xml"/><Relationship Id="rId255" Type="http://schemas.openxmlformats.org/officeDocument/2006/relationships/tags" Target="../tags/tag258.xml"/><Relationship Id="rId297" Type="http://schemas.openxmlformats.org/officeDocument/2006/relationships/tags" Target="../tags/tag300.xml"/><Relationship Id="rId462" Type="http://schemas.openxmlformats.org/officeDocument/2006/relationships/tags" Target="../tags/tag465.xml"/><Relationship Id="rId518" Type="http://schemas.openxmlformats.org/officeDocument/2006/relationships/tags" Target="../tags/tag521.xml"/><Relationship Id="rId725" Type="http://schemas.openxmlformats.org/officeDocument/2006/relationships/tags" Target="../tags/tag728.xml"/><Relationship Id="rId932" Type="http://schemas.openxmlformats.org/officeDocument/2006/relationships/tags" Target="../tags/tag935.xml"/><Relationship Id="rId1092" Type="http://schemas.openxmlformats.org/officeDocument/2006/relationships/tags" Target="../tags/tag1095.xml"/><Relationship Id="rId1106" Type="http://schemas.openxmlformats.org/officeDocument/2006/relationships/tags" Target="../tags/tag1109.xml"/><Relationship Id="rId1148" Type="http://schemas.openxmlformats.org/officeDocument/2006/relationships/tags" Target="../tags/tag1151.xml"/><Relationship Id="rId115" Type="http://schemas.openxmlformats.org/officeDocument/2006/relationships/tags" Target="../tags/tag118.xml"/><Relationship Id="rId157" Type="http://schemas.openxmlformats.org/officeDocument/2006/relationships/tags" Target="../tags/tag160.xml"/><Relationship Id="rId322" Type="http://schemas.openxmlformats.org/officeDocument/2006/relationships/tags" Target="../tags/tag325.xml"/><Relationship Id="rId364" Type="http://schemas.openxmlformats.org/officeDocument/2006/relationships/tags" Target="../tags/tag367.xml"/><Relationship Id="rId767" Type="http://schemas.openxmlformats.org/officeDocument/2006/relationships/tags" Target="../tags/tag770.xml"/><Relationship Id="rId974" Type="http://schemas.openxmlformats.org/officeDocument/2006/relationships/tags" Target="../tags/tag977.xml"/><Relationship Id="rId1008" Type="http://schemas.openxmlformats.org/officeDocument/2006/relationships/tags" Target="../tags/tag1011.xml"/><Relationship Id="rId1215" Type="http://schemas.openxmlformats.org/officeDocument/2006/relationships/tags" Target="../tags/tag1218.xml"/><Relationship Id="rId61" Type="http://schemas.openxmlformats.org/officeDocument/2006/relationships/tags" Target="../tags/tag64.xml"/><Relationship Id="rId199" Type="http://schemas.openxmlformats.org/officeDocument/2006/relationships/tags" Target="../tags/tag202.xml"/><Relationship Id="rId571" Type="http://schemas.openxmlformats.org/officeDocument/2006/relationships/tags" Target="../tags/tag574.xml"/><Relationship Id="rId627" Type="http://schemas.openxmlformats.org/officeDocument/2006/relationships/tags" Target="../tags/tag630.xml"/><Relationship Id="rId669" Type="http://schemas.openxmlformats.org/officeDocument/2006/relationships/tags" Target="../tags/tag672.xml"/><Relationship Id="rId834" Type="http://schemas.openxmlformats.org/officeDocument/2006/relationships/tags" Target="../tags/tag837.xml"/><Relationship Id="rId876" Type="http://schemas.openxmlformats.org/officeDocument/2006/relationships/tags" Target="../tags/tag879.xml"/><Relationship Id="rId19" Type="http://schemas.openxmlformats.org/officeDocument/2006/relationships/tags" Target="../tags/tag22.xml"/><Relationship Id="rId224" Type="http://schemas.openxmlformats.org/officeDocument/2006/relationships/tags" Target="../tags/tag227.xml"/><Relationship Id="rId266" Type="http://schemas.openxmlformats.org/officeDocument/2006/relationships/tags" Target="../tags/tag269.xml"/><Relationship Id="rId431" Type="http://schemas.openxmlformats.org/officeDocument/2006/relationships/tags" Target="../tags/tag434.xml"/><Relationship Id="rId473" Type="http://schemas.openxmlformats.org/officeDocument/2006/relationships/tags" Target="../tags/tag476.xml"/><Relationship Id="rId529" Type="http://schemas.openxmlformats.org/officeDocument/2006/relationships/tags" Target="../tags/tag532.xml"/><Relationship Id="rId680" Type="http://schemas.openxmlformats.org/officeDocument/2006/relationships/tags" Target="../tags/tag683.xml"/><Relationship Id="rId736" Type="http://schemas.openxmlformats.org/officeDocument/2006/relationships/tags" Target="../tags/tag739.xml"/><Relationship Id="rId901" Type="http://schemas.openxmlformats.org/officeDocument/2006/relationships/tags" Target="../tags/tag904.xml"/><Relationship Id="rId1061" Type="http://schemas.openxmlformats.org/officeDocument/2006/relationships/tags" Target="../tags/tag1064.xml"/><Relationship Id="rId1117" Type="http://schemas.openxmlformats.org/officeDocument/2006/relationships/tags" Target="../tags/tag1120.xml"/><Relationship Id="rId1159" Type="http://schemas.openxmlformats.org/officeDocument/2006/relationships/tags" Target="../tags/tag1162.xml"/><Relationship Id="rId30" Type="http://schemas.openxmlformats.org/officeDocument/2006/relationships/tags" Target="../tags/tag33.xml"/><Relationship Id="rId126" Type="http://schemas.openxmlformats.org/officeDocument/2006/relationships/tags" Target="../tags/tag129.xml"/><Relationship Id="rId168" Type="http://schemas.openxmlformats.org/officeDocument/2006/relationships/tags" Target="../tags/tag171.xml"/><Relationship Id="rId333" Type="http://schemas.openxmlformats.org/officeDocument/2006/relationships/tags" Target="../tags/tag336.xml"/><Relationship Id="rId540" Type="http://schemas.openxmlformats.org/officeDocument/2006/relationships/tags" Target="../tags/tag543.xml"/><Relationship Id="rId778" Type="http://schemas.openxmlformats.org/officeDocument/2006/relationships/tags" Target="../tags/tag781.xml"/><Relationship Id="rId943" Type="http://schemas.openxmlformats.org/officeDocument/2006/relationships/tags" Target="../tags/tag946.xml"/><Relationship Id="rId985" Type="http://schemas.openxmlformats.org/officeDocument/2006/relationships/tags" Target="../tags/tag988.xml"/><Relationship Id="rId1019" Type="http://schemas.openxmlformats.org/officeDocument/2006/relationships/tags" Target="../tags/tag1022.xml"/><Relationship Id="rId1170" Type="http://schemas.openxmlformats.org/officeDocument/2006/relationships/tags" Target="../tags/tag1173.xml"/><Relationship Id="rId72" Type="http://schemas.openxmlformats.org/officeDocument/2006/relationships/tags" Target="../tags/tag75.xml"/><Relationship Id="rId375" Type="http://schemas.openxmlformats.org/officeDocument/2006/relationships/tags" Target="../tags/tag378.xml"/><Relationship Id="rId582" Type="http://schemas.openxmlformats.org/officeDocument/2006/relationships/tags" Target="../tags/tag585.xml"/><Relationship Id="rId638" Type="http://schemas.openxmlformats.org/officeDocument/2006/relationships/tags" Target="../tags/tag641.xml"/><Relationship Id="rId803" Type="http://schemas.openxmlformats.org/officeDocument/2006/relationships/tags" Target="../tags/tag806.xml"/><Relationship Id="rId845" Type="http://schemas.openxmlformats.org/officeDocument/2006/relationships/tags" Target="../tags/tag848.xml"/><Relationship Id="rId1030" Type="http://schemas.openxmlformats.org/officeDocument/2006/relationships/tags" Target="../tags/tag1033.xml"/><Relationship Id="rId1226" Type="http://schemas.openxmlformats.org/officeDocument/2006/relationships/tags" Target="../tags/tag1229.xml"/><Relationship Id="rId3" Type="http://schemas.openxmlformats.org/officeDocument/2006/relationships/tags" Target="../tags/tag6.xml"/><Relationship Id="rId235" Type="http://schemas.openxmlformats.org/officeDocument/2006/relationships/tags" Target="../tags/tag238.xml"/><Relationship Id="rId277" Type="http://schemas.openxmlformats.org/officeDocument/2006/relationships/tags" Target="../tags/tag280.xml"/><Relationship Id="rId400" Type="http://schemas.openxmlformats.org/officeDocument/2006/relationships/tags" Target="../tags/tag403.xml"/><Relationship Id="rId442" Type="http://schemas.openxmlformats.org/officeDocument/2006/relationships/tags" Target="../tags/tag445.xml"/><Relationship Id="rId484" Type="http://schemas.openxmlformats.org/officeDocument/2006/relationships/tags" Target="../tags/tag487.xml"/><Relationship Id="rId705" Type="http://schemas.openxmlformats.org/officeDocument/2006/relationships/tags" Target="../tags/tag708.xml"/><Relationship Id="rId887" Type="http://schemas.openxmlformats.org/officeDocument/2006/relationships/tags" Target="../tags/tag890.xml"/><Relationship Id="rId1072" Type="http://schemas.openxmlformats.org/officeDocument/2006/relationships/tags" Target="../tags/tag1075.xml"/><Relationship Id="rId1128" Type="http://schemas.openxmlformats.org/officeDocument/2006/relationships/tags" Target="../tags/tag1131.xml"/><Relationship Id="rId137" Type="http://schemas.openxmlformats.org/officeDocument/2006/relationships/tags" Target="../tags/tag140.xml"/><Relationship Id="rId302" Type="http://schemas.openxmlformats.org/officeDocument/2006/relationships/tags" Target="../tags/tag305.xml"/><Relationship Id="rId344" Type="http://schemas.openxmlformats.org/officeDocument/2006/relationships/tags" Target="../tags/tag347.xml"/><Relationship Id="rId691" Type="http://schemas.openxmlformats.org/officeDocument/2006/relationships/tags" Target="../tags/tag694.xml"/><Relationship Id="rId747" Type="http://schemas.openxmlformats.org/officeDocument/2006/relationships/tags" Target="../tags/tag750.xml"/><Relationship Id="rId789" Type="http://schemas.openxmlformats.org/officeDocument/2006/relationships/tags" Target="../tags/tag792.xml"/><Relationship Id="rId912" Type="http://schemas.openxmlformats.org/officeDocument/2006/relationships/tags" Target="../tags/tag915.xml"/><Relationship Id="rId954" Type="http://schemas.openxmlformats.org/officeDocument/2006/relationships/tags" Target="../tags/tag957.xml"/><Relationship Id="rId996" Type="http://schemas.openxmlformats.org/officeDocument/2006/relationships/tags" Target="../tags/tag999.xml"/><Relationship Id="rId41" Type="http://schemas.openxmlformats.org/officeDocument/2006/relationships/tags" Target="../tags/tag44.xml"/><Relationship Id="rId83" Type="http://schemas.openxmlformats.org/officeDocument/2006/relationships/tags" Target="../tags/tag86.xml"/><Relationship Id="rId179" Type="http://schemas.openxmlformats.org/officeDocument/2006/relationships/tags" Target="../tags/tag182.xml"/><Relationship Id="rId386" Type="http://schemas.openxmlformats.org/officeDocument/2006/relationships/tags" Target="../tags/tag389.xml"/><Relationship Id="rId551" Type="http://schemas.openxmlformats.org/officeDocument/2006/relationships/tags" Target="../tags/tag554.xml"/><Relationship Id="rId593" Type="http://schemas.openxmlformats.org/officeDocument/2006/relationships/tags" Target="../tags/tag596.xml"/><Relationship Id="rId607" Type="http://schemas.openxmlformats.org/officeDocument/2006/relationships/tags" Target="../tags/tag610.xml"/><Relationship Id="rId649" Type="http://schemas.openxmlformats.org/officeDocument/2006/relationships/tags" Target="../tags/tag652.xml"/><Relationship Id="rId814" Type="http://schemas.openxmlformats.org/officeDocument/2006/relationships/tags" Target="../tags/tag817.xml"/><Relationship Id="rId856" Type="http://schemas.openxmlformats.org/officeDocument/2006/relationships/tags" Target="../tags/tag859.xml"/><Relationship Id="rId1181" Type="http://schemas.openxmlformats.org/officeDocument/2006/relationships/tags" Target="../tags/tag1184.xml"/><Relationship Id="rId1237" Type="http://schemas.openxmlformats.org/officeDocument/2006/relationships/tags" Target="../tags/tag1240.xml"/><Relationship Id="rId190" Type="http://schemas.openxmlformats.org/officeDocument/2006/relationships/tags" Target="../tags/tag193.xml"/><Relationship Id="rId204" Type="http://schemas.openxmlformats.org/officeDocument/2006/relationships/tags" Target="../tags/tag207.xml"/><Relationship Id="rId246" Type="http://schemas.openxmlformats.org/officeDocument/2006/relationships/tags" Target="../tags/tag249.xml"/><Relationship Id="rId288" Type="http://schemas.openxmlformats.org/officeDocument/2006/relationships/tags" Target="../tags/tag291.xml"/><Relationship Id="rId411" Type="http://schemas.openxmlformats.org/officeDocument/2006/relationships/tags" Target="../tags/tag414.xml"/><Relationship Id="rId453" Type="http://schemas.openxmlformats.org/officeDocument/2006/relationships/tags" Target="../tags/tag456.xml"/><Relationship Id="rId509" Type="http://schemas.openxmlformats.org/officeDocument/2006/relationships/tags" Target="../tags/tag512.xml"/><Relationship Id="rId660" Type="http://schemas.openxmlformats.org/officeDocument/2006/relationships/tags" Target="../tags/tag663.xml"/><Relationship Id="rId898" Type="http://schemas.openxmlformats.org/officeDocument/2006/relationships/tags" Target="../tags/tag901.xml"/><Relationship Id="rId1041" Type="http://schemas.openxmlformats.org/officeDocument/2006/relationships/tags" Target="../tags/tag1044.xml"/><Relationship Id="rId1083" Type="http://schemas.openxmlformats.org/officeDocument/2006/relationships/tags" Target="../tags/tag1086.xml"/><Relationship Id="rId1139" Type="http://schemas.openxmlformats.org/officeDocument/2006/relationships/tags" Target="../tags/tag1142.xml"/><Relationship Id="rId106" Type="http://schemas.openxmlformats.org/officeDocument/2006/relationships/tags" Target="../tags/tag109.xml"/><Relationship Id="rId313" Type="http://schemas.openxmlformats.org/officeDocument/2006/relationships/tags" Target="../tags/tag316.xml"/><Relationship Id="rId495" Type="http://schemas.openxmlformats.org/officeDocument/2006/relationships/tags" Target="../tags/tag498.xml"/><Relationship Id="rId716" Type="http://schemas.openxmlformats.org/officeDocument/2006/relationships/tags" Target="../tags/tag719.xml"/><Relationship Id="rId758" Type="http://schemas.openxmlformats.org/officeDocument/2006/relationships/tags" Target="../tags/tag761.xml"/><Relationship Id="rId923" Type="http://schemas.openxmlformats.org/officeDocument/2006/relationships/tags" Target="../tags/tag926.xml"/><Relationship Id="rId965" Type="http://schemas.openxmlformats.org/officeDocument/2006/relationships/tags" Target="../tags/tag968.xml"/><Relationship Id="rId1150" Type="http://schemas.openxmlformats.org/officeDocument/2006/relationships/tags" Target="../tags/tag1153.xml"/><Relationship Id="rId10" Type="http://schemas.openxmlformats.org/officeDocument/2006/relationships/tags" Target="../tags/tag13.xml"/><Relationship Id="rId52" Type="http://schemas.openxmlformats.org/officeDocument/2006/relationships/tags" Target="../tags/tag55.xml"/><Relationship Id="rId94" Type="http://schemas.openxmlformats.org/officeDocument/2006/relationships/tags" Target="../tags/tag97.xml"/><Relationship Id="rId148" Type="http://schemas.openxmlformats.org/officeDocument/2006/relationships/tags" Target="../tags/tag151.xml"/><Relationship Id="rId355" Type="http://schemas.openxmlformats.org/officeDocument/2006/relationships/tags" Target="../tags/tag358.xml"/><Relationship Id="rId397" Type="http://schemas.openxmlformats.org/officeDocument/2006/relationships/tags" Target="../tags/tag400.xml"/><Relationship Id="rId520" Type="http://schemas.openxmlformats.org/officeDocument/2006/relationships/tags" Target="../tags/tag523.xml"/><Relationship Id="rId562" Type="http://schemas.openxmlformats.org/officeDocument/2006/relationships/tags" Target="../tags/tag565.xml"/><Relationship Id="rId618" Type="http://schemas.openxmlformats.org/officeDocument/2006/relationships/tags" Target="../tags/tag621.xml"/><Relationship Id="rId825" Type="http://schemas.openxmlformats.org/officeDocument/2006/relationships/tags" Target="../tags/tag828.xml"/><Relationship Id="rId1192" Type="http://schemas.openxmlformats.org/officeDocument/2006/relationships/tags" Target="../tags/tag1195.xml"/><Relationship Id="rId1206" Type="http://schemas.openxmlformats.org/officeDocument/2006/relationships/tags" Target="../tags/tag1209.xml"/><Relationship Id="rId1248" Type="http://schemas.openxmlformats.org/officeDocument/2006/relationships/tags" Target="../tags/tag1251.xml"/><Relationship Id="rId215" Type="http://schemas.openxmlformats.org/officeDocument/2006/relationships/tags" Target="../tags/tag218.xml"/><Relationship Id="rId257" Type="http://schemas.openxmlformats.org/officeDocument/2006/relationships/tags" Target="../tags/tag260.xml"/><Relationship Id="rId422" Type="http://schemas.openxmlformats.org/officeDocument/2006/relationships/tags" Target="../tags/tag425.xml"/><Relationship Id="rId464" Type="http://schemas.openxmlformats.org/officeDocument/2006/relationships/tags" Target="../tags/tag467.xml"/><Relationship Id="rId867" Type="http://schemas.openxmlformats.org/officeDocument/2006/relationships/tags" Target="../tags/tag870.xml"/><Relationship Id="rId1010" Type="http://schemas.openxmlformats.org/officeDocument/2006/relationships/tags" Target="../tags/tag1013.xml"/><Relationship Id="rId1052" Type="http://schemas.openxmlformats.org/officeDocument/2006/relationships/tags" Target="../tags/tag1055.xml"/><Relationship Id="rId1094" Type="http://schemas.openxmlformats.org/officeDocument/2006/relationships/tags" Target="../tags/tag1097.xml"/><Relationship Id="rId1108" Type="http://schemas.openxmlformats.org/officeDocument/2006/relationships/tags" Target="../tags/tag1111.xml"/><Relationship Id="rId299" Type="http://schemas.openxmlformats.org/officeDocument/2006/relationships/tags" Target="../tags/tag302.xml"/><Relationship Id="rId727" Type="http://schemas.openxmlformats.org/officeDocument/2006/relationships/tags" Target="../tags/tag730.xml"/><Relationship Id="rId934" Type="http://schemas.openxmlformats.org/officeDocument/2006/relationships/tags" Target="../tags/tag937.xml"/><Relationship Id="rId63" Type="http://schemas.openxmlformats.org/officeDocument/2006/relationships/tags" Target="../tags/tag66.xml"/><Relationship Id="rId159" Type="http://schemas.openxmlformats.org/officeDocument/2006/relationships/tags" Target="../tags/tag162.xml"/><Relationship Id="rId366" Type="http://schemas.openxmlformats.org/officeDocument/2006/relationships/tags" Target="../tags/tag369.xml"/><Relationship Id="rId573" Type="http://schemas.openxmlformats.org/officeDocument/2006/relationships/tags" Target="../tags/tag576.xml"/><Relationship Id="rId780" Type="http://schemas.openxmlformats.org/officeDocument/2006/relationships/tags" Target="../tags/tag783.xml"/><Relationship Id="rId1217" Type="http://schemas.openxmlformats.org/officeDocument/2006/relationships/tags" Target="../tags/tag1220.xml"/><Relationship Id="rId226" Type="http://schemas.openxmlformats.org/officeDocument/2006/relationships/tags" Target="../tags/tag229.xml"/><Relationship Id="rId433" Type="http://schemas.openxmlformats.org/officeDocument/2006/relationships/tags" Target="../tags/tag436.xml"/><Relationship Id="rId878" Type="http://schemas.openxmlformats.org/officeDocument/2006/relationships/tags" Target="../tags/tag881.xml"/><Relationship Id="rId1063" Type="http://schemas.openxmlformats.org/officeDocument/2006/relationships/tags" Target="../tags/tag1066.xml"/><Relationship Id="rId640" Type="http://schemas.openxmlformats.org/officeDocument/2006/relationships/tags" Target="../tags/tag643.xml"/><Relationship Id="rId738" Type="http://schemas.openxmlformats.org/officeDocument/2006/relationships/tags" Target="../tags/tag741.xml"/><Relationship Id="rId945" Type="http://schemas.openxmlformats.org/officeDocument/2006/relationships/tags" Target="../tags/tag948.xml"/><Relationship Id="rId74" Type="http://schemas.openxmlformats.org/officeDocument/2006/relationships/tags" Target="../tags/tag77.xml"/><Relationship Id="rId377" Type="http://schemas.openxmlformats.org/officeDocument/2006/relationships/tags" Target="../tags/tag380.xml"/><Relationship Id="rId500" Type="http://schemas.openxmlformats.org/officeDocument/2006/relationships/tags" Target="../tags/tag503.xml"/><Relationship Id="rId584" Type="http://schemas.openxmlformats.org/officeDocument/2006/relationships/tags" Target="../tags/tag587.xml"/><Relationship Id="rId805" Type="http://schemas.openxmlformats.org/officeDocument/2006/relationships/tags" Target="../tags/tag808.xml"/><Relationship Id="rId1130" Type="http://schemas.openxmlformats.org/officeDocument/2006/relationships/tags" Target="../tags/tag1133.xml"/><Relationship Id="rId1228" Type="http://schemas.openxmlformats.org/officeDocument/2006/relationships/tags" Target="../tags/tag1231.xml"/><Relationship Id="rId5" Type="http://schemas.openxmlformats.org/officeDocument/2006/relationships/tags" Target="../tags/tag8.xml"/><Relationship Id="rId237" Type="http://schemas.openxmlformats.org/officeDocument/2006/relationships/tags" Target="../tags/tag240.xml"/><Relationship Id="rId791" Type="http://schemas.openxmlformats.org/officeDocument/2006/relationships/tags" Target="../tags/tag794.xml"/><Relationship Id="rId889" Type="http://schemas.openxmlformats.org/officeDocument/2006/relationships/tags" Target="../tags/tag892.xml"/><Relationship Id="rId1074" Type="http://schemas.openxmlformats.org/officeDocument/2006/relationships/tags" Target="../tags/tag1077.xml"/><Relationship Id="rId444" Type="http://schemas.openxmlformats.org/officeDocument/2006/relationships/tags" Target="../tags/tag447.xml"/><Relationship Id="rId651" Type="http://schemas.openxmlformats.org/officeDocument/2006/relationships/tags" Target="../tags/tag654.xml"/><Relationship Id="rId749" Type="http://schemas.openxmlformats.org/officeDocument/2006/relationships/tags" Target="../tags/tag752.xml"/><Relationship Id="rId290" Type="http://schemas.openxmlformats.org/officeDocument/2006/relationships/tags" Target="../tags/tag293.xml"/><Relationship Id="rId304" Type="http://schemas.openxmlformats.org/officeDocument/2006/relationships/tags" Target="../tags/tag307.xml"/><Relationship Id="rId388" Type="http://schemas.openxmlformats.org/officeDocument/2006/relationships/tags" Target="../tags/tag391.xml"/><Relationship Id="rId511" Type="http://schemas.openxmlformats.org/officeDocument/2006/relationships/tags" Target="../tags/tag514.xml"/><Relationship Id="rId609" Type="http://schemas.openxmlformats.org/officeDocument/2006/relationships/tags" Target="../tags/tag612.xml"/><Relationship Id="rId956" Type="http://schemas.openxmlformats.org/officeDocument/2006/relationships/tags" Target="../tags/tag959.xml"/><Relationship Id="rId1141" Type="http://schemas.openxmlformats.org/officeDocument/2006/relationships/tags" Target="../tags/tag1144.xml"/><Relationship Id="rId1239" Type="http://schemas.openxmlformats.org/officeDocument/2006/relationships/tags" Target="../tags/tag1242.xml"/><Relationship Id="rId85" Type="http://schemas.openxmlformats.org/officeDocument/2006/relationships/tags" Target="../tags/tag88.xml"/><Relationship Id="rId150" Type="http://schemas.openxmlformats.org/officeDocument/2006/relationships/tags" Target="../tags/tag153.xml"/><Relationship Id="rId595" Type="http://schemas.openxmlformats.org/officeDocument/2006/relationships/tags" Target="../tags/tag598.xml"/><Relationship Id="rId816" Type="http://schemas.openxmlformats.org/officeDocument/2006/relationships/tags" Target="../tags/tag819.xml"/><Relationship Id="rId1001" Type="http://schemas.openxmlformats.org/officeDocument/2006/relationships/tags" Target="../tags/tag1004.xml"/><Relationship Id="rId248" Type="http://schemas.openxmlformats.org/officeDocument/2006/relationships/tags" Target="../tags/tag251.xml"/><Relationship Id="rId455" Type="http://schemas.openxmlformats.org/officeDocument/2006/relationships/tags" Target="../tags/tag458.xml"/><Relationship Id="rId662" Type="http://schemas.openxmlformats.org/officeDocument/2006/relationships/tags" Target="../tags/tag665.xml"/><Relationship Id="rId1085" Type="http://schemas.openxmlformats.org/officeDocument/2006/relationships/tags" Target="../tags/tag1088.xml"/><Relationship Id="rId12" Type="http://schemas.openxmlformats.org/officeDocument/2006/relationships/tags" Target="../tags/tag15.xml"/><Relationship Id="rId108" Type="http://schemas.openxmlformats.org/officeDocument/2006/relationships/tags" Target="../tags/tag111.xml"/><Relationship Id="rId315" Type="http://schemas.openxmlformats.org/officeDocument/2006/relationships/tags" Target="../tags/tag318.xml"/><Relationship Id="rId522" Type="http://schemas.openxmlformats.org/officeDocument/2006/relationships/tags" Target="../tags/tag525.xml"/><Relationship Id="rId967" Type="http://schemas.openxmlformats.org/officeDocument/2006/relationships/tags" Target="../tags/tag970.xml"/><Relationship Id="rId1152" Type="http://schemas.openxmlformats.org/officeDocument/2006/relationships/tags" Target="../tags/tag1155.xml"/><Relationship Id="rId96" Type="http://schemas.openxmlformats.org/officeDocument/2006/relationships/tags" Target="../tags/tag99.xml"/><Relationship Id="rId161" Type="http://schemas.openxmlformats.org/officeDocument/2006/relationships/tags" Target="../tags/tag164.xml"/><Relationship Id="rId399" Type="http://schemas.openxmlformats.org/officeDocument/2006/relationships/tags" Target="../tags/tag402.xml"/><Relationship Id="rId827" Type="http://schemas.openxmlformats.org/officeDocument/2006/relationships/tags" Target="../tags/tag830.xml"/><Relationship Id="rId1012" Type="http://schemas.openxmlformats.org/officeDocument/2006/relationships/tags" Target="../tags/tag1015.xml"/><Relationship Id="rId259" Type="http://schemas.openxmlformats.org/officeDocument/2006/relationships/tags" Target="../tags/tag262.xml"/><Relationship Id="rId466" Type="http://schemas.openxmlformats.org/officeDocument/2006/relationships/tags" Target="../tags/tag469.xml"/><Relationship Id="rId673" Type="http://schemas.openxmlformats.org/officeDocument/2006/relationships/tags" Target="../tags/tag676.xml"/><Relationship Id="rId880" Type="http://schemas.openxmlformats.org/officeDocument/2006/relationships/tags" Target="../tags/tag883.xml"/><Relationship Id="rId1096" Type="http://schemas.openxmlformats.org/officeDocument/2006/relationships/tags" Target="../tags/tag1099.xml"/><Relationship Id="rId23" Type="http://schemas.openxmlformats.org/officeDocument/2006/relationships/tags" Target="../tags/tag26.xml"/><Relationship Id="rId119" Type="http://schemas.openxmlformats.org/officeDocument/2006/relationships/tags" Target="../tags/tag122.xml"/><Relationship Id="rId326" Type="http://schemas.openxmlformats.org/officeDocument/2006/relationships/tags" Target="../tags/tag329.xml"/><Relationship Id="rId533" Type="http://schemas.openxmlformats.org/officeDocument/2006/relationships/tags" Target="../tags/tag536.xml"/><Relationship Id="rId978" Type="http://schemas.openxmlformats.org/officeDocument/2006/relationships/tags" Target="../tags/tag981.xml"/><Relationship Id="rId1163" Type="http://schemas.openxmlformats.org/officeDocument/2006/relationships/tags" Target="../tags/tag1166.xml"/><Relationship Id="rId740" Type="http://schemas.openxmlformats.org/officeDocument/2006/relationships/tags" Target="../tags/tag743.xml"/><Relationship Id="rId838" Type="http://schemas.openxmlformats.org/officeDocument/2006/relationships/tags" Target="../tags/tag841.xml"/><Relationship Id="rId1023" Type="http://schemas.openxmlformats.org/officeDocument/2006/relationships/tags" Target="../tags/tag1026.xml"/><Relationship Id="rId172" Type="http://schemas.openxmlformats.org/officeDocument/2006/relationships/tags" Target="../tags/tag175.xml"/><Relationship Id="rId477" Type="http://schemas.openxmlformats.org/officeDocument/2006/relationships/tags" Target="../tags/tag480.xml"/><Relationship Id="rId600" Type="http://schemas.openxmlformats.org/officeDocument/2006/relationships/tags" Target="../tags/tag603.xml"/><Relationship Id="rId684" Type="http://schemas.openxmlformats.org/officeDocument/2006/relationships/tags" Target="../tags/tag687.xml"/><Relationship Id="rId1230" Type="http://schemas.openxmlformats.org/officeDocument/2006/relationships/tags" Target="../tags/tag1233.xml"/><Relationship Id="rId337" Type="http://schemas.openxmlformats.org/officeDocument/2006/relationships/tags" Target="../tags/tag340.xml"/><Relationship Id="rId891" Type="http://schemas.openxmlformats.org/officeDocument/2006/relationships/tags" Target="../tags/tag894.xml"/><Relationship Id="rId905" Type="http://schemas.openxmlformats.org/officeDocument/2006/relationships/tags" Target="../tags/tag908.xml"/><Relationship Id="rId989" Type="http://schemas.openxmlformats.org/officeDocument/2006/relationships/tags" Target="../tags/tag992.xml"/><Relationship Id="rId34" Type="http://schemas.openxmlformats.org/officeDocument/2006/relationships/tags" Target="../tags/tag37.xml"/><Relationship Id="rId544" Type="http://schemas.openxmlformats.org/officeDocument/2006/relationships/tags" Target="../tags/tag547.xml"/><Relationship Id="rId751" Type="http://schemas.openxmlformats.org/officeDocument/2006/relationships/tags" Target="../tags/tag754.xml"/><Relationship Id="rId849" Type="http://schemas.openxmlformats.org/officeDocument/2006/relationships/tags" Target="../tags/tag852.xml"/><Relationship Id="rId1174" Type="http://schemas.openxmlformats.org/officeDocument/2006/relationships/tags" Target="../tags/tag1177.xml"/><Relationship Id="rId183" Type="http://schemas.openxmlformats.org/officeDocument/2006/relationships/tags" Target="../tags/tag186.xml"/><Relationship Id="rId390" Type="http://schemas.openxmlformats.org/officeDocument/2006/relationships/tags" Target="../tags/tag393.xml"/><Relationship Id="rId404" Type="http://schemas.openxmlformats.org/officeDocument/2006/relationships/tags" Target="../tags/tag407.xml"/><Relationship Id="rId611" Type="http://schemas.openxmlformats.org/officeDocument/2006/relationships/tags" Target="../tags/tag614.xml"/><Relationship Id="rId1034" Type="http://schemas.openxmlformats.org/officeDocument/2006/relationships/tags" Target="../tags/tag1037.xml"/><Relationship Id="rId1241" Type="http://schemas.openxmlformats.org/officeDocument/2006/relationships/tags" Target="../tags/tag1244.xml"/><Relationship Id="rId250" Type="http://schemas.openxmlformats.org/officeDocument/2006/relationships/tags" Target="../tags/tag253.xml"/><Relationship Id="rId488" Type="http://schemas.openxmlformats.org/officeDocument/2006/relationships/tags" Target="../tags/tag491.xml"/><Relationship Id="rId695" Type="http://schemas.openxmlformats.org/officeDocument/2006/relationships/tags" Target="../tags/tag698.xml"/><Relationship Id="rId709" Type="http://schemas.openxmlformats.org/officeDocument/2006/relationships/tags" Target="../tags/tag712.xml"/><Relationship Id="rId916" Type="http://schemas.openxmlformats.org/officeDocument/2006/relationships/tags" Target="../tags/tag919.xml"/><Relationship Id="rId1101" Type="http://schemas.openxmlformats.org/officeDocument/2006/relationships/tags" Target="../tags/tag1104.xml"/><Relationship Id="rId45" Type="http://schemas.openxmlformats.org/officeDocument/2006/relationships/tags" Target="../tags/tag48.xml"/><Relationship Id="rId110" Type="http://schemas.openxmlformats.org/officeDocument/2006/relationships/tags" Target="../tags/tag113.xml"/><Relationship Id="rId348" Type="http://schemas.openxmlformats.org/officeDocument/2006/relationships/tags" Target="../tags/tag351.xml"/><Relationship Id="rId555" Type="http://schemas.openxmlformats.org/officeDocument/2006/relationships/tags" Target="../tags/tag558.xml"/><Relationship Id="rId762" Type="http://schemas.openxmlformats.org/officeDocument/2006/relationships/tags" Target="../tags/tag765.xml"/><Relationship Id="rId1185" Type="http://schemas.openxmlformats.org/officeDocument/2006/relationships/tags" Target="../tags/tag1188.xml"/><Relationship Id="rId194" Type="http://schemas.openxmlformats.org/officeDocument/2006/relationships/tags" Target="../tags/tag197.xml"/><Relationship Id="rId208" Type="http://schemas.openxmlformats.org/officeDocument/2006/relationships/tags" Target="../tags/tag211.xml"/><Relationship Id="rId415" Type="http://schemas.openxmlformats.org/officeDocument/2006/relationships/tags" Target="../tags/tag418.xml"/><Relationship Id="rId622" Type="http://schemas.openxmlformats.org/officeDocument/2006/relationships/tags" Target="../tags/tag625.xml"/><Relationship Id="rId1045" Type="http://schemas.openxmlformats.org/officeDocument/2006/relationships/tags" Target="../tags/tag1048.xml"/><Relationship Id="rId1252" Type="http://schemas.openxmlformats.org/officeDocument/2006/relationships/slideLayout" Target="../slideLayouts/slideLayout20.xml"/><Relationship Id="rId261" Type="http://schemas.openxmlformats.org/officeDocument/2006/relationships/tags" Target="../tags/tag264.xml"/><Relationship Id="rId499" Type="http://schemas.openxmlformats.org/officeDocument/2006/relationships/tags" Target="../tags/tag502.xml"/><Relationship Id="rId927" Type="http://schemas.openxmlformats.org/officeDocument/2006/relationships/tags" Target="../tags/tag930.xml"/><Relationship Id="rId1112" Type="http://schemas.openxmlformats.org/officeDocument/2006/relationships/tags" Target="../tags/tag1115.xml"/><Relationship Id="rId56" Type="http://schemas.openxmlformats.org/officeDocument/2006/relationships/tags" Target="../tags/tag59.xml"/><Relationship Id="rId359" Type="http://schemas.openxmlformats.org/officeDocument/2006/relationships/tags" Target="../tags/tag362.xml"/><Relationship Id="rId566" Type="http://schemas.openxmlformats.org/officeDocument/2006/relationships/tags" Target="../tags/tag569.xml"/><Relationship Id="rId773" Type="http://schemas.openxmlformats.org/officeDocument/2006/relationships/tags" Target="../tags/tag776.xml"/><Relationship Id="rId1196" Type="http://schemas.openxmlformats.org/officeDocument/2006/relationships/tags" Target="../tags/tag1199.xml"/><Relationship Id="rId121" Type="http://schemas.openxmlformats.org/officeDocument/2006/relationships/tags" Target="../tags/tag124.xml"/><Relationship Id="rId219" Type="http://schemas.openxmlformats.org/officeDocument/2006/relationships/tags" Target="../tags/tag222.xml"/><Relationship Id="rId426" Type="http://schemas.openxmlformats.org/officeDocument/2006/relationships/tags" Target="../tags/tag429.xml"/><Relationship Id="rId633" Type="http://schemas.openxmlformats.org/officeDocument/2006/relationships/tags" Target="../tags/tag636.xml"/><Relationship Id="rId980" Type="http://schemas.openxmlformats.org/officeDocument/2006/relationships/tags" Target="../tags/tag983.xml"/><Relationship Id="rId1056" Type="http://schemas.openxmlformats.org/officeDocument/2006/relationships/tags" Target="../tags/tag1059.xml"/><Relationship Id="rId840" Type="http://schemas.openxmlformats.org/officeDocument/2006/relationships/tags" Target="../tags/tag843.xml"/><Relationship Id="rId938" Type="http://schemas.openxmlformats.org/officeDocument/2006/relationships/tags" Target="../tags/tag941.xml"/><Relationship Id="rId67" Type="http://schemas.openxmlformats.org/officeDocument/2006/relationships/tags" Target="../tags/tag70.xml"/><Relationship Id="rId272" Type="http://schemas.openxmlformats.org/officeDocument/2006/relationships/tags" Target="../tags/tag275.xml"/><Relationship Id="rId577" Type="http://schemas.openxmlformats.org/officeDocument/2006/relationships/tags" Target="../tags/tag580.xml"/><Relationship Id="rId700" Type="http://schemas.openxmlformats.org/officeDocument/2006/relationships/tags" Target="../tags/tag703.xml"/><Relationship Id="rId1123" Type="http://schemas.openxmlformats.org/officeDocument/2006/relationships/tags" Target="../tags/tag1126.xml"/><Relationship Id="rId132" Type="http://schemas.openxmlformats.org/officeDocument/2006/relationships/tags" Target="../tags/tag135.xml"/><Relationship Id="rId784" Type="http://schemas.openxmlformats.org/officeDocument/2006/relationships/tags" Target="../tags/tag787.xml"/><Relationship Id="rId991" Type="http://schemas.openxmlformats.org/officeDocument/2006/relationships/tags" Target="../tags/tag994.xml"/><Relationship Id="rId1067" Type="http://schemas.openxmlformats.org/officeDocument/2006/relationships/tags" Target="../tags/tag1070.xml"/><Relationship Id="rId437" Type="http://schemas.openxmlformats.org/officeDocument/2006/relationships/tags" Target="../tags/tag440.xml"/><Relationship Id="rId644" Type="http://schemas.openxmlformats.org/officeDocument/2006/relationships/tags" Target="../tags/tag647.xml"/><Relationship Id="rId851" Type="http://schemas.openxmlformats.org/officeDocument/2006/relationships/tags" Target="../tags/tag854.xml"/><Relationship Id="rId283" Type="http://schemas.openxmlformats.org/officeDocument/2006/relationships/tags" Target="../tags/tag286.xml"/><Relationship Id="rId490" Type="http://schemas.openxmlformats.org/officeDocument/2006/relationships/tags" Target="../tags/tag493.xml"/><Relationship Id="rId504" Type="http://schemas.openxmlformats.org/officeDocument/2006/relationships/tags" Target="../tags/tag507.xml"/><Relationship Id="rId711" Type="http://schemas.openxmlformats.org/officeDocument/2006/relationships/tags" Target="../tags/tag714.xml"/><Relationship Id="rId949" Type="http://schemas.openxmlformats.org/officeDocument/2006/relationships/tags" Target="../tags/tag952.xml"/><Relationship Id="rId1134" Type="http://schemas.openxmlformats.org/officeDocument/2006/relationships/tags" Target="../tags/tag1137.xml"/><Relationship Id="rId78" Type="http://schemas.openxmlformats.org/officeDocument/2006/relationships/tags" Target="../tags/tag81.xml"/><Relationship Id="rId143" Type="http://schemas.openxmlformats.org/officeDocument/2006/relationships/tags" Target="../tags/tag146.xml"/><Relationship Id="rId350" Type="http://schemas.openxmlformats.org/officeDocument/2006/relationships/tags" Target="../tags/tag353.xml"/><Relationship Id="rId588" Type="http://schemas.openxmlformats.org/officeDocument/2006/relationships/tags" Target="../tags/tag591.xml"/><Relationship Id="rId795" Type="http://schemas.openxmlformats.org/officeDocument/2006/relationships/tags" Target="../tags/tag798.xml"/><Relationship Id="rId809" Type="http://schemas.openxmlformats.org/officeDocument/2006/relationships/tags" Target="../tags/tag812.xml"/><Relationship Id="rId1201" Type="http://schemas.openxmlformats.org/officeDocument/2006/relationships/tags" Target="../tags/tag1204.xml"/><Relationship Id="rId9" Type="http://schemas.openxmlformats.org/officeDocument/2006/relationships/tags" Target="../tags/tag12.xml"/><Relationship Id="rId210" Type="http://schemas.openxmlformats.org/officeDocument/2006/relationships/tags" Target="../tags/tag213.xml"/><Relationship Id="rId448" Type="http://schemas.openxmlformats.org/officeDocument/2006/relationships/tags" Target="../tags/tag451.xml"/><Relationship Id="rId655" Type="http://schemas.openxmlformats.org/officeDocument/2006/relationships/tags" Target="../tags/tag658.xml"/><Relationship Id="rId862" Type="http://schemas.openxmlformats.org/officeDocument/2006/relationships/tags" Target="../tags/tag865.xml"/><Relationship Id="rId1078" Type="http://schemas.openxmlformats.org/officeDocument/2006/relationships/tags" Target="../tags/tag1081.xml"/><Relationship Id="rId294" Type="http://schemas.openxmlformats.org/officeDocument/2006/relationships/tags" Target="../tags/tag297.xml"/><Relationship Id="rId308" Type="http://schemas.openxmlformats.org/officeDocument/2006/relationships/tags" Target="../tags/tag311.xml"/><Relationship Id="rId515" Type="http://schemas.openxmlformats.org/officeDocument/2006/relationships/tags" Target="../tags/tag518.xml"/><Relationship Id="rId722" Type="http://schemas.openxmlformats.org/officeDocument/2006/relationships/tags" Target="../tags/tag725.xml"/><Relationship Id="rId1145" Type="http://schemas.openxmlformats.org/officeDocument/2006/relationships/tags" Target="../tags/tag1148.xml"/><Relationship Id="rId89" Type="http://schemas.openxmlformats.org/officeDocument/2006/relationships/tags" Target="../tags/tag92.xml"/><Relationship Id="rId154" Type="http://schemas.openxmlformats.org/officeDocument/2006/relationships/tags" Target="../tags/tag157.xml"/><Relationship Id="rId361" Type="http://schemas.openxmlformats.org/officeDocument/2006/relationships/tags" Target="../tags/tag364.xml"/><Relationship Id="rId599" Type="http://schemas.openxmlformats.org/officeDocument/2006/relationships/tags" Target="../tags/tag602.xml"/><Relationship Id="rId1005" Type="http://schemas.openxmlformats.org/officeDocument/2006/relationships/tags" Target="../tags/tag1008.xml"/><Relationship Id="rId1212" Type="http://schemas.openxmlformats.org/officeDocument/2006/relationships/tags" Target="../tags/tag1215.xml"/><Relationship Id="rId459" Type="http://schemas.openxmlformats.org/officeDocument/2006/relationships/tags" Target="../tags/tag462.xml"/><Relationship Id="rId666" Type="http://schemas.openxmlformats.org/officeDocument/2006/relationships/tags" Target="../tags/tag669.xml"/><Relationship Id="rId873" Type="http://schemas.openxmlformats.org/officeDocument/2006/relationships/tags" Target="../tags/tag876.xml"/><Relationship Id="rId1089" Type="http://schemas.openxmlformats.org/officeDocument/2006/relationships/tags" Target="../tags/tag1092.xml"/><Relationship Id="rId16" Type="http://schemas.openxmlformats.org/officeDocument/2006/relationships/tags" Target="../tags/tag19.xml"/><Relationship Id="rId221" Type="http://schemas.openxmlformats.org/officeDocument/2006/relationships/tags" Target="../tags/tag224.xml"/><Relationship Id="rId319" Type="http://schemas.openxmlformats.org/officeDocument/2006/relationships/tags" Target="../tags/tag322.xml"/><Relationship Id="rId526" Type="http://schemas.openxmlformats.org/officeDocument/2006/relationships/tags" Target="../tags/tag529.xml"/><Relationship Id="rId1156" Type="http://schemas.openxmlformats.org/officeDocument/2006/relationships/tags" Target="../tags/tag1159.xml"/><Relationship Id="rId733" Type="http://schemas.openxmlformats.org/officeDocument/2006/relationships/tags" Target="../tags/tag736.xml"/><Relationship Id="rId940" Type="http://schemas.openxmlformats.org/officeDocument/2006/relationships/tags" Target="../tags/tag943.xml"/><Relationship Id="rId1016" Type="http://schemas.openxmlformats.org/officeDocument/2006/relationships/tags" Target="../tags/tag1019.xml"/><Relationship Id="rId165" Type="http://schemas.openxmlformats.org/officeDocument/2006/relationships/tags" Target="../tags/tag168.xml"/><Relationship Id="rId372" Type="http://schemas.openxmlformats.org/officeDocument/2006/relationships/tags" Target="../tags/tag375.xml"/><Relationship Id="rId677" Type="http://schemas.openxmlformats.org/officeDocument/2006/relationships/tags" Target="../tags/tag680.xml"/><Relationship Id="rId800" Type="http://schemas.openxmlformats.org/officeDocument/2006/relationships/tags" Target="../tags/tag803.xml"/><Relationship Id="rId1223" Type="http://schemas.openxmlformats.org/officeDocument/2006/relationships/tags" Target="../tags/tag1226.xml"/><Relationship Id="rId232" Type="http://schemas.openxmlformats.org/officeDocument/2006/relationships/tags" Target="../tags/tag235.xml"/><Relationship Id="rId884" Type="http://schemas.openxmlformats.org/officeDocument/2006/relationships/tags" Target="../tags/tag887.xml"/><Relationship Id="rId27" Type="http://schemas.openxmlformats.org/officeDocument/2006/relationships/tags" Target="../tags/tag30.xml"/><Relationship Id="rId537" Type="http://schemas.openxmlformats.org/officeDocument/2006/relationships/tags" Target="../tags/tag540.xml"/><Relationship Id="rId744" Type="http://schemas.openxmlformats.org/officeDocument/2006/relationships/tags" Target="../tags/tag747.xml"/><Relationship Id="rId951" Type="http://schemas.openxmlformats.org/officeDocument/2006/relationships/tags" Target="../tags/tag954.xml"/><Relationship Id="rId1167" Type="http://schemas.openxmlformats.org/officeDocument/2006/relationships/tags" Target="../tags/tag1170.xml"/><Relationship Id="rId80" Type="http://schemas.openxmlformats.org/officeDocument/2006/relationships/tags" Target="../tags/tag83.xml"/><Relationship Id="rId176" Type="http://schemas.openxmlformats.org/officeDocument/2006/relationships/tags" Target="../tags/tag179.xml"/><Relationship Id="rId383" Type="http://schemas.openxmlformats.org/officeDocument/2006/relationships/tags" Target="../tags/tag386.xml"/><Relationship Id="rId590" Type="http://schemas.openxmlformats.org/officeDocument/2006/relationships/tags" Target="../tags/tag593.xml"/><Relationship Id="rId604" Type="http://schemas.openxmlformats.org/officeDocument/2006/relationships/tags" Target="../tags/tag607.xml"/><Relationship Id="rId811" Type="http://schemas.openxmlformats.org/officeDocument/2006/relationships/tags" Target="../tags/tag814.xml"/><Relationship Id="rId1027" Type="http://schemas.openxmlformats.org/officeDocument/2006/relationships/tags" Target="../tags/tag1030.xml"/><Relationship Id="rId1234" Type="http://schemas.openxmlformats.org/officeDocument/2006/relationships/tags" Target="../tags/tag1237.xml"/><Relationship Id="rId243" Type="http://schemas.openxmlformats.org/officeDocument/2006/relationships/tags" Target="../tags/tag246.xml"/><Relationship Id="rId450" Type="http://schemas.openxmlformats.org/officeDocument/2006/relationships/tags" Target="../tags/tag453.xml"/><Relationship Id="rId688" Type="http://schemas.openxmlformats.org/officeDocument/2006/relationships/tags" Target="../tags/tag691.xml"/><Relationship Id="rId895" Type="http://schemas.openxmlformats.org/officeDocument/2006/relationships/tags" Target="../tags/tag898.xml"/><Relationship Id="rId909" Type="http://schemas.openxmlformats.org/officeDocument/2006/relationships/tags" Target="../tags/tag912.xml"/><Relationship Id="rId1080" Type="http://schemas.openxmlformats.org/officeDocument/2006/relationships/tags" Target="../tags/tag1083.xml"/><Relationship Id="rId38" Type="http://schemas.openxmlformats.org/officeDocument/2006/relationships/tags" Target="../tags/tag41.xml"/><Relationship Id="rId103" Type="http://schemas.openxmlformats.org/officeDocument/2006/relationships/tags" Target="../tags/tag106.xml"/><Relationship Id="rId310" Type="http://schemas.openxmlformats.org/officeDocument/2006/relationships/tags" Target="../tags/tag313.xml"/><Relationship Id="rId548" Type="http://schemas.openxmlformats.org/officeDocument/2006/relationships/tags" Target="../tags/tag551.xml"/><Relationship Id="rId755" Type="http://schemas.openxmlformats.org/officeDocument/2006/relationships/tags" Target="../tags/tag758.xml"/><Relationship Id="rId962" Type="http://schemas.openxmlformats.org/officeDocument/2006/relationships/tags" Target="../tags/tag965.xml"/><Relationship Id="rId1178" Type="http://schemas.openxmlformats.org/officeDocument/2006/relationships/tags" Target="../tags/tag1181.xml"/><Relationship Id="rId91" Type="http://schemas.openxmlformats.org/officeDocument/2006/relationships/tags" Target="../tags/tag94.xml"/><Relationship Id="rId187" Type="http://schemas.openxmlformats.org/officeDocument/2006/relationships/tags" Target="../tags/tag190.xml"/><Relationship Id="rId394" Type="http://schemas.openxmlformats.org/officeDocument/2006/relationships/tags" Target="../tags/tag397.xml"/><Relationship Id="rId408" Type="http://schemas.openxmlformats.org/officeDocument/2006/relationships/tags" Target="../tags/tag411.xml"/><Relationship Id="rId615" Type="http://schemas.openxmlformats.org/officeDocument/2006/relationships/tags" Target="../tags/tag618.xml"/><Relationship Id="rId822" Type="http://schemas.openxmlformats.org/officeDocument/2006/relationships/tags" Target="../tags/tag825.xml"/><Relationship Id="rId1038" Type="http://schemas.openxmlformats.org/officeDocument/2006/relationships/tags" Target="../tags/tag1041.xml"/><Relationship Id="rId1245" Type="http://schemas.openxmlformats.org/officeDocument/2006/relationships/tags" Target="../tags/tag1248.xml"/><Relationship Id="rId254" Type="http://schemas.openxmlformats.org/officeDocument/2006/relationships/tags" Target="../tags/tag257.xml"/><Relationship Id="rId699" Type="http://schemas.openxmlformats.org/officeDocument/2006/relationships/tags" Target="../tags/tag702.xml"/><Relationship Id="rId1091" Type="http://schemas.openxmlformats.org/officeDocument/2006/relationships/tags" Target="../tags/tag1094.xml"/><Relationship Id="rId1105" Type="http://schemas.openxmlformats.org/officeDocument/2006/relationships/tags" Target="../tags/tag1108.xml"/><Relationship Id="rId49" Type="http://schemas.openxmlformats.org/officeDocument/2006/relationships/tags" Target="../tags/tag52.xml"/><Relationship Id="rId114" Type="http://schemas.openxmlformats.org/officeDocument/2006/relationships/tags" Target="../tags/tag117.xml"/><Relationship Id="rId461" Type="http://schemas.openxmlformats.org/officeDocument/2006/relationships/tags" Target="../tags/tag464.xml"/><Relationship Id="rId559" Type="http://schemas.openxmlformats.org/officeDocument/2006/relationships/tags" Target="../tags/tag562.xml"/><Relationship Id="rId766" Type="http://schemas.openxmlformats.org/officeDocument/2006/relationships/tags" Target="../tags/tag769.xml"/><Relationship Id="rId1189" Type="http://schemas.openxmlformats.org/officeDocument/2006/relationships/tags" Target="../tags/tag1192.xml"/><Relationship Id="rId198" Type="http://schemas.openxmlformats.org/officeDocument/2006/relationships/tags" Target="../tags/tag201.xml"/><Relationship Id="rId321" Type="http://schemas.openxmlformats.org/officeDocument/2006/relationships/tags" Target="../tags/tag324.xml"/><Relationship Id="rId419" Type="http://schemas.openxmlformats.org/officeDocument/2006/relationships/tags" Target="../tags/tag422.xml"/><Relationship Id="rId626" Type="http://schemas.openxmlformats.org/officeDocument/2006/relationships/tags" Target="../tags/tag629.xml"/><Relationship Id="rId973" Type="http://schemas.openxmlformats.org/officeDocument/2006/relationships/tags" Target="../tags/tag976.xml"/><Relationship Id="rId1049" Type="http://schemas.openxmlformats.org/officeDocument/2006/relationships/tags" Target="../tags/tag1052.xml"/><Relationship Id="rId833" Type="http://schemas.openxmlformats.org/officeDocument/2006/relationships/tags" Target="../tags/tag836.xml"/><Relationship Id="rId1116" Type="http://schemas.openxmlformats.org/officeDocument/2006/relationships/tags" Target="../tags/tag1119.xml"/><Relationship Id="rId265" Type="http://schemas.openxmlformats.org/officeDocument/2006/relationships/tags" Target="../tags/tag268.xml"/><Relationship Id="rId472" Type="http://schemas.openxmlformats.org/officeDocument/2006/relationships/tags" Target="../tags/tag475.xml"/><Relationship Id="rId900" Type="http://schemas.openxmlformats.org/officeDocument/2006/relationships/tags" Target="../tags/tag903.xml"/><Relationship Id="rId125" Type="http://schemas.openxmlformats.org/officeDocument/2006/relationships/tags" Target="../tags/tag128.xml"/><Relationship Id="rId332" Type="http://schemas.openxmlformats.org/officeDocument/2006/relationships/tags" Target="../tags/tag335.xml"/><Relationship Id="rId777" Type="http://schemas.openxmlformats.org/officeDocument/2006/relationships/tags" Target="../tags/tag780.xml"/><Relationship Id="rId984" Type="http://schemas.openxmlformats.org/officeDocument/2006/relationships/tags" Target="../tags/tag987.xml"/><Relationship Id="rId637" Type="http://schemas.openxmlformats.org/officeDocument/2006/relationships/tags" Target="../tags/tag640.xml"/><Relationship Id="rId844" Type="http://schemas.openxmlformats.org/officeDocument/2006/relationships/tags" Target="../tags/tag847.xml"/><Relationship Id="rId276" Type="http://schemas.openxmlformats.org/officeDocument/2006/relationships/tags" Target="../tags/tag279.xml"/><Relationship Id="rId483" Type="http://schemas.openxmlformats.org/officeDocument/2006/relationships/tags" Target="../tags/tag486.xml"/><Relationship Id="rId690" Type="http://schemas.openxmlformats.org/officeDocument/2006/relationships/tags" Target="../tags/tag693.xml"/><Relationship Id="rId704" Type="http://schemas.openxmlformats.org/officeDocument/2006/relationships/tags" Target="../tags/tag707.xml"/><Relationship Id="rId911" Type="http://schemas.openxmlformats.org/officeDocument/2006/relationships/tags" Target="../tags/tag914.xml"/><Relationship Id="rId1127" Type="http://schemas.openxmlformats.org/officeDocument/2006/relationships/tags" Target="../tags/tag1130.xml"/><Relationship Id="rId40" Type="http://schemas.openxmlformats.org/officeDocument/2006/relationships/tags" Target="../tags/tag43.xml"/><Relationship Id="rId136" Type="http://schemas.openxmlformats.org/officeDocument/2006/relationships/tags" Target="../tags/tag139.xml"/><Relationship Id="rId343" Type="http://schemas.openxmlformats.org/officeDocument/2006/relationships/tags" Target="../tags/tag346.xml"/><Relationship Id="rId550" Type="http://schemas.openxmlformats.org/officeDocument/2006/relationships/tags" Target="../tags/tag553.xml"/><Relationship Id="rId788" Type="http://schemas.openxmlformats.org/officeDocument/2006/relationships/tags" Target="../tags/tag791.xml"/><Relationship Id="rId995" Type="http://schemas.openxmlformats.org/officeDocument/2006/relationships/tags" Target="../tags/tag998.xml"/><Relationship Id="rId1180" Type="http://schemas.openxmlformats.org/officeDocument/2006/relationships/tags" Target="../tags/tag1183.xml"/><Relationship Id="rId203" Type="http://schemas.openxmlformats.org/officeDocument/2006/relationships/tags" Target="../tags/tag206.xml"/><Relationship Id="rId648" Type="http://schemas.openxmlformats.org/officeDocument/2006/relationships/tags" Target="../tags/tag651.xml"/><Relationship Id="rId855" Type="http://schemas.openxmlformats.org/officeDocument/2006/relationships/tags" Target="../tags/tag858.xml"/><Relationship Id="rId1040" Type="http://schemas.openxmlformats.org/officeDocument/2006/relationships/tags" Target="../tags/tag1043.xml"/><Relationship Id="rId287" Type="http://schemas.openxmlformats.org/officeDocument/2006/relationships/tags" Target="../tags/tag290.xml"/><Relationship Id="rId410" Type="http://schemas.openxmlformats.org/officeDocument/2006/relationships/tags" Target="../tags/tag413.xml"/><Relationship Id="rId494" Type="http://schemas.openxmlformats.org/officeDocument/2006/relationships/tags" Target="../tags/tag497.xml"/><Relationship Id="rId508" Type="http://schemas.openxmlformats.org/officeDocument/2006/relationships/tags" Target="../tags/tag511.xml"/><Relationship Id="rId715" Type="http://schemas.openxmlformats.org/officeDocument/2006/relationships/tags" Target="../tags/tag718.xml"/><Relationship Id="rId922" Type="http://schemas.openxmlformats.org/officeDocument/2006/relationships/tags" Target="../tags/tag925.xml"/><Relationship Id="rId1138" Type="http://schemas.openxmlformats.org/officeDocument/2006/relationships/tags" Target="../tags/tag1141.xml"/><Relationship Id="rId147" Type="http://schemas.openxmlformats.org/officeDocument/2006/relationships/tags" Target="../tags/tag150.xml"/><Relationship Id="rId354" Type="http://schemas.openxmlformats.org/officeDocument/2006/relationships/tags" Target="../tags/tag357.xml"/><Relationship Id="rId799" Type="http://schemas.openxmlformats.org/officeDocument/2006/relationships/tags" Target="../tags/tag802.xml"/><Relationship Id="rId1191" Type="http://schemas.openxmlformats.org/officeDocument/2006/relationships/tags" Target="../tags/tag1194.xml"/><Relationship Id="rId1205" Type="http://schemas.openxmlformats.org/officeDocument/2006/relationships/tags" Target="../tags/tag1208.xml"/><Relationship Id="rId51" Type="http://schemas.openxmlformats.org/officeDocument/2006/relationships/tags" Target="../tags/tag54.xml"/><Relationship Id="rId561" Type="http://schemas.openxmlformats.org/officeDocument/2006/relationships/tags" Target="../tags/tag564.xml"/><Relationship Id="rId659" Type="http://schemas.openxmlformats.org/officeDocument/2006/relationships/tags" Target="../tags/tag662.xml"/><Relationship Id="rId866" Type="http://schemas.openxmlformats.org/officeDocument/2006/relationships/tags" Target="../tags/tag869.xml"/><Relationship Id="rId214" Type="http://schemas.openxmlformats.org/officeDocument/2006/relationships/tags" Target="../tags/tag217.xml"/><Relationship Id="rId298" Type="http://schemas.openxmlformats.org/officeDocument/2006/relationships/tags" Target="../tags/tag301.xml"/><Relationship Id="rId421" Type="http://schemas.openxmlformats.org/officeDocument/2006/relationships/tags" Target="../tags/tag424.xml"/><Relationship Id="rId519" Type="http://schemas.openxmlformats.org/officeDocument/2006/relationships/tags" Target="../tags/tag522.xml"/><Relationship Id="rId1051" Type="http://schemas.openxmlformats.org/officeDocument/2006/relationships/tags" Target="../tags/tag1054.xml"/><Relationship Id="rId1149" Type="http://schemas.openxmlformats.org/officeDocument/2006/relationships/tags" Target="../tags/tag1152.xml"/><Relationship Id="rId158" Type="http://schemas.openxmlformats.org/officeDocument/2006/relationships/tags" Target="../tags/tag161.xml"/><Relationship Id="rId726" Type="http://schemas.openxmlformats.org/officeDocument/2006/relationships/tags" Target="../tags/tag729.xml"/><Relationship Id="rId933" Type="http://schemas.openxmlformats.org/officeDocument/2006/relationships/tags" Target="../tags/tag936.xml"/><Relationship Id="rId1009" Type="http://schemas.openxmlformats.org/officeDocument/2006/relationships/tags" Target="../tags/tag1012.xml"/><Relationship Id="rId62" Type="http://schemas.openxmlformats.org/officeDocument/2006/relationships/tags" Target="../tags/tag65.xml"/><Relationship Id="rId365" Type="http://schemas.openxmlformats.org/officeDocument/2006/relationships/tags" Target="../tags/tag368.xml"/><Relationship Id="rId572" Type="http://schemas.openxmlformats.org/officeDocument/2006/relationships/tags" Target="../tags/tag575.xml"/><Relationship Id="rId1216" Type="http://schemas.openxmlformats.org/officeDocument/2006/relationships/tags" Target="../tags/tag1219.xml"/><Relationship Id="rId225" Type="http://schemas.openxmlformats.org/officeDocument/2006/relationships/tags" Target="../tags/tag228.xml"/><Relationship Id="rId432" Type="http://schemas.openxmlformats.org/officeDocument/2006/relationships/tags" Target="../tags/tag435.xml"/><Relationship Id="rId877" Type="http://schemas.openxmlformats.org/officeDocument/2006/relationships/tags" Target="../tags/tag880.xml"/><Relationship Id="rId1062" Type="http://schemas.openxmlformats.org/officeDocument/2006/relationships/tags" Target="../tags/tag1065.xml"/><Relationship Id="rId737" Type="http://schemas.openxmlformats.org/officeDocument/2006/relationships/tags" Target="../tags/tag740.xml"/><Relationship Id="rId944" Type="http://schemas.openxmlformats.org/officeDocument/2006/relationships/tags" Target="../tags/tag947.xml"/><Relationship Id="rId73" Type="http://schemas.openxmlformats.org/officeDocument/2006/relationships/tags" Target="../tags/tag76.xml"/><Relationship Id="rId169" Type="http://schemas.openxmlformats.org/officeDocument/2006/relationships/tags" Target="../tags/tag172.xml"/><Relationship Id="rId376" Type="http://schemas.openxmlformats.org/officeDocument/2006/relationships/tags" Target="../tags/tag379.xml"/><Relationship Id="rId583" Type="http://schemas.openxmlformats.org/officeDocument/2006/relationships/tags" Target="../tags/tag586.xml"/><Relationship Id="rId790" Type="http://schemas.openxmlformats.org/officeDocument/2006/relationships/tags" Target="../tags/tag793.xml"/><Relationship Id="rId804" Type="http://schemas.openxmlformats.org/officeDocument/2006/relationships/tags" Target="../tags/tag807.xml"/><Relationship Id="rId1227" Type="http://schemas.openxmlformats.org/officeDocument/2006/relationships/tags" Target="../tags/tag1230.xml"/><Relationship Id="rId4" Type="http://schemas.openxmlformats.org/officeDocument/2006/relationships/tags" Target="../tags/tag7.xml"/><Relationship Id="rId236" Type="http://schemas.openxmlformats.org/officeDocument/2006/relationships/tags" Target="../tags/tag239.xml"/><Relationship Id="rId443" Type="http://schemas.openxmlformats.org/officeDocument/2006/relationships/tags" Target="../tags/tag446.xml"/><Relationship Id="rId650" Type="http://schemas.openxmlformats.org/officeDocument/2006/relationships/tags" Target="../tags/tag653.xml"/><Relationship Id="rId888" Type="http://schemas.openxmlformats.org/officeDocument/2006/relationships/tags" Target="../tags/tag891.xml"/><Relationship Id="rId1073" Type="http://schemas.openxmlformats.org/officeDocument/2006/relationships/tags" Target="../tags/tag1076.xml"/><Relationship Id="rId303" Type="http://schemas.openxmlformats.org/officeDocument/2006/relationships/tags" Target="../tags/tag306.xml"/><Relationship Id="rId748" Type="http://schemas.openxmlformats.org/officeDocument/2006/relationships/tags" Target="../tags/tag751.xml"/><Relationship Id="rId955" Type="http://schemas.openxmlformats.org/officeDocument/2006/relationships/tags" Target="../tags/tag958.xml"/><Relationship Id="rId1140" Type="http://schemas.openxmlformats.org/officeDocument/2006/relationships/tags" Target="../tags/tag1143.xml"/><Relationship Id="rId84" Type="http://schemas.openxmlformats.org/officeDocument/2006/relationships/tags" Target="../tags/tag87.xml"/><Relationship Id="rId387" Type="http://schemas.openxmlformats.org/officeDocument/2006/relationships/tags" Target="../tags/tag390.xml"/><Relationship Id="rId510" Type="http://schemas.openxmlformats.org/officeDocument/2006/relationships/tags" Target="../tags/tag513.xml"/><Relationship Id="rId594" Type="http://schemas.openxmlformats.org/officeDocument/2006/relationships/tags" Target="../tags/tag597.xml"/><Relationship Id="rId608" Type="http://schemas.openxmlformats.org/officeDocument/2006/relationships/tags" Target="../tags/tag611.xml"/><Relationship Id="rId815" Type="http://schemas.openxmlformats.org/officeDocument/2006/relationships/tags" Target="../tags/tag818.xml"/><Relationship Id="rId1238" Type="http://schemas.openxmlformats.org/officeDocument/2006/relationships/tags" Target="../tags/tag1241.xml"/><Relationship Id="rId247" Type="http://schemas.openxmlformats.org/officeDocument/2006/relationships/tags" Target="../tags/tag250.xml"/><Relationship Id="rId899" Type="http://schemas.openxmlformats.org/officeDocument/2006/relationships/tags" Target="../tags/tag902.xml"/><Relationship Id="rId1000" Type="http://schemas.openxmlformats.org/officeDocument/2006/relationships/tags" Target="../tags/tag1003.xml"/><Relationship Id="rId1084" Type="http://schemas.openxmlformats.org/officeDocument/2006/relationships/tags" Target="../tags/tag1087.xml"/><Relationship Id="rId107" Type="http://schemas.openxmlformats.org/officeDocument/2006/relationships/tags" Target="../tags/tag110.xml"/><Relationship Id="rId454" Type="http://schemas.openxmlformats.org/officeDocument/2006/relationships/tags" Target="../tags/tag457.xml"/><Relationship Id="rId661" Type="http://schemas.openxmlformats.org/officeDocument/2006/relationships/tags" Target="../tags/tag664.xml"/><Relationship Id="rId759" Type="http://schemas.openxmlformats.org/officeDocument/2006/relationships/tags" Target="../tags/tag762.xml"/><Relationship Id="rId966" Type="http://schemas.openxmlformats.org/officeDocument/2006/relationships/tags" Target="../tags/tag969.xml"/><Relationship Id="rId11" Type="http://schemas.openxmlformats.org/officeDocument/2006/relationships/tags" Target="../tags/tag14.xml"/><Relationship Id="rId314" Type="http://schemas.openxmlformats.org/officeDocument/2006/relationships/tags" Target="../tags/tag317.xml"/><Relationship Id="rId398" Type="http://schemas.openxmlformats.org/officeDocument/2006/relationships/tags" Target="../tags/tag401.xml"/><Relationship Id="rId521" Type="http://schemas.openxmlformats.org/officeDocument/2006/relationships/tags" Target="../tags/tag524.xml"/><Relationship Id="rId619" Type="http://schemas.openxmlformats.org/officeDocument/2006/relationships/tags" Target="../tags/tag622.xml"/><Relationship Id="rId1151" Type="http://schemas.openxmlformats.org/officeDocument/2006/relationships/tags" Target="../tags/tag1154.xml"/><Relationship Id="rId1249" Type="http://schemas.openxmlformats.org/officeDocument/2006/relationships/tags" Target="../tags/tag1252.xml"/><Relationship Id="rId95" Type="http://schemas.openxmlformats.org/officeDocument/2006/relationships/tags" Target="../tags/tag98.xml"/><Relationship Id="rId160" Type="http://schemas.openxmlformats.org/officeDocument/2006/relationships/tags" Target="../tags/tag163.xml"/><Relationship Id="rId826" Type="http://schemas.openxmlformats.org/officeDocument/2006/relationships/tags" Target="../tags/tag829.xml"/><Relationship Id="rId1011" Type="http://schemas.openxmlformats.org/officeDocument/2006/relationships/tags" Target="../tags/tag1014.xml"/><Relationship Id="rId1109" Type="http://schemas.openxmlformats.org/officeDocument/2006/relationships/tags" Target="../tags/tag1112.xml"/><Relationship Id="rId258" Type="http://schemas.openxmlformats.org/officeDocument/2006/relationships/tags" Target="../tags/tag261.xml"/><Relationship Id="rId465" Type="http://schemas.openxmlformats.org/officeDocument/2006/relationships/tags" Target="../tags/tag468.xml"/><Relationship Id="rId672" Type="http://schemas.openxmlformats.org/officeDocument/2006/relationships/tags" Target="../tags/tag675.xml"/><Relationship Id="rId1095" Type="http://schemas.openxmlformats.org/officeDocument/2006/relationships/tags" Target="../tags/tag1098.xml"/><Relationship Id="rId22" Type="http://schemas.openxmlformats.org/officeDocument/2006/relationships/tags" Target="../tags/tag25.xml"/><Relationship Id="rId118" Type="http://schemas.openxmlformats.org/officeDocument/2006/relationships/tags" Target="../tags/tag121.xml"/><Relationship Id="rId325" Type="http://schemas.openxmlformats.org/officeDocument/2006/relationships/tags" Target="../tags/tag328.xml"/><Relationship Id="rId532" Type="http://schemas.openxmlformats.org/officeDocument/2006/relationships/tags" Target="../tags/tag535.xml"/><Relationship Id="rId977" Type="http://schemas.openxmlformats.org/officeDocument/2006/relationships/tags" Target="../tags/tag980.xml"/><Relationship Id="rId1162" Type="http://schemas.openxmlformats.org/officeDocument/2006/relationships/tags" Target="../tags/tag1165.xml"/><Relationship Id="rId171" Type="http://schemas.openxmlformats.org/officeDocument/2006/relationships/tags" Target="../tags/tag174.xml"/><Relationship Id="rId837" Type="http://schemas.openxmlformats.org/officeDocument/2006/relationships/tags" Target="../tags/tag840.xml"/><Relationship Id="rId1022" Type="http://schemas.openxmlformats.org/officeDocument/2006/relationships/tags" Target="../tags/tag1025.xml"/><Relationship Id="rId269" Type="http://schemas.openxmlformats.org/officeDocument/2006/relationships/tags" Target="../tags/tag272.xml"/><Relationship Id="rId476" Type="http://schemas.openxmlformats.org/officeDocument/2006/relationships/tags" Target="../tags/tag479.xml"/><Relationship Id="rId683" Type="http://schemas.openxmlformats.org/officeDocument/2006/relationships/tags" Target="../tags/tag686.xml"/><Relationship Id="rId890" Type="http://schemas.openxmlformats.org/officeDocument/2006/relationships/tags" Target="../tags/tag893.xml"/><Relationship Id="rId904" Type="http://schemas.openxmlformats.org/officeDocument/2006/relationships/tags" Target="../tags/tag907.xml"/><Relationship Id="rId33" Type="http://schemas.openxmlformats.org/officeDocument/2006/relationships/tags" Target="../tags/tag36.xml"/><Relationship Id="rId129" Type="http://schemas.openxmlformats.org/officeDocument/2006/relationships/tags" Target="../tags/tag132.xml"/><Relationship Id="rId336" Type="http://schemas.openxmlformats.org/officeDocument/2006/relationships/tags" Target="../tags/tag339.xml"/><Relationship Id="rId543" Type="http://schemas.openxmlformats.org/officeDocument/2006/relationships/tags" Target="../tags/tag546.xml"/><Relationship Id="rId988" Type="http://schemas.openxmlformats.org/officeDocument/2006/relationships/tags" Target="../tags/tag991.xml"/><Relationship Id="rId1173" Type="http://schemas.openxmlformats.org/officeDocument/2006/relationships/tags" Target="../tags/tag1176.xml"/><Relationship Id="rId182" Type="http://schemas.openxmlformats.org/officeDocument/2006/relationships/tags" Target="../tags/tag185.xml"/><Relationship Id="rId403" Type="http://schemas.openxmlformats.org/officeDocument/2006/relationships/tags" Target="../tags/tag406.xml"/><Relationship Id="rId750" Type="http://schemas.openxmlformats.org/officeDocument/2006/relationships/tags" Target="../tags/tag753.xml"/><Relationship Id="rId848" Type="http://schemas.openxmlformats.org/officeDocument/2006/relationships/tags" Target="../tags/tag851.xml"/><Relationship Id="rId1033" Type="http://schemas.openxmlformats.org/officeDocument/2006/relationships/tags" Target="../tags/tag1036.xml"/><Relationship Id="rId487" Type="http://schemas.openxmlformats.org/officeDocument/2006/relationships/tags" Target="../tags/tag490.xml"/><Relationship Id="rId610" Type="http://schemas.openxmlformats.org/officeDocument/2006/relationships/tags" Target="../tags/tag613.xml"/><Relationship Id="rId694" Type="http://schemas.openxmlformats.org/officeDocument/2006/relationships/tags" Target="../tags/tag697.xml"/><Relationship Id="rId708" Type="http://schemas.openxmlformats.org/officeDocument/2006/relationships/tags" Target="../tags/tag711.xml"/><Relationship Id="rId915" Type="http://schemas.openxmlformats.org/officeDocument/2006/relationships/tags" Target="../tags/tag918.xml"/><Relationship Id="rId1240" Type="http://schemas.openxmlformats.org/officeDocument/2006/relationships/tags" Target="../tags/tag1243.xml"/><Relationship Id="rId347" Type="http://schemas.openxmlformats.org/officeDocument/2006/relationships/tags" Target="../tags/tag350.xml"/><Relationship Id="rId999" Type="http://schemas.openxmlformats.org/officeDocument/2006/relationships/tags" Target="../tags/tag1002.xml"/><Relationship Id="rId1100" Type="http://schemas.openxmlformats.org/officeDocument/2006/relationships/tags" Target="../tags/tag1103.xml"/><Relationship Id="rId1184" Type="http://schemas.openxmlformats.org/officeDocument/2006/relationships/tags" Target="../tags/tag1187.xml"/><Relationship Id="rId44" Type="http://schemas.openxmlformats.org/officeDocument/2006/relationships/tags" Target="../tags/tag47.xml"/><Relationship Id="rId554" Type="http://schemas.openxmlformats.org/officeDocument/2006/relationships/tags" Target="../tags/tag557.xml"/><Relationship Id="rId761" Type="http://schemas.openxmlformats.org/officeDocument/2006/relationships/tags" Target="../tags/tag764.xml"/><Relationship Id="rId859" Type="http://schemas.openxmlformats.org/officeDocument/2006/relationships/tags" Target="../tags/tag862.xml"/><Relationship Id="rId193" Type="http://schemas.openxmlformats.org/officeDocument/2006/relationships/tags" Target="../tags/tag196.xml"/><Relationship Id="rId207" Type="http://schemas.openxmlformats.org/officeDocument/2006/relationships/tags" Target="../tags/tag210.xml"/><Relationship Id="rId414" Type="http://schemas.openxmlformats.org/officeDocument/2006/relationships/tags" Target="../tags/tag417.xml"/><Relationship Id="rId498" Type="http://schemas.openxmlformats.org/officeDocument/2006/relationships/tags" Target="../tags/tag501.xml"/><Relationship Id="rId621" Type="http://schemas.openxmlformats.org/officeDocument/2006/relationships/tags" Target="../tags/tag624.xml"/><Relationship Id="rId1044" Type="http://schemas.openxmlformats.org/officeDocument/2006/relationships/tags" Target="../tags/tag1047.xml"/><Relationship Id="rId1251" Type="http://schemas.openxmlformats.org/officeDocument/2006/relationships/tags" Target="../tags/tag1254.xml"/><Relationship Id="rId260" Type="http://schemas.openxmlformats.org/officeDocument/2006/relationships/tags" Target="../tags/tag263.xml"/><Relationship Id="rId719" Type="http://schemas.openxmlformats.org/officeDocument/2006/relationships/tags" Target="../tags/tag722.xml"/><Relationship Id="rId926" Type="http://schemas.openxmlformats.org/officeDocument/2006/relationships/tags" Target="../tags/tag929.xml"/><Relationship Id="rId1111" Type="http://schemas.openxmlformats.org/officeDocument/2006/relationships/tags" Target="../tags/tag11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114792" y="449707"/>
            <a:ext cx="323151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35" dirty="0">
                <a:latin typeface="Arial"/>
                <a:cs typeface="Arial"/>
              </a:rPr>
              <a:t>CREATING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spc="-40" dirty="0">
                <a:latin typeface="Arial"/>
                <a:cs typeface="Arial"/>
              </a:rPr>
              <a:t>TOMORROW`S</a:t>
            </a:r>
            <a:r>
              <a:rPr sz="1400" spc="-30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SOLUTIONS</a:t>
            </a:r>
            <a:endParaRPr sz="14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41300" y="5153025"/>
            <a:ext cx="12794692" cy="222881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2400" b="1" spc="-10" dirty="0">
                <a:latin typeface="Arial"/>
                <a:cs typeface="Arial"/>
              </a:rPr>
              <a:t>WACKER:</a:t>
            </a:r>
          </a:p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lang="en-US" sz="2400" b="1" spc="-10" dirty="0">
                <a:latin typeface="Arial"/>
                <a:cs typeface="Arial"/>
              </a:rPr>
              <a:t>WORLD’S LEADING SEMICONDUCTOR AND SOLAR POLYSILICON MANUFACTURER</a:t>
            </a: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27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lang="en-US" sz="2000" dirty="0">
                <a:latin typeface="Arial"/>
                <a:cs typeface="Arial"/>
              </a:rPr>
              <a:t>Greg Brabec</a:t>
            </a:r>
          </a:p>
          <a:p>
            <a:pPr marL="12700">
              <a:lnSpc>
                <a:spcPct val="100000"/>
              </a:lnSpc>
            </a:pPr>
            <a:r>
              <a:rPr lang="en-US" sz="2000" dirty="0">
                <a:latin typeface="Arial"/>
                <a:cs typeface="Arial"/>
              </a:rPr>
              <a:t>Head of Government Affairs, WACKER Polysilicon North America</a:t>
            </a:r>
          </a:p>
          <a:p>
            <a:pPr marL="12700">
              <a:lnSpc>
                <a:spcPct val="100000"/>
              </a:lnSpc>
            </a:pPr>
            <a:r>
              <a:rPr lang="en-US" sz="2000">
                <a:latin typeface="Arial"/>
                <a:cs typeface="Arial"/>
              </a:rPr>
              <a:t>February </a:t>
            </a:r>
            <a:r>
              <a:rPr lang="en-US" sz="2000" dirty="0">
                <a:latin typeface="Arial"/>
                <a:cs typeface="Arial"/>
              </a:rPr>
              <a:t>2024</a:t>
            </a:r>
            <a:endParaRPr sz="2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9">
            <a:extLst>
              <a:ext uri="{FF2B5EF4-FFF2-40B4-BE49-F238E27FC236}">
                <a16:creationId xmlns:a16="http://schemas.microsoft.com/office/drawing/2014/main" id="{E210F2E9-8375-4197-9FFE-F98864D4F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2685" y="4511963"/>
            <a:ext cx="2106936" cy="755527"/>
          </a:xfrm>
          <a:prstGeom prst="homePlate">
            <a:avLst>
              <a:gd name="adj" fmla="val 5404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de-DE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</a:t>
            </a:r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End-user </a:t>
            </a:r>
            <a:b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</a:br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devices</a:t>
            </a:r>
          </a:p>
        </p:txBody>
      </p:sp>
      <p:sp>
        <p:nvSpPr>
          <p:cNvPr id="6" name="AutoShape 9">
            <a:extLst>
              <a:ext uri="{FF2B5EF4-FFF2-40B4-BE49-F238E27FC236}">
                <a16:creationId xmlns:a16="http://schemas.microsoft.com/office/drawing/2014/main" id="{49D26625-BE55-4E2A-946F-D9A89ED009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6007" y="4498293"/>
            <a:ext cx="1771569" cy="752815"/>
          </a:xfrm>
          <a:prstGeom prst="homePlate">
            <a:avLst>
              <a:gd name="adj" fmla="val 5404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de-DE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</a:t>
            </a:r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Chip</a:t>
            </a:r>
          </a:p>
        </p:txBody>
      </p:sp>
      <p:sp>
        <p:nvSpPr>
          <p:cNvPr id="7" name="AutoShape 9">
            <a:extLst>
              <a:ext uri="{FF2B5EF4-FFF2-40B4-BE49-F238E27FC236}">
                <a16:creationId xmlns:a16="http://schemas.microsoft.com/office/drawing/2014/main" id="{F23FD329-32B6-496D-A6A5-CD94B8E647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6547" y="4473943"/>
            <a:ext cx="1771569" cy="755527"/>
          </a:xfrm>
          <a:prstGeom prst="homePlate">
            <a:avLst>
              <a:gd name="adj" fmla="val 5404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de-DE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</a:t>
            </a:r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Wafer</a:t>
            </a:r>
          </a:p>
        </p:txBody>
      </p:sp>
      <p:sp>
        <p:nvSpPr>
          <p:cNvPr id="48" name="AutoShape 10">
            <a:extLst>
              <a:ext uri="{FF2B5EF4-FFF2-40B4-BE49-F238E27FC236}">
                <a16:creationId xmlns:a16="http://schemas.microsoft.com/office/drawing/2014/main" id="{4C9889BD-770F-4E3A-8E97-0021B3BB1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6430" y="4487258"/>
            <a:ext cx="2921306" cy="747418"/>
          </a:xfrm>
          <a:prstGeom prst="homePlate">
            <a:avLst>
              <a:gd name="adj" fmla="val 5791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Ingot/Wafer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EDC3E7C-36AC-4DD6-A1DB-9788971EE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silicon – The Essential Base Material for Semiconductors and Solar Panels</a:t>
            </a:r>
            <a:endParaRPr lang="en-GB" dirty="0"/>
          </a:p>
        </p:txBody>
      </p:sp>
      <p:sp>
        <p:nvSpPr>
          <p:cNvPr id="8" name="AutoShape 5">
            <a:extLst>
              <a:ext uri="{FF2B5EF4-FFF2-40B4-BE49-F238E27FC236}">
                <a16:creationId xmlns:a16="http://schemas.microsoft.com/office/drawing/2014/main" id="{0F9EDE51-AE9B-4AE5-979A-01AB6A7A7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84180" y="3126252"/>
            <a:ext cx="2191939" cy="752816"/>
          </a:xfrm>
          <a:prstGeom prst="homePlate">
            <a:avLst>
              <a:gd name="adj" fmla="val 57607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System</a:t>
            </a:r>
          </a:p>
        </p:txBody>
      </p:sp>
      <p:sp>
        <p:nvSpPr>
          <p:cNvPr id="9" name="AutoShape 7">
            <a:extLst>
              <a:ext uri="{FF2B5EF4-FFF2-40B4-BE49-F238E27FC236}">
                <a16:creationId xmlns:a16="http://schemas.microsoft.com/office/drawing/2014/main" id="{4C98FB85-6A10-4119-89A4-54571C3C5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42572" y="3121624"/>
            <a:ext cx="1736373" cy="755527"/>
          </a:xfrm>
          <a:prstGeom prst="homePlate">
            <a:avLst>
              <a:gd name="adj" fmla="val 54315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  Module</a:t>
            </a:r>
          </a:p>
        </p:txBody>
      </p:sp>
      <p:sp>
        <p:nvSpPr>
          <p:cNvPr id="10" name="AutoShape 8">
            <a:extLst>
              <a:ext uri="{FF2B5EF4-FFF2-40B4-BE49-F238E27FC236}">
                <a16:creationId xmlns:a16="http://schemas.microsoft.com/office/drawing/2014/main" id="{FBCB4211-7E4D-417F-AD77-F9B423C76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0712" y="3128467"/>
            <a:ext cx="1923635" cy="755527"/>
          </a:xfrm>
          <a:prstGeom prst="homePlate">
            <a:avLst>
              <a:gd name="adj" fmla="val 59030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Cells</a:t>
            </a:r>
          </a:p>
        </p:txBody>
      </p:sp>
      <p:sp>
        <p:nvSpPr>
          <p:cNvPr id="11" name="AutoShape 9">
            <a:extLst>
              <a:ext uri="{FF2B5EF4-FFF2-40B4-BE49-F238E27FC236}">
                <a16:creationId xmlns:a16="http://schemas.microsoft.com/office/drawing/2014/main" id="{AB52853D-E432-4A1A-9A55-9DF3B744A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7510" y="3111660"/>
            <a:ext cx="1771569" cy="755527"/>
          </a:xfrm>
          <a:prstGeom prst="homePlate">
            <a:avLst>
              <a:gd name="adj" fmla="val 5404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de-DE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</a:t>
            </a:r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Wafer</a:t>
            </a: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81066E01-E49F-4406-8C0C-A0B152046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2238" y="3121623"/>
            <a:ext cx="3135496" cy="747418"/>
          </a:xfrm>
          <a:prstGeom prst="homePlate">
            <a:avLst>
              <a:gd name="adj" fmla="val 57918"/>
            </a:avLst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      Ingot / Wafer</a:t>
            </a:r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47BF163-83FD-4FE1-9617-0C2706819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6446" y="1928068"/>
            <a:ext cx="1076398" cy="996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AutoShape 20">
            <a:extLst>
              <a:ext uri="{FF2B5EF4-FFF2-40B4-BE49-F238E27FC236}">
                <a16:creationId xmlns:a16="http://schemas.microsoft.com/office/drawing/2014/main" id="{2A8A78AE-19AF-4763-AC07-D26936980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5342" y="3117874"/>
            <a:ext cx="1574725" cy="761194"/>
          </a:xfrm>
          <a:prstGeom prst="homePlate">
            <a:avLst>
              <a:gd name="adj" fmla="val 58674"/>
            </a:avLst>
          </a:prstGeom>
          <a:solidFill>
            <a:srgbClr val="9CC53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Polysilico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9701CB3-1274-47A5-B760-BF352BC69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1642" y="1928067"/>
            <a:ext cx="1128203" cy="996007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E25A036-74D1-44F0-8D60-3A352DF11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7303" y="1928067"/>
            <a:ext cx="1157814" cy="996007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F2CCC3BF-9CAF-4DA4-9BDC-2A4DAF8FFD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7178" y="1928067"/>
            <a:ext cx="1095154" cy="996007"/>
          </a:xfrm>
          <a:prstGeom prst="rect">
            <a:avLst/>
          </a:prstGeom>
        </p:spPr>
      </p:pic>
      <p:pic>
        <p:nvPicPr>
          <p:cNvPr id="19" name="Grafik 18" descr="Ein Bild, das Tisch enthält.&#10;&#10;Automatisch generierte Beschreibung">
            <a:extLst>
              <a:ext uri="{FF2B5EF4-FFF2-40B4-BE49-F238E27FC236}">
                <a16:creationId xmlns:a16="http://schemas.microsoft.com/office/drawing/2014/main" id="{85C79CE7-FAC0-43BE-8920-2154569F148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7061" y="1928067"/>
            <a:ext cx="1095153" cy="996007"/>
          </a:xfrm>
          <a:prstGeom prst="rect">
            <a:avLst/>
          </a:prstGeom>
        </p:spPr>
      </p:pic>
      <p:sp>
        <p:nvSpPr>
          <p:cNvPr id="20" name="Text Box 3">
            <a:extLst>
              <a:ext uri="{FF2B5EF4-FFF2-40B4-BE49-F238E27FC236}">
                <a16:creationId xmlns:a16="http://schemas.microsoft.com/office/drawing/2014/main" id="{64851F02-0766-432C-BC32-BFE9342DE7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50225" y="4466006"/>
            <a:ext cx="941430" cy="710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949" tIns="107923" rIns="71949" bIns="107923">
            <a:spAutoFit/>
          </a:bodyPr>
          <a:lstStyle/>
          <a:p>
            <a:pPr algn="ctr" defTabSz="995192" rtl="0"/>
            <a: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Si-Metall</a:t>
            </a:r>
            <a:b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</a:br>
            <a: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(99%)</a:t>
            </a:r>
            <a:endParaRPr lang="de-DE" altLang="en-US" sz="10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1" name="Text Box 5">
            <a:extLst>
              <a:ext uri="{FF2B5EF4-FFF2-40B4-BE49-F238E27FC236}">
                <a16:creationId xmlns:a16="http://schemas.microsoft.com/office/drawing/2014/main" id="{EBFF024D-2CC7-4B2E-B601-B2EBBA4AC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973" y="4548934"/>
            <a:ext cx="820168" cy="710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1949" tIns="107923" rIns="71949" bIns="107923">
            <a:spAutoFit/>
          </a:bodyPr>
          <a:lstStyle/>
          <a:p>
            <a:pPr algn="l" defTabSz="995192" rtl="0"/>
            <a: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Quartz </a:t>
            </a:r>
            <a:b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</a:br>
            <a: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(SiO</a:t>
            </a:r>
            <a:r>
              <a:rPr lang="de-DE" altLang="en-US" sz="1599" kern="1200" baseline="-250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2</a:t>
            </a:r>
            <a:r>
              <a:rPr lang="de-DE" altLang="en-US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)</a:t>
            </a:r>
          </a:p>
        </p:txBody>
      </p:sp>
      <p:pic>
        <p:nvPicPr>
          <p:cNvPr id="22" name="Picture 7" descr="Vorlage">
            <a:extLst>
              <a:ext uri="{FF2B5EF4-FFF2-40B4-BE49-F238E27FC236}">
                <a16:creationId xmlns:a16="http://schemas.microsoft.com/office/drawing/2014/main" id="{852CCDCD-7297-4CCE-9400-765892C21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lum bright="-12000" contrast="-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874"/>
          <a:stretch>
            <a:fillRect/>
          </a:stretch>
        </p:blipFill>
        <p:spPr bwMode="auto">
          <a:xfrm>
            <a:off x="2149282" y="3559307"/>
            <a:ext cx="906494" cy="989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Sand">
            <a:extLst>
              <a:ext uri="{FF2B5EF4-FFF2-40B4-BE49-F238E27FC236}">
                <a16:creationId xmlns:a16="http://schemas.microsoft.com/office/drawing/2014/main" id="{19829D6F-98DF-4788-A82E-71B52F9158AB}"/>
              </a:ext>
            </a:extLst>
          </p:cNvPr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84" y="3551276"/>
            <a:ext cx="923402" cy="1028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AutoShape 20">
            <a:extLst>
              <a:ext uri="{FF2B5EF4-FFF2-40B4-BE49-F238E27FC236}">
                <a16:creationId xmlns:a16="http://schemas.microsoft.com/office/drawing/2014/main" id="{2CCB26C1-139A-4E6A-97A2-B99A445225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6400" y="4487663"/>
            <a:ext cx="1700608" cy="752816"/>
          </a:xfrm>
          <a:prstGeom prst="homePlate">
            <a:avLst>
              <a:gd name="adj" fmla="val 58674"/>
            </a:avLst>
          </a:prstGeom>
          <a:solidFill>
            <a:srgbClr val="9CC53F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663" tIns="36331" rIns="72663" bIns="36331" anchor="ctr"/>
          <a:lstStyle/>
          <a:p>
            <a:pPr algn="ctr" defTabSz="995192" rtl="0"/>
            <a:r>
              <a:rPr lang="en-US" sz="15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Polysilicon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FBCD0298-A24E-4C34-BDA6-518CB0A1C536}"/>
              </a:ext>
            </a:extLst>
          </p:cNvPr>
          <p:cNvCxnSpPr>
            <a:cxnSpLocks/>
          </p:cNvCxnSpPr>
          <p:nvPr/>
        </p:nvCxnSpPr>
        <p:spPr bwMode="gray">
          <a:xfrm flipV="1">
            <a:off x="2988766" y="3461787"/>
            <a:ext cx="1270212" cy="6718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309CE943-E502-430B-8062-6B95200B146F}"/>
              </a:ext>
            </a:extLst>
          </p:cNvPr>
          <p:cNvCxnSpPr>
            <a:cxnSpLocks/>
          </p:cNvCxnSpPr>
          <p:nvPr/>
        </p:nvCxnSpPr>
        <p:spPr bwMode="gray">
          <a:xfrm>
            <a:off x="3023553" y="4101066"/>
            <a:ext cx="1235429" cy="84304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BC7ACA30-0DAC-401C-B345-31443555A23B}"/>
              </a:ext>
            </a:extLst>
          </p:cNvPr>
          <p:cNvSpPr txBox="1"/>
          <p:nvPr/>
        </p:nvSpPr>
        <p:spPr bwMode="gray">
          <a:xfrm>
            <a:off x="651859" y="2396914"/>
            <a:ext cx="3238317" cy="534230"/>
          </a:xfrm>
          <a:prstGeom prst="rect">
            <a:avLst/>
          </a:prstGeom>
          <a:noFill/>
        </p:spPr>
        <p:txBody>
          <a:bodyPr wrap="square" lIns="104232" tIns="52116" rIns="104232" bIns="52116" rtlCol="0">
            <a:noAutofit/>
          </a:bodyPr>
          <a:lstStyle/>
          <a:p>
            <a:pPr algn="l" defTabSz="995192" rtl="0"/>
            <a:r>
              <a:rPr lang="en-GB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Polysilicon purity: 99,9999999% (9N+) 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63E1B725-2B74-43D1-A71D-57373C043918}"/>
              </a:ext>
            </a:extLst>
          </p:cNvPr>
          <p:cNvSpPr txBox="1"/>
          <p:nvPr/>
        </p:nvSpPr>
        <p:spPr bwMode="gray">
          <a:xfrm>
            <a:off x="648104" y="6024309"/>
            <a:ext cx="3383036" cy="534230"/>
          </a:xfrm>
          <a:prstGeom prst="rect">
            <a:avLst/>
          </a:prstGeom>
          <a:noFill/>
        </p:spPr>
        <p:txBody>
          <a:bodyPr wrap="square" lIns="104232" tIns="52116" rIns="104232" bIns="52116" rtlCol="0">
            <a:noAutofit/>
          </a:bodyPr>
          <a:lstStyle/>
          <a:p>
            <a:pPr algn="l" defTabSz="995192" rtl="0"/>
            <a:r>
              <a:rPr lang="en-GB" sz="15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Polysilicon purity: 99,999999999% (11N+) 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D8974725-A0C7-48E0-A04C-6BBDB093077A}"/>
              </a:ext>
            </a:extLst>
          </p:cNvPr>
          <p:cNvSpPr txBox="1"/>
          <p:nvPr/>
        </p:nvSpPr>
        <p:spPr bwMode="gray">
          <a:xfrm>
            <a:off x="651858" y="2008207"/>
            <a:ext cx="3510211" cy="534230"/>
          </a:xfrm>
          <a:prstGeom prst="rect">
            <a:avLst/>
          </a:prstGeom>
          <a:noFill/>
        </p:spPr>
        <p:txBody>
          <a:bodyPr wrap="square" lIns="104232" tIns="52116" rIns="104232" bIns="52116" rtlCol="0">
            <a:noAutofit/>
          </a:bodyPr>
          <a:lstStyle/>
          <a:p>
            <a:pPr algn="l" defTabSz="995192" rtl="0"/>
            <a:r>
              <a:rPr lang="en-GB" sz="1999" b="1" u="sng" kern="1200" dirty="0">
                <a:solidFill>
                  <a:srgbClr val="436597"/>
                </a:solidFill>
                <a:latin typeface="Arial"/>
                <a:ea typeface="+mn-ea"/>
                <a:cs typeface="+mn-cs"/>
              </a:rPr>
              <a:t>PV value chain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7CAA19E-32B9-4DA4-9EF5-FE8082091111}"/>
              </a:ext>
            </a:extLst>
          </p:cNvPr>
          <p:cNvSpPr txBox="1"/>
          <p:nvPr/>
        </p:nvSpPr>
        <p:spPr bwMode="gray">
          <a:xfrm>
            <a:off x="648105" y="5599832"/>
            <a:ext cx="3571309" cy="424477"/>
          </a:xfrm>
          <a:prstGeom prst="rect">
            <a:avLst/>
          </a:prstGeom>
          <a:noFill/>
        </p:spPr>
        <p:txBody>
          <a:bodyPr wrap="square" lIns="104232" tIns="52116" rIns="104232" bIns="52116" rtlCol="0">
            <a:noAutofit/>
          </a:bodyPr>
          <a:lstStyle/>
          <a:p>
            <a:pPr algn="l" defTabSz="995192" rtl="0"/>
            <a:r>
              <a:rPr lang="en-GB" sz="1999" b="1" u="sng" kern="1200" dirty="0">
                <a:solidFill>
                  <a:srgbClr val="436597"/>
                </a:solidFill>
                <a:latin typeface="Arial"/>
                <a:ea typeface="+mn-ea"/>
                <a:cs typeface="+mn-cs"/>
              </a:rPr>
              <a:t>Semiconductor value chain</a:t>
            </a:r>
          </a:p>
        </p:txBody>
      </p:sp>
      <p:sp>
        <p:nvSpPr>
          <p:cNvPr id="64" name="Pfeil: nach rechts 63">
            <a:extLst>
              <a:ext uri="{FF2B5EF4-FFF2-40B4-BE49-F238E27FC236}">
                <a16:creationId xmlns:a16="http://schemas.microsoft.com/office/drawing/2014/main" id="{C21FFA54-E82D-412A-A935-9F3F8CDFA25B}"/>
              </a:ext>
            </a:extLst>
          </p:cNvPr>
          <p:cNvSpPr/>
          <p:nvPr/>
        </p:nvSpPr>
        <p:spPr>
          <a:xfrm>
            <a:off x="1781673" y="3751519"/>
            <a:ext cx="291773" cy="68458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23" tIns="107923" rIns="107923" bIns="107923" rtlCol="0" anchor="ctr"/>
          <a:lstStyle/>
          <a:p>
            <a:pPr algn="ctr" defTabSz="995192" rtl="0">
              <a:spcBef>
                <a:spcPts val="400"/>
              </a:spcBef>
              <a:spcAft>
                <a:spcPts val="400"/>
              </a:spcAft>
            </a:pPr>
            <a:endParaRPr lang="en-GB" sz="1999" kern="1200" dirty="0" err="1">
              <a:solidFill>
                <a:srgbClr val="313131"/>
              </a:solidFill>
              <a:latin typeface="Arial"/>
            </a:endParaRPr>
          </a:p>
        </p:txBody>
      </p:sp>
      <p:pic>
        <p:nvPicPr>
          <p:cNvPr id="38" name="Picture 30">
            <a:extLst>
              <a:ext uri="{FF2B5EF4-FFF2-40B4-BE49-F238E27FC236}">
                <a16:creationId xmlns:a16="http://schemas.microsoft.com/office/drawing/2014/main" id="{924C67BB-D4CF-4130-82B0-C6996AC1A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5108" y="5443892"/>
            <a:ext cx="1259843" cy="973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4">
            <a:extLst>
              <a:ext uri="{FF2B5EF4-FFF2-40B4-BE49-F238E27FC236}">
                <a16:creationId xmlns:a16="http://schemas.microsoft.com/office/drawing/2014/main" id="{8170CF27-DC9F-4990-9318-3739AA96F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403" y="1927650"/>
            <a:ext cx="1157814" cy="987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0" name="Group 21">
            <a:extLst>
              <a:ext uri="{FF2B5EF4-FFF2-40B4-BE49-F238E27FC236}">
                <a16:creationId xmlns:a16="http://schemas.microsoft.com/office/drawing/2014/main" id="{B9BA92EC-929A-434D-B714-C1EC9B2EF23A}"/>
              </a:ext>
            </a:extLst>
          </p:cNvPr>
          <p:cNvGrpSpPr>
            <a:grpSpLocks/>
          </p:cNvGrpSpPr>
          <p:nvPr/>
        </p:nvGrpSpPr>
        <p:grpSpPr bwMode="auto">
          <a:xfrm>
            <a:off x="5841196" y="5458817"/>
            <a:ext cx="1274099" cy="973820"/>
            <a:chOff x="4102" y="3107"/>
            <a:chExt cx="1036" cy="817"/>
          </a:xfrm>
        </p:grpSpPr>
        <p:pic>
          <p:nvPicPr>
            <p:cNvPr id="41" name="Picture 22" descr="CZpulling">
              <a:extLst>
                <a:ext uri="{FF2B5EF4-FFF2-40B4-BE49-F238E27FC236}">
                  <a16:creationId xmlns:a16="http://schemas.microsoft.com/office/drawing/2014/main" id="{725733BF-A57E-40D0-8035-061A232CA8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789" r="26888" b="3783"/>
            <a:stretch>
              <a:fillRect/>
            </a:stretch>
          </p:blipFill>
          <p:spPr bwMode="auto">
            <a:xfrm>
              <a:off x="4102" y="3107"/>
              <a:ext cx="537" cy="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23" descr="FZ_meltzone">
              <a:extLst>
                <a:ext uri="{FF2B5EF4-FFF2-40B4-BE49-F238E27FC236}">
                  <a16:creationId xmlns:a16="http://schemas.microsoft.com/office/drawing/2014/main" id="{C3AFB8A8-BC20-4C35-8820-A917E41F05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9" y="3107"/>
              <a:ext cx="499" cy="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5" name="Picture 18" descr="Waferreihe1">
            <a:extLst>
              <a:ext uri="{FF2B5EF4-FFF2-40B4-BE49-F238E27FC236}">
                <a16:creationId xmlns:a16="http://schemas.microsoft.com/office/drawing/2014/main" id="{6171609F-E635-499A-8D19-AA5139BE3B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1389" y="5470004"/>
            <a:ext cx="1190253" cy="94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9" descr="Processor">
            <a:extLst>
              <a:ext uri="{FF2B5EF4-FFF2-40B4-BE49-F238E27FC236}">
                <a16:creationId xmlns:a16="http://schemas.microsoft.com/office/drawing/2014/main" id="{BEA20696-7F59-44F8-B8AC-43B82604F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734" y="5458819"/>
            <a:ext cx="1259843" cy="98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20" descr="notebook">
            <a:extLst>
              <a:ext uri="{FF2B5EF4-FFF2-40B4-BE49-F238E27FC236}">
                <a16:creationId xmlns:a16="http://schemas.microsoft.com/office/drawing/2014/main" id="{88AA4475-3CD3-45B9-B980-F77CD2291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6311" y="5527455"/>
            <a:ext cx="1182633" cy="832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1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/>
        </p:nvGrpSpPr>
        <p:grpSpPr bwMode="gray">
          <a:xfrm>
            <a:off x="3918946" y="1827991"/>
            <a:ext cx="8676125" cy="4656792"/>
            <a:chOff x="1591489" y="1592035"/>
            <a:chExt cx="7279481" cy="3907162"/>
          </a:xfrm>
          <a:solidFill>
            <a:schemeClr val="bg1">
              <a:lumMod val="75000"/>
            </a:schemeClr>
          </a:solidFill>
        </p:grpSpPr>
        <p:grpSp>
          <p:nvGrpSpPr>
            <p:cNvPr id="117" name="Gruppieren 116"/>
            <p:cNvGrpSpPr/>
            <p:nvPr/>
          </p:nvGrpSpPr>
          <p:grpSpPr bwMode="gray">
            <a:xfrm>
              <a:off x="6602396" y="2881809"/>
              <a:ext cx="2236686" cy="2456559"/>
              <a:chOff x="6602396" y="2881809"/>
              <a:chExt cx="2236686" cy="2456559"/>
            </a:xfrm>
            <a:grpFill/>
          </p:grpSpPr>
          <p:sp>
            <p:nvSpPr>
              <p:cNvPr id="118" name="Freeform 126"/>
              <p:cNvSpPr>
                <a:spLocks noChangeAspect="1"/>
              </p:cNvSpPr>
              <p:nvPr>
                <p:custDataLst>
                  <p:tags r:id="rId928"/>
                </p:custDataLst>
              </p:nvPr>
            </p:nvSpPr>
            <p:spPr bwMode="gray">
              <a:xfrm>
                <a:off x="7097413" y="3878306"/>
                <a:ext cx="9110" cy="37842"/>
              </a:xfrm>
              <a:custGeom>
                <a:avLst/>
                <a:gdLst>
                  <a:gd name="T0" fmla="*/ 2147483647 w 6"/>
                  <a:gd name="T1" fmla="*/ 0 h 30"/>
                  <a:gd name="T2" fmla="*/ 0 w 6"/>
                  <a:gd name="T3" fmla="*/ 2147483647 h 30"/>
                  <a:gd name="T4" fmla="*/ 0 w 6"/>
                  <a:gd name="T5" fmla="*/ 2147483647 h 30"/>
                  <a:gd name="T6" fmla="*/ 0 w 6"/>
                  <a:gd name="T7" fmla="*/ 2147483647 h 30"/>
                  <a:gd name="T8" fmla="*/ 2147483647 w 6"/>
                  <a:gd name="T9" fmla="*/ 2147483647 h 30"/>
                  <a:gd name="T10" fmla="*/ 2147483647 w 6"/>
                  <a:gd name="T11" fmla="*/ 2147483647 h 30"/>
                  <a:gd name="T12" fmla="*/ 2147483647 w 6"/>
                  <a:gd name="T13" fmla="*/ 2147483647 h 30"/>
                  <a:gd name="T14" fmla="*/ 2147483647 w 6"/>
                  <a:gd name="T15" fmla="*/ 2147483647 h 30"/>
                  <a:gd name="T16" fmla="*/ 2147483647 w 6"/>
                  <a:gd name="T17" fmla="*/ 2147483647 h 30"/>
                  <a:gd name="T18" fmla="*/ 2147483647 w 6"/>
                  <a:gd name="T19" fmla="*/ 2147483647 h 30"/>
                  <a:gd name="T20" fmla="*/ 2147483647 w 6"/>
                  <a:gd name="T21" fmla="*/ 0 h 30"/>
                  <a:gd name="T22" fmla="*/ 2147483647 w 6"/>
                  <a:gd name="T23" fmla="*/ 0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30"/>
                  <a:gd name="T38" fmla="*/ 6 w 6"/>
                  <a:gd name="T39" fmla="*/ 30 h 3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30">
                    <a:moveTo>
                      <a:pt x="6" y="0"/>
                    </a:moveTo>
                    <a:lnTo>
                      <a:pt x="0" y="25"/>
                    </a:lnTo>
                    <a:lnTo>
                      <a:pt x="0" y="30"/>
                    </a:lnTo>
                    <a:lnTo>
                      <a:pt x="3" y="30"/>
                    </a:lnTo>
                    <a:lnTo>
                      <a:pt x="3" y="28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Freeform 127"/>
              <p:cNvSpPr>
                <a:spLocks noChangeAspect="1"/>
              </p:cNvSpPr>
              <p:nvPr>
                <p:custDataLst>
                  <p:tags r:id="rId929"/>
                </p:custDataLst>
              </p:nvPr>
            </p:nvSpPr>
            <p:spPr bwMode="gray">
              <a:xfrm>
                <a:off x="7097413" y="3878306"/>
                <a:ext cx="9110" cy="37842"/>
              </a:xfrm>
              <a:custGeom>
                <a:avLst/>
                <a:gdLst>
                  <a:gd name="T0" fmla="*/ 2147483647 w 6"/>
                  <a:gd name="T1" fmla="*/ 0 h 30"/>
                  <a:gd name="T2" fmla="*/ 0 w 6"/>
                  <a:gd name="T3" fmla="*/ 2147483647 h 30"/>
                  <a:gd name="T4" fmla="*/ 0 w 6"/>
                  <a:gd name="T5" fmla="*/ 2147483647 h 30"/>
                  <a:gd name="T6" fmla="*/ 0 w 6"/>
                  <a:gd name="T7" fmla="*/ 2147483647 h 30"/>
                  <a:gd name="T8" fmla="*/ 2147483647 w 6"/>
                  <a:gd name="T9" fmla="*/ 2147483647 h 30"/>
                  <a:gd name="T10" fmla="*/ 2147483647 w 6"/>
                  <a:gd name="T11" fmla="*/ 2147483647 h 30"/>
                  <a:gd name="T12" fmla="*/ 2147483647 w 6"/>
                  <a:gd name="T13" fmla="*/ 2147483647 h 30"/>
                  <a:gd name="T14" fmla="*/ 2147483647 w 6"/>
                  <a:gd name="T15" fmla="*/ 2147483647 h 30"/>
                  <a:gd name="T16" fmla="*/ 2147483647 w 6"/>
                  <a:gd name="T17" fmla="*/ 2147483647 h 30"/>
                  <a:gd name="T18" fmla="*/ 2147483647 w 6"/>
                  <a:gd name="T19" fmla="*/ 2147483647 h 30"/>
                  <a:gd name="T20" fmla="*/ 2147483647 w 6"/>
                  <a:gd name="T21" fmla="*/ 0 h 30"/>
                  <a:gd name="T22" fmla="*/ 2147483647 w 6"/>
                  <a:gd name="T23" fmla="*/ 0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30"/>
                  <a:gd name="T38" fmla="*/ 6 w 6"/>
                  <a:gd name="T39" fmla="*/ 30 h 3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30">
                    <a:moveTo>
                      <a:pt x="6" y="0"/>
                    </a:moveTo>
                    <a:lnTo>
                      <a:pt x="0" y="25"/>
                    </a:lnTo>
                    <a:lnTo>
                      <a:pt x="0" y="30"/>
                    </a:lnTo>
                    <a:lnTo>
                      <a:pt x="3" y="30"/>
                    </a:lnTo>
                    <a:lnTo>
                      <a:pt x="3" y="28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Freeform 128"/>
              <p:cNvSpPr>
                <a:spLocks noChangeAspect="1"/>
              </p:cNvSpPr>
              <p:nvPr>
                <p:custDataLst>
                  <p:tags r:id="rId930"/>
                </p:custDataLst>
              </p:nvPr>
            </p:nvSpPr>
            <p:spPr bwMode="gray">
              <a:xfrm>
                <a:off x="7120189" y="4002868"/>
                <a:ext cx="3037" cy="11038"/>
              </a:xfrm>
              <a:custGeom>
                <a:avLst/>
                <a:gdLst>
                  <a:gd name="T0" fmla="*/ 2147483647 w 2"/>
                  <a:gd name="T1" fmla="*/ 0 h 9"/>
                  <a:gd name="T2" fmla="*/ 2147483647 w 2"/>
                  <a:gd name="T3" fmla="*/ 0 h 9"/>
                  <a:gd name="T4" fmla="*/ 0 w 2"/>
                  <a:gd name="T5" fmla="*/ 2147483647 h 9"/>
                  <a:gd name="T6" fmla="*/ 0 w 2"/>
                  <a:gd name="T7" fmla="*/ 2147483647 h 9"/>
                  <a:gd name="T8" fmla="*/ 0 w 2"/>
                  <a:gd name="T9" fmla="*/ 2147483647 h 9"/>
                  <a:gd name="T10" fmla="*/ 2147483647 w 2"/>
                  <a:gd name="T11" fmla="*/ 2147483647 h 9"/>
                  <a:gd name="T12" fmla="*/ 2147483647 w 2"/>
                  <a:gd name="T13" fmla="*/ 2147483647 h 9"/>
                  <a:gd name="T14" fmla="*/ 2147483647 w 2"/>
                  <a:gd name="T15" fmla="*/ 0 h 9"/>
                  <a:gd name="T16" fmla="*/ 2147483647 w 2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9"/>
                  <a:gd name="T29" fmla="*/ 2 w 2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9">
                    <a:moveTo>
                      <a:pt x="2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Freeform 129"/>
              <p:cNvSpPr>
                <a:spLocks noChangeAspect="1"/>
              </p:cNvSpPr>
              <p:nvPr>
                <p:custDataLst>
                  <p:tags r:id="rId931"/>
                </p:custDataLst>
              </p:nvPr>
            </p:nvSpPr>
            <p:spPr bwMode="gray">
              <a:xfrm>
                <a:off x="7120189" y="4002868"/>
                <a:ext cx="3037" cy="11038"/>
              </a:xfrm>
              <a:custGeom>
                <a:avLst/>
                <a:gdLst>
                  <a:gd name="T0" fmla="*/ 2147483647 w 2"/>
                  <a:gd name="T1" fmla="*/ 0 h 9"/>
                  <a:gd name="T2" fmla="*/ 2147483647 w 2"/>
                  <a:gd name="T3" fmla="*/ 0 h 9"/>
                  <a:gd name="T4" fmla="*/ 0 w 2"/>
                  <a:gd name="T5" fmla="*/ 2147483647 h 9"/>
                  <a:gd name="T6" fmla="*/ 0 w 2"/>
                  <a:gd name="T7" fmla="*/ 2147483647 h 9"/>
                  <a:gd name="T8" fmla="*/ 0 w 2"/>
                  <a:gd name="T9" fmla="*/ 2147483647 h 9"/>
                  <a:gd name="T10" fmla="*/ 2147483647 w 2"/>
                  <a:gd name="T11" fmla="*/ 2147483647 h 9"/>
                  <a:gd name="T12" fmla="*/ 2147483647 w 2"/>
                  <a:gd name="T13" fmla="*/ 2147483647 h 9"/>
                  <a:gd name="T14" fmla="*/ 2147483647 w 2"/>
                  <a:gd name="T15" fmla="*/ 0 h 9"/>
                  <a:gd name="T16" fmla="*/ 2147483647 w 2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9"/>
                  <a:gd name="T29" fmla="*/ 2 w 2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9">
                    <a:moveTo>
                      <a:pt x="2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Freeform 130"/>
              <p:cNvSpPr>
                <a:spLocks noChangeAspect="1"/>
              </p:cNvSpPr>
              <p:nvPr>
                <p:custDataLst>
                  <p:tags r:id="rId932"/>
                </p:custDataLst>
              </p:nvPr>
            </p:nvSpPr>
            <p:spPr bwMode="gray">
              <a:xfrm>
                <a:off x="7326699" y="3938224"/>
                <a:ext cx="3037" cy="7884"/>
              </a:xfrm>
              <a:custGeom>
                <a:avLst/>
                <a:gdLst>
                  <a:gd name="T0" fmla="*/ 2147483647 w 3"/>
                  <a:gd name="T1" fmla="*/ 0 h 6"/>
                  <a:gd name="T2" fmla="*/ 2147483647 w 3"/>
                  <a:gd name="T3" fmla="*/ 2147483647 h 6"/>
                  <a:gd name="T4" fmla="*/ 2147483647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0 w 3"/>
                  <a:gd name="T11" fmla="*/ 2147483647 h 6"/>
                  <a:gd name="T12" fmla="*/ 2147483647 w 3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3" y="0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Freeform 131"/>
              <p:cNvSpPr>
                <a:spLocks noChangeAspect="1"/>
              </p:cNvSpPr>
              <p:nvPr>
                <p:custDataLst>
                  <p:tags r:id="rId933"/>
                </p:custDataLst>
              </p:nvPr>
            </p:nvSpPr>
            <p:spPr bwMode="gray">
              <a:xfrm>
                <a:off x="7326699" y="3938224"/>
                <a:ext cx="3037" cy="7884"/>
              </a:xfrm>
              <a:custGeom>
                <a:avLst/>
                <a:gdLst>
                  <a:gd name="T0" fmla="*/ 2147483647 w 3"/>
                  <a:gd name="T1" fmla="*/ 0 h 6"/>
                  <a:gd name="T2" fmla="*/ 2147483647 w 3"/>
                  <a:gd name="T3" fmla="*/ 2147483647 h 6"/>
                  <a:gd name="T4" fmla="*/ 2147483647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0 w 3"/>
                  <a:gd name="T11" fmla="*/ 2147483647 h 6"/>
                  <a:gd name="T12" fmla="*/ 2147483647 w 3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3" y="0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Freeform 132"/>
              <p:cNvSpPr>
                <a:spLocks noChangeAspect="1"/>
              </p:cNvSpPr>
              <p:nvPr>
                <p:custDataLst>
                  <p:tags r:id="rId934"/>
                </p:custDataLst>
              </p:nvPr>
            </p:nvSpPr>
            <p:spPr bwMode="gray">
              <a:xfrm>
                <a:off x="7842975" y="3422629"/>
                <a:ext cx="303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Freeform 133"/>
              <p:cNvSpPr>
                <a:spLocks noChangeAspect="1"/>
              </p:cNvSpPr>
              <p:nvPr>
                <p:custDataLst>
                  <p:tags r:id="rId935"/>
                </p:custDataLst>
              </p:nvPr>
            </p:nvSpPr>
            <p:spPr bwMode="gray">
              <a:xfrm>
                <a:off x="7842975" y="3422629"/>
                <a:ext cx="303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Freeform 134"/>
              <p:cNvSpPr>
                <a:spLocks noChangeAspect="1"/>
              </p:cNvSpPr>
              <p:nvPr>
                <p:custDataLst>
                  <p:tags r:id="rId936"/>
                </p:custDataLst>
              </p:nvPr>
            </p:nvSpPr>
            <p:spPr bwMode="gray">
              <a:xfrm>
                <a:off x="7846011" y="3411593"/>
                <a:ext cx="3037" cy="6307"/>
              </a:xfrm>
              <a:custGeom>
                <a:avLst/>
                <a:gdLst>
                  <a:gd name="T0" fmla="*/ 0 w 2"/>
                  <a:gd name="T1" fmla="*/ 0 h 5"/>
                  <a:gd name="T2" fmla="*/ 2147483647 w 2"/>
                  <a:gd name="T3" fmla="*/ 2147483647 h 5"/>
                  <a:gd name="T4" fmla="*/ 2147483647 w 2"/>
                  <a:gd name="T5" fmla="*/ 2147483647 h 5"/>
                  <a:gd name="T6" fmla="*/ 0 w 2"/>
                  <a:gd name="T7" fmla="*/ 2147483647 h 5"/>
                  <a:gd name="T8" fmla="*/ 0 w 2"/>
                  <a:gd name="T9" fmla="*/ 2147483647 h 5"/>
                  <a:gd name="T10" fmla="*/ 0 w 2"/>
                  <a:gd name="T11" fmla="*/ 2147483647 h 5"/>
                  <a:gd name="T12" fmla="*/ 0 w 2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5"/>
                  <a:gd name="T23" fmla="*/ 2 w 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5">
                    <a:moveTo>
                      <a:pt x="0" y="0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Freeform 135"/>
              <p:cNvSpPr>
                <a:spLocks noChangeAspect="1"/>
              </p:cNvSpPr>
              <p:nvPr>
                <p:custDataLst>
                  <p:tags r:id="rId937"/>
                </p:custDataLst>
              </p:nvPr>
            </p:nvSpPr>
            <p:spPr bwMode="gray">
              <a:xfrm>
                <a:off x="7846011" y="3411593"/>
                <a:ext cx="3037" cy="6307"/>
              </a:xfrm>
              <a:custGeom>
                <a:avLst/>
                <a:gdLst>
                  <a:gd name="T0" fmla="*/ 0 w 2"/>
                  <a:gd name="T1" fmla="*/ 0 h 5"/>
                  <a:gd name="T2" fmla="*/ 2147483647 w 2"/>
                  <a:gd name="T3" fmla="*/ 2147483647 h 5"/>
                  <a:gd name="T4" fmla="*/ 2147483647 w 2"/>
                  <a:gd name="T5" fmla="*/ 2147483647 h 5"/>
                  <a:gd name="T6" fmla="*/ 0 w 2"/>
                  <a:gd name="T7" fmla="*/ 2147483647 h 5"/>
                  <a:gd name="T8" fmla="*/ 0 w 2"/>
                  <a:gd name="T9" fmla="*/ 2147483647 h 5"/>
                  <a:gd name="T10" fmla="*/ 0 w 2"/>
                  <a:gd name="T11" fmla="*/ 2147483647 h 5"/>
                  <a:gd name="T12" fmla="*/ 0 w 2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5"/>
                  <a:gd name="T23" fmla="*/ 2 w 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5">
                    <a:moveTo>
                      <a:pt x="0" y="0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Freeform 136"/>
              <p:cNvSpPr>
                <a:spLocks noChangeAspect="1"/>
              </p:cNvSpPr>
              <p:nvPr>
                <p:custDataLst>
                  <p:tags r:id="rId938"/>
                </p:custDataLst>
              </p:nvPr>
            </p:nvSpPr>
            <p:spPr bwMode="gray">
              <a:xfrm>
                <a:off x="7874862" y="3339061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0 w 3"/>
                  <a:gd name="T7" fmla="*/ 2147483647 h 3"/>
                  <a:gd name="T8" fmla="*/ 2147483647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Freeform 137"/>
              <p:cNvSpPr>
                <a:spLocks noChangeAspect="1"/>
              </p:cNvSpPr>
              <p:nvPr>
                <p:custDataLst>
                  <p:tags r:id="rId939"/>
                </p:custDataLst>
              </p:nvPr>
            </p:nvSpPr>
            <p:spPr bwMode="gray">
              <a:xfrm>
                <a:off x="7874862" y="3339061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0 w 3"/>
                  <a:gd name="T7" fmla="*/ 2147483647 h 3"/>
                  <a:gd name="T8" fmla="*/ 2147483647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Freeform 138"/>
              <p:cNvSpPr>
                <a:spLocks noChangeAspect="1"/>
              </p:cNvSpPr>
              <p:nvPr>
                <p:custDataLst>
                  <p:tags r:id="rId940"/>
                </p:custDataLst>
              </p:nvPr>
            </p:nvSpPr>
            <p:spPr bwMode="gray">
              <a:xfrm>
                <a:off x="7779200" y="3439974"/>
                <a:ext cx="16704" cy="6307"/>
              </a:xfrm>
              <a:custGeom>
                <a:avLst/>
                <a:gdLst>
                  <a:gd name="T0" fmla="*/ 2147483647 w 12"/>
                  <a:gd name="T1" fmla="*/ 2147483647 h 6"/>
                  <a:gd name="T2" fmla="*/ 0 w 12"/>
                  <a:gd name="T3" fmla="*/ 2147483647 h 6"/>
                  <a:gd name="T4" fmla="*/ 0 w 12"/>
                  <a:gd name="T5" fmla="*/ 2147483647 h 6"/>
                  <a:gd name="T6" fmla="*/ 2147483647 w 12"/>
                  <a:gd name="T7" fmla="*/ 2147483647 h 6"/>
                  <a:gd name="T8" fmla="*/ 2147483647 w 12"/>
                  <a:gd name="T9" fmla="*/ 2147483647 h 6"/>
                  <a:gd name="T10" fmla="*/ 2147483647 w 12"/>
                  <a:gd name="T11" fmla="*/ 0 h 6"/>
                  <a:gd name="T12" fmla="*/ 2147483647 w 12"/>
                  <a:gd name="T13" fmla="*/ 0 h 6"/>
                  <a:gd name="T14" fmla="*/ 2147483647 w 12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6"/>
                  <a:gd name="T26" fmla="*/ 12 w 12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6">
                    <a:moveTo>
                      <a:pt x="3" y="3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9" y="6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Freeform 139"/>
              <p:cNvSpPr>
                <a:spLocks noChangeAspect="1"/>
              </p:cNvSpPr>
              <p:nvPr>
                <p:custDataLst>
                  <p:tags r:id="rId941"/>
                </p:custDataLst>
              </p:nvPr>
            </p:nvSpPr>
            <p:spPr bwMode="gray">
              <a:xfrm>
                <a:off x="7779200" y="3439974"/>
                <a:ext cx="16704" cy="6307"/>
              </a:xfrm>
              <a:custGeom>
                <a:avLst/>
                <a:gdLst>
                  <a:gd name="T0" fmla="*/ 2147483647 w 12"/>
                  <a:gd name="T1" fmla="*/ 2147483647 h 6"/>
                  <a:gd name="T2" fmla="*/ 0 w 12"/>
                  <a:gd name="T3" fmla="*/ 2147483647 h 6"/>
                  <a:gd name="T4" fmla="*/ 0 w 12"/>
                  <a:gd name="T5" fmla="*/ 2147483647 h 6"/>
                  <a:gd name="T6" fmla="*/ 2147483647 w 12"/>
                  <a:gd name="T7" fmla="*/ 2147483647 h 6"/>
                  <a:gd name="T8" fmla="*/ 2147483647 w 12"/>
                  <a:gd name="T9" fmla="*/ 2147483647 h 6"/>
                  <a:gd name="T10" fmla="*/ 2147483647 w 12"/>
                  <a:gd name="T11" fmla="*/ 0 h 6"/>
                  <a:gd name="T12" fmla="*/ 2147483647 w 12"/>
                  <a:gd name="T13" fmla="*/ 0 h 6"/>
                  <a:gd name="T14" fmla="*/ 2147483647 w 12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6"/>
                  <a:gd name="T26" fmla="*/ 12 w 12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6">
                    <a:moveTo>
                      <a:pt x="3" y="3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9" y="6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Freeform 140"/>
              <p:cNvSpPr>
                <a:spLocks noChangeAspect="1"/>
              </p:cNvSpPr>
              <p:nvPr>
                <p:custDataLst>
                  <p:tags r:id="rId942"/>
                </p:custDataLst>
              </p:nvPr>
            </p:nvSpPr>
            <p:spPr bwMode="gray">
              <a:xfrm>
                <a:off x="8342547" y="3648104"/>
                <a:ext cx="4555" cy="1577"/>
              </a:xfrm>
              <a:custGeom>
                <a:avLst/>
                <a:gdLst>
                  <a:gd name="T0" fmla="*/ 2147483647 w 3"/>
                  <a:gd name="T1" fmla="*/ 0 h 1417"/>
                  <a:gd name="T2" fmla="*/ 2147483647 w 3"/>
                  <a:gd name="T3" fmla="*/ 0 h 1417"/>
                  <a:gd name="T4" fmla="*/ 0 w 3"/>
                  <a:gd name="T5" fmla="*/ 0 h 1417"/>
                  <a:gd name="T6" fmla="*/ 2147483647 w 3"/>
                  <a:gd name="T7" fmla="*/ 0 h 1417"/>
                  <a:gd name="T8" fmla="*/ 2147483647 w 3"/>
                  <a:gd name="T9" fmla="*/ 0 h 1417"/>
                  <a:gd name="T10" fmla="*/ 0 w 3"/>
                  <a:gd name="T11" fmla="*/ 0 h 1417"/>
                  <a:gd name="T12" fmla="*/ 0 w 3"/>
                  <a:gd name="T13" fmla="*/ 0 h 1417"/>
                  <a:gd name="T14" fmla="*/ 0 w 3"/>
                  <a:gd name="T15" fmla="*/ 0 h 1417"/>
                  <a:gd name="T16" fmla="*/ 2147483647 w 3"/>
                  <a:gd name="T17" fmla="*/ 0 h 14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1417"/>
                  <a:gd name="T29" fmla="*/ 3 w 3"/>
                  <a:gd name="T30" fmla="*/ 1417 h 14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1417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Freeform 141"/>
              <p:cNvSpPr>
                <a:spLocks noChangeAspect="1"/>
              </p:cNvSpPr>
              <p:nvPr>
                <p:custDataLst>
                  <p:tags r:id="rId943"/>
                </p:custDataLst>
              </p:nvPr>
            </p:nvSpPr>
            <p:spPr bwMode="gray">
              <a:xfrm>
                <a:off x="8342547" y="3648104"/>
                <a:ext cx="4555" cy="1577"/>
              </a:xfrm>
              <a:custGeom>
                <a:avLst/>
                <a:gdLst>
                  <a:gd name="T0" fmla="*/ 2147483647 w 3"/>
                  <a:gd name="T1" fmla="*/ 0 h 1417"/>
                  <a:gd name="T2" fmla="*/ 2147483647 w 3"/>
                  <a:gd name="T3" fmla="*/ 0 h 1417"/>
                  <a:gd name="T4" fmla="*/ 0 w 3"/>
                  <a:gd name="T5" fmla="*/ 0 h 1417"/>
                  <a:gd name="T6" fmla="*/ 2147483647 w 3"/>
                  <a:gd name="T7" fmla="*/ 0 h 1417"/>
                  <a:gd name="T8" fmla="*/ 2147483647 w 3"/>
                  <a:gd name="T9" fmla="*/ 0 h 1417"/>
                  <a:gd name="T10" fmla="*/ 0 w 3"/>
                  <a:gd name="T11" fmla="*/ 0 h 1417"/>
                  <a:gd name="T12" fmla="*/ 0 w 3"/>
                  <a:gd name="T13" fmla="*/ 0 h 1417"/>
                  <a:gd name="T14" fmla="*/ 0 w 3"/>
                  <a:gd name="T15" fmla="*/ 0 h 1417"/>
                  <a:gd name="T16" fmla="*/ 2147483647 w 3"/>
                  <a:gd name="T17" fmla="*/ 0 h 14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1417"/>
                  <a:gd name="T29" fmla="*/ 3 w 3"/>
                  <a:gd name="T30" fmla="*/ 1417 h 14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1417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Freeform 142"/>
              <p:cNvSpPr>
                <a:spLocks noChangeAspect="1"/>
              </p:cNvSpPr>
              <p:nvPr>
                <p:custDataLst>
                  <p:tags r:id="rId944"/>
                </p:custDataLst>
              </p:nvPr>
            </p:nvSpPr>
            <p:spPr bwMode="gray">
              <a:xfrm>
                <a:off x="7856641" y="4379710"/>
                <a:ext cx="9110" cy="7884"/>
              </a:xfrm>
              <a:custGeom>
                <a:avLst/>
                <a:gdLst>
                  <a:gd name="T0" fmla="*/ 2147483647 w 8"/>
                  <a:gd name="T1" fmla="*/ 2147483647 h 5"/>
                  <a:gd name="T2" fmla="*/ 0 w 8"/>
                  <a:gd name="T3" fmla="*/ 2147483647 h 5"/>
                  <a:gd name="T4" fmla="*/ 0 w 8"/>
                  <a:gd name="T5" fmla="*/ 2147483647 h 5"/>
                  <a:gd name="T6" fmla="*/ 2147483647 w 8"/>
                  <a:gd name="T7" fmla="*/ 2147483647 h 5"/>
                  <a:gd name="T8" fmla="*/ 2147483647 w 8"/>
                  <a:gd name="T9" fmla="*/ 2147483647 h 5"/>
                  <a:gd name="T10" fmla="*/ 2147483647 w 8"/>
                  <a:gd name="T11" fmla="*/ 0 h 5"/>
                  <a:gd name="T12" fmla="*/ 2147483647 w 8"/>
                  <a:gd name="T13" fmla="*/ 0 h 5"/>
                  <a:gd name="T14" fmla="*/ 2147483647 w 8"/>
                  <a:gd name="T15" fmla="*/ 2147483647 h 5"/>
                  <a:gd name="T16" fmla="*/ 2147483647 w 8"/>
                  <a:gd name="T17" fmla="*/ 2147483647 h 5"/>
                  <a:gd name="T18" fmla="*/ 2147483647 w 8"/>
                  <a:gd name="T19" fmla="*/ 2147483647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"/>
                  <a:gd name="T31" fmla="*/ 0 h 5"/>
                  <a:gd name="T32" fmla="*/ 8 w 8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" h="5">
                    <a:moveTo>
                      <a:pt x="3" y="5"/>
                    </a:moveTo>
                    <a:lnTo>
                      <a:pt x="0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Freeform 143"/>
              <p:cNvSpPr>
                <a:spLocks noChangeAspect="1"/>
              </p:cNvSpPr>
              <p:nvPr>
                <p:custDataLst>
                  <p:tags r:id="rId945"/>
                </p:custDataLst>
              </p:nvPr>
            </p:nvSpPr>
            <p:spPr bwMode="gray">
              <a:xfrm>
                <a:off x="7856641" y="4379710"/>
                <a:ext cx="9110" cy="7884"/>
              </a:xfrm>
              <a:custGeom>
                <a:avLst/>
                <a:gdLst>
                  <a:gd name="T0" fmla="*/ 2147483647 w 8"/>
                  <a:gd name="T1" fmla="*/ 2147483647 h 5"/>
                  <a:gd name="T2" fmla="*/ 0 w 8"/>
                  <a:gd name="T3" fmla="*/ 2147483647 h 5"/>
                  <a:gd name="T4" fmla="*/ 0 w 8"/>
                  <a:gd name="T5" fmla="*/ 2147483647 h 5"/>
                  <a:gd name="T6" fmla="*/ 2147483647 w 8"/>
                  <a:gd name="T7" fmla="*/ 2147483647 h 5"/>
                  <a:gd name="T8" fmla="*/ 2147483647 w 8"/>
                  <a:gd name="T9" fmla="*/ 2147483647 h 5"/>
                  <a:gd name="T10" fmla="*/ 2147483647 w 8"/>
                  <a:gd name="T11" fmla="*/ 0 h 5"/>
                  <a:gd name="T12" fmla="*/ 2147483647 w 8"/>
                  <a:gd name="T13" fmla="*/ 0 h 5"/>
                  <a:gd name="T14" fmla="*/ 2147483647 w 8"/>
                  <a:gd name="T15" fmla="*/ 2147483647 h 5"/>
                  <a:gd name="T16" fmla="*/ 2147483647 w 8"/>
                  <a:gd name="T17" fmla="*/ 2147483647 h 5"/>
                  <a:gd name="T18" fmla="*/ 2147483647 w 8"/>
                  <a:gd name="T19" fmla="*/ 2147483647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"/>
                  <a:gd name="T31" fmla="*/ 0 h 5"/>
                  <a:gd name="T32" fmla="*/ 8 w 8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" h="5">
                    <a:moveTo>
                      <a:pt x="3" y="5"/>
                    </a:moveTo>
                    <a:lnTo>
                      <a:pt x="0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8" y="5"/>
                    </a:lnTo>
                    <a:lnTo>
                      <a:pt x="3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Freeform 144"/>
              <p:cNvSpPr>
                <a:spLocks noChangeAspect="1"/>
              </p:cNvSpPr>
              <p:nvPr>
                <p:custDataLst>
                  <p:tags r:id="rId946"/>
                </p:custDataLst>
              </p:nvPr>
            </p:nvSpPr>
            <p:spPr bwMode="gray">
              <a:xfrm>
                <a:off x="7862715" y="4374980"/>
                <a:ext cx="22777" cy="15767"/>
              </a:xfrm>
              <a:custGeom>
                <a:avLst/>
                <a:gdLst>
                  <a:gd name="T0" fmla="*/ 0 w 17"/>
                  <a:gd name="T1" fmla="*/ 0 h 11"/>
                  <a:gd name="T2" fmla="*/ 0 w 17"/>
                  <a:gd name="T3" fmla="*/ 0 h 11"/>
                  <a:gd name="T4" fmla="*/ 2147483647 w 17"/>
                  <a:gd name="T5" fmla="*/ 2147483647 h 11"/>
                  <a:gd name="T6" fmla="*/ 2147483647 w 17"/>
                  <a:gd name="T7" fmla="*/ 2147483647 h 11"/>
                  <a:gd name="T8" fmla="*/ 2147483647 w 17"/>
                  <a:gd name="T9" fmla="*/ 2147483647 h 11"/>
                  <a:gd name="T10" fmla="*/ 2147483647 w 17"/>
                  <a:gd name="T11" fmla="*/ 2147483647 h 11"/>
                  <a:gd name="T12" fmla="*/ 2147483647 w 17"/>
                  <a:gd name="T13" fmla="*/ 2147483647 h 11"/>
                  <a:gd name="T14" fmla="*/ 2147483647 w 17"/>
                  <a:gd name="T15" fmla="*/ 0 h 11"/>
                  <a:gd name="T16" fmla="*/ 2147483647 w 17"/>
                  <a:gd name="T17" fmla="*/ 0 h 11"/>
                  <a:gd name="T18" fmla="*/ 2147483647 w 17"/>
                  <a:gd name="T19" fmla="*/ 2147483647 h 11"/>
                  <a:gd name="T20" fmla="*/ 2147483647 w 17"/>
                  <a:gd name="T21" fmla="*/ 2147483647 h 11"/>
                  <a:gd name="T22" fmla="*/ 2147483647 w 17"/>
                  <a:gd name="T23" fmla="*/ 2147483647 h 11"/>
                  <a:gd name="T24" fmla="*/ 2147483647 w 17"/>
                  <a:gd name="T25" fmla="*/ 2147483647 h 11"/>
                  <a:gd name="T26" fmla="*/ 2147483647 w 17"/>
                  <a:gd name="T27" fmla="*/ 2147483647 h 11"/>
                  <a:gd name="T28" fmla="*/ 2147483647 w 17"/>
                  <a:gd name="T29" fmla="*/ 2147483647 h 11"/>
                  <a:gd name="T30" fmla="*/ 0 w 17"/>
                  <a:gd name="T31" fmla="*/ 0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11"/>
                  <a:gd name="T50" fmla="*/ 17 w 17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11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3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Freeform 145"/>
              <p:cNvSpPr>
                <a:spLocks noChangeAspect="1"/>
              </p:cNvSpPr>
              <p:nvPr>
                <p:custDataLst>
                  <p:tags r:id="rId947"/>
                </p:custDataLst>
              </p:nvPr>
            </p:nvSpPr>
            <p:spPr bwMode="gray">
              <a:xfrm>
                <a:off x="7862715" y="4374980"/>
                <a:ext cx="22777" cy="15767"/>
              </a:xfrm>
              <a:custGeom>
                <a:avLst/>
                <a:gdLst>
                  <a:gd name="T0" fmla="*/ 0 w 17"/>
                  <a:gd name="T1" fmla="*/ 0 h 11"/>
                  <a:gd name="T2" fmla="*/ 0 w 17"/>
                  <a:gd name="T3" fmla="*/ 0 h 11"/>
                  <a:gd name="T4" fmla="*/ 2147483647 w 17"/>
                  <a:gd name="T5" fmla="*/ 2147483647 h 11"/>
                  <a:gd name="T6" fmla="*/ 2147483647 w 17"/>
                  <a:gd name="T7" fmla="*/ 2147483647 h 11"/>
                  <a:gd name="T8" fmla="*/ 2147483647 w 17"/>
                  <a:gd name="T9" fmla="*/ 2147483647 h 11"/>
                  <a:gd name="T10" fmla="*/ 2147483647 w 17"/>
                  <a:gd name="T11" fmla="*/ 2147483647 h 11"/>
                  <a:gd name="T12" fmla="*/ 2147483647 w 17"/>
                  <a:gd name="T13" fmla="*/ 2147483647 h 11"/>
                  <a:gd name="T14" fmla="*/ 2147483647 w 17"/>
                  <a:gd name="T15" fmla="*/ 0 h 11"/>
                  <a:gd name="T16" fmla="*/ 2147483647 w 17"/>
                  <a:gd name="T17" fmla="*/ 0 h 11"/>
                  <a:gd name="T18" fmla="*/ 2147483647 w 17"/>
                  <a:gd name="T19" fmla="*/ 2147483647 h 11"/>
                  <a:gd name="T20" fmla="*/ 2147483647 w 17"/>
                  <a:gd name="T21" fmla="*/ 2147483647 h 11"/>
                  <a:gd name="T22" fmla="*/ 2147483647 w 17"/>
                  <a:gd name="T23" fmla="*/ 2147483647 h 11"/>
                  <a:gd name="T24" fmla="*/ 2147483647 w 17"/>
                  <a:gd name="T25" fmla="*/ 2147483647 h 11"/>
                  <a:gd name="T26" fmla="*/ 2147483647 w 17"/>
                  <a:gd name="T27" fmla="*/ 2147483647 h 11"/>
                  <a:gd name="T28" fmla="*/ 2147483647 w 17"/>
                  <a:gd name="T29" fmla="*/ 2147483647 h 11"/>
                  <a:gd name="T30" fmla="*/ 0 w 17"/>
                  <a:gd name="T31" fmla="*/ 0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11"/>
                  <a:gd name="T50" fmla="*/ 17 w 17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11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3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" name="Freeform 146"/>
              <p:cNvSpPr>
                <a:spLocks noChangeAspect="1"/>
              </p:cNvSpPr>
              <p:nvPr>
                <p:custDataLst>
                  <p:tags r:id="rId948"/>
                </p:custDataLst>
              </p:nvPr>
            </p:nvSpPr>
            <p:spPr bwMode="gray">
              <a:xfrm>
                <a:off x="7985709" y="4373403"/>
                <a:ext cx="4557" cy="9460"/>
              </a:xfrm>
              <a:custGeom>
                <a:avLst/>
                <a:gdLst>
                  <a:gd name="T0" fmla="*/ 0 w 3"/>
                  <a:gd name="T1" fmla="*/ 2147483647 h 8"/>
                  <a:gd name="T2" fmla="*/ 0 w 3"/>
                  <a:gd name="T3" fmla="*/ 2147483647 h 8"/>
                  <a:gd name="T4" fmla="*/ 0 w 3"/>
                  <a:gd name="T5" fmla="*/ 2147483647 h 8"/>
                  <a:gd name="T6" fmla="*/ 2147483647 w 3"/>
                  <a:gd name="T7" fmla="*/ 0 h 8"/>
                  <a:gd name="T8" fmla="*/ 2147483647 w 3"/>
                  <a:gd name="T9" fmla="*/ 0 h 8"/>
                  <a:gd name="T10" fmla="*/ 2147483647 w 3"/>
                  <a:gd name="T11" fmla="*/ 2147483647 h 8"/>
                  <a:gd name="T12" fmla="*/ 0 w 3"/>
                  <a:gd name="T13" fmla="*/ 214748364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8"/>
                  <a:gd name="T23" fmla="*/ 3 w 3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Freeform 147"/>
              <p:cNvSpPr>
                <a:spLocks noChangeAspect="1"/>
              </p:cNvSpPr>
              <p:nvPr>
                <p:custDataLst>
                  <p:tags r:id="rId949"/>
                </p:custDataLst>
              </p:nvPr>
            </p:nvSpPr>
            <p:spPr bwMode="gray">
              <a:xfrm>
                <a:off x="7985709" y="4373403"/>
                <a:ext cx="4557" cy="9460"/>
              </a:xfrm>
              <a:custGeom>
                <a:avLst/>
                <a:gdLst>
                  <a:gd name="T0" fmla="*/ 0 w 3"/>
                  <a:gd name="T1" fmla="*/ 2147483647 h 8"/>
                  <a:gd name="T2" fmla="*/ 0 w 3"/>
                  <a:gd name="T3" fmla="*/ 2147483647 h 8"/>
                  <a:gd name="T4" fmla="*/ 0 w 3"/>
                  <a:gd name="T5" fmla="*/ 2147483647 h 8"/>
                  <a:gd name="T6" fmla="*/ 2147483647 w 3"/>
                  <a:gd name="T7" fmla="*/ 0 h 8"/>
                  <a:gd name="T8" fmla="*/ 2147483647 w 3"/>
                  <a:gd name="T9" fmla="*/ 0 h 8"/>
                  <a:gd name="T10" fmla="*/ 2147483647 w 3"/>
                  <a:gd name="T11" fmla="*/ 2147483647 h 8"/>
                  <a:gd name="T12" fmla="*/ 0 w 3"/>
                  <a:gd name="T13" fmla="*/ 214748364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8"/>
                  <a:gd name="T23" fmla="*/ 3 w 3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Freeform 148"/>
              <p:cNvSpPr>
                <a:spLocks noChangeAspect="1"/>
              </p:cNvSpPr>
              <p:nvPr>
                <p:custDataLst>
                  <p:tags r:id="rId950"/>
                </p:custDataLst>
              </p:nvPr>
            </p:nvSpPr>
            <p:spPr bwMode="gray">
              <a:xfrm>
                <a:off x="7985709" y="4427013"/>
                <a:ext cx="12148" cy="9460"/>
              </a:xfrm>
              <a:custGeom>
                <a:avLst/>
                <a:gdLst>
                  <a:gd name="T0" fmla="*/ 0 w 8"/>
                  <a:gd name="T1" fmla="*/ 2147483647 h 8"/>
                  <a:gd name="T2" fmla="*/ 2147483647 w 8"/>
                  <a:gd name="T3" fmla="*/ 2147483647 h 8"/>
                  <a:gd name="T4" fmla="*/ 2147483647 w 8"/>
                  <a:gd name="T5" fmla="*/ 2147483647 h 8"/>
                  <a:gd name="T6" fmla="*/ 2147483647 w 8"/>
                  <a:gd name="T7" fmla="*/ 0 h 8"/>
                  <a:gd name="T8" fmla="*/ 2147483647 w 8"/>
                  <a:gd name="T9" fmla="*/ 2147483647 h 8"/>
                  <a:gd name="T10" fmla="*/ 2147483647 w 8"/>
                  <a:gd name="T11" fmla="*/ 0 h 8"/>
                  <a:gd name="T12" fmla="*/ 2147483647 w 8"/>
                  <a:gd name="T13" fmla="*/ 2147483647 h 8"/>
                  <a:gd name="T14" fmla="*/ 2147483647 w 8"/>
                  <a:gd name="T15" fmla="*/ 2147483647 h 8"/>
                  <a:gd name="T16" fmla="*/ 2147483647 w 8"/>
                  <a:gd name="T17" fmla="*/ 2147483647 h 8"/>
                  <a:gd name="T18" fmla="*/ 2147483647 w 8"/>
                  <a:gd name="T19" fmla="*/ 2147483647 h 8"/>
                  <a:gd name="T20" fmla="*/ 0 w 8"/>
                  <a:gd name="T21" fmla="*/ 2147483647 h 8"/>
                  <a:gd name="T22" fmla="*/ 0 w 8"/>
                  <a:gd name="T23" fmla="*/ 2147483647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8"/>
                  <a:gd name="T38" fmla="*/ 8 w 8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8">
                    <a:moveTo>
                      <a:pt x="0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Freeform 149"/>
              <p:cNvSpPr>
                <a:spLocks noChangeAspect="1"/>
              </p:cNvSpPr>
              <p:nvPr>
                <p:custDataLst>
                  <p:tags r:id="rId951"/>
                </p:custDataLst>
              </p:nvPr>
            </p:nvSpPr>
            <p:spPr bwMode="gray">
              <a:xfrm>
                <a:off x="7985709" y="4427013"/>
                <a:ext cx="12148" cy="9460"/>
              </a:xfrm>
              <a:custGeom>
                <a:avLst/>
                <a:gdLst>
                  <a:gd name="T0" fmla="*/ 0 w 8"/>
                  <a:gd name="T1" fmla="*/ 2147483647 h 8"/>
                  <a:gd name="T2" fmla="*/ 2147483647 w 8"/>
                  <a:gd name="T3" fmla="*/ 2147483647 h 8"/>
                  <a:gd name="T4" fmla="*/ 2147483647 w 8"/>
                  <a:gd name="T5" fmla="*/ 2147483647 h 8"/>
                  <a:gd name="T6" fmla="*/ 2147483647 w 8"/>
                  <a:gd name="T7" fmla="*/ 0 h 8"/>
                  <a:gd name="T8" fmla="*/ 2147483647 w 8"/>
                  <a:gd name="T9" fmla="*/ 2147483647 h 8"/>
                  <a:gd name="T10" fmla="*/ 2147483647 w 8"/>
                  <a:gd name="T11" fmla="*/ 0 h 8"/>
                  <a:gd name="T12" fmla="*/ 2147483647 w 8"/>
                  <a:gd name="T13" fmla="*/ 2147483647 h 8"/>
                  <a:gd name="T14" fmla="*/ 2147483647 w 8"/>
                  <a:gd name="T15" fmla="*/ 2147483647 h 8"/>
                  <a:gd name="T16" fmla="*/ 2147483647 w 8"/>
                  <a:gd name="T17" fmla="*/ 2147483647 h 8"/>
                  <a:gd name="T18" fmla="*/ 2147483647 w 8"/>
                  <a:gd name="T19" fmla="*/ 2147483647 h 8"/>
                  <a:gd name="T20" fmla="*/ 0 w 8"/>
                  <a:gd name="T21" fmla="*/ 2147483647 h 8"/>
                  <a:gd name="T22" fmla="*/ 0 w 8"/>
                  <a:gd name="T23" fmla="*/ 2147483647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8"/>
                  <a:gd name="T38" fmla="*/ 8 w 8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8">
                    <a:moveTo>
                      <a:pt x="0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Freeform 150"/>
              <p:cNvSpPr>
                <a:spLocks noChangeAspect="1"/>
              </p:cNvSpPr>
              <p:nvPr>
                <p:custDataLst>
                  <p:tags r:id="rId952"/>
                </p:custDataLst>
              </p:nvPr>
            </p:nvSpPr>
            <p:spPr bwMode="gray">
              <a:xfrm>
                <a:off x="8044929" y="4482198"/>
                <a:ext cx="10628" cy="9460"/>
              </a:xfrm>
              <a:custGeom>
                <a:avLst/>
                <a:gdLst>
                  <a:gd name="T0" fmla="*/ 2147483647 w 8"/>
                  <a:gd name="T1" fmla="*/ 0 h 6"/>
                  <a:gd name="T2" fmla="*/ 2147483647 w 8"/>
                  <a:gd name="T3" fmla="*/ 0 h 6"/>
                  <a:gd name="T4" fmla="*/ 2147483647 w 8"/>
                  <a:gd name="T5" fmla="*/ 0 h 6"/>
                  <a:gd name="T6" fmla="*/ 2147483647 w 8"/>
                  <a:gd name="T7" fmla="*/ 0 h 6"/>
                  <a:gd name="T8" fmla="*/ 2147483647 w 8"/>
                  <a:gd name="T9" fmla="*/ 2147483647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0 w 8"/>
                  <a:gd name="T15" fmla="*/ 2147483647 h 6"/>
                  <a:gd name="T16" fmla="*/ 0 w 8"/>
                  <a:gd name="T17" fmla="*/ 2147483647 h 6"/>
                  <a:gd name="T18" fmla="*/ 2147483647 w 8"/>
                  <a:gd name="T19" fmla="*/ 0 h 6"/>
                  <a:gd name="T20" fmla="*/ 2147483647 w 8"/>
                  <a:gd name="T21" fmla="*/ 0 h 6"/>
                  <a:gd name="T22" fmla="*/ 2147483647 w 8"/>
                  <a:gd name="T23" fmla="*/ 0 h 6"/>
                  <a:gd name="T24" fmla="*/ 2147483647 w 8"/>
                  <a:gd name="T25" fmla="*/ 0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6"/>
                  <a:gd name="T41" fmla="*/ 8 w 8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6">
                    <a:moveTo>
                      <a:pt x="5" y="0"/>
                    </a:moveTo>
                    <a:lnTo>
                      <a:pt x="8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Freeform 151"/>
              <p:cNvSpPr>
                <a:spLocks noChangeAspect="1"/>
              </p:cNvSpPr>
              <p:nvPr>
                <p:custDataLst>
                  <p:tags r:id="rId953"/>
                </p:custDataLst>
              </p:nvPr>
            </p:nvSpPr>
            <p:spPr bwMode="gray">
              <a:xfrm>
                <a:off x="8044929" y="4482198"/>
                <a:ext cx="10628" cy="9460"/>
              </a:xfrm>
              <a:custGeom>
                <a:avLst/>
                <a:gdLst>
                  <a:gd name="T0" fmla="*/ 2147483647 w 8"/>
                  <a:gd name="T1" fmla="*/ 0 h 6"/>
                  <a:gd name="T2" fmla="*/ 2147483647 w 8"/>
                  <a:gd name="T3" fmla="*/ 0 h 6"/>
                  <a:gd name="T4" fmla="*/ 2147483647 w 8"/>
                  <a:gd name="T5" fmla="*/ 0 h 6"/>
                  <a:gd name="T6" fmla="*/ 2147483647 w 8"/>
                  <a:gd name="T7" fmla="*/ 0 h 6"/>
                  <a:gd name="T8" fmla="*/ 2147483647 w 8"/>
                  <a:gd name="T9" fmla="*/ 2147483647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0 w 8"/>
                  <a:gd name="T15" fmla="*/ 2147483647 h 6"/>
                  <a:gd name="T16" fmla="*/ 0 w 8"/>
                  <a:gd name="T17" fmla="*/ 2147483647 h 6"/>
                  <a:gd name="T18" fmla="*/ 2147483647 w 8"/>
                  <a:gd name="T19" fmla="*/ 0 h 6"/>
                  <a:gd name="T20" fmla="*/ 2147483647 w 8"/>
                  <a:gd name="T21" fmla="*/ 0 h 6"/>
                  <a:gd name="T22" fmla="*/ 2147483647 w 8"/>
                  <a:gd name="T23" fmla="*/ 0 h 6"/>
                  <a:gd name="T24" fmla="*/ 2147483647 w 8"/>
                  <a:gd name="T25" fmla="*/ 0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6"/>
                  <a:gd name="T41" fmla="*/ 8 w 8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6">
                    <a:moveTo>
                      <a:pt x="5" y="0"/>
                    </a:moveTo>
                    <a:lnTo>
                      <a:pt x="8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Freeform 152"/>
              <p:cNvSpPr>
                <a:spLocks noChangeAspect="1"/>
              </p:cNvSpPr>
              <p:nvPr>
                <p:custDataLst>
                  <p:tags r:id="rId954"/>
                </p:custDataLst>
              </p:nvPr>
            </p:nvSpPr>
            <p:spPr bwMode="gray">
              <a:xfrm>
                <a:off x="8324325" y="4660371"/>
                <a:ext cx="7592" cy="22075"/>
              </a:xfrm>
              <a:custGeom>
                <a:avLst/>
                <a:gdLst>
                  <a:gd name="T0" fmla="*/ 2147483647 w 6"/>
                  <a:gd name="T1" fmla="*/ 0 h 17"/>
                  <a:gd name="T2" fmla="*/ 2147483647 w 6"/>
                  <a:gd name="T3" fmla="*/ 0 h 17"/>
                  <a:gd name="T4" fmla="*/ 2147483647 w 6"/>
                  <a:gd name="T5" fmla="*/ 2147483647 h 17"/>
                  <a:gd name="T6" fmla="*/ 2147483647 w 6"/>
                  <a:gd name="T7" fmla="*/ 2147483647 h 17"/>
                  <a:gd name="T8" fmla="*/ 2147483647 w 6"/>
                  <a:gd name="T9" fmla="*/ 2147483647 h 17"/>
                  <a:gd name="T10" fmla="*/ 0 w 6"/>
                  <a:gd name="T11" fmla="*/ 2147483647 h 17"/>
                  <a:gd name="T12" fmla="*/ 0 w 6"/>
                  <a:gd name="T13" fmla="*/ 2147483647 h 17"/>
                  <a:gd name="T14" fmla="*/ 2147483647 w 6"/>
                  <a:gd name="T15" fmla="*/ 2147483647 h 17"/>
                  <a:gd name="T16" fmla="*/ 2147483647 w 6"/>
                  <a:gd name="T17" fmla="*/ 0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7"/>
                  <a:gd name="T29" fmla="*/ 6 w 6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7">
                    <a:moveTo>
                      <a:pt x="3" y="0"/>
                    </a:moveTo>
                    <a:lnTo>
                      <a:pt x="3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3" y="17"/>
                    </a:lnTo>
                    <a:lnTo>
                      <a:pt x="0" y="17"/>
                    </a:lnTo>
                    <a:lnTo>
                      <a:pt x="0" y="8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Freeform 153"/>
              <p:cNvSpPr>
                <a:spLocks noChangeAspect="1"/>
              </p:cNvSpPr>
              <p:nvPr>
                <p:custDataLst>
                  <p:tags r:id="rId955"/>
                </p:custDataLst>
              </p:nvPr>
            </p:nvSpPr>
            <p:spPr bwMode="gray">
              <a:xfrm>
                <a:off x="8324325" y="4660371"/>
                <a:ext cx="7592" cy="22075"/>
              </a:xfrm>
              <a:custGeom>
                <a:avLst/>
                <a:gdLst>
                  <a:gd name="T0" fmla="*/ 2147483647 w 6"/>
                  <a:gd name="T1" fmla="*/ 0 h 17"/>
                  <a:gd name="T2" fmla="*/ 2147483647 w 6"/>
                  <a:gd name="T3" fmla="*/ 0 h 17"/>
                  <a:gd name="T4" fmla="*/ 2147483647 w 6"/>
                  <a:gd name="T5" fmla="*/ 2147483647 h 17"/>
                  <a:gd name="T6" fmla="*/ 2147483647 w 6"/>
                  <a:gd name="T7" fmla="*/ 2147483647 h 17"/>
                  <a:gd name="T8" fmla="*/ 2147483647 w 6"/>
                  <a:gd name="T9" fmla="*/ 2147483647 h 17"/>
                  <a:gd name="T10" fmla="*/ 0 w 6"/>
                  <a:gd name="T11" fmla="*/ 2147483647 h 17"/>
                  <a:gd name="T12" fmla="*/ 0 w 6"/>
                  <a:gd name="T13" fmla="*/ 2147483647 h 17"/>
                  <a:gd name="T14" fmla="*/ 2147483647 w 6"/>
                  <a:gd name="T15" fmla="*/ 2147483647 h 17"/>
                  <a:gd name="T16" fmla="*/ 2147483647 w 6"/>
                  <a:gd name="T17" fmla="*/ 0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7"/>
                  <a:gd name="T29" fmla="*/ 6 w 6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7">
                    <a:moveTo>
                      <a:pt x="3" y="0"/>
                    </a:moveTo>
                    <a:lnTo>
                      <a:pt x="3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3" y="17"/>
                    </a:lnTo>
                    <a:lnTo>
                      <a:pt x="0" y="17"/>
                    </a:lnTo>
                    <a:lnTo>
                      <a:pt x="0" y="8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Freeform 154"/>
              <p:cNvSpPr>
                <a:spLocks noChangeAspect="1"/>
              </p:cNvSpPr>
              <p:nvPr>
                <p:custDataLst>
                  <p:tags r:id="rId956"/>
                </p:custDataLst>
              </p:nvPr>
            </p:nvSpPr>
            <p:spPr bwMode="gray">
              <a:xfrm>
                <a:off x="8334954" y="4715554"/>
                <a:ext cx="1519" cy="9460"/>
              </a:xfrm>
              <a:custGeom>
                <a:avLst/>
                <a:gdLst>
                  <a:gd name="T0" fmla="*/ 0 w 1416"/>
                  <a:gd name="T1" fmla="*/ 0 h 6"/>
                  <a:gd name="T2" fmla="*/ 0 w 1416"/>
                  <a:gd name="T3" fmla="*/ 0 h 6"/>
                  <a:gd name="T4" fmla="*/ 0 w 1416"/>
                  <a:gd name="T5" fmla="*/ 2147483647 h 6"/>
                  <a:gd name="T6" fmla="*/ 0 w 1416"/>
                  <a:gd name="T7" fmla="*/ 2147483647 h 6"/>
                  <a:gd name="T8" fmla="*/ 0 w 1416"/>
                  <a:gd name="T9" fmla="*/ 2147483647 h 6"/>
                  <a:gd name="T10" fmla="*/ 0 w 1416"/>
                  <a:gd name="T11" fmla="*/ 2147483647 h 6"/>
                  <a:gd name="T12" fmla="*/ 0 w 1416"/>
                  <a:gd name="T13" fmla="*/ 0 h 6"/>
                  <a:gd name="T14" fmla="*/ 0 w 1416"/>
                  <a:gd name="T15" fmla="*/ 2147483647 h 6"/>
                  <a:gd name="T16" fmla="*/ 0 w 1416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16"/>
                  <a:gd name="T28" fmla="*/ 0 h 6"/>
                  <a:gd name="T29" fmla="*/ 1416 w 141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16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Freeform 155"/>
              <p:cNvSpPr>
                <a:spLocks noChangeAspect="1"/>
              </p:cNvSpPr>
              <p:nvPr>
                <p:custDataLst>
                  <p:tags r:id="rId957"/>
                </p:custDataLst>
              </p:nvPr>
            </p:nvSpPr>
            <p:spPr bwMode="gray">
              <a:xfrm>
                <a:off x="8334954" y="4715554"/>
                <a:ext cx="1519" cy="9460"/>
              </a:xfrm>
              <a:custGeom>
                <a:avLst/>
                <a:gdLst>
                  <a:gd name="T0" fmla="*/ 0 w 1416"/>
                  <a:gd name="T1" fmla="*/ 0 h 6"/>
                  <a:gd name="T2" fmla="*/ 0 w 1416"/>
                  <a:gd name="T3" fmla="*/ 0 h 6"/>
                  <a:gd name="T4" fmla="*/ 0 w 1416"/>
                  <a:gd name="T5" fmla="*/ 2147483647 h 6"/>
                  <a:gd name="T6" fmla="*/ 0 w 1416"/>
                  <a:gd name="T7" fmla="*/ 2147483647 h 6"/>
                  <a:gd name="T8" fmla="*/ 0 w 1416"/>
                  <a:gd name="T9" fmla="*/ 2147483647 h 6"/>
                  <a:gd name="T10" fmla="*/ 0 w 1416"/>
                  <a:gd name="T11" fmla="*/ 2147483647 h 6"/>
                  <a:gd name="T12" fmla="*/ 0 w 1416"/>
                  <a:gd name="T13" fmla="*/ 0 h 6"/>
                  <a:gd name="T14" fmla="*/ 0 w 1416"/>
                  <a:gd name="T15" fmla="*/ 2147483647 h 6"/>
                  <a:gd name="T16" fmla="*/ 0 w 1416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16"/>
                  <a:gd name="T28" fmla="*/ 0 h 6"/>
                  <a:gd name="T29" fmla="*/ 1416 w 141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16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reeform 156"/>
              <p:cNvSpPr>
                <a:spLocks noChangeAspect="1"/>
              </p:cNvSpPr>
              <p:nvPr>
                <p:custDataLst>
                  <p:tags r:id="rId958"/>
                </p:custDataLst>
              </p:nvPr>
            </p:nvSpPr>
            <p:spPr bwMode="gray">
              <a:xfrm>
                <a:off x="7990265" y="4911069"/>
                <a:ext cx="33406" cy="14192"/>
              </a:xfrm>
              <a:custGeom>
                <a:avLst/>
                <a:gdLst>
                  <a:gd name="T0" fmla="*/ 0 w 25"/>
                  <a:gd name="T1" fmla="*/ 2147483647 h 11"/>
                  <a:gd name="T2" fmla="*/ 0 w 25"/>
                  <a:gd name="T3" fmla="*/ 2147483647 h 11"/>
                  <a:gd name="T4" fmla="*/ 2147483647 w 25"/>
                  <a:gd name="T5" fmla="*/ 0 h 11"/>
                  <a:gd name="T6" fmla="*/ 2147483647 w 25"/>
                  <a:gd name="T7" fmla="*/ 2147483647 h 11"/>
                  <a:gd name="T8" fmla="*/ 2147483647 w 25"/>
                  <a:gd name="T9" fmla="*/ 2147483647 h 11"/>
                  <a:gd name="T10" fmla="*/ 2147483647 w 25"/>
                  <a:gd name="T11" fmla="*/ 2147483647 h 11"/>
                  <a:gd name="T12" fmla="*/ 2147483647 w 25"/>
                  <a:gd name="T13" fmla="*/ 2147483647 h 11"/>
                  <a:gd name="T14" fmla="*/ 2147483647 w 25"/>
                  <a:gd name="T15" fmla="*/ 2147483647 h 11"/>
                  <a:gd name="T16" fmla="*/ 2147483647 w 25"/>
                  <a:gd name="T17" fmla="*/ 2147483647 h 11"/>
                  <a:gd name="T18" fmla="*/ 2147483647 w 25"/>
                  <a:gd name="T19" fmla="*/ 2147483647 h 11"/>
                  <a:gd name="T20" fmla="*/ 2147483647 w 25"/>
                  <a:gd name="T21" fmla="*/ 2147483647 h 11"/>
                  <a:gd name="T22" fmla="*/ 2147483647 w 25"/>
                  <a:gd name="T23" fmla="*/ 2147483647 h 11"/>
                  <a:gd name="T24" fmla="*/ 0 w 25"/>
                  <a:gd name="T25" fmla="*/ 2147483647 h 11"/>
                  <a:gd name="T26" fmla="*/ 0 w 25"/>
                  <a:gd name="T27" fmla="*/ 2147483647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5"/>
                  <a:gd name="T43" fmla="*/ 0 h 11"/>
                  <a:gd name="T44" fmla="*/ 25 w 25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5" h="11">
                    <a:moveTo>
                      <a:pt x="0" y="5"/>
                    </a:moveTo>
                    <a:lnTo>
                      <a:pt x="0" y="5"/>
                    </a:lnTo>
                    <a:lnTo>
                      <a:pt x="11" y="0"/>
                    </a:lnTo>
                    <a:lnTo>
                      <a:pt x="17" y="3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14" y="11"/>
                    </a:lnTo>
                    <a:lnTo>
                      <a:pt x="11" y="8"/>
                    </a:lnTo>
                    <a:lnTo>
                      <a:pt x="3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Freeform 157"/>
              <p:cNvSpPr>
                <a:spLocks noChangeAspect="1"/>
              </p:cNvSpPr>
              <p:nvPr>
                <p:custDataLst>
                  <p:tags r:id="rId959"/>
                </p:custDataLst>
              </p:nvPr>
            </p:nvSpPr>
            <p:spPr bwMode="gray">
              <a:xfrm>
                <a:off x="7990265" y="4911069"/>
                <a:ext cx="33406" cy="14192"/>
              </a:xfrm>
              <a:custGeom>
                <a:avLst/>
                <a:gdLst>
                  <a:gd name="T0" fmla="*/ 0 w 25"/>
                  <a:gd name="T1" fmla="*/ 2147483647 h 11"/>
                  <a:gd name="T2" fmla="*/ 0 w 25"/>
                  <a:gd name="T3" fmla="*/ 2147483647 h 11"/>
                  <a:gd name="T4" fmla="*/ 2147483647 w 25"/>
                  <a:gd name="T5" fmla="*/ 0 h 11"/>
                  <a:gd name="T6" fmla="*/ 2147483647 w 25"/>
                  <a:gd name="T7" fmla="*/ 2147483647 h 11"/>
                  <a:gd name="T8" fmla="*/ 2147483647 w 25"/>
                  <a:gd name="T9" fmla="*/ 2147483647 h 11"/>
                  <a:gd name="T10" fmla="*/ 2147483647 w 25"/>
                  <a:gd name="T11" fmla="*/ 2147483647 h 11"/>
                  <a:gd name="T12" fmla="*/ 2147483647 w 25"/>
                  <a:gd name="T13" fmla="*/ 2147483647 h 11"/>
                  <a:gd name="T14" fmla="*/ 2147483647 w 25"/>
                  <a:gd name="T15" fmla="*/ 2147483647 h 11"/>
                  <a:gd name="T16" fmla="*/ 2147483647 w 25"/>
                  <a:gd name="T17" fmla="*/ 2147483647 h 11"/>
                  <a:gd name="T18" fmla="*/ 2147483647 w 25"/>
                  <a:gd name="T19" fmla="*/ 2147483647 h 11"/>
                  <a:gd name="T20" fmla="*/ 2147483647 w 25"/>
                  <a:gd name="T21" fmla="*/ 2147483647 h 11"/>
                  <a:gd name="T22" fmla="*/ 2147483647 w 25"/>
                  <a:gd name="T23" fmla="*/ 2147483647 h 11"/>
                  <a:gd name="T24" fmla="*/ 0 w 25"/>
                  <a:gd name="T25" fmla="*/ 2147483647 h 11"/>
                  <a:gd name="T26" fmla="*/ 0 w 25"/>
                  <a:gd name="T27" fmla="*/ 2147483647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5"/>
                  <a:gd name="T43" fmla="*/ 0 h 11"/>
                  <a:gd name="T44" fmla="*/ 25 w 25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5" h="11">
                    <a:moveTo>
                      <a:pt x="0" y="5"/>
                    </a:moveTo>
                    <a:lnTo>
                      <a:pt x="0" y="5"/>
                    </a:lnTo>
                    <a:lnTo>
                      <a:pt x="11" y="0"/>
                    </a:lnTo>
                    <a:lnTo>
                      <a:pt x="17" y="3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14" y="11"/>
                    </a:lnTo>
                    <a:lnTo>
                      <a:pt x="11" y="8"/>
                    </a:lnTo>
                    <a:lnTo>
                      <a:pt x="3" y="8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Freeform 158"/>
              <p:cNvSpPr>
                <a:spLocks noChangeAspect="1"/>
              </p:cNvSpPr>
              <p:nvPr>
                <p:custDataLst>
                  <p:tags r:id="rId960"/>
                </p:custDataLst>
              </p:nvPr>
            </p:nvSpPr>
            <p:spPr bwMode="gray">
              <a:xfrm>
                <a:off x="8218034" y="5016712"/>
                <a:ext cx="12148" cy="12614"/>
              </a:xfrm>
              <a:custGeom>
                <a:avLst/>
                <a:gdLst>
                  <a:gd name="T0" fmla="*/ 2147483647 w 9"/>
                  <a:gd name="T1" fmla="*/ 0 h 9"/>
                  <a:gd name="T2" fmla="*/ 2147483647 w 9"/>
                  <a:gd name="T3" fmla="*/ 0 h 9"/>
                  <a:gd name="T4" fmla="*/ 2147483647 w 9"/>
                  <a:gd name="T5" fmla="*/ 2147483647 h 9"/>
                  <a:gd name="T6" fmla="*/ 2147483647 w 9"/>
                  <a:gd name="T7" fmla="*/ 2147483647 h 9"/>
                  <a:gd name="T8" fmla="*/ 2147483647 w 9"/>
                  <a:gd name="T9" fmla="*/ 2147483647 h 9"/>
                  <a:gd name="T10" fmla="*/ 2147483647 w 9"/>
                  <a:gd name="T11" fmla="*/ 2147483647 h 9"/>
                  <a:gd name="T12" fmla="*/ 2147483647 w 9"/>
                  <a:gd name="T13" fmla="*/ 2147483647 h 9"/>
                  <a:gd name="T14" fmla="*/ 2147483647 w 9"/>
                  <a:gd name="T15" fmla="*/ 2147483647 h 9"/>
                  <a:gd name="T16" fmla="*/ 0 w 9"/>
                  <a:gd name="T17" fmla="*/ 0 h 9"/>
                  <a:gd name="T18" fmla="*/ 2147483647 w 9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9"/>
                  <a:gd name="T32" fmla="*/ 9 w 9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9">
                    <a:moveTo>
                      <a:pt x="3" y="0"/>
                    </a:moveTo>
                    <a:lnTo>
                      <a:pt x="3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Freeform 159"/>
              <p:cNvSpPr>
                <a:spLocks noChangeAspect="1"/>
              </p:cNvSpPr>
              <p:nvPr>
                <p:custDataLst>
                  <p:tags r:id="rId961"/>
                </p:custDataLst>
              </p:nvPr>
            </p:nvSpPr>
            <p:spPr bwMode="gray">
              <a:xfrm>
                <a:off x="8218034" y="5016712"/>
                <a:ext cx="12148" cy="12614"/>
              </a:xfrm>
              <a:custGeom>
                <a:avLst/>
                <a:gdLst>
                  <a:gd name="T0" fmla="*/ 2147483647 w 9"/>
                  <a:gd name="T1" fmla="*/ 0 h 9"/>
                  <a:gd name="T2" fmla="*/ 2147483647 w 9"/>
                  <a:gd name="T3" fmla="*/ 0 h 9"/>
                  <a:gd name="T4" fmla="*/ 2147483647 w 9"/>
                  <a:gd name="T5" fmla="*/ 2147483647 h 9"/>
                  <a:gd name="T6" fmla="*/ 2147483647 w 9"/>
                  <a:gd name="T7" fmla="*/ 2147483647 h 9"/>
                  <a:gd name="T8" fmla="*/ 2147483647 w 9"/>
                  <a:gd name="T9" fmla="*/ 2147483647 h 9"/>
                  <a:gd name="T10" fmla="*/ 2147483647 w 9"/>
                  <a:gd name="T11" fmla="*/ 2147483647 h 9"/>
                  <a:gd name="T12" fmla="*/ 2147483647 w 9"/>
                  <a:gd name="T13" fmla="*/ 2147483647 h 9"/>
                  <a:gd name="T14" fmla="*/ 2147483647 w 9"/>
                  <a:gd name="T15" fmla="*/ 2147483647 h 9"/>
                  <a:gd name="T16" fmla="*/ 0 w 9"/>
                  <a:gd name="T17" fmla="*/ 0 h 9"/>
                  <a:gd name="T18" fmla="*/ 2147483647 w 9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9"/>
                  <a:gd name="T32" fmla="*/ 9 w 9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9">
                    <a:moveTo>
                      <a:pt x="3" y="0"/>
                    </a:moveTo>
                    <a:lnTo>
                      <a:pt x="3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Freeform 160"/>
              <p:cNvSpPr>
                <a:spLocks noChangeAspect="1"/>
              </p:cNvSpPr>
              <p:nvPr>
                <p:custDataLst>
                  <p:tags r:id="rId962"/>
                </p:custDataLst>
              </p:nvPr>
            </p:nvSpPr>
            <p:spPr bwMode="gray">
              <a:xfrm>
                <a:off x="8225626" y="5032479"/>
                <a:ext cx="7593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2147483647 w 5"/>
                  <a:gd name="T11" fmla="*/ 2147483647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Freeform 161"/>
              <p:cNvSpPr>
                <a:spLocks noChangeAspect="1"/>
              </p:cNvSpPr>
              <p:nvPr>
                <p:custDataLst>
                  <p:tags r:id="rId963"/>
                </p:custDataLst>
              </p:nvPr>
            </p:nvSpPr>
            <p:spPr bwMode="gray">
              <a:xfrm>
                <a:off x="8225626" y="5032479"/>
                <a:ext cx="7593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2147483647 w 5"/>
                  <a:gd name="T11" fmla="*/ 2147483647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Freeform 162"/>
              <p:cNvSpPr>
                <a:spLocks noChangeAspect="1"/>
              </p:cNvSpPr>
              <p:nvPr>
                <p:custDataLst>
                  <p:tags r:id="rId964"/>
                </p:custDataLst>
              </p:nvPr>
            </p:nvSpPr>
            <p:spPr bwMode="gray">
              <a:xfrm>
                <a:off x="8157296" y="5040364"/>
                <a:ext cx="75923" cy="78837"/>
              </a:xfrm>
              <a:custGeom>
                <a:avLst/>
                <a:gdLst>
                  <a:gd name="T0" fmla="*/ 0 w 58"/>
                  <a:gd name="T1" fmla="*/ 0 h 61"/>
                  <a:gd name="T2" fmla="*/ 2147483647 w 58"/>
                  <a:gd name="T3" fmla="*/ 2147483647 h 61"/>
                  <a:gd name="T4" fmla="*/ 2147483647 w 58"/>
                  <a:gd name="T5" fmla="*/ 2147483647 h 61"/>
                  <a:gd name="T6" fmla="*/ 2147483647 w 58"/>
                  <a:gd name="T7" fmla="*/ 2147483647 h 61"/>
                  <a:gd name="T8" fmla="*/ 2147483647 w 58"/>
                  <a:gd name="T9" fmla="*/ 2147483647 h 61"/>
                  <a:gd name="T10" fmla="*/ 2147483647 w 58"/>
                  <a:gd name="T11" fmla="*/ 2147483647 h 61"/>
                  <a:gd name="T12" fmla="*/ 2147483647 w 58"/>
                  <a:gd name="T13" fmla="*/ 2147483647 h 61"/>
                  <a:gd name="T14" fmla="*/ 2147483647 w 58"/>
                  <a:gd name="T15" fmla="*/ 2147483647 h 61"/>
                  <a:gd name="T16" fmla="*/ 2147483647 w 58"/>
                  <a:gd name="T17" fmla="*/ 2147483647 h 61"/>
                  <a:gd name="T18" fmla="*/ 2147483647 w 58"/>
                  <a:gd name="T19" fmla="*/ 2147483647 h 61"/>
                  <a:gd name="T20" fmla="*/ 2147483647 w 58"/>
                  <a:gd name="T21" fmla="*/ 2147483647 h 61"/>
                  <a:gd name="T22" fmla="*/ 2147483647 w 58"/>
                  <a:gd name="T23" fmla="*/ 2147483647 h 61"/>
                  <a:gd name="T24" fmla="*/ 2147483647 w 58"/>
                  <a:gd name="T25" fmla="*/ 2147483647 h 61"/>
                  <a:gd name="T26" fmla="*/ 2147483647 w 58"/>
                  <a:gd name="T27" fmla="*/ 2147483647 h 61"/>
                  <a:gd name="T28" fmla="*/ 2147483647 w 58"/>
                  <a:gd name="T29" fmla="*/ 2147483647 h 61"/>
                  <a:gd name="T30" fmla="*/ 2147483647 w 58"/>
                  <a:gd name="T31" fmla="*/ 2147483647 h 61"/>
                  <a:gd name="T32" fmla="*/ 2147483647 w 58"/>
                  <a:gd name="T33" fmla="*/ 2147483647 h 61"/>
                  <a:gd name="T34" fmla="*/ 2147483647 w 58"/>
                  <a:gd name="T35" fmla="*/ 2147483647 h 61"/>
                  <a:gd name="T36" fmla="*/ 2147483647 w 58"/>
                  <a:gd name="T37" fmla="*/ 2147483647 h 61"/>
                  <a:gd name="T38" fmla="*/ 2147483647 w 58"/>
                  <a:gd name="T39" fmla="*/ 2147483647 h 61"/>
                  <a:gd name="T40" fmla="*/ 2147483647 w 58"/>
                  <a:gd name="T41" fmla="*/ 2147483647 h 61"/>
                  <a:gd name="T42" fmla="*/ 2147483647 w 58"/>
                  <a:gd name="T43" fmla="*/ 2147483647 h 61"/>
                  <a:gd name="T44" fmla="*/ 2147483647 w 58"/>
                  <a:gd name="T45" fmla="*/ 2147483647 h 61"/>
                  <a:gd name="T46" fmla="*/ 2147483647 w 58"/>
                  <a:gd name="T47" fmla="*/ 2147483647 h 61"/>
                  <a:gd name="T48" fmla="*/ 2147483647 w 58"/>
                  <a:gd name="T49" fmla="*/ 2147483647 h 61"/>
                  <a:gd name="T50" fmla="*/ 2147483647 w 58"/>
                  <a:gd name="T51" fmla="*/ 2147483647 h 61"/>
                  <a:gd name="T52" fmla="*/ 2147483647 w 58"/>
                  <a:gd name="T53" fmla="*/ 2147483647 h 61"/>
                  <a:gd name="T54" fmla="*/ 2147483647 w 58"/>
                  <a:gd name="T55" fmla="*/ 2147483647 h 61"/>
                  <a:gd name="T56" fmla="*/ 2147483647 w 58"/>
                  <a:gd name="T57" fmla="*/ 2147483647 h 61"/>
                  <a:gd name="T58" fmla="*/ 2147483647 w 58"/>
                  <a:gd name="T59" fmla="*/ 2147483647 h 61"/>
                  <a:gd name="T60" fmla="*/ 2147483647 w 58"/>
                  <a:gd name="T61" fmla="*/ 2147483647 h 61"/>
                  <a:gd name="T62" fmla="*/ 2147483647 w 58"/>
                  <a:gd name="T63" fmla="*/ 2147483647 h 61"/>
                  <a:gd name="T64" fmla="*/ 2147483647 w 58"/>
                  <a:gd name="T65" fmla="*/ 2147483647 h 61"/>
                  <a:gd name="T66" fmla="*/ 2147483647 w 58"/>
                  <a:gd name="T67" fmla="*/ 2147483647 h 61"/>
                  <a:gd name="T68" fmla="*/ 2147483647 w 58"/>
                  <a:gd name="T69" fmla="*/ 2147483647 h 61"/>
                  <a:gd name="T70" fmla="*/ 2147483647 w 58"/>
                  <a:gd name="T71" fmla="*/ 2147483647 h 61"/>
                  <a:gd name="T72" fmla="*/ 2147483647 w 58"/>
                  <a:gd name="T73" fmla="*/ 2147483647 h 61"/>
                  <a:gd name="T74" fmla="*/ 2147483647 w 58"/>
                  <a:gd name="T75" fmla="*/ 2147483647 h 61"/>
                  <a:gd name="T76" fmla="*/ 2147483647 w 58"/>
                  <a:gd name="T77" fmla="*/ 2147483647 h 61"/>
                  <a:gd name="T78" fmla="*/ 2147483647 w 58"/>
                  <a:gd name="T79" fmla="*/ 2147483647 h 61"/>
                  <a:gd name="T80" fmla="*/ 2147483647 w 58"/>
                  <a:gd name="T81" fmla="*/ 2147483647 h 61"/>
                  <a:gd name="T82" fmla="*/ 2147483647 w 58"/>
                  <a:gd name="T83" fmla="*/ 2147483647 h 61"/>
                  <a:gd name="T84" fmla="*/ 2147483647 w 58"/>
                  <a:gd name="T85" fmla="*/ 2147483647 h 61"/>
                  <a:gd name="T86" fmla="*/ 2147483647 w 58"/>
                  <a:gd name="T87" fmla="*/ 2147483647 h 61"/>
                  <a:gd name="T88" fmla="*/ 2147483647 w 58"/>
                  <a:gd name="T89" fmla="*/ 2147483647 h 61"/>
                  <a:gd name="T90" fmla="*/ 2147483647 w 58"/>
                  <a:gd name="T91" fmla="*/ 2147483647 h 61"/>
                  <a:gd name="T92" fmla="*/ 2147483647 w 58"/>
                  <a:gd name="T93" fmla="*/ 2147483647 h 61"/>
                  <a:gd name="T94" fmla="*/ 2147483647 w 58"/>
                  <a:gd name="T95" fmla="*/ 2147483647 h 61"/>
                  <a:gd name="T96" fmla="*/ 2147483647 w 58"/>
                  <a:gd name="T97" fmla="*/ 2147483647 h 61"/>
                  <a:gd name="T98" fmla="*/ 2147483647 w 58"/>
                  <a:gd name="T99" fmla="*/ 2147483647 h 61"/>
                  <a:gd name="T100" fmla="*/ 2147483647 w 58"/>
                  <a:gd name="T101" fmla="*/ 2147483647 h 61"/>
                  <a:gd name="T102" fmla="*/ 2147483647 w 58"/>
                  <a:gd name="T103" fmla="*/ 2147483647 h 61"/>
                  <a:gd name="T104" fmla="*/ 0 w 58"/>
                  <a:gd name="T105" fmla="*/ 2147483647 h 61"/>
                  <a:gd name="T106" fmla="*/ 0 w 58"/>
                  <a:gd name="T107" fmla="*/ 0 h 6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8"/>
                  <a:gd name="T163" fmla="*/ 0 h 61"/>
                  <a:gd name="T164" fmla="*/ 58 w 58"/>
                  <a:gd name="T165" fmla="*/ 61 h 6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8" h="61">
                    <a:moveTo>
                      <a:pt x="0" y="0"/>
                    </a:moveTo>
                    <a:lnTo>
                      <a:pt x="3" y="3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19" y="11"/>
                    </a:lnTo>
                    <a:lnTo>
                      <a:pt x="31" y="11"/>
                    </a:lnTo>
                    <a:lnTo>
                      <a:pt x="36" y="8"/>
                    </a:lnTo>
                    <a:lnTo>
                      <a:pt x="42" y="8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0" y="3"/>
                    </a:lnTo>
                    <a:lnTo>
                      <a:pt x="53" y="3"/>
                    </a:lnTo>
                    <a:lnTo>
                      <a:pt x="56" y="8"/>
                    </a:lnTo>
                    <a:lnTo>
                      <a:pt x="56" y="31"/>
                    </a:lnTo>
                    <a:lnTo>
                      <a:pt x="58" y="31"/>
                    </a:lnTo>
                    <a:lnTo>
                      <a:pt x="56" y="36"/>
                    </a:lnTo>
                    <a:lnTo>
                      <a:pt x="56" y="31"/>
                    </a:lnTo>
                    <a:lnTo>
                      <a:pt x="56" y="28"/>
                    </a:lnTo>
                    <a:lnTo>
                      <a:pt x="53" y="33"/>
                    </a:lnTo>
                    <a:lnTo>
                      <a:pt x="53" y="39"/>
                    </a:lnTo>
                    <a:lnTo>
                      <a:pt x="50" y="39"/>
                    </a:lnTo>
                    <a:lnTo>
                      <a:pt x="50" y="45"/>
                    </a:lnTo>
                    <a:lnTo>
                      <a:pt x="47" y="45"/>
                    </a:lnTo>
                    <a:lnTo>
                      <a:pt x="44" y="45"/>
                    </a:lnTo>
                    <a:lnTo>
                      <a:pt x="44" y="47"/>
                    </a:lnTo>
                    <a:lnTo>
                      <a:pt x="42" y="50"/>
                    </a:lnTo>
                    <a:lnTo>
                      <a:pt x="42" y="53"/>
                    </a:lnTo>
                    <a:lnTo>
                      <a:pt x="39" y="56"/>
                    </a:lnTo>
                    <a:lnTo>
                      <a:pt x="39" y="53"/>
                    </a:lnTo>
                    <a:lnTo>
                      <a:pt x="36" y="53"/>
                    </a:lnTo>
                    <a:lnTo>
                      <a:pt x="36" y="59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28" y="61"/>
                    </a:lnTo>
                    <a:lnTo>
                      <a:pt x="25" y="61"/>
                    </a:lnTo>
                    <a:lnTo>
                      <a:pt x="22" y="61"/>
                    </a:lnTo>
                    <a:lnTo>
                      <a:pt x="19" y="59"/>
                    </a:lnTo>
                    <a:lnTo>
                      <a:pt x="22" y="59"/>
                    </a:lnTo>
                    <a:lnTo>
                      <a:pt x="22" y="56"/>
                    </a:lnTo>
                    <a:lnTo>
                      <a:pt x="19" y="56"/>
                    </a:lnTo>
                    <a:lnTo>
                      <a:pt x="17" y="56"/>
                    </a:lnTo>
                    <a:lnTo>
                      <a:pt x="11" y="45"/>
                    </a:lnTo>
                    <a:lnTo>
                      <a:pt x="8" y="31"/>
                    </a:lnTo>
                    <a:lnTo>
                      <a:pt x="11" y="36"/>
                    </a:lnTo>
                    <a:lnTo>
                      <a:pt x="14" y="33"/>
                    </a:lnTo>
                    <a:lnTo>
                      <a:pt x="11" y="3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eform 163"/>
              <p:cNvSpPr>
                <a:spLocks noChangeAspect="1"/>
              </p:cNvSpPr>
              <p:nvPr>
                <p:custDataLst>
                  <p:tags r:id="rId965"/>
                </p:custDataLst>
              </p:nvPr>
            </p:nvSpPr>
            <p:spPr bwMode="gray">
              <a:xfrm>
                <a:off x="7514988" y="4365519"/>
                <a:ext cx="819966" cy="635427"/>
              </a:xfrm>
              <a:custGeom>
                <a:avLst/>
                <a:gdLst>
                  <a:gd name="T0" fmla="*/ 2147483647 w 629"/>
                  <a:gd name="T1" fmla="*/ 2147483647 h 492"/>
                  <a:gd name="T2" fmla="*/ 2147483647 w 629"/>
                  <a:gd name="T3" fmla="*/ 2147483647 h 492"/>
                  <a:gd name="T4" fmla="*/ 2147483647 w 629"/>
                  <a:gd name="T5" fmla="*/ 2147483647 h 492"/>
                  <a:gd name="T6" fmla="*/ 2147483647 w 629"/>
                  <a:gd name="T7" fmla="*/ 2147483647 h 492"/>
                  <a:gd name="T8" fmla="*/ 2147483647 w 629"/>
                  <a:gd name="T9" fmla="*/ 2147483647 h 492"/>
                  <a:gd name="T10" fmla="*/ 2147483647 w 629"/>
                  <a:gd name="T11" fmla="*/ 2147483647 h 492"/>
                  <a:gd name="T12" fmla="*/ 2147483647 w 629"/>
                  <a:gd name="T13" fmla="*/ 2147483647 h 492"/>
                  <a:gd name="T14" fmla="*/ 2147483647 w 629"/>
                  <a:gd name="T15" fmla="*/ 2147483647 h 492"/>
                  <a:gd name="T16" fmla="*/ 2147483647 w 629"/>
                  <a:gd name="T17" fmla="*/ 2147483647 h 492"/>
                  <a:gd name="T18" fmla="*/ 2147483647 w 629"/>
                  <a:gd name="T19" fmla="*/ 2147483647 h 492"/>
                  <a:gd name="T20" fmla="*/ 2147483647 w 629"/>
                  <a:gd name="T21" fmla="*/ 2147483647 h 492"/>
                  <a:gd name="T22" fmla="*/ 2147483647 w 629"/>
                  <a:gd name="T23" fmla="*/ 2147483647 h 492"/>
                  <a:gd name="T24" fmla="*/ 2147483647 w 629"/>
                  <a:gd name="T25" fmla="*/ 2147483647 h 492"/>
                  <a:gd name="T26" fmla="*/ 2147483647 w 629"/>
                  <a:gd name="T27" fmla="*/ 2147483647 h 492"/>
                  <a:gd name="T28" fmla="*/ 2147483647 w 629"/>
                  <a:gd name="T29" fmla="*/ 2147483647 h 492"/>
                  <a:gd name="T30" fmla="*/ 2147483647 w 629"/>
                  <a:gd name="T31" fmla="*/ 2147483647 h 492"/>
                  <a:gd name="T32" fmla="*/ 2147483647 w 629"/>
                  <a:gd name="T33" fmla="*/ 2147483647 h 492"/>
                  <a:gd name="T34" fmla="*/ 2147483647 w 629"/>
                  <a:gd name="T35" fmla="*/ 2147483647 h 492"/>
                  <a:gd name="T36" fmla="*/ 2147483647 w 629"/>
                  <a:gd name="T37" fmla="*/ 2147483647 h 492"/>
                  <a:gd name="T38" fmla="*/ 2147483647 w 629"/>
                  <a:gd name="T39" fmla="*/ 2147483647 h 492"/>
                  <a:gd name="T40" fmla="*/ 2147483647 w 629"/>
                  <a:gd name="T41" fmla="*/ 2147483647 h 492"/>
                  <a:gd name="T42" fmla="*/ 2147483647 w 629"/>
                  <a:gd name="T43" fmla="*/ 2147483647 h 492"/>
                  <a:gd name="T44" fmla="*/ 2147483647 w 629"/>
                  <a:gd name="T45" fmla="*/ 2147483647 h 492"/>
                  <a:gd name="T46" fmla="*/ 2147483647 w 629"/>
                  <a:gd name="T47" fmla="*/ 2147483647 h 492"/>
                  <a:gd name="T48" fmla="*/ 2147483647 w 629"/>
                  <a:gd name="T49" fmla="*/ 2147483647 h 492"/>
                  <a:gd name="T50" fmla="*/ 2147483647 w 629"/>
                  <a:gd name="T51" fmla="*/ 2147483647 h 492"/>
                  <a:gd name="T52" fmla="*/ 2147483647 w 629"/>
                  <a:gd name="T53" fmla="*/ 2147483647 h 492"/>
                  <a:gd name="T54" fmla="*/ 2147483647 w 629"/>
                  <a:gd name="T55" fmla="*/ 2147483647 h 492"/>
                  <a:gd name="T56" fmla="*/ 2147483647 w 629"/>
                  <a:gd name="T57" fmla="*/ 2147483647 h 492"/>
                  <a:gd name="T58" fmla="*/ 2147483647 w 629"/>
                  <a:gd name="T59" fmla="*/ 2147483647 h 492"/>
                  <a:gd name="T60" fmla="*/ 2147483647 w 629"/>
                  <a:gd name="T61" fmla="*/ 2147483647 h 492"/>
                  <a:gd name="T62" fmla="*/ 2147483647 w 629"/>
                  <a:gd name="T63" fmla="*/ 2147483647 h 492"/>
                  <a:gd name="T64" fmla="*/ 2147483647 w 629"/>
                  <a:gd name="T65" fmla="*/ 2147483647 h 492"/>
                  <a:gd name="T66" fmla="*/ 2147483647 w 629"/>
                  <a:gd name="T67" fmla="*/ 2147483647 h 492"/>
                  <a:gd name="T68" fmla="*/ 2147483647 w 629"/>
                  <a:gd name="T69" fmla="*/ 2147483647 h 492"/>
                  <a:gd name="T70" fmla="*/ 2147483647 w 629"/>
                  <a:gd name="T71" fmla="*/ 2147483647 h 492"/>
                  <a:gd name="T72" fmla="*/ 2147483647 w 629"/>
                  <a:gd name="T73" fmla="*/ 2147483647 h 492"/>
                  <a:gd name="T74" fmla="*/ 2147483647 w 629"/>
                  <a:gd name="T75" fmla="*/ 2147483647 h 492"/>
                  <a:gd name="T76" fmla="*/ 2147483647 w 629"/>
                  <a:gd name="T77" fmla="*/ 2147483647 h 492"/>
                  <a:gd name="T78" fmla="*/ 2147483647 w 629"/>
                  <a:gd name="T79" fmla="*/ 2147483647 h 492"/>
                  <a:gd name="T80" fmla="*/ 2147483647 w 629"/>
                  <a:gd name="T81" fmla="*/ 2147483647 h 492"/>
                  <a:gd name="T82" fmla="*/ 2147483647 w 629"/>
                  <a:gd name="T83" fmla="*/ 2147483647 h 492"/>
                  <a:gd name="T84" fmla="*/ 2147483647 w 629"/>
                  <a:gd name="T85" fmla="*/ 2147483647 h 492"/>
                  <a:gd name="T86" fmla="*/ 2147483647 w 629"/>
                  <a:gd name="T87" fmla="*/ 2147483647 h 492"/>
                  <a:gd name="T88" fmla="*/ 2147483647 w 629"/>
                  <a:gd name="T89" fmla="*/ 2147483647 h 492"/>
                  <a:gd name="T90" fmla="*/ 2147483647 w 629"/>
                  <a:gd name="T91" fmla="*/ 2147483647 h 492"/>
                  <a:gd name="T92" fmla="*/ 2147483647 w 629"/>
                  <a:gd name="T93" fmla="*/ 2147483647 h 492"/>
                  <a:gd name="T94" fmla="*/ 2147483647 w 629"/>
                  <a:gd name="T95" fmla="*/ 2147483647 h 492"/>
                  <a:gd name="T96" fmla="*/ 2147483647 w 629"/>
                  <a:gd name="T97" fmla="*/ 2147483647 h 492"/>
                  <a:gd name="T98" fmla="*/ 2147483647 w 629"/>
                  <a:gd name="T99" fmla="*/ 2147483647 h 492"/>
                  <a:gd name="T100" fmla="*/ 2147483647 w 629"/>
                  <a:gd name="T101" fmla="*/ 2147483647 h 492"/>
                  <a:gd name="T102" fmla="*/ 2147483647 w 629"/>
                  <a:gd name="T103" fmla="*/ 2147483647 h 492"/>
                  <a:gd name="T104" fmla="*/ 2147483647 w 629"/>
                  <a:gd name="T105" fmla="*/ 2147483647 h 492"/>
                  <a:gd name="T106" fmla="*/ 2147483647 w 629"/>
                  <a:gd name="T107" fmla="*/ 2147483647 h 492"/>
                  <a:gd name="T108" fmla="*/ 2147483647 w 629"/>
                  <a:gd name="T109" fmla="*/ 2147483647 h 492"/>
                  <a:gd name="T110" fmla="*/ 2147483647 w 629"/>
                  <a:gd name="T111" fmla="*/ 2147483647 h 492"/>
                  <a:gd name="T112" fmla="*/ 2147483647 w 629"/>
                  <a:gd name="T113" fmla="*/ 2147483647 h 492"/>
                  <a:gd name="T114" fmla="*/ 2147483647 w 629"/>
                  <a:gd name="T115" fmla="*/ 2147483647 h 492"/>
                  <a:gd name="T116" fmla="*/ 2147483647 w 629"/>
                  <a:gd name="T117" fmla="*/ 2147483647 h 492"/>
                  <a:gd name="T118" fmla="*/ 2147483647 w 629"/>
                  <a:gd name="T119" fmla="*/ 2147483647 h 49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29"/>
                  <a:gd name="T181" fmla="*/ 0 h 492"/>
                  <a:gd name="T182" fmla="*/ 629 w 629"/>
                  <a:gd name="T183" fmla="*/ 492 h 49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29" h="492">
                    <a:moveTo>
                      <a:pt x="11" y="181"/>
                    </a:moveTo>
                    <a:lnTo>
                      <a:pt x="14" y="178"/>
                    </a:lnTo>
                    <a:lnTo>
                      <a:pt x="14" y="183"/>
                    </a:lnTo>
                    <a:lnTo>
                      <a:pt x="14" y="186"/>
                    </a:lnTo>
                    <a:lnTo>
                      <a:pt x="14" y="189"/>
                    </a:lnTo>
                    <a:lnTo>
                      <a:pt x="14" y="192"/>
                    </a:lnTo>
                    <a:lnTo>
                      <a:pt x="17" y="189"/>
                    </a:lnTo>
                    <a:lnTo>
                      <a:pt x="20" y="181"/>
                    </a:lnTo>
                    <a:lnTo>
                      <a:pt x="28" y="178"/>
                    </a:lnTo>
                    <a:lnTo>
                      <a:pt x="28" y="175"/>
                    </a:lnTo>
                    <a:lnTo>
                      <a:pt x="34" y="175"/>
                    </a:lnTo>
                    <a:lnTo>
                      <a:pt x="39" y="169"/>
                    </a:lnTo>
                    <a:lnTo>
                      <a:pt x="42" y="167"/>
                    </a:lnTo>
                    <a:lnTo>
                      <a:pt x="56" y="158"/>
                    </a:lnTo>
                    <a:lnTo>
                      <a:pt x="61" y="158"/>
                    </a:lnTo>
                    <a:lnTo>
                      <a:pt x="64" y="161"/>
                    </a:lnTo>
                    <a:lnTo>
                      <a:pt x="67" y="161"/>
                    </a:lnTo>
                    <a:lnTo>
                      <a:pt x="73" y="158"/>
                    </a:lnTo>
                    <a:lnTo>
                      <a:pt x="78" y="155"/>
                    </a:lnTo>
                    <a:lnTo>
                      <a:pt x="86" y="153"/>
                    </a:lnTo>
                    <a:lnTo>
                      <a:pt x="92" y="147"/>
                    </a:lnTo>
                    <a:lnTo>
                      <a:pt x="95" y="147"/>
                    </a:lnTo>
                    <a:lnTo>
                      <a:pt x="98" y="150"/>
                    </a:lnTo>
                    <a:lnTo>
                      <a:pt x="120" y="142"/>
                    </a:lnTo>
                    <a:lnTo>
                      <a:pt x="128" y="136"/>
                    </a:lnTo>
                    <a:lnTo>
                      <a:pt x="131" y="133"/>
                    </a:lnTo>
                    <a:lnTo>
                      <a:pt x="131" y="130"/>
                    </a:lnTo>
                    <a:lnTo>
                      <a:pt x="134" y="125"/>
                    </a:lnTo>
                    <a:lnTo>
                      <a:pt x="137" y="125"/>
                    </a:lnTo>
                    <a:lnTo>
                      <a:pt x="142" y="119"/>
                    </a:lnTo>
                    <a:lnTo>
                      <a:pt x="142" y="117"/>
                    </a:lnTo>
                    <a:lnTo>
                      <a:pt x="139" y="108"/>
                    </a:lnTo>
                    <a:lnTo>
                      <a:pt x="139" y="103"/>
                    </a:lnTo>
                    <a:lnTo>
                      <a:pt x="142" y="100"/>
                    </a:lnTo>
                    <a:lnTo>
                      <a:pt x="145" y="100"/>
                    </a:lnTo>
                    <a:lnTo>
                      <a:pt x="145" y="97"/>
                    </a:lnTo>
                    <a:lnTo>
                      <a:pt x="148" y="94"/>
                    </a:lnTo>
                    <a:lnTo>
                      <a:pt x="151" y="94"/>
                    </a:lnTo>
                    <a:lnTo>
                      <a:pt x="148" y="94"/>
                    </a:lnTo>
                    <a:lnTo>
                      <a:pt x="151" y="91"/>
                    </a:lnTo>
                    <a:lnTo>
                      <a:pt x="159" y="108"/>
                    </a:lnTo>
                    <a:lnTo>
                      <a:pt x="162" y="108"/>
                    </a:lnTo>
                    <a:lnTo>
                      <a:pt x="162" y="105"/>
                    </a:lnTo>
                    <a:lnTo>
                      <a:pt x="162" y="103"/>
                    </a:lnTo>
                    <a:lnTo>
                      <a:pt x="164" y="103"/>
                    </a:lnTo>
                    <a:lnTo>
                      <a:pt x="164" y="97"/>
                    </a:lnTo>
                    <a:lnTo>
                      <a:pt x="162" y="94"/>
                    </a:lnTo>
                    <a:lnTo>
                      <a:pt x="162" y="91"/>
                    </a:lnTo>
                    <a:lnTo>
                      <a:pt x="162" y="89"/>
                    </a:lnTo>
                    <a:lnTo>
                      <a:pt x="162" y="86"/>
                    </a:lnTo>
                    <a:lnTo>
                      <a:pt x="164" y="89"/>
                    </a:lnTo>
                    <a:lnTo>
                      <a:pt x="167" y="86"/>
                    </a:lnTo>
                    <a:lnTo>
                      <a:pt x="170" y="91"/>
                    </a:lnTo>
                    <a:lnTo>
                      <a:pt x="176" y="91"/>
                    </a:lnTo>
                    <a:lnTo>
                      <a:pt x="173" y="89"/>
                    </a:lnTo>
                    <a:lnTo>
                      <a:pt x="176" y="86"/>
                    </a:lnTo>
                    <a:lnTo>
                      <a:pt x="178" y="83"/>
                    </a:lnTo>
                    <a:lnTo>
                      <a:pt x="178" y="80"/>
                    </a:lnTo>
                    <a:lnTo>
                      <a:pt x="176" y="78"/>
                    </a:lnTo>
                    <a:lnTo>
                      <a:pt x="178" y="75"/>
                    </a:lnTo>
                    <a:lnTo>
                      <a:pt x="181" y="75"/>
                    </a:lnTo>
                    <a:lnTo>
                      <a:pt x="184" y="75"/>
                    </a:lnTo>
                    <a:lnTo>
                      <a:pt x="184" y="72"/>
                    </a:lnTo>
                    <a:lnTo>
                      <a:pt x="184" y="69"/>
                    </a:lnTo>
                    <a:lnTo>
                      <a:pt x="189" y="69"/>
                    </a:lnTo>
                    <a:lnTo>
                      <a:pt x="187" y="66"/>
                    </a:lnTo>
                    <a:lnTo>
                      <a:pt x="187" y="61"/>
                    </a:lnTo>
                    <a:lnTo>
                      <a:pt x="192" y="61"/>
                    </a:lnTo>
                    <a:lnTo>
                      <a:pt x="195" y="61"/>
                    </a:lnTo>
                    <a:lnTo>
                      <a:pt x="195" y="64"/>
                    </a:lnTo>
                    <a:lnTo>
                      <a:pt x="198" y="61"/>
                    </a:lnTo>
                    <a:lnTo>
                      <a:pt x="201" y="58"/>
                    </a:lnTo>
                    <a:lnTo>
                      <a:pt x="201" y="55"/>
                    </a:lnTo>
                    <a:lnTo>
                      <a:pt x="198" y="52"/>
                    </a:lnTo>
                    <a:lnTo>
                      <a:pt x="201" y="52"/>
                    </a:lnTo>
                    <a:lnTo>
                      <a:pt x="201" y="55"/>
                    </a:lnTo>
                    <a:lnTo>
                      <a:pt x="203" y="55"/>
                    </a:lnTo>
                    <a:lnTo>
                      <a:pt x="203" y="52"/>
                    </a:lnTo>
                    <a:lnTo>
                      <a:pt x="206" y="52"/>
                    </a:lnTo>
                    <a:lnTo>
                      <a:pt x="206" y="55"/>
                    </a:lnTo>
                    <a:lnTo>
                      <a:pt x="212" y="52"/>
                    </a:lnTo>
                    <a:lnTo>
                      <a:pt x="212" y="50"/>
                    </a:lnTo>
                    <a:lnTo>
                      <a:pt x="215" y="50"/>
                    </a:lnTo>
                    <a:lnTo>
                      <a:pt x="217" y="50"/>
                    </a:lnTo>
                    <a:lnTo>
                      <a:pt x="220" y="50"/>
                    </a:lnTo>
                    <a:lnTo>
                      <a:pt x="223" y="55"/>
                    </a:lnTo>
                    <a:lnTo>
                      <a:pt x="228" y="61"/>
                    </a:lnTo>
                    <a:lnTo>
                      <a:pt x="234" y="64"/>
                    </a:lnTo>
                    <a:lnTo>
                      <a:pt x="231" y="72"/>
                    </a:lnTo>
                    <a:lnTo>
                      <a:pt x="234" y="72"/>
                    </a:lnTo>
                    <a:lnTo>
                      <a:pt x="234" y="69"/>
                    </a:lnTo>
                    <a:lnTo>
                      <a:pt x="234" y="66"/>
                    </a:lnTo>
                    <a:lnTo>
                      <a:pt x="237" y="66"/>
                    </a:lnTo>
                    <a:lnTo>
                      <a:pt x="240" y="64"/>
                    </a:lnTo>
                    <a:lnTo>
                      <a:pt x="242" y="66"/>
                    </a:lnTo>
                    <a:lnTo>
                      <a:pt x="248" y="66"/>
                    </a:lnTo>
                    <a:lnTo>
                      <a:pt x="256" y="72"/>
                    </a:lnTo>
                    <a:lnTo>
                      <a:pt x="256" y="66"/>
                    </a:lnTo>
                    <a:lnTo>
                      <a:pt x="259" y="66"/>
                    </a:lnTo>
                    <a:lnTo>
                      <a:pt x="251" y="58"/>
                    </a:lnTo>
                    <a:lnTo>
                      <a:pt x="254" y="52"/>
                    </a:lnTo>
                    <a:lnTo>
                      <a:pt x="256" y="52"/>
                    </a:lnTo>
                    <a:lnTo>
                      <a:pt x="259" y="47"/>
                    </a:lnTo>
                    <a:lnTo>
                      <a:pt x="259" y="44"/>
                    </a:lnTo>
                    <a:lnTo>
                      <a:pt x="265" y="44"/>
                    </a:lnTo>
                    <a:lnTo>
                      <a:pt x="267" y="44"/>
                    </a:lnTo>
                    <a:lnTo>
                      <a:pt x="267" y="39"/>
                    </a:lnTo>
                    <a:lnTo>
                      <a:pt x="265" y="39"/>
                    </a:lnTo>
                    <a:lnTo>
                      <a:pt x="265" y="36"/>
                    </a:lnTo>
                    <a:lnTo>
                      <a:pt x="267" y="33"/>
                    </a:lnTo>
                    <a:lnTo>
                      <a:pt x="270" y="30"/>
                    </a:lnTo>
                    <a:lnTo>
                      <a:pt x="270" y="27"/>
                    </a:lnTo>
                    <a:lnTo>
                      <a:pt x="273" y="27"/>
                    </a:lnTo>
                    <a:lnTo>
                      <a:pt x="276" y="30"/>
                    </a:lnTo>
                    <a:lnTo>
                      <a:pt x="276" y="33"/>
                    </a:lnTo>
                    <a:lnTo>
                      <a:pt x="279" y="30"/>
                    </a:lnTo>
                    <a:lnTo>
                      <a:pt x="276" y="27"/>
                    </a:lnTo>
                    <a:lnTo>
                      <a:pt x="279" y="25"/>
                    </a:lnTo>
                    <a:lnTo>
                      <a:pt x="281" y="25"/>
                    </a:lnTo>
                    <a:lnTo>
                      <a:pt x="295" y="25"/>
                    </a:lnTo>
                    <a:lnTo>
                      <a:pt x="304" y="22"/>
                    </a:lnTo>
                    <a:lnTo>
                      <a:pt x="301" y="16"/>
                    </a:lnTo>
                    <a:lnTo>
                      <a:pt x="301" y="13"/>
                    </a:lnTo>
                    <a:lnTo>
                      <a:pt x="298" y="13"/>
                    </a:lnTo>
                    <a:lnTo>
                      <a:pt x="295" y="13"/>
                    </a:lnTo>
                    <a:lnTo>
                      <a:pt x="292" y="11"/>
                    </a:lnTo>
                    <a:lnTo>
                      <a:pt x="290" y="8"/>
                    </a:lnTo>
                    <a:lnTo>
                      <a:pt x="292" y="8"/>
                    </a:lnTo>
                    <a:lnTo>
                      <a:pt x="295" y="13"/>
                    </a:lnTo>
                    <a:lnTo>
                      <a:pt x="295" y="11"/>
                    </a:lnTo>
                    <a:lnTo>
                      <a:pt x="295" y="8"/>
                    </a:lnTo>
                    <a:lnTo>
                      <a:pt x="298" y="8"/>
                    </a:lnTo>
                    <a:lnTo>
                      <a:pt x="301" y="11"/>
                    </a:lnTo>
                    <a:lnTo>
                      <a:pt x="304" y="13"/>
                    </a:lnTo>
                    <a:lnTo>
                      <a:pt x="304" y="11"/>
                    </a:lnTo>
                    <a:lnTo>
                      <a:pt x="306" y="11"/>
                    </a:lnTo>
                    <a:lnTo>
                      <a:pt x="309" y="13"/>
                    </a:lnTo>
                    <a:lnTo>
                      <a:pt x="309" y="16"/>
                    </a:lnTo>
                    <a:lnTo>
                      <a:pt x="315" y="16"/>
                    </a:lnTo>
                    <a:lnTo>
                      <a:pt x="318" y="16"/>
                    </a:lnTo>
                    <a:lnTo>
                      <a:pt x="318" y="19"/>
                    </a:lnTo>
                    <a:lnTo>
                      <a:pt x="320" y="16"/>
                    </a:lnTo>
                    <a:lnTo>
                      <a:pt x="320" y="19"/>
                    </a:lnTo>
                    <a:lnTo>
                      <a:pt x="323" y="19"/>
                    </a:lnTo>
                    <a:lnTo>
                      <a:pt x="326" y="19"/>
                    </a:lnTo>
                    <a:lnTo>
                      <a:pt x="326" y="22"/>
                    </a:lnTo>
                    <a:lnTo>
                      <a:pt x="329" y="22"/>
                    </a:lnTo>
                    <a:lnTo>
                      <a:pt x="331" y="22"/>
                    </a:lnTo>
                    <a:lnTo>
                      <a:pt x="334" y="19"/>
                    </a:lnTo>
                    <a:lnTo>
                      <a:pt x="337" y="22"/>
                    </a:lnTo>
                    <a:lnTo>
                      <a:pt x="340" y="22"/>
                    </a:lnTo>
                    <a:lnTo>
                      <a:pt x="343" y="22"/>
                    </a:lnTo>
                    <a:lnTo>
                      <a:pt x="343" y="25"/>
                    </a:lnTo>
                    <a:lnTo>
                      <a:pt x="345" y="22"/>
                    </a:lnTo>
                    <a:lnTo>
                      <a:pt x="348" y="22"/>
                    </a:lnTo>
                    <a:lnTo>
                      <a:pt x="351" y="22"/>
                    </a:lnTo>
                    <a:lnTo>
                      <a:pt x="354" y="19"/>
                    </a:lnTo>
                    <a:lnTo>
                      <a:pt x="351" y="22"/>
                    </a:lnTo>
                    <a:lnTo>
                      <a:pt x="354" y="25"/>
                    </a:lnTo>
                    <a:lnTo>
                      <a:pt x="354" y="22"/>
                    </a:lnTo>
                    <a:lnTo>
                      <a:pt x="357" y="25"/>
                    </a:lnTo>
                    <a:lnTo>
                      <a:pt x="354" y="27"/>
                    </a:lnTo>
                    <a:lnTo>
                      <a:pt x="357" y="30"/>
                    </a:lnTo>
                    <a:lnTo>
                      <a:pt x="359" y="27"/>
                    </a:lnTo>
                    <a:lnTo>
                      <a:pt x="359" y="25"/>
                    </a:lnTo>
                    <a:lnTo>
                      <a:pt x="359" y="22"/>
                    </a:lnTo>
                    <a:lnTo>
                      <a:pt x="362" y="19"/>
                    </a:lnTo>
                    <a:lnTo>
                      <a:pt x="365" y="22"/>
                    </a:lnTo>
                    <a:lnTo>
                      <a:pt x="365" y="25"/>
                    </a:lnTo>
                    <a:lnTo>
                      <a:pt x="368" y="25"/>
                    </a:lnTo>
                    <a:lnTo>
                      <a:pt x="370" y="25"/>
                    </a:lnTo>
                    <a:lnTo>
                      <a:pt x="368" y="33"/>
                    </a:lnTo>
                    <a:lnTo>
                      <a:pt x="365" y="33"/>
                    </a:lnTo>
                    <a:lnTo>
                      <a:pt x="362" y="33"/>
                    </a:lnTo>
                    <a:lnTo>
                      <a:pt x="365" y="36"/>
                    </a:lnTo>
                    <a:lnTo>
                      <a:pt x="362" y="39"/>
                    </a:lnTo>
                    <a:lnTo>
                      <a:pt x="362" y="41"/>
                    </a:lnTo>
                    <a:lnTo>
                      <a:pt x="359" y="39"/>
                    </a:lnTo>
                    <a:lnTo>
                      <a:pt x="357" y="39"/>
                    </a:lnTo>
                    <a:lnTo>
                      <a:pt x="359" y="44"/>
                    </a:lnTo>
                    <a:lnTo>
                      <a:pt x="357" y="41"/>
                    </a:lnTo>
                    <a:lnTo>
                      <a:pt x="354" y="41"/>
                    </a:lnTo>
                    <a:lnTo>
                      <a:pt x="354" y="47"/>
                    </a:lnTo>
                    <a:lnTo>
                      <a:pt x="357" y="47"/>
                    </a:lnTo>
                    <a:lnTo>
                      <a:pt x="354" y="52"/>
                    </a:lnTo>
                    <a:lnTo>
                      <a:pt x="348" y="64"/>
                    </a:lnTo>
                    <a:lnTo>
                      <a:pt x="348" y="69"/>
                    </a:lnTo>
                    <a:lnTo>
                      <a:pt x="351" y="69"/>
                    </a:lnTo>
                    <a:lnTo>
                      <a:pt x="351" y="72"/>
                    </a:lnTo>
                    <a:lnTo>
                      <a:pt x="354" y="69"/>
                    </a:lnTo>
                    <a:lnTo>
                      <a:pt x="357" y="72"/>
                    </a:lnTo>
                    <a:lnTo>
                      <a:pt x="362" y="75"/>
                    </a:lnTo>
                    <a:lnTo>
                      <a:pt x="362" y="80"/>
                    </a:lnTo>
                    <a:lnTo>
                      <a:pt x="362" y="83"/>
                    </a:lnTo>
                    <a:lnTo>
                      <a:pt x="365" y="83"/>
                    </a:lnTo>
                    <a:lnTo>
                      <a:pt x="370" y="83"/>
                    </a:lnTo>
                    <a:lnTo>
                      <a:pt x="376" y="83"/>
                    </a:lnTo>
                    <a:lnTo>
                      <a:pt x="376" y="86"/>
                    </a:lnTo>
                    <a:lnTo>
                      <a:pt x="384" y="91"/>
                    </a:lnTo>
                    <a:lnTo>
                      <a:pt x="390" y="94"/>
                    </a:lnTo>
                    <a:lnTo>
                      <a:pt x="401" y="97"/>
                    </a:lnTo>
                    <a:lnTo>
                      <a:pt x="404" y="100"/>
                    </a:lnTo>
                    <a:lnTo>
                      <a:pt x="407" y="105"/>
                    </a:lnTo>
                    <a:lnTo>
                      <a:pt x="421" y="114"/>
                    </a:lnTo>
                    <a:lnTo>
                      <a:pt x="432" y="108"/>
                    </a:lnTo>
                    <a:lnTo>
                      <a:pt x="432" y="105"/>
                    </a:lnTo>
                    <a:lnTo>
                      <a:pt x="443" y="69"/>
                    </a:lnTo>
                    <a:lnTo>
                      <a:pt x="443" y="47"/>
                    </a:lnTo>
                    <a:lnTo>
                      <a:pt x="443" y="41"/>
                    </a:lnTo>
                    <a:lnTo>
                      <a:pt x="443" y="36"/>
                    </a:lnTo>
                    <a:lnTo>
                      <a:pt x="446" y="33"/>
                    </a:lnTo>
                    <a:lnTo>
                      <a:pt x="446" y="30"/>
                    </a:lnTo>
                    <a:lnTo>
                      <a:pt x="443" y="30"/>
                    </a:lnTo>
                    <a:lnTo>
                      <a:pt x="446" y="22"/>
                    </a:lnTo>
                    <a:lnTo>
                      <a:pt x="448" y="19"/>
                    </a:lnTo>
                    <a:lnTo>
                      <a:pt x="451" y="13"/>
                    </a:lnTo>
                    <a:lnTo>
                      <a:pt x="454" y="8"/>
                    </a:lnTo>
                    <a:lnTo>
                      <a:pt x="454" y="2"/>
                    </a:lnTo>
                    <a:lnTo>
                      <a:pt x="457" y="2"/>
                    </a:lnTo>
                    <a:lnTo>
                      <a:pt x="460" y="0"/>
                    </a:lnTo>
                    <a:lnTo>
                      <a:pt x="462" y="0"/>
                    </a:lnTo>
                    <a:lnTo>
                      <a:pt x="462" y="2"/>
                    </a:lnTo>
                    <a:lnTo>
                      <a:pt x="462" y="5"/>
                    </a:lnTo>
                    <a:lnTo>
                      <a:pt x="462" y="19"/>
                    </a:lnTo>
                    <a:lnTo>
                      <a:pt x="465" y="19"/>
                    </a:lnTo>
                    <a:lnTo>
                      <a:pt x="468" y="19"/>
                    </a:lnTo>
                    <a:lnTo>
                      <a:pt x="465" y="25"/>
                    </a:lnTo>
                    <a:lnTo>
                      <a:pt x="468" y="25"/>
                    </a:lnTo>
                    <a:lnTo>
                      <a:pt x="471" y="27"/>
                    </a:lnTo>
                    <a:lnTo>
                      <a:pt x="471" y="30"/>
                    </a:lnTo>
                    <a:lnTo>
                      <a:pt x="471" y="33"/>
                    </a:lnTo>
                    <a:lnTo>
                      <a:pt x="473" y="36"/>
                    </a:lnTo>
                    <a:lnTo>
                      <a:pt x="473" y="41"/>
                    </a:lnTo>
                    <a:lnTo>
                      <a:pt x="473" y="47"/>
                    </a:lnTo>
                    <a:lnTo>
                      <a:pt x="476" y="55"/>
                    </a:lnTo>
                    <a:lnTo>
                      <a:pt x="479" y="58"/>
                    </a:lnTo>
                    <a:lnTo>
                      <a:pt x="482" y="58"/>
                    </a:lnTo>
                    <a:lnTo>
                      <a:pt x="485" y="55"/>
                    </a:lnTo>
                    <a:lnTo>
                      <a:pt x="487" y="55"/>
                    </a:lnTo>
                    <a:lnTo>
                      <a:pt x="490" y="55"/>
                    </a:lnTo>
                    <a:lnTo>
                      <a:pt x="493" y="61"/>
                    </a:lnTo>
                    <a:lnTo>
                      <a:pt x="496" y="61"/>
                    </a:lnTo>
                    <a:lnTo>
                      <a:pt x="496" y="64"/>
                    </a:lnTo>
                    <a:lnTo>
                      <a:pt x="499" y="66"/>
                    </a:lnTo>
                    <a:lnTo>
                      <a:pt x="501" y="69"/>
                    </a:lnTo>
                    <a:lnTo>
                      <a:pt x="501" y="72"/>
                    </a:lnTo>
                    <a:lnTo>
                      <a:pt x="501" y="78"/>
                    </a:lnTo>
                    <a:lnTo>
                      <a:pt x="501" y="80"/>
                    </a:lnTo>
                    <a:lnTo>
                      <a:pt x="501" y="83"/>
                    </a:lnTo>
                    <a:lnTo>
                      <a:pt x="504" y="86"/>
                    </a:lnTo>
                    <a:lnTo>
                      <a:pt x="504" y="94"/>
                    </a:lnTo>
                    <a:lnTo>
                      <a:pt x="510" y="100"/>
                    </a:lnTo>
                    <a:lnTo>
                      <a:pt x="515" y="117"/>
                    </a:lnTo>
                    <a:lnTo>
                      <a:pt x="512" y="119"/>
                    </a:lnTo>
                    <a:lnTo>
                      <a:pt x="515" y="125"/>
                    </a:lnTo>
                    <a:lnTo>
                      <a:pt x="518" y="125"/>
                    </a:lnTo>
                    <a:lnTo>
                      <a:pt x="518" y="128"/>
                    </a:lnTo>
                    <a:lnTo>
                      <a:pt x="518" y="125"/>
                    </a:lnTo>
                    <a:lnTo>
                      <a:pt x="518" y="128"/>
                    </a:lnTo>
                    <a:lnTo>
                      <a:pt x="518" y="130"/>
                    </a:lnTo>
                    <a:lnTo>
                      <a:pt x="518" y="133"/>
                    </a:lnTo>
                    <a:lnTo>
                      <a:pt x="524" y="133"/>
                    </a:lnTo>
                    <a:lnTo>
                      <a:pt x="524" y="136"/>
                    </a:lnTo>
                    <a:lnTo>
                      <a:pt x="532" y="139"/>
                    </a:lnTo>
                    <a:lnTo>
                      <a:pt x="535" y="136"/>
                    </a:lnTo>
                    <a:lnTo>
                      <a:pt x="537" y="144"/>
                    </a:lnTo>
                    <a:lnTo>
                      <a:pt x="540" y="144"/>
                    </a:lnTo>
                    <a:lnTo>
                      <a:pt x="543" y="147"/>
                    </a:lnTo>
                    <a:lnTo>
                      <a:pt x="546" y="147"/>
                    </a:lnTo>
                    <a:lnTo>
                      <a:pt x="549" y="150"/>
                    </a:lnTo>
                    <a:lnTo>
                      <a:pt x="551" y="150"/>
                    </a:lnTo>
                    <a:lnTo>
                      <a:pt x="557" y="155"/>
                    </a:lnTo>
                    <a:lnTo>
                      <a:pt x="557" y="158"/>
                    </a:lnTo>
                    <a:lnTo>
                      <a:pt x="554" y="161"/>
                    </a:lnTo>
                    <a:lnTo>
                      <a:pt x="557" y="161"/>
                    </a:lnTo>
                    <a:lnTo>
                      <a:pt x="560" y="164"/>
                    </a:lnTo>
                    <a:lnTo>
                      <a:pt x="565" y="172"/>
                    </a:lnTo>
                    <a:lnTo>
                      <a:pt x="568" y="183"/>
                    </a:lnTo>
                    <a:lnTo>
                      <a:pt x="568" y="186"/>
                    </a:lnTo>
                    <a:lnTo>
                      <a:pt x="568" y="189"/>
                    </a:lnTo>
                    <a:lnTo>
                      <a:pt x="571" y="189"/>
                    </a:lnTo>
                    <a:lnTo>
                      <a:pt x="571" y="192"/>
                    </a:lnTo>
                    <a:lnTo>
                      <a:pt x="571" y="189"/>
                    </a:lnTo>
                    <a:lnTo>
                      <a:pt x="574" y="189"/>
                    </a:lnTo>
                    <a:lnTo>
                      <a:pt x="574" y="186"/>
                    </a:lnTo>
                    <a:lnTo>
                      <a:pt x="576" y="183"/>
                    </a:lnTo>
                    <a:lnTo>
                      <a:pt x="576" y="186"/>
                    </a:lnTo>
                    <a:lnTo>
                      <a:pt x="582" y="192"/>
                    </a:lnTo>
                    <a:lnTo>
                      <a:pt x="585" y="186"/>
                    </a:lnTo>
                    <a:lnTo>
                      <a:pt x="585" y="189"/>
                    </a:lnTo>
                    <a:lnTo>
                      <a:pt x="585" y="192"/>
                    </a:lnTo>
                    <a:lnTo>
                      <a:pt x="588" y="208"/>
                    </a:lnTo>
                    <a:lnTo>
                      <a:pt x="596" y="217"/>
                    </a:lnTo>
                    <a:lnTo>
                      <a:pt x="602" y="217"/>
                    </a:lnTo>
                    <a:lnTo>
                      <a:pt x="607" y="222"/>
                    </a:lnTo>
                    <a:lnTo>
                      <a:pt x="607" y="225"/>
                    </a:lnTo>
                    <a:lnTo>
                      <a:pt x="610" y="228"/>
                    </a:lnTo>
                    <a:lnTo>
                      <a:pt x="613" y="228"/>
                    </a:lnTo>
                    <a:lnTo>
                      <a:pt x="615" y="233"/>
                    </a:lnTo>
                    <a:lnTo>
                      <a:pt x="615" y="236"/>
                    </a:lnTo>
                    <a:lnTo>
                      <a:pt x="618" y="236"/>
                    </a:lnTo>
                    <a:lnTo>
                      <a:pt x="618" y="245"/>
                    </a:lnTo>
                    <a:lnTo>
                      <a:pt x="621" y="247"/>
                    </a:lnTo>
                    <a:lnTo>
                      <a:pt x="624" y="247"/>
                    </a:lnTo>
                    <a:lnTo>
                      <a:pt x="624" y="250"/>
                    </a:lnTo>
                    <a:lnTo>
                      <a:pt x="621" y="256"/>
                    </a:lnTo>
                    <a:lnTo>
                      <a:pt x="624" y="270"/>
                    </a:lnTo>
                    <a:lnTo>
                      <a:pt x="624" y="267"/>
                    </a:lnTo>
                    <a:lnTo>
                      <a:pt x="624" y="270"/>
                    </a:lnTo>
                    <a:lnTo>
                      <a:pt x="624" y="272"/>
                    </a:lnTo>
                    <a:lnTo>
                      <a:pt x="624" y="275"/>
                    </a:lnTo>
                    <a:lnTo>
                      <a:pt x="629" y="289"/>
                    </a:lnTo>
                    <a:lnTo>
                      <a:pt x="627" y="325"/>
                    </a:lnTo>
                    <a:lnTo>
                      <a:pt x="624" y="325"/>
                    </a:lnTo>
                    <a:lnTo>
                      <a:pt x="624" y="331"/>
                    </a:lnTo>
                    <a:lnTo>
                      <a:pt x="624" y="342"/>
                    </a:lnTo>
                    <a:lnTo>
                      <a:pt x="621" y="342"/>
                    </a:lnTo>
                    <a:lnTo>
                      <a:pt x="621" y="345"/>
                    </a:lnTo>
                    <a:lnTo>
                      <a:pt x="615" y="359"/>
                    </a:lnTo>
                    <a:lnTo>
                      <a:pt x="613" y="362"/>
                    </a:lnTo>
                    <a:lnTo>
                      <a:pt x="613" y="364"/>
                    </a:lnTo>
                    <a:lnTo>
                      <a:pt x="610" y="370"/>
                    </a:lnTo>
                    <a:lnTo>
                      <a:pt x="607" y="370"/>
                    </a:lnTo>
                    <a:lnTo>
                      <a:pt x="610" y="373"/>
                    </a:lnTo>
                    <a:lnTo>
                      <a:pt x="604" y="373"/>
                    </a:lnTo>
                    <a:lnTo>
                      <a:pt x="599" y="387"/>
                    </a:lnTo>
                    <a:lnTo>
                      <a:pt x="596" y="387"/>
                    </a:lnTo>
                    <a:lnTo>
                      <a:pt x="593" y="387"/>
                    </a:lnTo>
                    <a:lnTo>
                      <a:pt x="596" y="389"/>
                    </a:lnTo>
                    <a:lnTo>
                      <a:pt x="596" y="392"/>
                    </a:lnTo>
                    <a:lnTo>
                      <a:pt x="593" y="395"/>
                    </a:lnTo>
                    <a:lnTo>
                      <a:pt x="593" y="398"/>
                    </a:lnTo>
                    <a:lnTo>
                      <a:pt x="590" y="401"/>
                    </a:lnTo>
                    <a:lnTo>
                      <a:pt x="588" y="417"/>
                    </a:lnTo>
                    <a:lnTo>
                      <a:pt x="585" y="414"/>
                    </a:lnTo>
                    <a:lnTo>
                      <a:pt x="582" y="420"/>
                    </a:lnTo>
                    <a:lnTo>
                      <a:pt x="582" y="423"/>
                    </a:lnTo>
                    <a:lnTo>
                      <a:pt x="579" y="426"/>
                    </a:lnTo>
                    <a:lnTo>
                      <a:pt x="579" y="428"/>
                    </a:lnTo>
                    <a:lnTo>
                      <a:pt x="576" y="437"/>
                    </a:lnTo>
                    <a:lnTo>
                      <a:pt x="579" y="440"/>
                    </a:lnTo>
                    <a:lnTo>
                      <a:pt x="574" y="451"/>
                    </a:lnTo>
                    <a:lnTo>
                      <a:pt x="576" y="459"/>
                    </a:lnTo>
                    <a:lnTo>
                      <a:pt x="574" y="462"/>
                    </a:lnTo>
                    <a:lnTo>
                      <a:pt x="571" y="462"/>
                    </a:lnTo>
                    <a:lnTo>
                      <a:pt x="571" y="465"/>
                    </a:lnTo>
                    <a:lnTo>
                      <a:pt x="549" y="467"/>
                    </a:lnTo>
                    <a:lnTo>
                      <a:pt x="532" y="476"/>
                    </a:lnTo>
                    <a:lnTo>
                      <a:pt x="532" y="478"/>
                    </a:lnTo>
                    <a:lnTo>
                      <a:pt x="532" y="481"/>
                    </a:lnTo>
                    <a:lnTo>
                      <a:pt x="526" y="481"/>
                    </a:lnTo>
                    <a:lnTo>
                      <a:pt x="526" y="484"/>
                    </a:lnTo>
                    <a:lnTo>
                      <a:pt x="524" y="484"/>
                    </a:lnTo>
                    <a:lnTo>
                      <a:pt x="521" y="484"/>
                    </a:lnTo>
                    <a:lnTo>
                      <a:pt x="518" y="484"/>
                    </a:lnTo>
                    <a:lnTo>
                      <a:pt x="518" y="487"/>
                    </a:lnTo>
                    <a:lnTo>
                      <a:pt x="521" y="484"/>
                    </a:lnTo>
                    <a:lnTo>
                      <a:pt x="524" y="484"/>
                    </a:lnTo>
                    <a:lnTo>
                      <a:pt x="521" y="492"/>
                    </a:lnTo>
                    <a:lnTo>
                      <a:pt x="515" y="487"/>
                    </a:lnTo>
                    <a:lnTo>
                      <a:pt x="512" y="487"/>
                    </a:lnTo>
                    <a:lnTo>
                      <a:pt x="510" y="484"/>
                    </a:lnTo>
                    <a:lnTo>
                      <a:pt x="507" y="484"/>
                    </a:lnTo>
                    <a:lnTo>
                      <a:pt x="504" y="481"/>
                    </a:lnTo>
                    <a:lnTo>
                      <a:pt x="504" y="478"/>
                    </a:lnTo>
                    <a:lnTo>
                      <a:pt x="507" y="476"/>
                    </a:lnTo>
                    <a:lnTo>
                      <a:pt x="504" y="476"/>
                    </a:lnTo>
                    <a:lnTo>
                      <a:pt x="501" y="478"/>
                    </a:lnTo>
                    <a:lnTo>
                      <a:pt x="499" y="478"/>
                    </a:lnTo>
                    <a:lnTo>
                      <a:pt x="496" y="478"/>
                    </a:lnTo>
                    <a:lnTo>
                      <a:pt x="493" y="476"/>
                    </a:lnTo>
                    <a:lnTo>
                      <a:pt x="499" y="476"/>
                    </a:lnTo>
                    <a:lnTo>
                      <a:pt x="499" y="473"/>
                    </a:lnTo>
                    <a:lnTo>
                      <a:pt x="499" y="470"/>
                    </a:lnTo>
                    <a:lnTo>
                      <a:pt x="496" y="467"/>
                    </a:lnTo>
                    <a:lnTo>
                      <a:pt x="490" y="470"/>
                    </a:lnTo>
                    <a:lnTo>
                      <a:pt x="487" y="470"/>
                    </a:lnTo>
                    <a:lnTo>
                      <a:pt x="493" y="473"/>
                    </a:lnTo>
                    <a:lnTo>
                      <a:pt x="493" y="476"/>
                    </a:lnTo>
                    <a:lnTo>
                      <a:pt x="487" y="476"/>
                    </a:lnTo>
                    <a:lnTo>
                      <a:pt x="485" y="478"/>
                    </a:lnTo>
                    <a:lnTo>
                      <a:pt x="482" y="484"/>
                    </a:lnTo>
                    <a:lnTo>
                      <a:pt x="471" y="487"/>
                    </a:lnTo>
                    <a:lnTo>
                      <a:pt x="471" y="484"/>
                    </a:lnTo>
                    <a:lnTo>
                      <a:pt x="448" y="476"/>
                    </a:lnTo>
                    <a:lnTo>
                      <a:pt x="446" y="476"/>
                    </a:lnTo>
                    <a:lnTo>
                      <a:pt x="443" y="478"/>
                    </a:lnTo>
                    <a:lnTo>
                      <a:pt x="440" y="473"/>
                    </a:lnTo>
                    <a:lnTo>
                      <a:pt x="434" y="470"/>
                    </a:lnTo>
                    <a:lnTo>
                      <a:pt x="429" y="470"/>
                    </a:lnTo>
                    <a:lnTo>
                      <a:pt x="426" y="467"/>
                    </a:lnTo>
                    <a:lnTo>
                      <a:pt x="423" y="465"/>
                    </a:lnTo>
                    <a:lnTo>
                      <a:pt x="421" y="462"/>
                    </a:lnTo>
                    <a:lnTo>
                      <a:pt x="418" y="459"/>
                    </a:lnTo>
                    <a:lnTo>
                      <a:pt x="415" y="451"/>
                    </a:lnTo>
                    <a:lnTo>
                      <a:pt x="415" y="445"/>
                    </a:lnTo>
                    <a:lnTo>
                      <a:pt x="415" y="442"/>
                    </a:lnTo>
                    <a:lnTo>
                      <a:pt x="412" y="434"/>
                    </a:lnTo>
                    <a:lnTo>
                      <a:pt x="407" y="426"/>
                    </a:lnTo>
                    <a:lnTo>
                      <a:pt x="409" y="420"/>
                    </a:lnTo>
                    <a:lnTo>
                      <a:pt x="404" y="420"/>
                    </a:lnTo>
                    <a:lnTo>
                      <a:pt x="396" y="426"/>
                    </a:lnTo>
                    <a:lnTo>
                      <a:pt x="393" y="426"/>
                    </a:lnTo>
                    <a:lnTo>
                      <a:pt x="390" y="426"/>
                    </a:lnTo>
                    <a:lnTo>
                      <a:pt x="396" y="417"/>
                    </a:lnTo>
                    <a:lnTo>
                      <a:pt x="396" y="412"/>
                    </a:lnTo>
                    <a:lnTo>
                      <a:pt x="396" y="409"/>
                    </a:lnTo>
                    <a:lnTo>
                      <a:pt x="393" y="403"/>
                    </a:lnTo>
                    <a:lnTo>
                      <a:pt x="390" y="398"/>
                    </a:lnTo>
                    <a:lnTo>
                      <a:pt x="387" y="403"/>
                    </a:lnTo>
                    <a:lnTo>
                      <a:pt x="384" y="414"/>
                    </a:lnTo>
                    <a:lnTo>
                      <a:pt x="382" y="414"/>
                    </a:lnTo>
                    <a:lnTo>
                      <a:pt x="379" y="417"/>
                    </a:lnTo>
                    <a:lnTo>
                      <a:pt x="376" y="417"/>
                    </a:lnTo>
                    <a:lnTo>
                      <a:pt x="373" y="417"/>
                    </a:lnTo>
                    <a:lnTo>
                      <a:pt x="370" y="417"/>
                    </a:lnTo>
                    <a:lnTo>
                      <a:pt x="370" y="412"/>
                    </a:lnTo>
                    <a:lnTo>
                      <a:pt x="376" y="412"/>
                    </a:lnTo>
                    <a:lnTo>
                      <a:pt x="379" y="409"/>
                    </a:lnTo>
                    <a:lnTo>
                      <a:pt x="379" y="403"/>
                    </a:lnTo>
                    <a:lnTo>
                      <a:pt x="379" y="401"/>
                    </a:lnTo>
                    <a:lnTo>
                      <a:pt x="379" y="398"/>
                    </a:lnTo>
                    <a:lnTo>
                      <a:pt x="382" y="389"/>
                    </a:lnTo>
                    <a:lnTo>
                      <a:pt x="384" y="387"/>
                    </a:lnTo>
                    <a:lnTo>
                      <a:pt x="387" y="384"/>
                    </a:lnTo>
                    <a:lnTo>
                      <a:pt x="387" y="378"/>
                    </a:lnTo>
                    <a:lnTo>
                      <a:pt x="387" y="373"/>
                    </a:lnTo>
                    <a:lnTo>
                      <a:pt x="387" y="370"/>
                    </a:lnTo>
                    <a:lnTo>
                      <a:pt x="384" y="370"/>
                    </a:lnTo>
                    <a:lnTo>
                      <a:pt x="384" y="367"/>
                    </a:lnTo>
                    <a:lnTo>
                      <a:pt x="384" y="373"/>
                    </a:lnTo>
                    <a:lnTo>
                      <a:pt x="382" y="375"/>
                    </a:lnTo>
                    <a:lnTo>
                      <a:pt x="376" y="384"/>
                    </a:lnTo>
                    <a:lnTo>
                      <a:pt x="376" y="387"/>
                    </a:lnTo>
                    <a:lnTo>
                      <a:pt x="376" y="389"/>
                    </a:lnTo>
                    <a:lnTo>
                      <a:pt x="370" y="389"/>
                    </a:lnTo>
                    <a:lnTo>
                      <a:pt x="368" y="392"/>
                    </a:lnTo>
                    <a:lnTo>
                      <a:pt x="365" y="395"/>
                    </a:lnTo>
                    <a:lnTo>
                      <a:pt x="362" y="395"/>
                    </a:lnTo>
                    <a:lnTo>
                      <a:pt x="362" y="398"/>
                    </a:lnTo>
                    <a:lnTo>
                      <a:pt x="357" y="403"/>
                    </a:lnTo>
                    <a:lnTo>
                      <a:pt x="354" y="409"/>
                    </a:lnTo>
                    <a:lnTo>
                      <a:pt x="357" y="409"/>
                    </a:lnTo>
                    <a:lnTo>
                      <a:pt x="357" y="412"/>
                    </a:lnTo>
                    <a:lnTo>
                      <a:pt x="354" y="412"/>
                    </a:lnTo>
                    <a:lnTo>
                      <a:pt x="351" y="412"/>
                    </a:lnTo>
                    <a:lnTo>
                      <a:pt x="351" y="409"/>
                    </a:lnTo>
                    <a:lnTo>
                      <a:pt x="348" y="406"/>
                    </a:lnTo>
                    <a:lnTo>
                      <a:pt x="345" y="406"/>
                    </a:lnTo>
                    <a:lnTo>
                      <a:pt x="343" y="406"/>
                    </a:lnTo>
                    <a:lnTo>
                      <a:pt x="343" y="403"/>
                    </a:lnTo>
                    <a:lnTo>
                      <a:pt x="348" y="406"/>
                    </a:lnTo>
                    <a:lnTo>
                      <a:pt x="348" y="403"/>
                    </a:lnTo>
                    <a:lnTo>
                      <a:pt x="348" y="398"/>
                    </a:lnTo>
                    <a:lnTo>
                      <a:pt x="345" y="398"/>
                    </a:lnTo>
                    <a:lnTo>
                      <a:pt x="345" y="392"/>
                    </a:lnTo>
                    <a:lnTo>
                      <a:pt x="343" y="389"/>
                    </a:lnTo>
                    <a:lnTo>
                      <a:pt x="340" y="387"/>
                    </a:lnTo>
                    <a:lnTo>
                      <a:pt x="340" y="384"/>
                    </a:lnTo>
                    <a:lnTo>
                      <a:pt x="337" y="378"/>
                    </a:lnTo>
                    <a:lnTo>
                      <a:pt x="334" y="378"/>
                    </a:lnTo>
                    <a:lnTo>
                      <a:pt x="329" y="375"/>
                    </a:lnTo>
                    <a:lnTo>
                      <a:pt x="326" y="373"/>
                    </a:lnTo>
                    <a:lnTo>
                      <a:pt x="326" y="370"/>
                    </a:lnTo>
                    <a:lnTo>
                      <a:pt x="329" y="370"/>
                    </a:lnTo>
                    <a:lnTo>
                      <a:pt x="329" y="367"/>
                    </a:lnTo>
                    <a:lnTo>
                      <a:pt x="323" y="364"/>
                    </a:lnTo>
                    <a:lnTo>
                      <a:pt x="318" y="359"/>
                    </a:lnTo>
                    <a:lnTo>
                      <a:pt x="315" y="359"/>
                    </a:lnTo>
                    <a:lnTo>
                      <a:pt x="315" y="362"/>
                    </a:lnTo>
                    <a:lnTo>
                      <a:pt x="312" y="359"/>
                    </a:lnTo>
                    <a:lnTo>
                      <a:pt x="304" y="356"/>
                    </a:lnTo>
                    <a:lnTo>
                      <a:pt x="301" y="356"/>
                    </a:lnTo>
                    <a:lnTo>
                      <a:pt x="298" y="356"/>
                    </a:lnTo>
                    <a:lnTo>
                      <a:pt x="290" y="350"/>
                    </a:lnTo>
                    <a:lnTo>
                      <a:pt x="284" y="348"/>
                    </a:lnTo>
                    <a:lnTo>
                      <a:pt x="251" y="348"/>
                    </a:lnTo>
                    <a:lnTo>
                      <a:pt x="234" y="359"/>
                    </a:lnTo>
                    <a:lnTo>
                      <a:pt x="226" y="359"/>
                    </a:lnTo>
                    <a:lnTo>
                      <a:pt x="223" y="362"/>
                    </a:lnTo>
                    <a:lnTo>
                      <a:pt x="206" y="362"/>
                    </a:lnTo>
                    <a:lnTo>
                      <a:pt x="203" y="362"/>
                    </a:lnTo>
                    <a:lnTo>
                      <a:pt x="198" y="362"/>
                    </a:lnTo>
                    <a:lnTo>
                      <a:pt x="187" y="367"/>
                    </a:lnTo>
                    <a:lnTo>
                      <a:pt x="184" y="370"/>
                    </a:lnTo>
                    <a:lnTo>
                      <a:pt x="178" y="373"/>
                    </a:lnTo>
                    <a:lnTo>
                      <a:pt x="176" y="373"/>
                    </a:lnTo>
                    <a:lnTo>
                      <a:pt x="170" y="375"/>
                    </a:lnTo>
                    <a:lnTo>
                      <a:pt x="164" y="389"/>
                    </a:lnTo>
                    <a:lnTo>
                      <a:pt x="159" y="392"/>
                    </a:lnTo>
                    <a:lnTo>
                      <a:pt x="156" y="392"/>
                    </a:lnTo>
                    <a:lnTo>
                      <a:pt x="153" y="389"/>
                    </a:lnTo>
                    <a:lnTo>
                      <a:pt x="142" y="392"/>
                    </a:lnTo>
                    <a:lnTo>
                      <a:pt x="139" y="389"/>
                    </a:lnTo>
                    <a:lnTo>
                      <a:pt x="131" y="389"/>
                    </a:lnTo>
                    <a:lnTo>
                      <a:pt x="123" y="389"/>
                    </a:lnTo>
                    <a:lnTo>
                      <a:pt x="120" y="392"/>
                    </a:lnTo>
                    <a:lnTo>
                      <a:pt x="106" y="392"/>
                    </a:lnTo>
                    <a:lnTo>
                      <a:pt x="103" y="392"/>
                    </a:lnTo>
                    <a:lnTo>
                      <a:pt x="100" y="395"/>
                    </a:lnTo>
                    <a:lnTo>
                      <a:pt x="100" y="398"/>
                    </a:lnTo>
                    <a:lnTo>
                      <a:pt x="98" y="401"/>
                    </a:lnTo>
                    <a:lnTo>
                      <a:pt x="89" y="403"/>
                    </a:lnTo>
                    <a:lnTo>
                      <a:pt x="84" y="409"/>
                    </a:lnTo>
                    <a:lnTo>
                      <a:pt x="81" y="409"/>
                    </a:lnTo>
                    <a:lnTo>
                      <a:pt x="81" y="412"/>
                    </a:lnTo>
                    <a:lnTo>
                      <a:pt x="78" y="412"/>
                    </a:lnTo>
                    <a:lnTo>
                      <a:pt x="75" y="412"/>
                    </a:lnTo>
                    <a:lnTo>
                      <a:pt x="75" y="414"/>
                    </a:lnTo>
                    <a:lnTo>
                      <a:pt x="73" y="412"/>
                    </a:lnTo>
                    <a:lnTo>
                      <a:pt x="70" y="414"/>
                    </a:lnTo>
                    <a:lnTo>
                      <a:pt x="67" y="412"/>
                    </a:lnTo>
                    <a:lnTo>
                      <a:pt x="53" y="412"/>
                    </a:lnTo>
                    <a:lnTo>
                      <a:pt x="53" y="409"/>
                    </a:lnTo>
                    <a:lnTo>
                      <a:pt x="50" y="409"/>
                    </a:lnTo>
                    <a:lnTo>
                      <a:pt x="47" y="409"/>
                    </a:lnTo>
                    <a:lnTo>
                      <a:pt x="36" y="398"/>
                    </a:lnTo>
                    <a:lnTo>
                      <a:pt x="31" y="398"/>
                    </a:lnTo>
                    <a:lnTo>
                      <a:pt x="31" y="384"/>
                    </a:lnTo>
                    <a:lnTo>
                      <a:pt x="34" y="387"/>
                    </a:lnTo>
                    <a:lnTo>
                      <a:pt x="36" y="387"/>
                    </a:lnTo>
                    <a:lnTo>
                      <a:pt x="39" y="378"/>
                    </a:lnTo>
                    <a:lnTo>
                      <a:pt x="39" y="375"/>
                    </a:lnTo>
                    <a:lnTo>
                      <a:pt x="39" y="370"/>
                    </a:lnTo>
                    <a:lnTo>
                      <a:pt x="39" y="367"/>
                    </a:lnTo>
                    <a:lnTo>
                      <a:pt x="42" y="364"/>
                    </a:lnTo>
                    <a:lnTo>
                      <a:pt x="39" y="350"/>
                    </a:lnTo>
                    <a:lnTo>
                      <a:pt x="31" y="331"/>
                    </a:lnTo>
                    <a:lnTo>
                      <a:pt x="28" y="309"/>
                    </a:lnTo>
                    <a:lnTo>
                      <a:pt x="22" y="298"/>
                    </a:lnTo>
                    <a:lnTo>
                      <a:pt x="22" y="295"/>
                    </a:lnTo>
                    <a:lnTo>
                      <a:pt x="17" y="284"/>
                    </a:lnTo>
                    <a:lnTo>
                      <a:pt x="14" y="278"/>
                    </a:lnTo>
                    <a:lnTo>
                      <a:pt x="11" y="267"/>
                    </a:lnTo>
                    <a:lnTo>
                      <a:pt x="9" y="267"/>
                    </a:lnTo>
                    <a:lnTo>
                      <a:pt x="3" y="261"/>
                    </a:lnTo>
                    <a:lnTo>
                      <a:pt x="3" y="259"/>
                    </a:lnTo>
                    <a:lnTo>
                      <a:pt x="0" y="256"/>
                    </a:lnTo>
                    <a:lnTo>
                      <a:pt x="0" y="253"/>
                    </a:lnTo>
                    <a:lnTo>
                      <a:pt x="3" y="253"/>
                    </a:lnTo>
                    <a:lnTo>
                      <a:pt x="3" y="256"/>
                    </a:lnTo>
                    <a:lnTo>
                      <a:pt x="6" y="256"/>
                    </a:lnTo>
                    <a:lnTo>
                      <a:pt x="6" y="259"/>
                    </a:lnTo>
                    <a:lnTo>
                      <a:pt x="6" y="261"/>
                    </a:lnTo>
                    <a:lnTo>
                      <a:pt x="9" y="261"/>
                    </a:lnTo>
                    <a:lnTo>
                      <a:pt x="11" y="259"/>
                    </a:lnTo>
                    <a:lnTo>
                      <a:pt x="11" y="256"/>
                    </a:lnTo>
                    <a:lnTo>
                      <a:pt x="9" y="253"/>
                    </a:lnTo>
                    <a:lnTo>
                      <a:pt x="3" y="245"/>
                    </a:lnTo>
                    <a:lnTo>
                      <a:pt x="3" y="242"/>
                    </a:lnTo>
                    <a:lnTo>
                      <a:pt x="6" y="245"/>
                    </a:lnTo>
                    <a:lnTo>
                      <a:pt x="9" y="253"/>
                    </a:lnTo>
                    <a:lnTo>
                      <a:pt x="11" y="250"/>
                    </a:lnTo>
                    <a:lnTo>
                      <a:pt x="11" y="256"/>
                    </a:lnTo>
                    <a:lnTo>
                      <a:pt x="14" y="256"/>
                    </a:lnTo>
                    <a:lnTo>
                      <a:pt x="17" y="250"/>
                    </a:lnTo>
                    <a:lnTo>
                      <a:pt x="14" y="245"/>
                    </a:lnTo>
                    <a:lnTo>
                      <a:pt x="11" y="239"/>
                    </a:lnTo>
                    <a:lnTo>
                      <a:pt x="11" y="242"/>
                    </a:lnTo>
                    <a:lnTo>
                      <a:pt x="11" y="239"/>
                    </a:lnTo>
                    <a:lnTo>
                      <a:pt x="3" y="222"/>
                    </a:lnTo>
                    <a:lnTo>
                      <a:pt x="3" y="214"/>
                    </a:lnTo>
                    <a:lnTo>
                      <a:pt x="3" y="211"/>
                    </a:lnTo>
                    <a:lnTo>
                      <a:pt x="9" y="208"/>
                    </a:lnTo>
                    <a:lnTo>
                      <a:pt x="9" y="197"/>
                    </a:lnTo>
                    <a:lnTo>
                      <a:pt x="6" y="194"/>
                    </a:lnTo>
                    <a:lnTo>
                      <a:pt x="11" y="18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Freeform 213"/>
              <p:cNvSpPr>
                <a:spLocks noChangeAspect="1"/>
              </p:cNvSpPr>
              <p:nvPr>
                <p:custDataLst>
                  <p:tags r:id="rId966"/>
                </p:custDataLst>
              </p:nvPr>
            </p:nvSpPr>
            <p:spPr bwMode="gray">
              <a:xfrm>
                <a:off x="6602396" y="3380058"/>
                <a:ext cx="593716" cy="608620"/>
              </a:xfrm>
              <a:custGeom>
                <a:avLst/>
                <a:gdLst>
                  <a:gd name="T0" fmla="*/ 2147483647 w 456"/>
                  <a:gd name="T1" fmla="*/ 2147483647 h 473"/>
                  <a:gd name="T2" fmla="*/ 2147483647 w 456"/>
                  <a:gd name="T3" fmla="*/ 2147483647 h 473"/>
                  <a:gd name="T4" fmla="*/ 2147483647 w 456"/>
                  <a:gd name="T5" fmla="*/ 2147483647 h 473"/>
                  <a:gd name="T6" fmla="*/ 2147483647 w 456"/>
                  <a:gd name="T7" fmla="*/ 2147483647 h 473"/>
                  <a:gd name="T8" fmla="*/ 2147483647 w 456"/>
                  <a:gd name="T9" fmla="*/ 2147483647 h 473"/>
                  <a:gd name="T10" fmla="*/ 2147483647 w 456"/>
                  <a:gd name="T11" fmla="*/ 2147483647 h 473"/>
                  <a:gd name="T12" fmla="*/ 2147483647 w 456"/>
                  <a:gd name="T13" fmla="*/ 2147483647 h 473"/>
                  <a:gd name="T14" fmla="*/ 2147483647 w 456"/>
                  <a:gd name="T15" fmla="*/ 2147483647 h 473"/>
                  <a:gd name="T16" fmla="*/ 2147483647 w 456"/>
                  <a:gd name="T17" fmla="*/ 2147483647 h 473"/>
                  <a:gd name="T18" fmla="*/ 2147483647 w 456"/>
                  <a:gd name="T19" fmla="*/ 2147483647 h 473"/>
                  <a:gd name="T20" fmla="*/ 2147483647 w 456"/>
                  <a:gd name="T21" fmla="*/ 2147483647 h 473"/>
                  <a:gd name="T22" fmla="*/ 2147483647 w 456"/>
                  <a:gd name="T23" fmla="*/ 2147483647 h 473"/>
                  <a:gd name="T24" fmla="*/ 2147483647 w 456"/>
                  <a:gd name="T25" fmla="*/ 2147483647 h 473"/>
                  <a:gd name="T26" fmla="*/ 2147483647 w 456"/>
                  <a:gd name="T27" fmla="*/ 2147483647 h 473"/>
                  <a:gd name="T28" fmla="*/ 2147483647 w 456"/>
                  <a:gd name="T29" fmla="*/ 2147483647 h 473"/>
                  <a:gd name="T30" fmla="*/ 2147483647 w 456"/>
                  <a:gd name="T31" fmla="*/ 2147483647 h 473"/>
                  <a:gd name="T32" fmla="*/ 2147483647 w 456"/>
                  <a:gd name="T33" fmla="*/ 2147483647 h 473"/>
                  <a:gd name="T34" fmla="*/ 2147483647 w 456"/>
                  <a:gd name="T35" fmla="*/ 2147483647 h 473"/>
                  <a:gd name="T36" fmla="*/ 2147483647 w 456"/>
                  <a:gd name="T37" fmla="*/ 2147483647 h 473"/>
                  <a:gd name="T38" fmla="*/ 2147483647 w 456"/>
                  <a:gd name="T39" fmla="*/ 2147483647 h 473"/>
                  <a:gd name="T40" fmla="*/ 2147483647 w 456"/>
                  <a:gd name="T41" fmla="*/ 2147483647 h 473"/>
                  <a:gd name="T42" fmla="*/ 2147483647 w 456"/>
                  <a:gd name="T43" fmla="*/ 2147483647 h 473"/>
                  <a:gd name="T44" fmla="*/ 2147483647 w 456"/>
                  <a:gd name="T45" fmla="*/ 2147483647 h 473"/>
                  <a:gd name="T46" fmla="*/ 2147483647 w 456"/>
                  <a:gd name="T47" fmla="*/ 2147483647 h 473"/>
                  <a:gd name="T48" fmla="*/ 2147483647 w 456"/>
                  <a:gd name="T49" fmla="*/ 2147483647 h 473"/>
                  <a:gd name="T50" fmla="*/ 2147483647 w 456"/>
                  <a:gd name="T51" fmla="*/ 2147483647 h 473"/>
                  <a:gd name="T52" fmla="*/ 2147483647 w 456"/>
                  <a:gd name="T53" fmla="*/ 2147483647 h 473"/>
                  <a:gd name="T54" fmla="*/ 2147483647 w 456"/>
                  <a:gd name="T55" fmla="*/ 2147483647 h 473"/>
                  <a:gd name="T56" fmla="*/ 2147483647 w 456"/>
                  <a:gd name="T57" fmla="*/ 2147483647 h 473"/>
                  <a:gd name="T58" fmla="*/ 2147483647 w 456"/>
                  <a:gd name="T59" fmla="*/ 2147483647 h 473"/>
                  <a:gd name="T60" fmla="*/ 2147483647 w 456"/>
                  <a:gd name="T61" fmla="*/ 2147483647 h 473"/>
                  <a:gd name="T62" fmla="*/ 2147483647 w 456"/>
                  <a:gd name="T63" fmla="*/ 2147483647 h 473"/>
                  <a:gd name="T64" fmla="*/ 2147483647 w 456"/>
                  <a:gd name="T65" fmla="*/ 2147483647 h 473"/>
                  <a:gd name="T66" fmla="*/ 2147483647 w 456"/>
                  <a:gd name="T67" fmla="*/ 2147483647 h 473"/>
                  <a:gd name="T68" fmla="*/ 2147483647 w 456"/>
                  <a:gd name="T69" fmla="*/ 2147483647 h 473"/>
                  <a:gd name="T70" fmla="*/ 2147483647 w 456"/>
                  <a:gd name="T71" fmla="*/ 2147483647 h 473"/>
                  <a:gd name="T72" fmla="*/ 2147483647 w 456"/>
                  <a:gd name="T73" fmla="*/ 2147483647 h 473"/>
                  <a:gd name="T74" fmla="*/ 2147483647 w 456"/>
                  <a:gd name="T75" fmla="*/ 2147483647 h 473"/>
                  <a:gd name="T76" fmla="*/ 2147483647 w 456"/>
                  <a:gd name="T77" fmla="*/ 2147483647 h 473"/>
                  <a:gd name="T78" fmla="*/ 2147483647 w 456"/>
                  <a:gd name="T79" fmla="*/ 2147483647 h 473"/>
                  <a:gd name="T80" fmla="*/ 2147483647 w 456"/>
                  <a:gd name="T81" fmla="*/ 2147483647 h 473"/>
                  <a:gd name="T82" fmla="*/ 2147483647 w 456"/>
                  <a:gd name="T83" fmla="*/ 2147483647 h 473"/>
                  <a:gd name="T84" fmla="*/ 2147483647 w 456"/>
                  <a:gd name="T85" fmla="*/ 2147483647 h 473"/>
                  <a:gd name="T86" fmla="*/ 2147483647 w 456"/>
                  <a:gd name="T87" fmla="*/ 2147483647 h 473"/>
                  <a:gd name="T88" fmla="*/ 2147483647 w 456"/>
                  <a:gd name="T89" fmla="*/ 2147483647 h 473"/>
                  <a:gd name="T90" fmla="*/ 2147483647 w 456"/>
                  <a:gd name="T91" fmla="*/ 2147483647 h 473"/>
                  <a:gd name="T92" fmla="*/ 2147483647 w 456"/>
                  <a:gd name="T93" fmla="*/ 2147483647 h 473"/>
                  <a:gd name="T94" fmla="*/ 2147483647 w 456"/>
                  <a:gd name="T95" fmla="*/ 2147483647 h 473"/>
                  <a:gd name="T96" fmla="*/ 2147483647 w 456"/>
                  <a:gd name="T97" fmla="*/ 2147483647 h 473"/>
                  <a:gd name="T98" fmla="*/ 2147483647 w 456"/>
                  <a:gd name="T99" fmla="*/ 2147483647 h 473"/>
                  <a:gd name="T100" fmla="*/ 2147483647 w 456"/>
                  <a:gd name="T101" fmla="*/ 2147483647 h 473"/>
                  <a:gd name="T102" fmla="*/ 2147483647 w 456"/>
                  <a:gd name="T103" fmla="*/ 2147483647 h 473"/>
                  <a:gd name="T104" fmla="*/ 2147483647 w 456"/>
                  <a:gd name="T105" fmla="*/ 2147483647 h 473"/>
                  <a:gd name="T106" fmla="*/ 2147483647 w 456"/>
                  <a:gd name="T107" fmla="*/ 2147483647 h 473"/>
                  <a:gd name="T108" fmla="*/ 0 w 456"/>
                  <a:gd name="T109" fmla="*/ 2147483647 h 473"/>
                  <a:gd name="T110" fmla="*/ 2147483647 w 456"/>
                  <a:gd name="T111" fmla="*/ 2147483647 h 473"/>
                  <a:gd name="T112" fmla="*/ 2147483647 w 456"/>
                  <a:gd name="T113" fmla="*/ 2147483647 h 473"/>
                  <a:gd name="T114" fmla="*/ 2147483647 w 456"/>
                  <a:gd name="T115" fmla="*/ 2147483647 h 473"/>
                  <a:gd name="T116" fmla="*/ 2147483647 w 456"/>
                  <a:gd name="T117" fmla="*/ 2147483647 h 473"/>
                  <a:gd name="T118" fmla="*/ 2147483647 w 456"/>
                  <a:gd name="T119" fmla="*/ 2147483647 h 47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6"/>
                  <a:gd name="T181" fmla="*/ 0 h 473"/>
                  <a:gd name="T182" fmla="*/ 456 w 456"/>
                  <a:gd name="T183" fmla="*/ 473 h 47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6" h="473">
                    <a:moveTo>
                      <a:pt x="86" y="351"/>
                    </a:moveTo>
                    <a:lnTo>
                      <a:pt x="86" y="351"/>
                    </a:lnTo>
                    <a:lnTo>
                      <a:pt x="86" y="356"/>
                    </a:lnTo>
                    <a:lnTo>
                      <a:pt x="89" y="356"/>
                    </a:lnTo>
                    <a:lnTo>
                      <a:pt x="89" y="359"/>
                    </a:lnTo>
                    <a:lnTo>
                      <a:pt x="91" y="365"/>
                    </a:lnTo>
                    <a:lnTo>
                      <a:pt x="91" y="367"/>
                    </a:lnTo>
                    <a:lnTo>
                      <a:pt x="94" y="367"/>
                    </a:lnTo>
                    <a:lnTo>
                      <a:pt x="108" y="406"/>
                    </a:lnTo>
                    <a:lnTo>
                      <a:pt x="116" y="420"/>
                    </a:lnTo>
                    <a:lnTo>
                      <a:pt x="130" y="454"/>
                    </a:lnTo>
                    <a:lnTo>
                      <a:pt x="144" y="473"/>
                    </a:lnTo>
                    <a:lnTo>
                      <a:pt x="147" y="473"/>
                    </a:lnTo>
                    <a:lnTo>
                      <a:pt x="150" y="470"/>
                    </a:lnTo>
                    <a:lnTo>
                      <a:pt x="153" y="468"/>
                    </a:lnTo>
                    <a:lnTo>
                      <a:pt x="155" y="465"/>
                    </a:lnTo>
                    <a:lnTo>
                      <a:pt x="155" y="459"/>
                    </a:lnTo>
                    <a:lnTo>
                      <a:pt x="164" y="454"/>
                    </a:lnTo>
                    <a:lnTo>
                      <a:pt x="167" y="454"/>
                    </a:lnTo>
                    <a:lnTo>
                      <a:pt x="167" y="448"/>
                    </a:lnTo>
                    <a:lnTo>
                      <a:pt x="172" y="437"/>
                    </a:lnTo>
                    <a:lnTo>
                      <a:pt x="178" y="437"/>
                    </a:lnTo>
                    <a:lnTo>
                      <a:pt x="181" y="437"/>
                    </a:lnTo>
                    <a:lnTo>
                      <a:pt x="181" y="415"/>
                    </a:lnTo>
                    <a:lnTo>
                      <a:pt x="189" y="392"/>
                    </a:lnTo>
                    <a:lnTo>
                      <a:pt x="189" y="390"/>
                    </a:lnTo>
                    <a:lnTo>
                      <a:pt x="186" y="387"/>
                    </a:lnTo>
                    <a:lnTo>
                      <a:pt x="186" y="384"/>
                    </a:lnTo>
                    <a:lnTo>
                      <a:pt x="186" y="376"/>
                    </a:lnTo>
                    <a:lnTo>
                      <a:pt x="186" y="373"/>
                    </a:lnTo>
                    <a:lnTo>
                      <a:pt x="186" y="370"/>
                    </a:lnTo>
                    <a:lnTo>
                      <a:pt x="186" y="367"/>
                    </a:lnTo>
                    <a:lnTo>
                      <a:pt x="183" y="359"/>
                    </a:lnTo>
                    <a:lnTo>
                      <a:pt x="189" y="351"/>
                    </a:lnTo>
                    <a:lnTo>
                      <a:pt x="192" y="351"/>
                    </a:lnTo>
                    <a:lnTo>
                      <a:pt x="194" y="351"/>
                    </a:lnTo>
                    <a:lnTo>
                      <a:pt x="197" y="351"/>
                    </a:lnTo>
                    <a:lnTo>
                      <a:pt x="200" y="351"/>
                    </a:lnTo>
                    <a:lnTo>
                      <a:pt x="203" y="342"/>
                    </a:lnTo>
                    <a:lnTo>
                      <a:pt x="217" y="340"/>
                    </a:lnTo>
                    <a:lnTo>
                      <a:pt x="219" y="337"/>
                    </a:lnTo>
                    <a:lnTo>
                      <a:pt x="219" y="334"/>
                    </a:lnTo>
                    <a:lnTo>
                      <a:pt x="219" y="331"/>
                    </a:lnTo>
                    <a:lnTo>
                      <a:pt x="247" y="309"/>
                    </a:lnTo>
                    <a:lnTo>
                      <a:pt x="250" y="309"/>
                    </a:lnTo>
                    <a:lnTo>
                      <a:pt x="261" y="295"/>
                    </a:lnTo>
                    <a:lnTo>
                      <a:pt x="281" y="284"/>
                    </a:lnTo>
                    <a:lnTo>
                      <a:pt x="284" y="284"/>
                    </a:lnTo>
                    <a:lnTo>
                      <a:pt x="289" y="275"/>
                    </a:lnTo>
                    <a:lnTo>
                      <a:pt x="289" y="273"/>
                    </a:lnTo>
                    <a:lnTo>
                      <a:pt x="292" y="270"/>
                    </a:lnTo>
                    <a:lnTo>
                      <a:pt x="292" y="264"/>
                    </a:lnTo>
                    <a:lnTo>
                      <a:pt x="292" y="259"/>
                    </a:lnTo>
                    <a:lnTo>
                      <a:pt x="306" y="253"/>
                    </a:lnTo>
                    <a:lnTo>
                      <a:pt x="309" y="248"/>
                    </a:lnTo>
                    <a:lnTo>
                      <a:pt x="311" y="248"/>
                    </a:lnTo>
                    <a:lnTo>
                      <a:pt x="311" y="253"/>
                    </a:lnTo>
                    <a:lnTo>
                      <a:pt x="314" y="256"/>
                    </a:lnTo>
                    <a:lnTo>
                      <a:pt x="317" y="256"/>
                    </a:lnTo>
                    <a:lnTo>
                      <a:pt x="320" y="256"/>
                    </a:lnTo>
                    <a:lnTo>
                      <a:pt x="320" y="253"/>
                    </a:lnTo>
                    <a:lnTo>
                      <a:pt x="320" y="256"/>
                    </a:lnTo>
                    <a:lnTo>
                      <a:pt x="323" y="256"/>
                    </a:lnTo>
                    <a:lnTo>
                      <a:pt x="323" y="250"/>
                    </a:lnTo>
                    <a:lnTo>
                      <a:pt x="320" y="239"/>
                    </a:lnTo>
                    <a:lnTo>
                      <a:pt x="320" y="237"/>
                    </a:lnTo>
                    <a:lnTo>
                      <a:pt x="320" y="234"/>
                    </a:lnTo>
                    <a:lnTo>
                      <a:pt x="320" y="228"/>
                    </a:lnTo>
                    <a:lnTo>
                      <a:pt x="317" y="228"/>
                    </a:lnTo>
                    <a:lnTo>
                      <a:pt x="317" y="223"/>
                    </a:lnTo>
                    <a:lnTo>
                      <a:pt x="317" y="220"/>
                    </a:lnTo>
                    <a:lnTo>
                      <a:pt x="317" y="209"/>
                    </a:lnTo>
                    <a:lnTo>
                      <a:pt x="314" y="206"/>
                    </a:lnTo>
                    <a:lnTo>
                      <a:pt x="309" y="203"/>
                    </a:lnTo>
                    <a:lnTo>
                      <a:pt x="306" y="200"/>
                    </a:lnTo>
                    <a:lnTo>
                      <a:pt x="309" y="200"/>
                    </a:lnTo>
                    <a:lnTo>
                      <a:pt x="309" y="198"/>
                    </a:lnTo>
                    <a:lnTo>
                      <a:pt x="311" y="198"/>
                    </a:lnTo>
                    <a:lnTo>
                      <a:pt x="311" y="195"/>
                    </a:lnTo>
                    <a:lnTo>
                      <a:pt x="314" y="195"/>
                    </a:lnTo>
                    <a:lnTo>
                      <a:pt x="320" y="195"/>
                    </a:lnTo>
                    <a:lnTo>
                      <a:pt x="320" y="192"/>
                    </a:lnTo>
                    <a:lnTo>
                      <a:pt x="317" y="189"/>
                    </a:lnTo>
                    <a:lnTo>
                      <a:pt x="314" y="189"/>
                    </a:lnTo>
                    <a:lnTo>
                      <a:pt x="311" y="186"/>
                    </a:lnTo>
                    <a:lnTo>
                      <a:pt x="311" y="184"/>
                    </a:lnTo>
                    <a:lnTo>
                      <a:pt x="309" y="184"/>
                    </a:lnTo>
                    <a:lnTo>
                      <a:pt x="314" y="175"/>
                    </a:lnTo>
                    <a:lnTo>
                      <a:pt x="314" y="172"/>
                    </a:lnTo>
                    <a:lnTo>
                      <a:pt x="317" y="172"/>
                    </a:lnTo>
                    <a:lnTo>
                      <a:pt x="320" y="178"/>
                    </a:lnTo>
                    <a:lnTo>
                      <a:pt x="323" y="172"/>
                    </a:lnTo>
                    <a:lnTo>
                      <a:pt x="323" y="175"/>
                    </a:lnTo>
                    <a:lnTo>
                      <a:pt x="325" y="178"/>
                    </a:lnTo>
                    <a:lnTo>
                      <a:pt x="325" y="181"/>
                    </a:lnTo>
                    <a:lnTo>
                      <a:pt x="328" y="181"/>
                    </a:lnTo>
                    <a:lnTo>
                      <a:pt x="331" y="181"/>
                    </a:lnTo>
                    <a:lnTo>
                      <a:pt x="334" y="178"/>
                    </a:lnTo>
                    <a:lnTo>
                      <a:pt x="336" y="189"/>
                    </a:lnTo>
                    <a:lnTo>
                      <a:pt x="336" y="192"/>
                    </a:lnTo>
                    <a:lnTo>
                      <a:pt x="339" y="192"/>
                    </a:lnTo>
                    <a:lnTo>
                      <a:pt x="353" y="195"/>
                    </a:lnTo>
                    <a:lnTo>
                      <a:pt x="364" y="195"/>
                    </a:lnTo>
                    <a:lnTo>
                      <a:pt x="375" y="198"/>
                    </a:lnTo>
                    <a:lnTo>
                      <a:pt x="373" y="200"/>
                    </a:lnTo>
                    <a:lnTo>
                      <a:pt x="370" y="203"/>
                    </a:lnTo>
                    <a:lnTo>
                      <a:pt x="364" y="209"/>
                    </a:lnTo>
                    <a:lnTo>
                      <a:pt x="359" y="214"/>
                    </a:lnTo>
                    <a:lnTo>
                      <a:pt x="356" y="217"/>
                    </a:lnTo>
                    <a:lnTo>
                      <a:pt x="359" y="225"/>
                    </a:lnTo>
                    <a:lnTo>
                      <a:pt x="361" y="228"/>
                    </a:lnTo>
                    <a:lnTo>
                      <a:pt x="364" y="231"/>
                    </a:lnTo>
                    <a:lnTo>
                      <a:pt x="367" y="231"/>
                    </a:lnTo>
                    <a:lnTo>
                      <a:pt x="370" y="223"/>
                    </a:lnTo>
                    <a:lnTo>
                      <a:pt x="373" y="220"/>
                    </a:lnTo>
                    <a:lnTo>
                      <a:pt x="381" y="250"/>
                    </a:lnTo>
                    <a:lnTo>
                      <a:pt x="384" y="248"/>
                    </a:lnTo>
                    <a:lnTo>
                      <a:pt x="387" y="248"/>
                    </a:lnTo>
                    <a:lnTo>
                      <a:pt x="389" y="248"/>
                    </a:lnTo>
                    <a:lnTo>
                      <a:pt x="389" y="245"/>
                    </a:lnTo>
                    <a:lnTo>
                      <a:pt x="387" y="242"/>
                    </a:lnTo>
                    <a:lnTo>
                      <a:pt x="389" y="234"/>
                    </a:lnTo>
                    <a:lnTo>
                      <a:pt x="392" y="234"/>
                    </a:lnTo>
                    <a:lnTo>
                      <a:pt x="392" y="220"/>
                    </a:lnTo>
                    <a:lnTo>
                      <a:pt x="395" y="217"/>
                    </a:lnTo>
                    <a:lnTo>
                      <a:pt x="398" y="217"/>
                    </a:lnTo>
                    <a:lnTo>
                      <a:pt x="406" y="217"/>
                    </a:lnTo>
                    <a:lnTo>
                      <a:pt x="414" y="198"/>
                    </a:lnTo>
                    <a:lnTo>
                      <a:pt x="414" y="195"/>
                    </a:lnTo>
                    <a:lnTo>
                      <a:pt x="414" y="192"/>
                    </a:lnTo>
                    <a:lnTo>
                      <a:pt x="420" y="189"/>
                    </a:lnTo>
                    <a:lnTo>
                      <a:pt x="423" y="184"/>
                    </a:lnTo>
                    <a:lnTo>
                      <a:pt x="420" y="178"/>
                    </a:lnTo>
                    <a:lnTo>
                      <a:pt x="423" y="172"/>
                    </a:lnTo>
                    <a:lnTo>
                      <a:pt x="426" y="170"/>
                    </a:lnTo>
                    <a:lnTo>
                      <a:pt x="431" y="167"/>
                    </a:lnTo>
                    <a:lnTo>
                      <a:pt x="437" y="161"/>
                    </a:lnTo>
                    <a:lnTo>
                      <a:pt x="442" y="161"/>
                    </a:lnTo>
                    <a:lnTo>
                      <a:pt x="445" y="159"/>
                    </a:lnTo>
                    <a:lnTo>
                      <a:pt x="451" y="161"/>
                    </a:lnTo>
                    <a:lnTo>
                      <a:pt x="451" y="159"/>
                    </a:lnTo>
                    <a:lnTo>
                      <a:pt x="451" y="153"/>
                    </a:lnTo>
                    <a:lnTo>
                      <a:pt x="451" y="150"/>
                    </a:lnTo>
                    <a:lnTo>
                      <a:pt x="453" y="150"/>
                    </a:lnTo>
                    <a:lnTo>
                      <a:pt x="456" y="147"/>
                    </a:lnTo>
                    <a:lnTo>
                      <a:pt x="456" y="145"/>
                    </a:lnTo>
                    <a:lnTo>
                      <a:pt x="453" y="139"/>
                    </a:lnTo>
                    <a:lnTo>
                      <a:pt x="451" y="139"/>
                    </a:lnTo>
                    <a:lnTo>
                      <a:pt x="448" y="139"/>
                    </a:lnTo>
                    <a:lnTo>
                      <a:pt x="445" y="139"/>
                    </a:lnTo>
                    <a:lnTo>
                      <a:pt x="439" y="139"/>
                    </a:lnTo>
                    <a:lnTo>
                      <a:pt x="442" y="131"/>
                    </a:lnTo>
                    <a:lnTo>
                      <a:pt x="437" y="128"/>
                    </a:lnTo>
                    <a:lnTo>
                      <a:pt x="437" y="125"/>
                    </a:lnTo>
                    <a:lnTo>
                      <a:pt x="437" y="122"/>
                    </a:lnTo>
                    <a:lnTo>
                      <a:pt x="434" y="120"/>
                    </a:lnTo>
                    <a:lnTo>
                      <a:pt x="431" y="120"/>
                    </a:lnTo>
                    <a:lnTo>
                      <a:pt x="426" y="122"/>
                    </a:lnTo>
                    <a:lnTo>
                      <a:pt x="423" y="125"/>
                    </a:lnTo>
                    <a:lnTo>
                      <a:pt x="414" y="125"/>
                    </a:lnTo>
                    <a:lnTo>
                      <a:pt x="412" y="122"/>
                    </a:lnTo>
                    <a:lnTo>
                      <a:pt x="406" y="125"/>
                    </a:lnTo>
                    <a:lnTo>
                      <a:pt x="403" y="128"/>
                    </a:lnTo>
                    <a:lnTo>
                      <a:pt x="398" y="133"/>
                    </a:lnTo>
                    <a:lnTo>
                      <a:pt x="395" y="136"/>
                    </a:lnTo>
                    <a:lnTo>
                      <a:pt x="389" y="142"/>
                    </a:lnTo>
                    <a:lnTo>
                      <a:pt x="367" y="150"/>
                    </a:lnTo>
                    <a:lnTo>
                      <a:pt x="367" y="153"/>
                    </a:lnTo>
                    <a:lnTo>
                      <a:pt x="373" y="156"/>
                    </a:lnTo>
                    <a:lnTo>
                      <a:pt x="375" y="159"/>
                    </a:lnTo>
                    <a:lnTo>
                      <a:pt x="373" y="161"/>
                    </a:lnTo>
                    <a:lnTo>
                      <a:pt x="375" y="164"/>
                    </a:lnTo>
                    <a:lnTo>
                      <a:pt x="373" y="164"/>
                    </a:lnTo>
                    <a:lnTo>
                      <a:pt x="353" y="167"/>
                    </a:lnTo>
                    <a:lnTo>
                      <a:pt x="348" y="167"/>
                    </a:lnTo>
                    <a:lnTo>
                      <a:pt x="339" y="170"/>
                    </a:lnTo>
                    <a:lnTo>
                      <a:pt x="328" y="167"/>
                    </a:lnTo>
                    <a:lnTo>
                      <a:pt x="325" y="167"/>
                    </a:lnTo>
                    <a:lnTo>
                      <a:pt x="323" y="167"/>
                    </a:lnTo>
                    <a:lnTo>
                      <a:pt x="323" y="164"/>
                    </a:lnTo>
                    <a:lnTo>
                      <a:pt x="323" y="161"/>
                    </a:lnTo>
                    <a:lnTo>
                      <a:pt x="323" y="159"/>
                    </a:lnTo>
                    <a:lnTo>
                      <a:pt x="325" y="159"/>
                    </a:lnTo>
                    <a:lnTo>
                      <a:pt x="323" y="159"/>
                    </a:lnTo>
                    <a:lnTo>
                      <a:pt x="320" y="156"/>
                    </a:lnTo>
                    <a:lnTo>
                      <a:pt x="323" y="150"/>
                    </a:lnTo>
                    <a:lnTo>
                      <a:pt x="323" y="147"/>
                    </a:lnTo>
                    <a:lnTo>
                      <a:pt x="320" y="145"/>
                    </a:lnTo>
                    <a:lnTo>
                      <a:pt x="317" y="145"/>
                    </a:lnTo>
                    <a:lnTo>
                      <a:pt x="314" y="147"/>
                    </a:lnTo>
                    <a:lnTo>
                      <a:pt x="311" y="147"/>
                    </a:lnTo>
                    <a:lnTo>
                      <a:pt x="309" y="153"/>
                    </a:lnTo>
                    <a:lnTo>
                      <a:pt x="309" y="161"/>
                    </a:lnTo>
                    <a:lnTo>
                      <a:pt x="309" y="164"/>
                    </a:lnTo>
                    <a:lnTo>
                      <a:pt x="311" y="167"/>
                    </a:lnTo>
                    <a:lnTo>
                      <a:pt x="311" y="170"/>
                    </a:lnTo>
                    <a:lnTo>
                      <a:pt x="309" y="172"/>
                    </a:lnTo>
                    <a:lnTo>
                      <a:pt x="309" y="175"/>
                    </a:lnTo>
                    <a:lnTo>
                      <a:pt x="306" y="172"/>
                    </a:lnTo>
                    <a:lnTo>
                      <a:pt x="303" y="175"/>
                    </a:lnTo>
                    <a:lnTo>
                      <a:pt x="297" y="175"/>
                    </a:lnTo>
                    <a:lnTo>
                      <a:pt x="295" y="172"/>
                    </a:lnTo>
                    <a:lnTo>
                      <a:pt x="275" y="170"/>
                    </a:lnTo>
                    <a:lnTo>
                      <a:pt x="272" y="170"/>
                    </a:lnTo>
                    <a:lnTo>
                      <a:pt x="261" y="167"/>
                    </a:lnTo>
                    <a:lnTo>
                      <a:pt x="256" y="164"/>
                    </a:lnTo>
                    <a:lnTo>
                      <a:pt x="253" y="159"/>
                    </a:lnTo>
                    <a:lnTo>
                      <a:pt x="245" y="159"/>
                    </a:lnTo>
                    <a:lnTo>
                      <a:pt x="242" y="159"/>
                    </a:lnTo>
                    <a:lnTo>
                      <a:pt x="239" y="156"/>
                    </a:lnTo>
                    <a:lnTo>
                      <a:pt x="236" y="159"/>
                    </a:lnTo>
                    <a:lnTo>
                      <a:pt x="228" y="156"/>
                    </a:lnTo>
                    <a:lnTo>
                      <a:pt x="225" y="153"/>
                    </a:lnTo>
                    <a:lnTo>
                      <a:pt x="219" y="153"/>
                    </a:lnTo>
                    <a:lnTo>
                      <a:pt x="219" y="150"/>
                    </a:lnTo>
                    <a:lnTo>
                      <a:pt x="214" y="150"/>
                    </a:lnTo>
                    <a:lnTo>
                      <a:pt x="211" y="147"/>
                    </a:lnTo>
                    <a:lnTo>
                      <a:pt x="208" y="147"/>
                    </a:lnTo>
                    <a:lnTo>
                      <a:pt x="206" y="142"/>
                    </a:lnTo>
                    <a:lnTo>
                      <a:pt x="200" y="139"/>
                    </a:lnTo>
                    <a:lnTo>
                      <a:pt x="197" y="139"/>
                    </a:lnTo>
                    <a:lnTo>
                      <a:pt x="194" y="136"/>
                    </a:lnTo>
                    <a:lnTo>
                      <a:pt x="192" y="136"/>
                    </a:lnTo>
                    <a:lnTo>
                      <a:pt x="192" y="133"/>
                    </a:lnTo>
                    <a:lnTo>
                      <a:pt x="189" y="133"/>
                    </a:lnTo>
                    <a:lnTo>
                      <a:pt x="186" y="133"/>
                    </a:lnTo>
                    <a:lnTo>
                      <a:pt x="186" y="131"/>
                    </a:lnTo>
                    <a:lnTo>
                      <a:pt x="186" y="128"/>
                    </a:lnTo>
                    <a:lnTo>
                      <a:pt x="189" y="128"/>
                    </a:lnTo>
                    <a:lnTo>
                      <a:pt x="189" y="125"/>
                    </a:lnTo>
                    <a:lnTo>
                      <a:pt x="189" y="122"/>
                    </a:lnTo>
                    <a:lnTo>
                      <a:pt x="189" y="120"/>
                    </a:lnTo>
                    <a:lnTo>
                      <a:pt x="192" y="117"/>
                    </a:lnTo>
                    <a:lnTo>
                      <a:pt x="192" y="114"/>
                    </a:lnTo>
                    <a:lnTo>
                      <a:pt x="194" y="114"/>
                    </a:lnTo>
                    <a:lnTo>
                      <a:pt x="194" y="111"/>
                    </a:lnTo>
                    <a:lnTo>
                      <a:pt x="197" y="111"/>
                    </a:lnTo>
                    <a:lnTo>
                      <a:pt x="197" y="108"/>
                    </a:lnTo>
                    <a:lnTo>
                      <a:pt x="197" y="106"/>
                    </a:lnTo>
                    <a:lnTo>
                      <a:pt x="200" y="108"/>
                    </a:lnTo>
                    <a:lnTo>
                      <a:pt x="200" y="106"/>
                    </a:lnTo>
                    <a:lnTo>
                      <a:pt x="194" y="106"/>
                    </a:lnTo>
                    <a:lnTo>
                      <a:pt x="194" y="103"/>
                    </a:lnTo>
                    <a:lnTo>
                      <a:pt x="192" y="103"/>
                    </a:lnTo>
                    <a:lnTo>
                      <a:pt x="189" y="100"/>
                    </a:lnTo>
                    <a:lnTo>
                      <a:pt x="186" y="97"/>
                    </a:lnTo>
                    <a:lnTo>
                      <a:pt x="183" y="97"/>
                    </a:lnTo>
                    <a:lnTo>
                      <a:pt x="183" y="94"/>
                    </a:lnTo>
                    <a:lnTo>
                      <a:pt x="181" y="94"/>
                    </a:lnTo>
                    <a:lnTo>
                      <a:pt x="178" y="94"/>
                    </a:lnTo>
                    <a:lnTo>
                      <a:pt x="178" y="92"/>
                    </a:lnTo>
                    <a:lnTo>
                      <a:pt x="175" y="92"/>
                    </a:lnTo>
                    <a:lnTo>
                      <a:pt x="172" y="92"/>
                    </a:lnTo>
                    <a:lnTo>
                      <a:pt x="169" y="94"/>
                    </a:lnTo>
                    <a:lnTo>
                      <a:pt x="169" y="92"/>
                    </a:lnTo>
                    <a:lnTo>
                      <a:pt x="169" y="89"/>
                    </a:lnTo>
                    <a:lnTo>
                      <a:pt x="167" y="89"/>
                    </a:lnTo>
                    <a:lnTo>
                      <a:pt x="167" y="86"/>
                    </a:lnTo>
                    <a:lnTo>
                      <a:pt x="164" y="86"/>
                    </a:lnTo>
                    <a:lnTo>
                      <a:pt x="164" y="83"/>
                    </a:lnTo>
                    <a:lnTo>
                      <a:pt x="167" y="81"/>
                    </a:lnTo>
                    <a:lnTo>
                      <a:pt x="164" y="81"/>
                    </a:lnTo>
                    <a:lnTo>
                      <a:pt x="164" y="78"/>
                    </a:lnTo>
                    <a:lnTo>
                      <a:pt x="167" y="75"/>
                    </a:lnTo>
                    <a:lnTo>
                      <a:pt x="161" y="69"/>
                    </a:lnTo>
                    <a:lnTo>
                      <a:pt x="161" y="67"/>
                    </a:lnTo>
                    <a:lnTo>
                      <a:pt x="161" y="64"/>
                    </a:lnTo>
                    <a:lnTo>
                      <a:pt x="164" y="64"/>
                    </a:lnTo>
                    <a:lnTo>
                      <a:pt x="167" y="64"/>
                    </a:lnTo>
                    <a:lnTo>
                      <a:pt x="167" y="67"/>
                    </a:lnTo>
                    <a:lnTo>
                      <a:pt x="169" y="67"/>
                    </a:lnTo>
                    <a:lnTo>
                      <a:pt x="172" y="67"/>
                    </a:lnTo>
                    <a:lnTo>
                      <a:pt x="172" y="64"/>
                    </a:lnTo>
                    <a:lnTo>
                      <a:pt x="175" y="64"/>
                    </a:lnTo>
                    <a:lnTo>
                      <a:pt x="178" y="61"/>
                    </a:lnTo>
                    <a:lnTo>
                      <a:pt x="175" y="56"/>
                    </a:lnTo>
                    <a:lnTo>
                      <a:pt x="175" y="53"/>
                    </a:lnTo>
                    <a:lnTo>
                      <a:pt x="172" y="53"/>
                    </a:lnTo>
                    <a:lnTo>
                      <a:pt x="169" y="50"/>
                    </a:lnTo>
                    <a:lnTo>
                      <a:pt x="169" y="44"/>
                    </a:lnTo>
                    <a:lnTo>
                      <a:pt x="169" y="42"/>
                    </a:lnTo>
                    <a:lnTo>
                      <a:pt x="167" y="39"/>
                    </a:lnTo>
                    <a:lnTo>
                      <a:pt x="169" y="39"/>
                    </a:lnTo>
                    <a:lnTo>
                      <a:pt x="172" y="39"/>
                    </a:lnTo>
                    <a:lnTo>
                      <a:pt x="172" y="36"/>
                    </a:lnTo>
                    <a:lnTo>
                      <a:pt x="175" y="39"/>
                    </a:lnTo>
                    <a:lnTo>
                      <a:pt x="175" y="36"/>
                    </a:lnTo>
                    <a:lnTo>
                      <a:pt x="178" y="33"/>
                    </a:lnTo>
                    <a:lnTo>
                      <a:pt x="178" y="30"/>
                    </a:lnTo>
                    <a:lnTo>
                      <a:pt x="181" y="30"/>
                    </a:lnTo>
                    <a:lnTo>
                      <a:pt x="181" y="28"/>
                    </a:lnTo>
                    <a:lnTo>
                      <a:pt x="183" y="28"/>
                    </a:lnTo>
                    <a:lnTo>
                      <a:pt x="183" y="25"/>
                    </a:lnTo>
                    <a:lnTo>
                      <a:pt x="186" y="22"/>
                    </a:lnTo>
                    <a:lnTo>
                      <a:pt x="186" y="19"/>
                    </a:lnTo>
                    <a:lnTo>
                      <a:pt x="189" y="14"/>
                    </a:lnTo>
                    <a:lnTo>
                      <a:pt x="189" y="11"/>
                    </a:lnTo>
                    <a:lnTo>
                      <a:pt x="192" y="11"/>
                    </a:lnTo>
                    <a:lnTo>
                      <a:pt x="192" y="8"/>
                    </a:lnTo>
                    <a:lnTo>
                      <a:pt x="189" y="8"/>
                    </a:lnTo>
                    <a:lnTo>
                      <a:pt x="186" y="11"/>
                    </a:lnTo>
                    <a:lnTo>
                      <a:pt x="186" y="8"/>
                    </a:lnTo>
                    <a:lnTo>
                      <a:pt x="183" y="5"/>
                    </a:lnTo>
                    <a:lnTo>
                      <a:pt x="183" y="8"/>
                    </a:lnTo>
                    <a:lnTo>
                      <a:pt x="181" y="8"/>
                    </a:lnTo>
                    <a:lnTo>
                      <a:pt x="181" y="5"/>
                    </a:lnTo>
                    <a:lnTo>
                      <a:pt x="181" y="3"/>
                    </a:lnTo>
                    <a:lnTo>
                      <a:pt x="178" y="3"/>
                    </a:lnTo>
                    <a:lnTo>
                      <a:pt x="175" y="3"/>
                    </a:lnTo>
                    <a:lnTo>
                      <a:pt x="175" y="0"/>
                    </a:lnTo>
                    <a:lnTo>
                      <a:pt x="172" y="0"/>
                    </a:lnTo>
                    <a:lnTo>
                      <a:pt x="169" y="0"/>
                    </a:lnTo>
                    <a:lnTo>
                      <a:pt x="164" y="3"/>
                    </a:lnTo>
                    <a:lnTo>
                      <a:pt x="158" y="5"/>
                    </a:lnTo>
                    <a:lnTo>
                      <a:pt x="155" y="8"/>
                    </a:lnTo>
                    <a:lnTo>
                      <a:pt x="153" y="11"/>
                    </a:lnTo>
                    <a:lnTo>
                      <a:pt x="150" y="8"/>
                    </a:lnTo>
                    <a:lnTo>
                      <a:pt x="150" y="11"/>
                    </a:lnTo>
                    <a:lnTo>
                      <a:pt x="147" y="11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36" y="22"/>
                    </a:lnTo>
                    <a:lnTo>
                      <a:pt x="133" y="22"/>
                    </a:lnTo>
                    <a:lnTo>
                      <a:pt x="128" y="22"/>
                    </a:lnTo>
                    <a:lnTo>
                      <a:pt x="128" y="25"/>
                    </a:lnTo>
                    <a:lnTo>
                      <a:pt x="125" y="25"/>
                    </a:lnTo>
                    <a:lnTo>
                      <a:pt x="122" y="25"/>
                    </a:lnTo>
                    <a:lnTo>
                      <a:pt x="119" y="25"/>
                    </a:lnTo>
                    <a:lnTo>
                      <a:pt x="119" y="28"/>
                    </a:lnTo>
                    <a:lnTo>
                      <a:pt x="116" y="28"/>
                    </a:lnTo>
                    <a:lnTo>
                      <a:pt x="114" y="25"/>
                    </a:lnTo>
                    <a:lnTo>
                      <a:pt x="111" y="25"/>
                    </a:lnTo>
                    <a:lnTo>
                      <a:pt x="108" y="25"/>
                    </a:lnTo>
                    <a:lnTo>
                      <a:pt x="97" y="19"/>
                    </a:lnTo>
                    <a:lnTo>
                      <a:pt x="94" y="22"/>
                    </a:lnTo>
                    <a:lnTo>
                      <a:pt x="91" y="22"/>
                    </a:lnTo>
                    <a:lnTo>
                      <a:pt x="89" y="22"/>
                    </a:lnTo>
                    <a:lnTo>
                      <a:pt x="89" y="25"/>
                    </a:lnTo>
                    <a:lnTo>
                      <a:pt x="89" y="30"/>
                    </a:lnTo>
                    <a:lnTo>
                      <a:pt x="91" y="30"/>
                    </a:lnTo>
                    <a:lnTo>
                      <a:pt x="91" y="33"/>
                    </a:lnTo>
                    <a:lnTo>
                      <a:pt x="89" y="33"/>
                    </a:lnTo>
                    <a:lnTo>
                      <a:pt x="89" y="36"/>
                    </a:lnTo>
                    <a:lnTo>
                      <a:pt x="91" y="36"/>
                    </a:lnTo>
                    <a:lnTo>
                      <a:pt x="94" y="36"/>
                    </a:lnTo>
                    <a:lnTo>
                      <a:pt x="94" y="39"/>
                    </a:lnTo>
                    <a:lnTo>
                      <a:pt x="91" y="39"/>
                    </a:lnTo>
                    <a:lnTo>
                      <a:pt x="91" y="42"/>
                    </a:lnTo>
                    <a:lnTo>
                      <a:pt x="94" y="44"/>
                    </a:lnTo>
                    <a:lnTo>
                      <a:pt x="94" y="47"/>
                    </a:lnTo>
                    <a:lnTo>
                      <a:pt x="91" y="50"/>
                    </a:lnTo>
                    <a:lnTo>
                      <a:pt x="91" y="53"/>
                    </a:lnTo>
                    <a:lnTo>
                      <a:pt x="94" y="56"/>
                    </a:lnTo>
                    <a:lnTo>
                      <a:pt x="97" y="56"/>
                    </a:lnTo>
                    <a:lnTo>
                      <a:pt x="97" y="58"/>
                    </a:lnTo>
                    <a:lnTo>
                      <a:pt x="100" y="61"/>
                    </a:lnTo>
                    <a:lnTo>
                      <a:pt x="100" y="58"/>
                    </a:lnTo>
                    <a:lnTo>
                      <a:pt x="103" y="58"/>
                    </a:lnTo>
                    <a:lnTo>
                      <a:pt x="103" y="64"/>
                    </a:lnTo>
                    <a:lnTo>
                      <a:pt x="103" y="67"/>
                    </a:lnTo>
                    <a:lnTo>
                      <a:pt x="108" y="67"/>
                    </a:lnTo>
                    <a:lnTo>
                      <a:pt x="111" y="67"/>
                    </a:lnTo>
                    <a:lnTo>
                      <a:pt x="111" y="69"/>
                    </a:lnTo>
                    <a:lnTo>
                      <a:pt x="114" y="72"/>
                    </a:lnTo>
                    <a:lnTo>
                      <a:pt x="111" y="72"/>
                    </a:lnTo>
                    <a:lnTo>
                      <a:pt x="108" y="75"/>
                    </a:lnTo>
                    <a:lnTo>
                      <a:pt x="108" y="72"/>
                    </a:lnTo>
                    <a:lnTo>
                      <a:pt x="105" y="72"/>
                    </a:lnTo>
                    <a:lnTo>
                      <a:pt x="105" y="75"/>
                    </a:lnTo>
                    <a:lnTo>
                      <a:pt x="103" y="75"/>
                    </a:lnTo>
                    <a:lnTo>
                      <a:pt x="100" y="78"/>
                    </a:lnTo>
                    <a:lnTo>
                      <a:pt x="100" y="81"/>
                    </a:lnTo>
                    <a:lnTo>
                      <a:pt x="103" y="83"/>
                    </a:lnTo>
                    <a:lnTo>
                      <a:pt x="103" y="86"/>
                    </a:lnTo>
                    <a:lnTo>
                      <a:pt x="100" y="86"/>
                    </a:lnTo>
                    <a:lnTo>
                      <a:pt x="100" y="89"/>
                    </a:lnTo>
                    <a:lnTo>
                      <a:pt x="103" y="89"/>
                    </a:lnTo>
                    <a:lnTo>
                      <a:pt x="105" y="92"/>
                    </a:lnTo>
                    <a:lnTo>
                      <a:pt x="103" y="92"/>
                    </a:lnTo>
                    <a:lnTo>
                      <a:pt x="100" y="92"/>
                    </a:lnTo>
                    <a:lnTo>
                      <a:pt x="100" y="94"/>
                    </a:lnTo>
                    <a:lnTo>
                      <a:pt x="97" y="94"/>
                    </a:lnTo>
                    <a:lnTo>
                      <a:pt x="91" y="100"/>
                    </a:lnTo>
                    <a:lnTo>
                      <a:pt x="89" y="103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9" y="111"/>
                    </a:lnTo>
                    <a:lnTo>
                      <a:pt x="86" y="111"/>
                    </a:lnTo>
                    <a:lnTo>
                      <a:pt x="83" y="111"/>
                    </a:lnTo>
                    <a:lnTo>
                      <a:pt x="80" y="114"/>
                    </a:lnTo>
                    <a:lnTo>
                      <a:pt x="72" y="131"/>
                    </a:lnTo>
                    <a:lnTo>
                      <a:pt x="69" y="131"/>
                    </a:lnTo>
                    <a:lnTo>
                      <a:pt x="55" y="147"/>
                    </a:lnTo>
                    <a:lnTo>
                      <a:pt x="47" y="147"/>
                    </a:lnTo>
                    <a:lnTo>
                      <a:pt x="44" y="150"/>
                    </a:lnTo>
                    <a:lnTo>
                      <a:pt x="41" y="153"/>
                    </a:lnTo>
                    <a:lnTo>
                      <a:pt x="41" y="150"/>
                    </a:lnTo>
                    <a:lnTo>
                      <a:pt x="39" y="147"/>
                    </a:lnTo>
                    <a:lnTo>
                      <a:pt x="36" y="145"/>
                    </a:lnTo>
                    <a:lnTo>
                      <a:pt x="22" y="161"/>
                    </a:lnTo>
                    <a:lnTo>
                      <a:pt x="22" y="167"/>
                    </a:lnTo>
                    <a:lnTo>
                      <a:pt x="22" y="170"/>
                    </a:lnTo>
                    <a:lnTo>
                      <a:pt x="25" y="170"/>
                    </a:lnTo>
                    <a:lnTo>
                      <a:pt x="27" y="172"/>
                    </a:lnTo>
                    <a:lnTo>
                      <a:pt x="30" y="172"/>
                    </a:lnTo>
                    <a:lnTo>
                      <a:pt x="33" y="172"/>
                    </a:lnTo>
                    <a:lnTo>
                      <a:pt x="30" y="181"/>
                    </a:lnTo>
                    <a:lnTo>
                      <a:pt x="30" y="184"/>
                    </a:lnTo>
                    <a:lnTo>
                      <a:pt x="33" y="186"/>
                    </a:lnTo>
                    <a:lnTo>
                      <a:pt x="36" y="186"/>
                    </a:lnTo>
                    <a:lnTo>
                      <a:pt x="39" y="186"/>
                    </a:lnTo>
                    <a:lnTo>
                      <a:pt x="39" y="192"/>
                    </a:lnTo>
                    <a:lnTo>
                      <a:pt x="41" y="195"/>
                    </a:lnTo>
                    <a:lnTo>
                      <a:pt x="41" y="198"/>
                    </a:lnTo>
                    <a:lnTo>
                      <a:pt x="44" y="200"/>
                    </a:lnTo>
                    <a:lnTo>
                      <a:pt x="44" y="203"/>
                    </a:lnTo>
                    <a:lnTo>
                      <a:pt x="47" y="203"/>
                    </a:lnTo>
                    <a:lnTo>
                      <a:pt x="44" y="203"/>
                    </a:lnTo>
                    <a:lnTo>
                      <a:pt x="44" y="206"/>
                    </a:lnTo>
                    <a:lnTo>
                      <a:pt x="44" y="209"/>
                    </a:lnTo>
                    <a:lnTo>
                      <a:pt x="47" y="209"/>
                    </a:lnTo>
                    <a:lnTo>
                      <a:pt x="44" y="209"/>
                    </a:lnTo>
                    <a:lnTo>
                      <a:pt x="41" y="209"/>
                    </a:lnTo>
                    <a:lnTo>
                      <a:pt x="41" y="211"/>
                    </a:lnTo>
                    <a:lnTo>
                      <a:pt x="39" y="211"/>
                    </a:lnTo>
                    <a:lnTo>
                      <a:pt x="39" y="209"/>
                    </a:lnTo>
                    <a:lnTo>
                      <a:pt x="36" y="209"/>
                    </a:lnTo>
                    <a:lnTo>
                      <a:pt x="30" y="209"/>
                    </a:lnTo>
                    <a:lnTo>
                      <a:pt x="30" y="211"/>
                    </a:lnTo>
                    <a:lnTo>
                      <a:pt x="25" y="211"/>
                    </a:lnTo>
                    <a:lnTo>
                      <a:pt x="22" y="209"/>
                    </a:lnTo>
                    <a:lnTo>
                      <a:pt x="22" y="211"/>
                    </a:lnTo>
                    <a:lnTo>
                      <a:pt x="19" y="209"/>
                    </a:lnTo>
                    <a:lnTo>
                      <a:pt x="13" y="211"/>
                    </a:lnTo>
                    <a:lnTo>
                      <a:pt x="13" y="209"/>
                    </a:lnTo>
                    <a:lnTo>
                      <a:pt x="11" y="211"/>
                    </a:lnTo>
                    <a:lnTo>
                      <a:pt x="11" y="209"/>
                    </a:lnTo>
                    <a:lnTo>
                      <a:pt x="11" y="211"/>
                    </a:lnTo>
                    <a:lnTo>
                      <a:pt x="11" y="214"/>
                    </a:lnTo>
                    <a:lnTo>
                      <a:pt x="5" y="214"/>
                    </a:lnTo>
                    <a:lnTo>
                      <a:pt x="2" y="214"/>
                    </a:lnTo>
                    <a:lnTo>
                      <a:pt x="2" y="217"/>
                    </a:lnTo>
                    <a:lnTo>
                      <a:pt x="0" y="217"/>
                    </a:lnTo>
                    <a:lnTo>
                      <a:pt x="0" y="220"/>
                    </a:lnTo>
                    <a:lnTo>
                      <a:pt x="0" y="223"/>
                    </a:lnTo>
                    <a:lnTo>
                      <a:pt x="2" y="223"/>
                    </a:lnTo>
                    <a:lnTo>
                      <a:pt x="11" y="234"/>
                    </a:lnTo>
                    <a:lnTo>
                      <a:pt x="25" y="234"/>
                    </a:lnTo>
                    <a:lnTo>
                      <a:pt x="30" y="231"/>
                    </a:lnTo>
                    <a:lnTo>
                      <a:pt x="33" y="231"/>
                    </a:lnTo>
                    <a:lnTo>
                      <a:pt x="33" y="237"/>
                    </a:lnTo>
                    <a:lnTo>
                      <a:pt x="27" y="242"/>
                    </a:lnTo>
                    <a:lnTo>
                      <a:pt x="16" y="242"/>
                    </a:lnTo>
                    <a:lnTo>
                      <a:pt x="13" y="242"/>
                    </a:lnTo>
                    <a:lnTo>
                      <a:pt x="11" y="242"/>
                    </a:lnTo>
                    <a:lnTo>
                      <a:pt x="13" y="248"/>
                    </a:lnTo>
                    <a:lnTo>
                      <a:pt x="33" y="267"/>
                    </a:lnTo>
                    <a:lnTo>
                      <a:pt x="44" y="270"/>
                    </a:lnTo>
                    <a:lnTo>
                      <a:pt x="47" y="267"/>
                    </a:lnTo>
                    <a:lnTo>
                      <a:pt x="50" y="267"/>
                    </a:lnTo>
                    <a:lnTo>
                      <a:pt x="52" y="267"/>
                    </a:lnTo>
                    <a:lnTo>
                      <a:pt x="58" y="262"/>
                    </a:lnTo>
                    <a:lnTo>
                      <a:pt x="61" y="256"/>
                    </a:lnTo>
                    <a:lnTo>
                      <a:pt x="64" y="242"/>
                    </a:lnTo>
                    <a:lnTo>
                      <a:pt x="64" y="245"/>
                    </a:lnTo>
                    <a:lnTo>
                      <a:pt x="72" y="245"/>
                    </a:lnTo>
                    <a:lnTo>
                      <a:pt x="66" y="245"/>
                    </a:lnTo>
                    <a:lnTo>
                      <a:pt x="66" y="250"/>
                    </a:lnTo>
                    <a:lnTo>
                      <a:pt x="66" y="253"/>
                    </a:lnTo>
                    <a:lnTo>
                      <a:pt x="69" y="256"/>
                    </a:lnTo>
                    <a:lnTo>
                      <a:pt x="66" y="259"/>
                    </a:lnTo>
                    <a:lnTo>
                      <a:pt x="66" y="262"/>
                    </a:lnTo>
                    <a:lnTo>
                      <a:pt x="69" y="262"/>
                    </a:lnTo>
                    <a:lnTo>
                      <a:pt x="69" y="264"/>
                    </a:lnTo>
                    <a:lnTo>
                      <a:pt x="72" y="275"/>
                    </a:lnTo>
                    <a:lnTo>
                      <a:pt x="69" y="284"/>
                    </a:lnTo>
                    <a:lnTo>
                      <a:pt x="69" y="292"/>
                    </a:lnTo>
                    <a:lnTo>
                      <a:pt x="72" y="292"/>
                    </a:lnTo>
                    <a:lnTo>
                      <a:pt x="72" y="298"/>
                    </a:lnTo>
                    <a:lnTo>
                      <a:pt x="72" y="295"/>
                    </a:lnTo>
                    <a:lnTo>
                      <a:pt x="72" y="298"/>
                    </a:lnTo>
                    <a:lnTo>
                      <a:pt x="75" y="298"/>
                    </a:lnTo>
                    <a:lnTo>
                      <a:pt x="72" y="301"/>
                    </a:lnTo>
                    <a:lnTo>
                      <a:pt x="72" y="309"/>
                    </a:lnTo>
                    <a:lnTo>
                      <a:pt x="75" y="312"/>
                    </a:lnTo>
                    <a:lnTo>
                      <a:pt x="72" y="312"/>
                    </a:lnTo>
                    <a:lnTo>
                      <a:pt x="75" y="317"/>
                    </a:lnTo>
                    <a:lnTo>
                      <a:pt x="80" y="345"/>
                    </a:lnTo>
                    <a:lnTo>
                      <a:pt x="83" y="345"/>
                    </a:lnTo>
                    <a:lnTo>
                      <a:pt x="83" y="348"/>
                    </a:lnTo>
                    <a:lnTo>
                      <a:pt x="86" y="35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Freeform 214"/>
              <p:cNvSpPr>
                <a:spLocks noChangeAspect="1"/>
              </p:cNvSpPr>
              <p:nvPr>
                <p:custDataLst>
                  <p:tags r:id="rId967"/>
                </p:custDataLst>
              </p:nvPr>
            </p:nvSpPr>
            <p:spPr bwMode="gray">
              <a:xfrm>
                <a:off x="7291775" y="3673331"/>
                <a:ext cx="147290" cy="305887"/>
              </a:xfrm>
              <a:custGeom>
                <a:avLst/>
                <a:gdLst>
                  <a:gd name="T0" fmla="*/ 2147483647 w 114"/>
                  <a:gd name="T1" fmla="*/ 2147483647 h 237"/>
                  <a:gd name="T2" fmla="*/ 2147483647 w 114"/>
                  <a:gd name="T3" fmla="*/ 2147483647 h 237"/>
                  <a:gd name="T4" fmla="*/ 2147483647 w 114"/>
                  <a:gd name="T5" fmla="*/ 2147483647 h 237"/>
                  <a:gd name="T6" fmla="*/ 2147483647 w 114"/>
                  <a:gd name="T7" fmla="*/ 2147483647 h 237"/>
                  <a:gd name="T8" fmla="*/ 2147483647 w 114"/>
                  <a:gd name="T9" fmla="*/ 2147483647 h 237"/>
                  <a:gd name="T10" fmla="*/ 2147483647 w 114"/>
                  <a:gd name="T11" fmla="*/ 2147483647 h 237"/>
                  <a:gd name="T12" fmla="*/ 2147483647 w 114"/>
                  <a:gd name="T13" fmla="*/ 2147483647 h 237"/>
                  <a:gd name="T14" fmla="*/ 2147483647 w 114"/>
                  <a:gd name="T15" fmla="*/ 2147483647 h 237"/>
                  <a:gd name="T16" fmla="*/ 2147483647 w 114"/>
                  <a:gd name="T17" fmla="*/ 2147483647 h 237"/>
                  <a:gd name="T18" fmla="*/ 2147483647 w 114"/>
                  <a:gd name="T19" fmla="*/ 2147483647 h 237"/>
                  <a:gd name="T20" fmla="*/ 2147483647 w 114"/>
                  <a:gd name="T21" fmla="*/ 2147483647 h 237"/>
                  <a:gd name="T22" fmla="*/ 2147483647 w 114"/>
                  <a:gd name="T23" fmla="*/ 2147483647 h 237"/>
                  <a:gd name="T24" fmla="*/ 2147483647 w 114"/>
                  <a:gd name="T25" fmla="*/ 2147483647 h 237"/>
                  <a:gd name="T26" fmla="*/ 2147483647 w 114"/>
                  <a:gd name="T27" fmla="*/ 2147483647 h 237"/>
                  <a:gd name="T28" fmla="*/ 2147483647 w 114"/>
                  <a:gd name="T29" fmla="*/ 2147483647 h 237"/>
                  <a:gd name="T30" fmla="*/ 2147483647 w 114"/>
                  <a:gd name="T31" fmla="*/ 2147483647 h 237"/>
                  <a:gd name="T32" fmla="*/ 2147483647 w 114"/>
                  <a:gd name="T33" fmla="*/ 2147483647 h 237"/>
                  <a:gd name="T34" fmla="*/ 2147483647 w 114"/>
                  <a:gd name="T35" fmla="*/ 2147483647 h 237"/>
                  <a:gd name="T36" fmla="*/ 2147483647 w 114"/>
                  <a:gd name="T37" fmla="*/ 2147483647 h 237"/>
                  <a:gd name="T38" fmla="*/ 2147483647 w 114"/>
                  <a:gd name="T39" fmla="*/ 2147483647 h 237"/>
                  <a:gd name="T40" fmla="*/ 2147483647 w 114"/>
                  <a:gd name="T41" fmla="*/ 2147483647 h 237"/>
                  <a:gd name="T42" fmla="*/ 2147483647 w 114"/>
                  <a:gd name="T43" fmla="*/ 0 h 237"/>
                  <a:gd name="T44" fmla="*/ 2147483647 w 114"/>
                  <a:gd name="T45" fmla="*/ 2147483647 h 237"/>
                  <a:gd name="T46" fmla="*/ 2147483647 w 114"/>
                  <a:gd name="T47" fmla="*/ 2147483647 h 237"/>
                  <a:gd name="T48" fmla="*/ 2147483647 w 114"/>
                  <a:gd name="T49" fmla="*/ 2147483647 h 237"/>
                  <a:gd name="T50" fmla="*/ 2147483647 w 114"/>
                  <a:gd name="T51" fmla="*/ 2147483647 h 237"/>
                  <a:gd name="T52" fmla="*/ 2147483647 w 114"/>
                  <a:gd name="T53" fmla="*/ 2147483647 h 237"/>
                  <a:gd name="T54" fmla="*/ 2147483647 w 114"/>
                  <a:gd name="T55" fmla="*/ 2147483647 h 237"/>
                  <a:gd name="T56" fmla="*/ 2147483647 w 114"/>
                  <a:gd name="T57" fmla="*/ 2147483647 h 237"/>
                  <a:gd name="T58" fmla="*/ 2147483647 w 114"/>
                  <a:gd name="T59" fmla="*/ 2147483647 h 237"/>
                  <a:gd name="T60" fmla="*/ 2147483647 w 114"/>
                  <a:gd name="T61" fmla="*/ 2147483647 h 237"/>
                  <a:gd name="T62" fmla="*/ 2147483647 w 114"/>
                  <a:gd name="T63" fmla="*/ 2147483647 h 237"/>
                  <a:gd name="T64" fmla="*/ 2147483647 w 114"/>
                  <a:gd name="T65" fmla="*/ 2147483647 h 237"/>
                  <a:gd name="T66" fmla="*/ 2147483647 w 114"/>
                  <a:gd name="T67" fmla="*/ 2147483647 h 237"/>
                  <a:gd name="T68" fmla="*/ 2147483647 w 114"/>
                  <a:gd name="T69" fmla="*/ 2147483647 h 237"/>
                  <a:gd name="T70" fmla="*/ 2147483647 w 114"/>
                  <a:gd name="T71" fmla="*/ 2147483647 h 237"/>
                  <a:gd name="T72" fmla="*/ 2147483647 w 114"/>
                  <a:gd name="T73" fmla="*/ 2147483647 h 237"/>
                  <a:gd name="T74" fmla="*/ 2147483647 w 114"/>
                  <a:gd name="T75" fmla="*/ 2147483647 h 237"/>
                  <a:gd name="T76" fmla="*/ 2147483647 w 114"/>
                  <a:gd name="T77" fmla="*/ 2147483647 h 237"/>
                  <a:gd name="T78" fmla="*/ 2147483647 w 114"/>
                  <a:gd name="T79" fmla="*/ 2147483647 h 237"/>
                  <a:gd name="T80" fmla="*/ 2147483647 w 114"/>
                  <a:gd name="T81" fmla="*/ 2147483647 h 237"/>
                  <a:gd name="T82" fmla="*/ 2147483647 w 114"/>
                  <a:gd name="T83" fmla="*/ 2147483647 h 237"/>
                  <a:gd name="T84" fmla="*/ 2147483647 w 114"/>
                  <a:gd name="T85" fmla="*/ 2147483647 h 237"/>
                  <a:gd name="T86" fmla="*/ 2147483647 w 114"/>
                  <a:gd name="T87" fmla="*/ 2147483647 h 237"/>
                  <a:gd name="T88" fmla="*/ 2147483647 w 114"/>
                  <a:gd name="T89" fmla="*/ 2147483647 h 237"/>
                  <a:gd name="T90" fmla="*/ 2147483647 w 114"/>
                  <a:gd name="T91" fmla="*/ 2147483647 h 237"/>
                  <a:gd name="T92" fmla="*/ 2147483647 w 114"/>
                  <a:gd name="T93" fmla="*/ 2147483647 h 237"/>
                  <a:gd name="T94" fmla="*/ 2147483647 w 114"/>
                  <a:gd name="T95" fmla="*/ 2147483647 h 237"/>
                  <a:gd name="T96" fmla="*/ 2147483647 w 114"/>
                  <a:gd name="T97" fmla="*/ 2147483647 h 237"/>
                  <a:gd name="T98" fmla="*/ 2147483647 w 114"/>
                  <a:gd name="T99" fmla="*/ 2147483647 h 23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14"/>
                  <a:gd name="T151" fmla="*/ 0 h 237"/>
                  <a:gd name="T152" fmla="*/ 114 w 114"/>
                  <a:gd name="T153" fmla="*/ 237 h 23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14" h="237">
                    <a:moveTo>
                      <a:pt x="66" y="220"/>
                    </a:moveTo>
                    <a:lnTo>
                      <a:pt x="69" y="220"/>
                    </a:lnTo>
                    <a:lnTo>
                      <a:pt x="69" y="217"/>
                    </a:lnTo>
                    <a:lnTo>
                      <a:pt x="69" y="215"/>
                    </a:lnTo>
                    <a:lnTo>
                      <a:pt x="72" y="215"/>
                    </a:lnTo>
                    <a:lnTo>
                      <a:pt x="72" y="212"/>
                    </a:lnTo>
                    <a:lnTo>
                      <a:pt x="72" y="209"/>
                    </a:lnTo>
                    <a:lnTo>
                      <a:pt x="75" y="209"/>
                    </a:lnTo>
                    <a:lnTo>
                      <a:pt x="77" y="206"/>
                    </a:lnTo>
                    <a:lnTo>
                      <a:pt x="80" y="209"/>
                    </a:lnTo>
                    <a:lnTo>
                      <a:pt x="91" y="203"/>
                    </a:lnTo>
                    <a:lnTo>
                      <a:pt x="94" y="201"/>
                    </a:lnTo>
                    <a:lnTo>
                      <a:pt x="103" y="195"/>
                    </a:lnTo>
                    <a:lnTo>
                      <a:pt x="105" y="195"/>
                    </a:lnTo>
                    <a:lnTo>
                      <a:pt x="108" y="192"/>
                    </a:lnTo>
                    <a:lnTo>
                      <a:pt x="108" y="189"/>
                    </a:lnTo>
                    <a:lnTo>
                      <a:pt x="111" y="187"/>
                    </a:lnTo>
                    <a:lnTo>
                      <a:pt x="111" y="184"/>
                    </a:lnTo>
                    <a:lnTo>
                      <a:pt x="111" y="176"/>
                    </a:lnTo>
                    <a:lnTo>
                      <a:pt x="111" y="173"/>
                    </a:lnTo>
                    <a:lnTo>
                      <a:pt x="114" y="173"/>
                    </a:lnTo>
                    <a:lnTo>
                      <a:pt x="114" y="167"/>
                    </a:lnTo>
                    <a:lnTo>
                      <a:pt x="111" y="167"/>
                    </a:lnTo>
                    <a:lnTo>
                      <a:pt x="105" y="131"/>
                    </a:lnTo>
                    <a:lnTo>
                      <a:pt x="97" y="120"/>
                    </a:lnTo>
                    <a:lnTo>
                      <a:pt x="97" y="117"/>
                    </a:lnTo>
                    <a:lnTo>
                      <a:pt x="94" y="117"/>
                    </a:lnTo>
                    <a:lnTo>
                      <a:pt x="91" y="114"/>
                    </a:lnTo>
                    <a:lnTo>
                      <a:pt x="89" y="114"/>
                    </a:lnTo>
                    <a:lnTo>
                      <a:pt x="69" y="92"/>
                    </a:lnTo>
                    <a:lnTo>
                      <a:pt x="66" y="84"/>
                    </a:lnTo>
                    <a:lnTo>
                      <a:pt x="58" y="78"/>
                    </a:lnTo>
                    <a:lnTo>
                      <a:pt x="55" y="73"/>
                    </a:lnTo>
                    <a:lnTo>
                      <a:pt x="61" y="56"/>
                    </a:lnTo>
                    <a:lnTo>
                      <a:pt x="69" y="47"/>
                    </a:lnTo>
                    <a:lnTo>
                      <a:pt x="72" y="45"/>
                    </a:lnTo>
                    <a:lnTo>
                      <a:pt x="75" y="39"/>
                    </a:lnTo>
                    <a:lnTo>
                      <a:pt x="83" y="36"/>
                    </a:lnTo>
                    <a:lnTo>
                      <a:pt x="83" y="34"/>
                    </a:lnTo>
                    <a:lnTo>
                      <a:pt x="89" y="31"/>
                    </a:lnTo>
                    <a:lnTo>
                      <a:pt x="91" y="31"/>
                    </a:lnTo>
                    <a:lnTo>
                      <a:pt x="89" y="28"/>
                    </a:lnTo>
                    <a:lnTo>
                      <a:pt x="80" y="28"/>
                    </a:lnTo>
                    <a:lnTo>
                      <a:pt x="80" y="25"/>
                    </a:lnTo>
                    <a:lnTo>
                      <a:pt x="72" y="22"/>
                    </a:lnTo>
                    <a:lnTo>
                      <a:pt x="72" y="20"/>
                    </a:lnTo>
                    <a:lnTo>
                      <a:pt x="69" y="14"/>
                    </a:lnTo>
                    <a:lnTo>
                      <a:pt x="72" y="11"/>
                    </a:lnTo>
                    <a:lnTo>
                      <a:pt x="69" y="9"/>
                    </a:lnTo>
                    <a:lnTo>
                      <a:pt x="61" y="6"/>
                    </a:lnTo>
                    <a:lnTo>
                      <a:pt x="50" y="0"/>
                    </a:lnTo>
                    <a:lnTo>
                      <a:pt x="47" y="0"/>
                    </a:lnTo>
                    <a:lnTo>
                      <a:pt x="41" y="6"/>
                    </a:lnTo>
                    <a:lnTo>
                      <a:pt x="36" y="9"/>
                    </a:lnTo>
                    <a:lnTo>
                      <a:pt x="33" y="9"/>
                    </a:lnTo>
                    <a:lnTo>
                      <a:pt x="30" y="11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2" y="11"/>
                    </a:lnTo>
                    <a:lnTo>
                      <a:pt x="22" y="9"/>
                    </a:lnTo>
                    <a:lnTo>
                      <a:pt x="19" y="9"/>
                    </a:lnTo>
                    <a:lnTo>
                      <a:pt x="16" y="11"/>
                    </a:lnTo>
                    <a:lnTo>
                      <a:pt x="13" y="11"/>
                    </a:lnTo>
                    <a:lnTo>
                      <a:pt x="11" y="11"/>
                    </a:lnTo>
                    <a:lnTo>
                      <a:pt x="8" y="9"/>
                    </a:lnTo>
                    <a:lnTo>
                      <a:pt x="5" y="9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13" y="28"/>
                    </a:lnTo>
                    <a:lnTo>
                      <a:pt x="13" y="34"/>
                    </a:lnTo>
                    <a:lnTo>
                      <a:pt x="16" y="39"/>
                    </a:lnTo>
                    <a:lnTo>
                      <a:pt x="22" y="39"/>
                    </a:lnTo>
                    <a:lnTo>
                      <a:pt x="27" y="39"/>
                    </a:lnTo>
                    <a:lnTo>
                      <a:pt x="33" y="39"/>
                    </a:lnTo>
                    <a:lnTo>
                      <a:pt x="36" y="45"/>
                    </a:lnTo>
                    <a:lnTo>
                      <a:pt x="39" y="47"/>
                    </a:lnTo>
                    <a:lnTo>
                      <a:pt x="41" y="50"/>
                    </a:lnTo>
                    <a:lnTo>
                      <a:pt x="41" y="53"/>
                    </a:lnTo>
                    <a:lnTo>
                      <a:pt x="41" y="56"/>
                    </a:lnTo>
                    <a:lnTo>
                      <a:pt x="39" y="59"/>
                    </a:lnTo>
                    <a:lnTo>
                      <a:pt x="33" y="59"/>
                    </a:lnTo>
                    <a:lnTo>
                      <a:pt x="30" y="59"/>
                    </a:lnTo>
                    <a:lnTo>
                      <a:pt x="30" y="61"/>
                    </a:lnTo>
                    <a:lnTo>
                      <a:pt x="30" y="64"/>
                    </a:lnTo>
                    <a:lnTo>
                      <a:pt x="47" y="75"/>
                    </a:lnTo>
                    <a:lnTo>
                      <a:pt x="47" y="81"/>
                    </a:lnTo>
                    <a:lnTo>
                      <a:pt x="55" y="86"/>
                    </a:lnTo>
                    <a:lnTo>
                      <a:pt x="55" y="89"/>
                    </a:lnTo>
                    <a:lnTo>
                      <a:pt x="61" y="95"/>
                    </a:lnTo>
                    <a:lnTo>
                      <a:pt x="66" y="98"/>
                    </a:lnTo>
                    <a:lnTo>
                      <a:pt x="69" y="106"/>
                    </a:lnTo>
                    <a:lnTo>
                      <a:pt x="69" y="109"/>
                    </a:lnTo>
                    <a:lnTo>
                      <a:pt x="72" y="109"/>
                    </a:lnTo>
                    <a:lnTo>
                      <a:pt x="77" y="114"/>
                    </a:lnTo>
                    <a:lnTo>
                      <a:pt x="83" y="128"/>
                    </a:lnTo>
                    <a:lnTo>
                      <a:pt x="83" y="156"/>
                    </a:lnTo>
                    <a:lnTo>
                      <a:pt x="86" y="159"/>
                    </a:lnTo>
                    <a:lnTo>
                      <a:pt x="86" y="176"/>
                    </a:lnTo>
                    <a:lnTo>
                      <a:pt x="83" y="178"/>
                    </a:lnTo>
                    <a:lnTo>
                      <a:pt x="80" y="178"/>
                    </a:lnTo>
                    <a:lnTo>
                      <a:pt x="75" y="181"/>
                    </a:lnTo>
                    <a:lnTo>
                      <a:pt x="69" y="184"/>
                    </a:lnTo>
                    <a:lnTo>
                      <a:pt x="69" y="187"/>
                    </a:lnTo>
                    <a:lnTo>
                      <a:pt x="61" y="189"/>
                    </a:lnTo>
                    <a:lnTo>
                      <a:pt x="58" y="192"/>
                    </a:lnTo>
                    <a:lnTo>
                      <a:pt x="61" y="198"/>
                    </a:lnTo>
                    <a:lnTo>
                      <a:pt x="55" y="198"/>
                    </a:lnTo>
                    <a:lnTo>
                      <a:pt x="52" y="201"/>
                    </a:lnTo>
                    <a:lnTo>
                      <a:pt x="50" y="201"/>
                    </a:lnTo>
                    <a:lnTo>
                      <a:pt x="47" y="201"/>
                    </a:lnTo>
                    <a:lnTo>
                      <a:pt x="44" y="203"/>
                    </a:lnTo>
                    <a:lnTo>
                      <a:pt x="44" y="206"/>
                    </a:lnTo>
                    <a:lnTo>
                      <a:pt x="39" y="206"/>
                    </a:lnTo>
                    <a:lnTo>
                      <a:pt x="39" y="212"/>
                    </a:lnTo>
                    <a:lnTo>
                      <a:pt x="44" y="212"/>
                    </a:lnTo>
                    <a:lnTo>
                      <a:pt x="47" y="215"/>
                    </a:lnTo>
                    <a:lnTo>
                      <a:pt x="44" y="220"/>
                    </a:lnTo>
                    <a:lnTo>
                      <a:pt x="44" y="228"/>
                    </a:lnTo>
                    <a:lnTo>
                      <a:pt x="44" y="234"/>
                    </a:lnTo>
                    <a:lnTo>
                      <a:pt x="44" y="237"/>
                    </a:lnTo>
                    <a:lnTo>
                      <a:pt x="47" y="237"/>
                    </a:lnTo>
                    <a:lnTo>
                      <a:pt x="55" y="228"/>
                    </a:lnTo>
                    <a:lnTo>
                      <a:pt x="64" y="226"/>
                    </a:lnTo>
                    <a:lnTo>
                      <a:pt x="64" y="223"/>
                    </a:lnTo>
                    <a:lnTo>
                      <a:pt x="64" y="220"/>
                    </a:lnTo>
                    <a:lnTo>
                      <a:pt x="66" y="2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Freeform 215"/>
              <p:cNvSpPr>
                <a:spLocks noChangeAspect="1"/>
              </p:cNvSpPr>
              <p:nvPr>
                <p:custDataLst>
                  <p:tags r:id="rId968"/>
                </p:custDataLst>
              </p:nvPr>
            </p:nvSpPr>
            <p:spPr bwMode="gray">
              <a:xfrm>
                <a:off x="7779200" y="3315410"/>
                <a:ext cx="69849" cy="102489"/>
              </a:xfrm>
              <a:custGeom>
                <a:avLst/>
                <a:gdLst>
                  <a:gd name="T0" fmla="*/ 2147483647 w 53"/>
                  <a:gd name="T1" fmla="*/ 2147483647 h 80"/>
                  <a:gd name="T2" fmla="*/ 2147483647 w 53"/>
                  <a:gd name="T3" fmla="*/ 2147483647 h 80"/>
                  <a:gd name="T4" fmla="*/ 2147483647 w 53"/>
                  <a:gd name="T5" fmla="*/ 2147483647 h 80"/>
                  <a:gd name="T6" fmla="*/ 2147483647 w 53"/>
                  <a:gd name="T7" fmla="*/ 2147483647 h 80"/>
                  <a:gd name="T8" fmla="*/ 2147483647 w 53"/>
                  <a:gd name="T9" fmla="*/ 2147483647 h 80"/>
                  <a:gd name="T10" fmla="*/ 2147483647 w 53"/>
                  <a:gd name="T11" fmla="*/ 2147483647 h 80"/>
                  <a:gd name="T12" fmla="*/ 2147483647 w 53"/>
                  <a:gd name="T13" fmla="*/ 2147483647 h 80"/>
                  <a:gd name="T14" fmla="*/ 2147483647 w 53"/>
                  <a:gd name="T15" fmla="*/ 2147483647 h 80"/>
                  <a:gd name="T16" fmla="*/ 2147483647 w 53"/>
                  <a:gd name="T17" fmla="*/ 2147483647 h 80"/>
                  <a:gd name="T18" fmla="*/ 2147483647 w 53"/>
                  <a:gd name="T19" fmla="*/ 2147483647 h 80"/>
                  <a:gd name="T20" fmla="*/ 2147483647 w 53"/>
                  <a:gd name="T21" fmla="*/ 2147483647 h 80"/>
                  <a:gd name="T22" fmla="*/ 2147483647 w 53"/>
                  <a:gd name="T23" fmla="*/ 2147483647 h 80"/>
                  <a:gd name="T24" fmla="*/ 2147483647 w 53"/>
                  <a:gd name="T25" fmla="*/ 2147483647 h 80"/>
                  <a:gd name="T26" fmla="*/ 2147483647 w 53"/>
                  <a:gd name="T27" fmla="*/ 2147483647 h 80"/>
                  <a:gd name="T28" fmla="*/ 2147483647 w 53"/>
                  <a:gd name="T29" fmla="*/ 2147483647 h 80"/>
                  <a:gd name="T30" fmla="*/ 2147483647 w 53"/>
                  <a:gd name="T31" fmla="*/ 2147483647 h 80"/>
                  <a:gd name="T32" fmla="*/ 2147483647 w 53"/>
                  <a:gd name="T33" fmla="*/ 2147483647 h 80"/>
                  <a:gd name="T34" fmla="*/ 2147483647 w 53"/>
                  <a:gd name="T35" fmla="*/ 2147483647 h 80"/>
                  <a:gd name="T36" fmla="*/ 2147483647 w 53"/>
                  <a:gd name="T37" fmla="*/ 2147483647 h 80"/>
                  <a:gd name="T38" fmla="*/ 2147483647 w 53"/>
                  <a:gd name="T39" fmla="*/ 2147483647 h 80"/>
                  <a:gd name="T40" fmla="*/ 2147483647 w 53"/>
                  <a:gd name="T41" fmla="*/ 2147483647 h 80"/>
                  <a:gd name="T42" fmla="*/ 2147483647 w 53"/>
                  <a:gd name="T43" fmla="*/ 2147483647 h 80"/>
                  <a:gd name="T44" fmla="*/ 2147483647 w 53"/>
                  <a:gd name="T45" fmla="*/ 2147483647 h 80"/>
                  <a:gd name="T46" fmla="*/ 2147483647 w 53"/>
                  <a:gd name="T47" fmla="*/ 2147483647 h 80"/>
                  <a:gd name="T48" fmla="*/ 2147483647 w 53"/>
                  <a:gd name="T49" fmla="*/ 2147483647 h 80"/>
                  <a:gd name="T50" fmla="*/ 2147483647 w 53"/>
                  <a:gd name="T51" fmla="*/ 2147483647 h 80"/>
                  <a:gd name="T52" fmla="*/ 0 w 53"/>
                  <a:gd name="T53" fmla="*/ 2147483647 h 80"/>
                  <a:gd name="T54" fmla="*/ 0 w 53"/>
                  <a:gd name="T55" fmla="*/ 2147483647 h 80"/>
                  <a:gd name="T56" fmla="*/ 2147483647 w 53"/>
                  <a:gd name="T57" fmla="*/ 2147483647 h 80"/>
                  <a:gd name="T58" fmla="*/ 2147483647 w 53"/>
                  <a:gd name="T59" fmla="*/ 2147483647 h 80"/>
                  <a:gd name="T60" fmla="*/ 2147483647 w 53"/>
                  <a:gd name="T61" fmla="*/ 2147483647 h 80"/>
                  <a:gd name="T62" fmla="*/ 2147483647 w 53"/>
                  <a:gd name="T63" fmla="*/ 2147483647 h 80"/>
                  <a:gd name="T64" fmla="*/ 2147483647 w 53"/>
                  <a:gd name="T65" fmla="*/ 2147483647 h 80"/>
                  <a:gd name="T66" fmla="*/ 2147483647 w 53"/>
                  <a:gd name="T67" fmla="*/ 2147483647 h 80"/>
                  <a:gd name="T68" fmla="*/ 2147483647 w 53"/>
                  <a:gd name="T69" fmla="*/ 2147483647 h 80"/>
                  <a:gd name="T70" fmla="*/ 2147483647 w 53"/>
                  <a:gd name="T71" fmla="*/ 2147483647 h 80"/>
                  <a:gd name="T72" fmla="*/ 2147483647 w 53"/>
                  <a:gd name="T73" fmla="*/ 2147483647 h 80"/>
                  <a:gd name="T74" fmla="*/ 2147483647 w 53"/>
                  <a:gd name="T75" fmla="*/ 2147483647 h 80"/>
                  <a:gd name="T76" fmla="*/ 2147483647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80"/>
                  <a:gd name="T119" fmla="*/ 53 w 53"/>
                  <a:gd name="T120" fmla="*/ 80 h 8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80">
                    <a:moveTo>
                      <a:pt x="37" y="0"/>
                    </a:moveTo>
                    <a:lnTo>
                      <a:pt x="51" y="28"/>
                    </a:lnTo>
                    <a:lnTo>
                      <a:pt x="53" y="50"/>
                    </a:lnTo>
                    <a:lnTo>
                      <a:pt x="51" y="61"/>
                    </a:lnTo>
                    <a:lnTo>
                      <a:pt x="48" y="64"/>
                    </a:lnTo>
                    <a:lnTo>
                      <a:pt x="39" y="67"/>
                    </a:lnTo>
                    <a:lnTo>
                      <a:pt x="34" y="72"/>
                    </a:lnTo>
                    <a:lnTo>
                      <a:pt x="34" y="69"/>
                    </a:lnTo>
                    <a:lnTo>
                      <a:pt x="31" y="69"/>
                    </a:lnTo>
                    <a:lnTo>
                      <a:pt x="28" y="69"/>
                    </a:lnTo>
                    <a:lnTo>
                      <a:pt x="23" y="69"/>
                    </a:lnTo>
                    <a:lnTo>
                      <a:pt x="25" y="72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2"/>
                    </a:lnTo>
                    <a:lnTo>
                      <a:pt x="20" y="72"/>
                    </a:lnTo>
                    <a:lnTo>
                      <a:pt x="20" y="78"/>
                    </a:lnTo>
                    <a:lnTo>
                      <a:pt x="17" y="78"/>
                    </a:lnTo>
                    <a:lnTo>
                      <a:pt x="20" y="75"/>
                    </a:lnTo>
                    <a:lnTo>
                      <a:pt x="20" y="72"/>
                    </a:lnTo>
                    <a:lnTo>
                      <a:pt x="14" y="75"/>
                    </a:lnTo>
                    <a:lnTo>
                      <a:pt x="12" y="78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3" y="80"/>
                    </a:lnTo>
                    <a:lnTo>
                      <a:pt x="0" y="80"/>
                    </a:lnTo>
                    <a:lnTo>
                      <a:pt x="3" y="75"/>
                    </a:lnTo>
                    <a:lnTo>
                      <a:pt x="6" y="75"/>
                    </a:lnTo>
                    <a:lnTo>
                      <a:pt x="6" y="72"/>
                    </a:lnTo>
                    <a:lnTo>
                      <a:pt x="3" y="72"/>
                    </a:lnTo>
                    <a:lnTo>
                      <a:pt x="3" y="69"/>
                    </a:lnTo>
                    <a:lnTo>
                      <a:pt x="6" y="67"/>
                    </a:lnTo>
                    <a:lnTo>
                      <a:pt x="6" y="64"/>
                    </a:lnTo>
                    <a:lnTo>
                      <a:pt x="9" y="58"/>
                    </a:lnTo>
                    <a:lnTo>
                      <a:pt x="6" y="58"/>
                    </a:lnTo>
                    <a:lnTo>
                      <a:pt x="9" y="55"/>
                    </a:lnTo>
                    <a:lnTo>
                      <a:pt x="9" y="53"/>
                    </a:lnTo>
                    <a:lnTo>
                      <a:pt x="9" y="50"/>
                    </a:lnTo>
                    <a:lnTo>
                      <a:pt x="6" y="47"/>
                    </a:lnTo>
                    <a:lnTo>
                      <a:pt x="6" y="36"/>
                    </a:lnTo>
                    <a:lnTo>
                      <a:pt x="3" y="36"/>
                    </a:lnTo>
                    <a:lnTo>
                      <a:pt x="3" y="39"/>
                    </a:lnTo>
                    <a:lnTo>
                      <a:pt x="3" y="41"/>
                    </a:lnTo>
                    <a:lnTo>
                      <a:pt x="0" y="39"/>
                    </a:lnTo>
                    <a:lnTo>
                      <a:pt x="0" y="36"/>
                    </a:lnTo>
                    <a:lnTo>
                      <a:pt x="3" y="33"/>
                    </a:lnTo>
                    <a:lnTo>
                      <a:pt x="9" y="30"/>
                    </a:lnTo>
                    <a:lnTo>
                      <a:pt x="12" y="33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9" y="28"/>
                    </a:lnTo>
                    <a:lnTo>
                      <a:pt x="12" y="25"/>
                    </a:lnTo>
                    <a:lnTo>
                      <a:pt x="9" y="25"/>
                    </a:lnTo>
                    <a:lnTo>
                      <a:pt x="6" y="22"/>
                    </a:lnTo>
                    <a:lnTo>
                      <a:pt x="9" y="19"/>
                    </a:lnTo>
                    <a:lnTo>
                      <a:pt x="6" y="19"/>
                    </a:lnTo>
                    <a:lnTo>
                      <a:pt x="6" y="16"/>
                    </a:lnTo>
                    <a:lnTo>
                      <a:pt x="17" y="8"/>
                    </a:lnTo>
                    <a:lnTo>
                      <a:pt x="25" y="8"/>
                    </a:lnTo>
                    <a:lnTo>
                      <a:pt x="31" y="5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Freeform 216"/>
              <p:cNvSpPr>
                <a:spLocks noChangeAspect="1"/>
              </p:cNvSpPr>
              <p:nvPr>
                <p:custDataLst>
                  <p:tags r:id="rId969"/>
                </p:custDataLst>
              </p:nvPr>
            </p:nvSpPr>
            <p:spPr bwMode="gray">
              <a:xfrm>
                <a:off x="7443620" y="4009177"/>
                <a:ext cx="194362" cy="122985"/>
              </a:xfrm>
              <a:custGeom>
                <a:avLst/>
                <a:gdLst>
                  <a:gd name="T0" fmla="*/ 2147483647 w 151"/>
                  <a:gd name="T1" fmla="*/ 2147483647 h 95"/>
                  <a:gd name="T2" fmla="*/ 2147483647 w 151"/>
                  <a:gd name="T3" fmla="*/ 2147483647 h 95"/>
                  <a:gd name="T4" fmla="*/ 2147483647 w 151"/>
                  <a:gd name="T5" fmla="*/ 2147483647 h 95"/>
                  <a:gd name="T6" fmla="*/ 2147483647 w 151"/>
                  <a:gd name="T7" fmla="*/ 2147483647 h 95"/>
                  <a:gd name="T8" fmla="*/ 2147483647 w 151"/>
                  <a:gd name="T9" fmla="*/ 2147483647 h 95"/>
                  <a:gd name="T10" fmla="*/ 2147483647 w 151"/>
                  <a:gd name="T11" fmla="*/ 2147483647 h 95"/>
                  <a:gd name="T12" fmla="*/ 2147483647 w 151"/>
                  <a:gd name="T13" fmla="*/ 2147483647 h 95"/>
                  <a:gd name="T14" fmla="*/ 2147483647 w 151"/>
                  <a:gd name="T15" fmla="*/ 2147483647 h 95"/>
                  <a:gd name="T16" fmla="*/ 2147483647 w 151"/>
                  <a:gd name="T17" fmla="*/ 2147483647 h 95"/>
                  <a:gd name="T18" fmla="*/ 2147483647 w 151"/>
                  <a:gd name="T19" fmla="*/ 2147483647 h 95"/>
                  <a:gd name="T20" fmla="*/ 2147483647 w 151"/>
                  <a:gd name="T21" fmla="*/ 0 h 95"/>
                  <a:gd name="T22" fmla="*/ 2147483647 w 151"/>
                  <a:gd name="T23" fmla="*/ 2147483647 h 95"/>
                  <a:gd name="T24" fmla="*/ 2147483647 w 151"/>
                  <a:gd name="T25" fmla="*/ 0 h 95"/>
                  <a:gd name="T26" fmla="*/ 2147483647 w 151"/>
                  <a:gd name="T27" fmla="*/ 2147483647 h 95"/>
                  <a:gd name="T28" fmla="*/ 2147483647 w 151"/>
                  <a:gd name="T29" fmla="*/ 2147483647 h 95"/>
                  <a:gd name="T30" fmla="*/ 2147483647 w 151"/>
                  <a:gd name="T31" fmla="*/ 2147483647 h 95"/>
                  <a:gd name="T32" fmla="*/ 2147483647 w 151"/>
                  <a:gd name="T33" fmla="*/ 2147483647 h 95"/>
                  <a:gd name="T34" fmla="*/ 2147483647 w 151"/>
                  <a:gd name="T35" fmla="*/ 2147483647 h 95"/>
                  <a:gd name="T36" fmla="*/ 2147483647 w 151"/>
                  <a:gd name="T37" fmla="*/ 2147483647 h 95"/>
                  <a:gd name="T38" fmla="*/ 2147483647 w 151"/>
                  <a:gd name="T39" fmla="*/ 2147483647 h 95"/>
                  <a:gd name="T40" fmla="*/ 2147483647 w 151"/>
                  <a:gd name="T41" fmla="*/ 2147483647 h 95"/>
                  <a:gd name="T42" fmla="*/ 2147483647 w 151"/>
                  <a:gd name="T43" fmla="*/ 2147483647 h 95"/>
                  <a:gd name="T44" fmla="*/ 2147483647 w 151"/>
                  <a:gd name="T45" fmla="*/ 2147483647 h 95"/>
                  <a:gd name="T46" fmla="*/ 2147483647 w 151"/>
                  <a:gd name="T47" fmla="*/ 2147483647 h 95"/>
                  <a:gd name="T48" fmla="*/ 2147483647 w 151"/>
                  <a:gd name="T49" fmla="*/ 2147483647 h 95"/>
                  <a:gd name="T50" fmla="*/ 2147483647 w 151"/>
                  <a:gd name="T51" fmla="*/ 2147483647 h 95"/>
                  <a:gd name="T52" fmla="*/ 2147483647 w 151"/>
                  <a:gd name="T53" fmla="*/ 2147483647 h 95"/>
                  <a:gd name="T54" fmla="*/ 2147483647 w 151"/>
                  <a:gd name="T55" fmla="*/ 2147483647 h 95"/>
                  <a:gd name="T56" fmla="*/ 2147483647 w 151"/>
                  <a:gd name="T57" fmla="*/ 2147483647 h 95"/>
                  <a:gd name="T58" fmla="*/ 2147483647 w 151"/>
                  <a:gd name="T59" fmla="*/ 2147483647 h 95"/>
                  <a:gd name="T60" fmla="*/ 2147483647 w 151"/>
                  <a:gd name="T61" fmla="*/ 2147483647 h 95"/>
                  <a:gd name="T62" fmla="*/ 2147483647 w 151"/>
                  <a:gd name="T63" fmla="*/ 2147483647 h 95"/>
                  <a:gd name="T64" fmla="*/ 2147483647 w 151"/>
                  <a:gd name="T65" fmla="*/ 2147483647 h 95"/>
                  <a:gd name="T66" fmla="*/ 2147483647 w 151"/>
                  <a:gd name="T67" fmla="*/ 2147483647 h 95"/>
                  <a:gd name="T68" fmla="*/ 2147483647 w 151"/>
                  <a:gd name="T69" fmla="*/ 2147483647 h 95"/>
                  <a:gd name="T70" fmla="*/ 2147483647 w 151"/>
                  <a:gd name="T71" fmla="*/ 2147483647 h 95"/>
                  <a:gd name="T72" fmla="*/ 2147483647 w 151"/>
                  <a:gd name="T73" fmla="*/ 2147483647 h 95"/>
                  <a:gd name="T74" fmla="*/ 2147483647 w 151"/>
                  <a:gd name="T75" fmla="*/ 2147483647 h 95"/>
                  <a:gd name="T76" fmla="*/ 2147483647 w 151"/>
                  <a:gd name="T77" fmla="*/ 2147483647 h 95"/>
                  <a:gd name="T78" fmla="*/ 2147483647 w 151"/>
                  <a:gd name="T79" fmla="*/ 2147483647 h 95"/>
                  <a:gd name="T80" fmla="*/ 2147483647 w 151"/>
                  <a:gd name="T81" fmla="*/ 2147483647 h 95"/>
                  <a:gd name="T82" fmla="*/ 2147483647 w 151"/>
                  <a:gd name="T83" fmla="*/ 2147483647 h 95"/>
                  <a:gd name="T84" fmla="*/ 2147483647 w 151"/>
                  <a:gd name="T85" fmla="*/ 2147483647 h 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51"/>
                  <a:gd name="T130" fmla="*/ 0 h 95"/>
                  <a:gd name="T131" fmla="*/ 151 w 151"/>
                  <a:gd name="T132" fmla="*/ 95 h 9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51" h="95">
                    <a:moveTo>
                      <a:pt x="70" y="36"/>
                    </a:moveTo>
                    <a:lnTo>
                      <a:pt x="70" y="36"/>
                    </a:lnTo>
                    <a:lnTo>
                      <a:pt x="78" y="44"/>
                    </a:lnTo>
                    <a:lnTo>
                      <a:pt x="81" y="44"/>
                    </a:lnTo>
                    <a:lnTo>
                      <a:pt x="81" y="42"/>
                    </a:lnTo>
                    <a:lnTo>
                      <a:pt x="81" y="36"/>
                    </a:lnTo>
                    <a:lnTo>
                      <a:pt x="84" y="36"/>
                    </a:lnTo>
                    <a:lnTo>
                      <a:pt x="84" y="33"/>
                    </a:lnTo>
                    <a:lnTo>
                      <a:pt x="87" y="33"/>
                    </a:lnTo>
                    <a:lnTo>
                      <a:pt x="87" y="36"/>
                    </a:lnTo>
                    <a:lnTo>
                      <a:pt x="90" y="39"/>
                    </a:lnTo>
                    <a:lnTo>
                      <a:pt x="92" y="39"/>
                    </a:lnTo>
                    <a:lnTo>
                      <a:pt x="92" y="36"/>
                    </a:lnTo>
                    <a:lnTo>
                      <a:pt x="90" y="33"/>
                    </a:lnTo>
                    <a:lnTo>
                      <a:pt x="90" y="31"/>
                    </a:lnTo>
                    <a:lnTo>
                      <a:pt x="92" y="31"/>
                    </a:lnTo>
                    <a:lnTo>
                      <a:pt x="95" y="28"/>
                    </a:lnTo>
                    <a:lnTo>
                      <a:pt x="92" y="28"/>
                    </a:lnTo>
                    <a:lnTo>
                      <a:pt x="92" y="25"/>
                    </a:lnTo>
                    <a:lnTo>
                      <a:pt x="92" y="22"/>
                    </a:lnTo>
                    <a:lnTo>
                      <a:pt x="95" y="22"/>
                    </a:lnTo>
                    <a:lnTo>
                      <a:pt x="98" y="22"/>
                    </a:lnTo>
                    <a:lnTo>
                      <a:pt x="103" y="17"/>
                    </a:lnTo>
                    <a:lnTo>
                      <a:pt x="103" y="14"/>
                    </a:lnTo>
                    <a:lnTo>
                      <a:pt x="112" y="3"/>
                    </a:lnTo>
                    <a:lnTo>
                      <a:pt x="112" y="0"/>
                    </a:lnTo>
                    <a:lnTo>
                      <a:pt x="115" y="0"/>
                    </a:lnTo>
                    <a:lnTo>
                      <a:pt x="115" y="5"/>
                    </a:lnTo>
                    <a:lnTo>
                      <a:pt x="112" y="5"/>
                    </a:lnTo>
                    <a:lnTo>
                      <a:pt x="115" y="3"/>
                    </a:lnTo>
                    <a:lnTo>
                      <a:pt x="117" y="0"/>
                    </a:lnTo>
                    <a:lnTo>
                      <a:pt x="120" y="0"/>
                    </a:lnTo>
                    <a:lnTo>
                      <a:pt x="120" y="3"/>
                    </a:lnTo>
                    <a:lnTo>
                      <a:pt x="120" y="5"/>
                    </a:lnTo>
                    <a:lnTo>
                      <a:pt x="123" y="5"/>
                    </a:lnTo>
                    <a:lnTo>
                      <a:pt x="126" y="8"/>
                    </a:lnTo>
                    <a:lnTo>
                      <a:pt x="129" y="11"/>
                    </a:lnTo>
                    <a:lnTo>
                      <a:pt x="126" y="14"/>
                    </a:lnTo>
                    <a:lnTo>
                      <a:pt x="126" y="17"/>
                    </a:lnTo>
                    <a:lnTo>
                      <a:pt x="129" y="17"/>
                    </a:lnTo>
                    <a:lnTo>
                      <a:pt x="131" y="17"/>
                    </a:lnTo>
                    <a:lnTo>
                      <a:pt x="134" y="17"/>
                    </a:lnTo>
                    <a:lnTo>
                      <a:pt x="134" y="19"/>
                    </a:lnTo>
                    <a:lnTo>
                      <a:pt x="131" y="19"/>
                    </a:lnTo>
                    <a:lnTo>
                      <a:pt x="134" y="19"/>
                    </a:lnTo>
                    <a:lnTo>
                      <a:pt x="137" y="19"/>
                    </a:lnTo>
                    <a:lnTo>
                      <a:pt x="142" y="22"/>
                    </a:lnTo>
                    <a:lnTo>
                      <a:pt x="151" y="25"/>
                    </a:lnTo>
                    <a:lnTo>
                      <a:pt x="151" y="28"/>
                    </a:lnTo>
                    <a:lnTo>
                      <a:pt x="140" y="33"/>
                    </a:lnTo>
                    <a:lnTo>
                      <a:pt x="140" y="31"/>
                    </a:lnTo>
                    <a:lnTo>
                      <a:pt x="137" y="33"/>
                    </a:lnTo>
                    <a:lnTo>
                      <a:pt x="137" y="36"/>
                    </a:lnTo>
                    <a:lnTo>
                      <a:pt x="140" y="39"/>
                    </a:lnTo>
                    <a:lnTo>
                      <a:pt x="142" y="39"/>
                    </a:lnTo>
                    <a:lnTo>
                      <a:pt x="134" y="42"/>
                    </a:lnTo>
                    <a:lnTo>
                      <a:pt x="129" y="42"/>
                    </a:lnTo>
                    <a:lnTo>
                      <a:pt x="126" y="42"/>
                    </a:lnTo>
                    <a:lnTo>
                      <a:pt x="126" y="44"/>
                    </a:lnTo>
                    <a:lnTo>
                      <a:pt x="120" y="42"/>
                    </a:lnTo>
                    <a:lnTo>
                      <a:pt x="117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92" y="58"/>
                    </a:lnTo>
                    <a:lnTo>
                      <a:pt x="84" y="67"/>
                    </a:lnTo>
                    <a:lnTo>
                      <a:pt x="78" y="83"/>
                    </a:lnTo>
                    <a:lnTo>
                      <a:pt x="76" y="86"/>
                    </a:lnTo>
                    <a:lnTo>
                      <a:pt x="65" y="89"/>
                    </a:lnTo>
                    <a:lnTo>
                      <a:pt x="62" y="89"/>
                    </a:lnTo>
                    <a:lnTo>
                      <a:pt x="53" y="86"/>
                    </a:lnTo>
                    <a:lnTo>
                      <a:pt x="51" y="83"/>
                    </a:lnTo>
                    <a:lnTo>
                      <a:pt x="45" y="83"/>
                    </a:lnTo>
                    <a:lnTo>
                      <a:pt x="42" y="83"/>
                    </a:lnTo>
                    <a:lnTo>
                      <a:pt x="37" y="92"/>
                    </a:lnTo>
                    <a:lnTo>
                      <a:pt x="34" y="95"/>
                    </a:lnTo>
                    <a:lnTo>
                      <a:pt x="28" y="92"/>
                    </a:lnTo>
                    <a:lnTo>
                      <a:pt x="26" y="95"/>
                    </a:lnTo>
                    <a:lnTo>
                      <a:pt x="23" y="92"/>
                    </a:lnTo>
                    <a:lnTo>
                      <a:pt x="20" y="92"/>
                    </a:lnTo>
                    <a:lnTo>
                      <a:pt x="17" y="95"/>
                    </a:lnTo>
                    <a:lnTo>
                      <a:pt x="12" y="92"/>
                    </a:lnTo>
                    <a:lnTo>
                      <a:pt x="0" y="78"/>
                    </a:lnTo>
                    <a:lnTo>
                      <a:pt x="3" y="75"/>
                    </a:lnTo>
                    <a:lnTo>
                      <a:pt x="3" y="78"/>
                    </a:lnTo>
                    <a:lnTo>
                      <a:pt x="6" y="81"/>
                    </a:lnTo>
                    <a:lnTo>
                      <a:pt x="12" y="81"/>
                    </a:lnTo>
                    <a:lnTo>
                      <a:pt x="14" y="81"/>
                    </a:lnTo>
                    <a:lnTo>
                      <a:pt x="17" y="83"/>
                    </a:lnTo>
                    <a:lnTo>
                      <a:pt x="26" y="83"/>
                    </a:lnTo>
                    <a:lnTo>
                      <a:pt x="28" y="75"/>
                    </a:lnTo>
                    <a:lnTo>
                      <a:pt x="26" y="72"/>
                    </a:lnTo>
                    <a:lnTo>
                      <a:pt x="28" y="72"/>
                    </a:lnTo>
                    <a:lnTo>
                      <a:pt x="31" y="72"/>
                    </a:lnTo>
                    <a:lnTo>
                      <a:pt x="31" y="70"/>
                    </a:lnTo>
                    <a:lnTo>
                      <a:pt x="31" y="67"/>
                    </a:lnTo>
                    <a:lnTo>
                      <a:pt x="34" y="64"/>
                    </a:lnTo>
                    <a:lnTo>
                      <a:pt x="39" y="64"/>
                    </a:lnTo>
                    <a:lnTo>
                      <a:pt x="39" y="61"/>
                    </a:lnTo>
                    <a:lnTo>
                      <a:pt x="51" y="61"/>
                    </a:lnTo>
                    <a:lnTo>
                      <a:pt x="53" y="61"/>
                    </a:lnTo>
                    <a:lnTo>
                      <a:pt x="70" y="42"/>
                    </a:lnTo>
                    <a:lnTo>
                      <a:pt x="70" y="3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Freeform 243"/>
              <p:cNvSpPr>
                <a:spLocks noChangeAspect="1"/>
              </p:cNvSpPr>
              <p:nvPr>
                <p:custDataLst>
                  <p:tags r:id="rId970"/>
                </p:custDataLst>
              </p:nvPr>
            </p:nvSpPr>
            <p:spPr bwMode="gray">
              <a:xfrm>
                <a:off x="7255332" y="4013906"/>
                <a:ext cx="83515" cy="107218"/>
              </a:xfrm>
              <a:custGeom>
                <a:avLst/>
                <a:gdLst>
                  <a:gd name="T0" fmla="*/ 0 w 64"/>
                  <a:gd name="T1" fmla="*/ 2147483647 h 83"/>
                  <a:gd name="T2" fmla="*/ 0 w 64"/>
                  <a:gd name="T3" fmla="*/ 2147483647 h 83"/>
                  <a:gd name="T4" fmla="*/ 2147483647 w 64"/>
                  <a:gd name="T5" fmla="*/ 2147483647 h 83"/>
                  <a:gd name="T6" fmla="*/ 2147483647 w 64"/>
                  <a:gd name="T7" fmla="*/ 2147483647 h 83"/>
                  <a:gd name="T8" fmla="*/ 2147483647 w 64"/>
                  <a:gd name="T9" fmla="*/ 2147483647 h 83"/>
                  <a:gd name="T10" fmla="*/ 2147483647 w 64"/>
                  <a:gd name="T11" fmla="*/ 2147483647 h 83"/>
                  <a:gd name="T12" fmla="*/ 2147483647 w 64"/>
                  <a:gd name="T13" fmla="*/ 2147483647 h 83"/>
                  <a:gd name="T14" fmla="*/ 2147483647 w 64"/>
                  <a:gd name="T15" fmla="*/ 2147483647 h 83"/>
                  <a:gd name="T16" fmla="*/ 2147483647 w 64"/>
                  <a:gd name="T17" fmla="*/ 2147483647 h 83"/>
                  <a:gd name="T18" fmla="*/ 2147483647 w 64"/>
                  <a:gd name="T19" fmla="*/ 2147483647 h 83"/>
                  <a:gd name="T20" fmla="*/ 2147483647 w 64"/>
                  <a:gd name="T21" fmla="*/ 2147483647 h 83"/>
                  <a:gd name="T22" fmla="*/ 2147483647 w 64"/>
                  <a:gd name="T23" fmla="*/ 2147483647 h 83"/>
                  <a:gd name="T24" fmla="*/ 2147483647 w 64"/>
                  <a:gd name="T25" fmla="*/ 2147483647 h 83"/>
                  <a:gd name="T26" fmla="*/ 2147483647 w 64"/>
                  <a:gd name="T27" fmla="*/ 2147483647 h 83"/>
                  <a:gd name="T28" fmla="*/ 2147483647 w 64"/>
                  <a:gd name="T29" fmla="*/ 2147483647 h 83"/>
                  <a:gd name="T30" fmla="*/ 2147483647 w 64"/>
                  <a:gd name="T31" fmla="*/ 2147483647 h 83"/>
                  <a:gd name="T32" fmla="*/ 2147483647 w 64"/>
                  <a:gd name="T33" fmla="*/ 2147483647 h 83"/>
                  <a:gd name="T34" fmla="*/ 2147483647 w 64"/>
                  <a:gd name="T35" fmla="*/ 2147483647 h 83"/>
                  <a:gd name="T36" fmla="*/ 2147483647 w 64"/>
                  <a:gd name="T37" fmla="*/ 2147483647 h 83"/>
                  <a:gd name="T38" fmla="*/ 2147483647 w 64"/>
                  <a:gd name="T39" fmla="*/ 2147483647 h 83"/>
                  <a:gd name="T40" fmla="*/ 2147483647 w 64"/>
                  <a:gd name="T41" fmla="*/ 2147483647 h 83"/>
                  <a:gd name="T42" fmla="*/ 2147483647 w 64"/>
                  <a:gd name="T43" fmla="*/ 2147483647 h 83"/>
                  <a:gd name="T44" fmla="*/ 2147483647 w 64"/>
                  <a:gd name="T45" fmla="*/ 2147483647 h 83"/>
                  <a:gd name="T46" fmla="*/ 2147483647 w 64"/>
                  <a:gd name="T47" fmla="*/ 2147483647 h 83"/>
                  <a:gd name="T48" fmla="*/ 2147483647 w 64"/>
                  <a:gd name="T49" fmla="*/ 2147483647 h 83"/>
                  <a:gd name="T50" fmla="*/ 2147483647 w 64"/>
                  <a:gd name="T51" fmla="*/ 2147483647 h 83"/>
                  <a:gd name="T52" fmla="*/ 2147483647 w 64"/>
                  <a:gd name="T53" fmla="*/ 2147483647 h 83"/>
                  <a:gd name="T54" fmla="*/ 2147483647 w 64"/>
                  <a:gd name="T55" fmla="*/ 2147483647 h 83"/>
                  <a:gd name="T56" fmla="*/ 2147483647 w 64"/>
                  <a:gd name="T57" fmla="*/ 2147483647 h 83"/>
                  <a:gd name="T58" fmla="*/ 2147483647 w 64"/>
                  <a:gd name="T59" fmla="*/ 2147483647 h 83"/>
                  <a:gd name="T60" fmla="*/ 2147483647 w 64"/>
                  <a:gd name="T61" fmla="*/ 2147483647 h 83"/>
                  <a:gd name="T62" fmla="*/ 2147483647 w 64"/>
                  <a:gd name="T63" fmla="*/ 2147483647 h 83"/>
                  <a:gd name="T64" fmla="*/ 2147483647 w 64"/>
                  <a:gd name="T65" fmla="*/ 2147483647 h 83"/>
                  <a:gd name="T66" fmla="*/ 2147483647 w 64"/>
                  <a:gd name="T67" fmla="*/ 0 h 83"/>
                  <a:gd name="T68" fmla="*/ 0 w 64"/>
                  <a:gd name="T69" fmla="*/ 0 h 83"/>
                  <a:gd name="T70" fmla="*/ 0 w 64"/>
                  <a:gd name="T71" fmla="*/ 2147483647 h 8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64"/>
                  <a:gd name="T109" fmla="*/ 0 h 83"/>
                  <a:gd name="T110" fmla="*/ 64 w 64"/>
                  <a:gd name="T111" fmla="*/ 83 h 8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64" h="83">
                    <a:moveTo>
                      <a:pt x="0" y="5"/>
                    </a:moveTo>
                    <a:lnTo>
                      <a:pt x="0" y="5"/>
                    </a:lnTo>
                    <a:lnTo>
                      <a:pt x="5" y="28"/>
                    </a:lnTo>
                    <a:lnTo>
                      <a:pt x="5" y="30"/>
                    </a:lnTo>
                    <a:lnTo>
                      <a:pt x="5" y="39"/>
                    </a:lnTo>
                    <a:lnTo>
                      <a:pt x="8" y="41"/>
                    </a:lnTo>
                    <a:lnTo>
                      <a:pt x="8" y="44"/>
                    </a:lnTo>
                    <a:lnTo>
                      <a:pt x="16" y="55"/>
                    </a:lnTo>
                    <a:lnTo>
                      <a:pt x="19" y="61"/>
                    </a:lnTo>
                    <a:lnTo>
                      <a:pt x="50" y="83"/>
                    </a:lnTo>
                    <a:lnTo>
                      <a:pt x="53" y="83"/>
                    </a:lnTo>
                    <a:lnTo>
                      <a:pt x="53" y="80"/>
                    </a:lnTo>
                    <a:lnTo>
                      <a:pt x="55" y="80"/>
                    </a:lnTo>
                    <a:lnTo>
                      <a:pt x="58" y="80"/>
                    </a:lnTo>
                    <a:lnTo>
                      <a:pt x="61" y="83"/>
                    </a:lnTo>
                    <a:lnTo>
                      <a:pt x="61" y="80"/>
                    </a:lnTo>
                    <a:lnTo>
                      <a:pt x="64" y="78"/>
                    </a:lnTo>
                    <a:lnTo>
                      <a:pt x="58" y="64"/>
                    </a:lnTo>
                    <a:lnTo>
                      <a:pt x="53" y="61"/>
                    </a:lnTo>
                    <a:lnTo>
                      <a:pt x="50" y="28"/>
                    </a:lnTo>
                    <a:lnTo>
                      <a:pt x="44" y="19"/>
                    </a:lnTo>
                    <a:lnTo>
                      <a:pt x="33" y="8"/>
                    </a:lnTo>
                    <a:lnTo>
                      <a:pt x="30" y="8"/>
                    </a:lnTo>
                    <a:lnTo>
                      <a:pt x="28" y="14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16" y="16"/>
                    </a:lnTo>
                    <a:lnTo>
                      <a:pt x="14" y="14"/>
                    </a:lnTo>
                    <a:lnTo>
                      <a:pt x="14" y="8"/>
                    </a:lnTo>
                    <a:lnTo>
                      <a:pt x="11" y="5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Freeform 375"/>
              <p:cNvSpPr>
                <a:spLocks noChangeAspect="1"/>
              </p:cNvSpPr>
              <p:nvPr>
                <p:custDataLst>
                  <p:tags r:id="rId971"/>
                </p:custDataLst>
              </p:nvPr>
            </p:nvSpPr>
            <p:spPr bwMode="gray">
              <a:xfrm>
                <a:off x="7214333" y="3914572"/>
                <a:ext cx="7593" cy="1577"/>
              </a:xfrm>
              <a:custGeom>
                <a:avLst/>
                <a:gdLst>
                  <a:gd name="T0" fmla="*/ 2147483647 w 6"/>
                  <a:gd name="T1" fmla="*/ 0 h 2"/>
                  <a:gd name="T2" fmla="*/ 2147483647 w 6"/>
                  <a:gd name="T3" fmla="*/ 0 h 2"/>
                  <a:gd name="T4" fmla="*/ 2147483647 w 6"/>
                  <a:gd name="T5" fmla="*/ 0 h 2"/>
                  <a:gd name="T6" fmla="*/ 0 w 6"/>
                  <a:gd name="T7" fmla="*/ 1786025130 h 2"/>
                  <a:gd name="T8" fmla="*/ 2147483647 w 6"/>
                  <a:gd name="T9" fmla="*/ 1786025130 h 2"/>
                  <a:gd name="T10" fmla="*/ 2147483647 w 6"/>
                  <a:gd name="T11" fmla="*/ 1786025130 h 2"/>
                  <a:gd name="T12" fmla="*/ 2147483647 w 6"/>
                  <a:gd name="T13" fmla="*/ 0 h 2"/>
                  <a:gd name="T14" fmla="*/ 2147483647 w 6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2"/>
                  <a:gd name="T26" fmla="*/ 6 w 6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2" name="Freeform 376"/>
              <p:cNvSpPr>
                <a:spLocks noChangeAspect="1"/>
              </p:cNvSpPr>
              <p:nvPr>
                <p:custDataLst>
                  <p:tags r:id="rId972"/>
                </p:custDataLst>
              </p:nvPr>
            </p:nvSpPr>
            <p:spPr bwMode="gray">
              <a:xfrm>
                <a:off x="7214333" y="3914572"/>
                <a:ext cx="7593" cy="1577"/>
              </a:xfrm>
              <a:custGeom>
                <a:avLst/>
                <a:gdLst>
                  <a:gd name="T0" fmla="*/ 2147483647 w 6"/>
                  <a:gd name="T1" fmla="*/ 0 h 2"/>
                  <a:gd name="T2" fmla="*/ 2147483647 w 6"/>
                  <a:gd name="T3" fmla="*/ 0 h 2"/>
                  <a:gd name="T4" fmla="*/ 2147483647 w 6"/>
                  <a:gd name="T5" fmla="*/ 0 h 2"/>
                  <a:gd name="T6" fmla="*/ 0 w 6"/>
                  <a:gd name="T7" fmla="*/ 1786025130 h 2"/>
                  <a:gd name="T8" fmla="*/ 2147483647 w 6"/>
                  <a:gd name="T9" fmla="*/ 1786025130 h 2"/>
                  <a:gd name="T10" fmla="*/ 2147483647 w 6"/>
                  <a:gd name="T11" fmla="*/ 1786025130 h 2"/>
                  <a:gd name="T12" fmla="*/ 2147483647 w 6"/>
                  <a:gd name="T13" fmla="*/ 0 h 2"/>
                  <a:gd name="T14" fmla="*/ 2147483647 w 6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2"/>
                  <a:gd name="T26" fmla="*/ 6 w 6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Freeform 377"/>
              <p:cNvSpPr>
                <a:spLocks noChangeAspect="1"/>
              </p:cNvSpPr>
              <p:nvPr>
                <p:custDataLst>
                  <p:tags r:id="rId973"/>
                </p:custDataLst>
              </p:nvPr>
            </p:nvSpPr>
            <p:spPr bwMode="gray">
              <a:xfrm>
                <a:off x="7214333" y="3914572"/>
                <a:ext cx="1519" cy="4731"/>
              </a:xfrm>
              <a:custGeom>
                <a:avLst/>
                <a:gdLst>
                  <a:gd name="T0" fmla="*/ 0 w 1417"/>
                  <a:gd name="T1" fmla="*/ 0 h 5"/>
                  <a:gd name="T2" fmla="*/ 0 w 1417"/>
                  <a:gd name="T3" fmla="*/ 0 h 5"/>
                  <a:gd name="T4" fmla="*/ 0 w 1417"/>
                  <a:gd name="T5" fmla="*/ 2147483647 h 5"/>
                  <a:gd name="T6" fmla="*/ 0 w 1417"/>
                  <a:gd name="T7" fmla="*/ 2057181782 h 5"/>
                  <a:gd name="T8" fmla="*/ 0 w 1417"/>
                  <a:gd name="T9" fmla="*/ 0 h 5"/>
                  <a:gd name="T10" fmla="*/ 0 w 1417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17"/>
                  <a:gd name="T19" fmla="*/ 0 h 5"/>
                  <a:gd name="T20" fmla="*/ 1417 w 141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17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Freeform 378"/>
              <p:cNvSpPr>
                <a:spLocks noChangeAspect="1"/>
              </p:cNvSpPr>
              <p:nvPr>
                <p:custDataLst>
                  <p:tags r:id="rId974"/>
                </p:custDataLst>
              </p:nvPr>
            </p:nvSpPr>
            <p:spPr bwMode="gray">
              <a:xfrm>
                <a:off x="7214333" y="3914572"/>
                <a:ext cx="1519" cy="4731"/>
              </a:xfrm>
              <a:custGeom>
                <a:avLst/>
                <a:gdLst>
                  <a:gd name="T0" fmla="*/ 0 w 1417"/>
                  <a:gd name="T1" fmla="*/ 0 h 5"/>
                  <a:gd name="T2" fmla="*/ 0 w 1417"/>
                  <a:gd name="T3" fmla="*/ 0 h 5"/>
                  <a:gd name="T4" fmla="*/ 0 w 1417"/>
                  <a:gd name="T5" fmla="*/ 2147483647 h 5"/>
                  <a:gd name="T6" fmla="*/ 0 w 1417"/>
                  <a:gd name="T7" fmla="*/ 2057181782 h 5"/>
                  <a:gd name="T8" fmla="*/ 0 w 1417"/>
                  <a:gd name="T9" fmla="*/ 0 h 5"/>
                  <a:gd name="T10" fmla="*/ 0 w 1417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17"/>
                  <a:gd name="T19" fmla="*/ 0 h 5"/>
                  <a:gd name="T20" fmla="*/ 1417 w 141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17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5" name="Freeform 379"/>
              <p:cNvSpPr>
                <a:spLocks noChangeAspect="1"/>
              </p:cNvSpPr>
              <p:nvPr>
                <p:custDataLst>
                  <p:tags r:id="rId975"/>
                </p:custDataLst>
              </p:nvPr>
            </p:nvSpPr>
            <p:spPr bwMode="gray">
              <a:xfrm>
                <a:off x="7214333" y="3895652"/>
                <a:ext cx="303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2147483647 h 5"/>
                  <a:gd name="T4" fmla="*/ 0 w 3"/>
                  <a:gd name="T5" fmla="*/ 2147483647 h 5"/>
                  <a:gd name="T6" fmla="*/ 2147483647 w 3"/>
                  <a:gd name="T7" fmla="*/ 2147483647 h 5"/>
                  <a:gd name="T8" fmla="*/ 0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Freeform 380"/>
              <p:cNvSpPr>
                <a:spLocks noChangeAspect="1"/>
              </p:cNvSpPr>
              <p:nvPr>
                <p:custDataLst>
                  <p:tags r:id="rId976"/>
                </p:custDataLst>
              </p:nvPr>
            </p:nvSpPr>
            <p:spPr bwMode="gray">
              <a:xfrm>
                <a:off x="7214333" y="3895652"/>
                <a:ext cx="303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2147483647 h 5"/>
                  <a:gd name="T4" fmla="*/ 0 w 3"/>
                  <a:gd name="T5" fmla="*/ 2147483647 h 5"/>
                  <a:gd name="T6" fmla="*/ 2147483647 w 3"/>
                  <a:gd name="T7" fmla="*/ 2147483647 h 5"/>
                  <a:gd name="T8" fmla="*/ 0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Freeform 381"/>
              <p:cNvSpPr>
                <a:spLocks noChangeAspect="1"/>
              </p:cNvSpPr>
              <p:nvPr>
                <p:custDataLst>
                  <p:tags r:id="rId977"/>
                </p:custDataLst>
              </p:nvPr>
            </p:nvSpPr>
            <p:spPr bwMode="gray">
              <a:xfrm>
                <a:off x="7598504" y="3919301"/>
                <a:ext cx="47072" cy="63070"/>
              </a:xfrm>
              <a:custGeom>
                <a:avLst/>
                <a:gdLst>
                  <a:gd name="T0" fmla="*/ 2147483647 w 36"/>
                  <a:gd name="T1" fmla="*/ 0 h 48"/>
                  <a:gd name="T2" fmla="*/ 2147483647 w 36"/>
                  <a:gd name="T3" fmla="*/ 0 h 48"/>
                  <a:gd name="T4" fmla="*/ 2147483647 w 36"/>
                  <a:gd name="T5" fmla="*/ 0 h 48"/>
                  <a:gd name="T6" fmla="*/ 2147483647 w 36"/>
                  <a:gd name="T7" fmla="*/ 2147483647 h 48"/>
                  <a:gd name="T8" fmla="*/ 2147483647 w 36"/>
                  <a:gd name="T9" fmla="*/ 2147483647 h 48"/>
                  <a:gd name="T10" fmla="*/ 2147483647 w 36"/>
                  <a:gd name="T11" fmla="*/ 2147483647 h 48"/>
                  <a:gd name="T12" fmla="*/ 2147483647 w 36"/>
                  <a:gd name="T13" fmla="*/ 2147483647 h 48"/>
                  <a:gd name="T14" fmla="*/ 2147483647 w 36"/>
                  <a:gd name="T15" fmla="*/ 2147483647 h 48"/>
                  <a:gd name="T16" fmla="*/ 2147483647 w 36"/>
                  <a:gd name="T17" fmla="*/ 2147483647 h 48"/>
                  <a:gd name="T18" fmla="*/ 2147483647 w 36"/>
                  <a:gd name="T19" fmla="*/ 2147483647 h 48"/>
                  <a:gd name="T20" fmla="*/ 2147483647 w 36"/>
                  <a:gd name="T21" fmla="*/ 2147483647 h 48"/>
                  <a:gd name="T22" fmla="*/ 2147483647 w 36"/>
                  <a:gd name="T23" fmla="*/ 2147483647 h 48"/>
                  <a:gd name="T24" fmla="*/ 2147483647 w 36"/>
                  <a:gd name="T25" fmla="*/ 2147483647 h 48"/>
                  <a:gd name="T26" fmla="*/ 2147483647 w 36"/>
                  <a:gd name="T27" fmla="*/ 2147483647 h 48"/>
                  <a:gd name="T28" fmla="*/ 2147483647 w 36"/>
                  <a:gd name="T29" fmla="*/ 2147483647 h 48"/>
                  <a:gd name="T30" fmla="*/ 0 w 36"/>
                  <a:gd name="T31" fmla="*/ 2147483647 h 48"/>
                  <a:gd name="T32" fmla="*/ 0 w 36"/>
                  <a:gd name="T33" fmla="*/ 2147483647 h 48"/>
                  <a:gd name="T34" fmla="*/ 2147483647 w 36"/>
                  <a:gd name="T35" fmla="*/ 2147483647 h 48"/>
                  <a:gd name="T36" fmla="*/ 2147483647 w 36"/>
                  <a:gd name="T37" fmla="*/ 2147483647 h 48"/>
                  <a:gd name="T38" fmla="*/ 2147483647 w 36"/>
                  <a:gd name="T39" fmla="*/ 2147483647 h 48"/>
                  <a:gd name="T40" fmla="*/ 2147483647 w 36"/>
                  <a:gd name="T41" fmla="*/ 2147483647 h 48"/>
                  <a:gd name="T42" fmla="*/ 2147483647 w 36"/>
                  <a:gd name="T43" fmla="*/ 2147483647 h 48"/>
                  <a:gd name="T44" fmla="*/ 2147483647 w 36"/>
                  <a:gd name="T45" fmla="*/ 2147483647 h 48"/>
                  <a:gd name="T46" fmla="*/ 2147483647 w 36"/>
                  <a:gd name="T47" fmla="*/ 2147483647 h 48"/>
                  <a:gd name="T48" fmla="*/ 2147483647 w 36"/>
                  <a:gd name="T49" fmla="*/ 2147483647 h 48"/>
                  <a:gd name="T50" fmla="*/ 2147483647 w 36"/>
                  <a:gd name="T51" fmla="*/ 2147483647 h 48"/>
                  <a:gd name="T52" fmla="*/ 2147483647 w 36"/>
                  <a:gd name="T53" fmla="*/ 2147483647 h 48"/>
                  <a:gd name="T54" fmla="*/ 2147483647 w 36"/>
                  <a:gd name="T55" fmla="*/ 2147483647 h 48"/>
                  <a:gd name="T56" fmla="*/ 2147483647 w 36"/>
                  <a:gd name="T57" fmla="*/ 2147483647 h 48"/>
                  <a:gd name="T58" fmla="*/ 2147483647 w 36"/>
                  <a:gd name="T59" fmla="*/ 2147483647 h 48"/>
                  <a:gd name="T60" fmla="*/ 2147483647 w 36"/>
                  <a:gd name="T61" fmla="*/ 2147483647 h 48"/>
                  <a:gd name="T62" fmla="*/ 2147483647 w 36"/>
                  <a:gd name="T63" fmla="*/ 2147483647 h 48"/>
                  <a:gd name="T64" fmla="*/ 2147483647 w 36"/>
                  <a:gd name="T65" fmla="*/ 2147483647 h 48"/>
                  <a:gd name="T66" fmla="*/ 2147483647 w 36"/>
                  <a:gd name="T67" fmla="*/ 0 h 4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6"/>
                  <a:gd name="T103" fmla="*/ 0 h 48"/>
                  <a:gd name="T104" fmla="*/ 36 w 36"/>
                  <a:gd name="T105" fmla="*/ 48 h 4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6" h="48">
                    <a:moveTo>
                      <a:pt x="34" y="0"/>
                    </a:moveTo>
                    <a:lnTo>
                      <a:pt x="36" y="0"/>
                    </a:lnTo>
                    <a:lnTo>
                      <a:pt x="36" y="6"/>
                    </a:lnTo>
                    <a:lnTo>
                      <a:pt x="36" y="9"/>
                    </a:lnTo>
                    <a:lnTo>
                      <a:pt x="36" y="14"/>
                    </a:lnTo>
                    <a:lnTo>
                      <a:pt x="36" y="17"/>
                    </a:lnTo>
                    <a:lnTo>
                      <a:pt x="34" y="17"/>
                    </a:lnTo>
                    <a:lnTo>
                      <a:pt x="31" y="23"/>
                    </a:lnTo>
                    <a:lnTo>
                      <a:pt x="25" y="25"/>
                    </a:lnTo>
                    <a:lnTo>
                      <a:pt x="22" y="28"/>
                    </a:lnTo>
                    <a:lnTo>
                      <a:pt x="9" y="42"/>
                    </a:lnTo>
                    <a:lnTo>
                      <a:pt x="6" y="45"/>
                    </a:lnTo>
                    <a:lnTo>
                      <a:pt x="3" y="48"/>
                    </a:lnTo>
                    <a:lnTo>
                      <a:pt x="0" y="48"/>
                    </a:lnTo>
                    <a:lnTo>
                      <a:pt x="0" y="45"/>
                    </a:lnTo>
                    <a:lnTo>
                      <a:pt x="3" y="39"/>
                    </a:lnTo>
                    <a:lnTo>
                      <a:pt x="9" y="34"/>
                    </a:lnTo>
                    <a:lnTo>
                      <a:pt x="11" y="34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25" y="20"/>
                    </a:lnTo>
                    <a:lnTo>
                      <a:pt x="28" y="17"/>
                    </a:lnTo>
                    <a:lnTo>
                      <a:pt x="31" y="17"/>
                    </a:lnTo>
                    <a:lnTo>
                      <a:pt x="31" y="11"/>
                    </a:lnTo>
                    <a:lnTo>
                      <a:pt x="31" y="9"/>
                    </a:lnTo>
                    <a:lnTo>
                      <a:pt x="34" y="11"/>
                    </a:lnTo>
                    <a:lnTo>
                      <a:pt x="34" y="9"/>
                    </a:lnTo>
                    <a:lnTo>
                      <a:pt x="31" y="9"/>
                    </a:lnTo>
                    <a:lnTo>
                      <a:pt x="34" y="6"/>
                    </a:lnTo>
                    <a:lnTo>
                      <a:pt x="34" y="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Freeform 382"/>
              <p:cNvSpPr>
                <a:spLocks noChangeAspect="1"/>
              </p:cNvSpPr>
              <p:nvPr>
                <p:custDataLst>
                  <p:tags r:id="rId978"/>
                </p:custDataLst>
              </p:nvPr>
            </p:nvSpPr>
            <p:spPr bwMode="gray">
              <a:xfrm>
                <a:off x="7653168" y="3909841"/>
                <a:ext cx="4555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147483647 h 3"/>
                  <a:gd name="T4" fmla="*/ 2147483647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2147483647 h 3"/>
                  <a:gd name="T10" fmla="*/ 0 w 3"/>
                  <a:gd name="T11" fmla="*/ 2147483647 h 3"/>
                  <a:gd name="T12" fmla="*/ 0 w 3"/>
                  <a:gd name="T13" fmla="*/ 0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Freeform 383"/>
              <p:cNvSpPr>
                <a:spLocks noChangeAspect="1"/>
              </p:cNvSpPr>
              <p:nvPr>
                <p:custDataLst>
                  <p:tags r:id="rId979"/>
                </p:custDataLst>
              </p:nvPr>
            </p:nvSpPr>
            <p:spPr bwMode="gray">
              <a:xfrm>
                <a:off x="7653168" y="3909841"/>
                <a:ext cx="4555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2147483647 h 3"/>
                  <a:gd name="T4" fmla="*/ 2147483647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2147483647 h 3"/>
                  <a:gd name="T10" fmla="*/ 0 w 3"/>
                  <a:gd name="T11" fmla="*/ 2147483647 h 3"/>
                  <a:gd name="T12" fmla="*/ 0 w 3"/>
                  <a:gd name="T13" fmla="*/ 0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" name="Freeform 384"/>
              <p:cNvSpPr>
                <a:spLocks noChangeAspect="1"/>
              </p:cNvSpPr>
              <p:nvPr>
                <p:custDataLst>
                  <p:tags r:id="rId980"/>
                </p:custDataLst>
              </p:nvPr>
            </p:nvSpPr>
            <p:spPr bwMode="gray">
              <a:xfrm>
                <a:off x="7653168" y="3901959"/>
                <a:ext cx="7592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2147483647 w 6"/>
                  <a:gd name="T5" fmla="*/ 2147483647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2147483647 h 6"/>
                  <a:gd name="T16" fmla="*/ 0 w 6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6"/>
                  <a:gd name="T29" fmla="*/ 6 w 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" name="Freeform 385"/>
              <p:cNvSpPr>
                <a:spLocks noChangeAspect="1"/>
              </p:cNvSpPr>
              <p:nvPr>
                <p:custDataLst>
                  <p:tags r:id="rId981"/>
                </p:custDataLst>
              </p:nvPr>
            </p:nvSpPr>
            <p:spPr bwMode="gray">
              <a:xfrm>
                <a:off x="7653168" y="3901959"/>
                <a:ext cx="7592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2147483647 w 6"/>
                  <a:gd name="T5" fmla="*/ 2147483647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2147483647 h 6"/>
                  <a:gd name="T16" fmla="*/ 0 w 6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6"/>
                  <a:gd name="T29" fmla="*/ 6 w 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Freeform 386"/>
              <p:cNvSpPr>
                <a:spLocks noChangeAspect="1"/>
              </p:cNvSpPr>
              <p:nvPr>
                <p:custDataLst>
                  <p:tags r:id="rId982"/>
                </p:custDataLst>
              </p:nvPr>
            </p:nvSpPr>
            <p:spPr bwMode="gray">
              <a:xfrm>
                <a:off x="7660760" y="3878306"/>
                <a:ext cx="24295" cy="28381"/>
              </a:xfrm>
              <a:custGeom>
                <a:avLst/>
                <a:gdLst>
                  <a:gd name="T0" fmla="*/ 2147483647 w 19"/>
                  <a:gd name="T1" fmla="*/ 2147483647 h 22"/>
                  <a:gd name="T2" fmla="*/ 0 w 19"/>
                  <a:gd name="T3" fmla="*/ 0 h 22"/>
                  <a:gd name="T4" fmla="*/ 2147483647 w 19"/>
                  <a:gd name="T5" fmla="*/ 2147483647 h 22"/>
                  <a:gd name="T6" fmla="*/ 2147483647 w 19"/>
                  <a:gd name="T7" fmla="*/ 2147483647 h 22"/>
                  <a:gd name="T8" fmla="*/ 2147483647 w 19"/>
                  <a:gd name="T9" fmla="*/ 2147483647 h 22"/>
                  <a:gd name="T10" fmla="*/ 2147483647 w 19"/>
                  <a:gd name="T11" fmla="*/ 2147483647 h 22"/>
                  <a:gd name="T12" fmla="*/ 2147483647 w 19"/>
                  <a:gd name="T13" fmla="*/ 2147483647 h 22"/>
                  <a:gd name="T14" fmla="*/ 2147483647 w 19"/>
                  <a:gd name="T15" fmla="*/ 2147483647 h 22"/>
                  <a:gd name="T16" fmla="*/ 2147483647 w 19"/>
                  <a:gd name="T17" fmla="*/ 2147483647 h 22"/>
                  <a:gd name="T18" fmla="*/ 2147483647 w 19"/>
                  <a:gd name="T19" fmla="*/ 2147483647 h 22"/>
                  <a:gd name="T20" fmla="*/ 2147483647 w 19"/>
                  <a:gd name="T21" fmla="*/ 2147483647 h 22"/>
                  <a:gd name="T22" fmla="*/ 2147483647 w 19"/>
                  <a:gd name="T23" fmla="*/ 2147483647 h 22"/>
                  <a:gd name="T24" fmla="*/ 2147483647 w 19"/>
                  <a:gd name="T25" fmla="*/ 2147483647 h 22"/>
                  <a:gd name="T26" fmla="*/ 2147483647 w 19"/>
                  <a:gd name="T27" fmla="*/ 2147483647 h 22"/>
                  <a:gd name="T28" fmla="*/ 2147483647 w 19"/>
                  <a:gd name="T29" fmla="*/ 2147483647 h 22"/>
                  <a:gd name="T30" fmla="*/ 2147483647 w 19"/>
                  <a:gd name="T31" fmla="*/ 2147483647 h 22"/>
                  <a:gd name="T32" fmla="*/ 2147483647 w 19"/>
                  <a:gd name="T33" fmla="*/ 2147483647 h 22"/>
                  <a:gd name="T34" fmla="*/ 2147483647 w 19"/>
                  <a:gd name="T35" fmla="*/ 2147483647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9"/>
                  <a:gd name="T55" fmla="*/ 0 h 22"/>
                  <a:gd name="T56" fmla="*/ 19 w 19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9" h="22">
                    <a:moveTo>
                      <a:pt x="2" y="3"/>
                    </a:moveTo>
                    <a:lnTo>
                      <a:pt x="0" y="0"/>
                    </a:lnTo>
                    <a:lnTo>
                      <a:pt x="13" y="3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13" y="22"/>
                    </a:lnTo>
                    <a:lnTo>
                      <a:pt x="13" y="19"/>
                    </a:lnTo>
                    <a:lnTo>
                      <a:pt x="11" y="17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Freeform 387"/>
              <p:cNvSpPr>
                <a:spLocks noChangeAspect="1"/>
              </p:cNvSpPr>
              <p:nvPr>
                <p:custDataLst>
                  <p:tags r:id="rId983"/>
                </p:custDataLst>
              </p:nvPr>
            </p:nvSpPr>
            <p:spPr bwMode="gray">
              <a:xfrm>
                <a:off x="7660760" y="3878306"/>
                <a:ext cx="24295" cy="28381"/>
              </a:xfrm>
              <a:custGeom>
                <a:avLst/>
                <a:gdLst>
                  <a:gd name="T0" fmla="*/ 2147483647 w 19"/>
                  <a:gd name="T1" fmla="*/ 2147483647 h 22"/>
                  <a:gd name="T2" fmla="*/ 0 w 19"/>
                  <a:gd name="T3" fmla="*/ 0 h 22"/>
                  <a:gd name="T4" fmla="*/ 2147483647 w 19"/>
                  <a:gd name="T5" fmla="*/ 2147483647 h 22"/>
                  <a:gd name="T6" fmla="*/ 2147483647 w 19"/>
                  <a:gd name="T7" fmla="*/ 2147483647 h 22"/>
                  <a:gd name="T8" fmla="*/ 2147483647 w 19"/>
                  <a:gd name="T9" fmla="*/ 2147483647 h 22"/>
                  <a:gd name="T10" fmla="*/ 2147483647 w 19"/>
                  <a:gd name="T11" fmla="*/ 2147483647 h 22"/>
                  <a:gd name="T12" fmla="*/ 2147483647 w 19"/>
                  <a:gd name="T13" fmla="*/ 2147483647 h 22"/>
                  <a:gd name="T14" fmla="*/ 2147483647 w 19"/>
                  <a:gd name="T15" fmla="*/ 2147483647 h 22"/>
                  <a:gd name="T16" fmla="*/ 2147483647 w 19"/>
                  <a:gd name="T17" fmla="*/ 2147483647 h 22"/>
                  <a:gd name="T18" fmla="*/ 2147483647 w 19"/>
                  <a:gd name="T19" fmla="*/ 2147483647 h 22"/>
                  <a:gd name="T20" fmla="*/ 2147483647 w 19"/>
                  <a:gd name="T21" fmla="*/ 2147483647 h 22"/>
                  <a:gd name="T22" fmla="*/ 2147483647 w 19"/>
                  <a:gd name="T23" fmla="*/ 2147483647 h 22"/>
                  <a:gd name="T24" fmla="*/ 2147483647 w 19"/>
                  <a:gd name="T25" fmla="*/ 2147483647 h 22"/>
                  <a:gd name="T26" fmla="*/ 2147483647 w 19"/>
                  <a:gd name="T27" fmla="*/ 2147483647 h 22"/>
                  <a:gd name="T28" fmla="*/ 2147483647 w 19"/>
                  <a:gd name="T29" fmla="*/ 2147483647 h 22"/>
                  <a:gd name="T30" fmla="*/ 2147483647 w 19"/>
                  <a:gd name="T31" fmla="*/ 2147483647 h 22"/>
                  <a:gd name="T32" fmla="*/ 2147483647 w 19"/>
                  <a:gd name="T33" fmla="*/ 2147483647 h 22"/>
                  <a:gd name="T34" fmla="*/ 2147483647 w 19"/>
                  <a:gd name="T35" fmla="*/ 2147483647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9"/>
                  <a:gd name="T55" fmla="*/ 0 h 22"/>
                  <a:gd name="T56" fmla="*/ 19 w 19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9" h="22">
                    <a:moveTo>
                      <a:pt x="2" y="3"/>
                    </a:moveTo>
                    <a:lnTo>
                      <a:pt x="0" y="0"/>
                    </a:lnTo>
                    <a:lnTo>
                      <a:pt x="13" y="3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13" y="22"/>
                    </a:lnTo>
                    <a:lnTo>
                      <a:pt x="13" y="19"/>
                    </a:lnTo>
                    <a:lnTo>
                      <a:pt x="11" y="17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Freeform 388"/>
              <p:cNvSpPr>
                <a:spLocks noChangeAspect="1"/>
              </p:cNvSpPr>
              <p:nvPr>
                <p:custDataLst>
                  <p:tags r:id="rId984"/>
                </p:custDataLst>
              </p:nvPr>
            </p:nvSpPr>
            <p:spPr bwMode="gray">
              <a:xfrm>
                <a:off x="7648612" y="3772664"/>
                <a:ext cx="86552" cy="127717"/>
              </a:xfrm>
              <a:custGeom>
                <a:avLst/>
                <a:gdLst>
                  <a:gd name="T0" fmla="*/ 2147483647 w 67"/>
                  <a:gd name="T1" fmla="*/ 2147483647 h 98"/>
                  <a:gd name="T2" fmla="*/ 2147483647 w 67"/>
                  <a:gd name="T3" fmla="*/ 2147483647 h 98"/>
                  <a:gd name="T4" fmla="*/ 2147483647 w 67"/>
                  <a:gd name="T5" fmla="*/ 2147483647 h 98"/>
                  <a:gd name="T6" fmla="*/ 2147483647 w 67"/>
                  <a:gd name="T7" fmla="*/ 2147483647 h 98"/>
                  <a:gd name="T8" fmla="*/ 2147483647 w 67"/>
                  <a:gd name="T9" fmla="*/ 2147483647 h 98"/>
                  <a:gd name="T10" fmla="*/ 2147483647 w 67"/>
                  <a:gd name="T11" fmla="*/ 2147483647 h 98"/>
                  <a:gd name="T12" fmla="*/ 2147483647 w 67"/>
                  <a:gd name="T13" fmla="*/ 2147483647 h 98"/>
                  <a:gd name="T14" fmla="*/ 2147483647 w 67"/>
                  <a:gd name="T15" fmla="*/ 2147483647 h 98"/>
                  <a:gd name="T16" fmla="*/ 2147483647 w 67"/>
                  <a:gd name="T17" fmla="*/ 2147483647 h 98"/>
                  <a:gd name="T18" fmla="*/ 2147483647 w 67"/>
                  <a:gd name="T19" fmla="*/ 2147483647 h 98"/>
                  <a:gd name="T20" fmla="*/ 2147483647 w 67"/>
                  <a:gd name="T21" fmla="*/ 2147483647 h 98"/>
                  <a:gd name="T22" fmla="*/ 2147483647 w 67"/>
                  <a:gd name="T23" fmla="*/ 2147483647 h 98"/>
                  <a:gd name="T24" fmla="*/ 2147483647 w 67"/>
                  <a:gd name="T25" fmla="*/ 2147483647 h 98"/>
                  <a:gd name="T26" fmla="*/ 2147483647 w 67"/>
                  <a:gd name="T27" fmla="*/ 2147483647 h 98"/>
                  <a:gd name="T28" fmla="*/ 2147483647 w 67"/>
                  <a:gd name="T29" fmla="*/ 2147483647 h 98"/>
                  <a:gd name="T30" fmla="*/ 2147483647 w 67"/>
                  <a:gd name="T31" fmla="*/ 2147483647 h 98"/>
                  <a:gd name="T32" fmla="*/ 2147483647 w 67"/>
                  <a:gd name="T33" fmla="*/ 2147483647 h 98"/>
                  <a:gd name="T34" fmla="*/ 2147483647 w 67"/>
                  <a:gd name="T35" fmla="*/ 2147483647 h 98"/>
                  <a:gd name="T36" fmla="*/ 2147483647 w 67"/>
                  <a:gd name="T37" fmla="*/ 2147483647 h 98"/>
                  <a:gd name="T38" fmla="*/ 2147483647 w 67"/>
                  <a:gd name="T39" fmla="*/ 2147483647 h 98"/>
                  <a:gd name="T40" fmla="*/ 2147483647 w 67"/>
                  <a:gd name="T41" fmla="*/ 2147483647 h 98"/>
                  <a:gd name="T42" fmla="*/ 2147483647 w 67"/>
                  <a:gd name="T43" fmla="*/ 2147483647 h 98"/>
                  <a:gd name="T44" fmla="*/ 2147483647 w 67"/>
                  <a:gd name="T45" fmla="*/ 2147483647 h 98"/>
                  <a:gd name="T46" fmla="*/ 2147483647 w 67"/>
                  <a:gd name="T47" fmla="*/ 2147483647 h 98"/>
                  <a:gd name="T48" fmla="*/ 2147483647 w 67"/>
                  <a:gd name="T49" fmla="*/ 2147483647 h 98"/>
                  <a:gd name="T50" fmla="*/ 2147483647 w 67"/>
                  <a:gd name="T51" fmla="*/ 2147483647 h 98"/>
                  <a:gd name="T52" fmla="*/ 2147483647 w 67"/>
                  <a:gd name="T53" fmla="*/ 2147483647 h 98"/>
                  <a:gd name="T54" fmla="*/ 2147483647 w 67"/>
                  <a:gd name="T55" fmla="*/ 2147483647 h 98"/>
                  <a:gd name="T56" fmla="*/ 2147483647 w 67"/>
                  <a:gd name="T57" fmla="*/ 2147483647 h 98"/>
                  <a:gd name="T58" fmla="*/ 2147483647 w 67"/>
                  <a:gd name="T59" fmla="*/ 2147483647 h 98"/>
                  <a:gd name="T60" fmla="*/ 2147483647 w 67"/>
                  <a:gd name="T61" fmla="*/ 2147483647 h 98"/>
                  <a:gd name="T62" fmla="*/ 2147483647 w 67"/>
                  <a:gd name="T63" fmla="*/ 2147483647 h 98"/>
                  <a:gd name="T64" fmla="*/ 2147483647 w 67"/>
                  <a:gd name="T65" fmla="*/ 2147483647 h 98"/>
                  <a:gd name="T66" fmla="*/ 2147483647 w 67"/>
                  <a:gd name="T67" fmla="*/ 2147483647 h 98"/>
                  <a:gd name="T68" fmla="*/ 2147483647 w 67"/>
                  <a:gd name="T69" fmla="*/ 2147483647 h 98"/>
                  <a:gd name="T70" fmla="*/ 2147483647 w 67"/>
                  <a:gd name="T71" fmla="*/ 2147483647 h 98"/>
                  <a:gd name="T72" fmla="*/ 2147483647 w 67"/>
                  <a:gd name="T73" fmla="*/ 2147483647 h 98"/>
                  <a:gd name="T74" fmla="*/ 2147483647 w 67"/>
                  <a:gd name="T75" fmla="*/ 2147483647 h 98"/>
                  <a:gd name="T76" fmla="*/ 2147483647 w 67"/>
                  <a:gd name="T77" fmla="*/ 2147483647 h 98"/>
                  <a:gd name="T78" fmla="*/ 2147483647 w 67"/>
                  <a:gd name="T79" fmla="*/ 2147483647 h 98"/>
                  <a:gd name="T80" fmla="*/ 2147483647 w 67"/>
                  <a:gd name="T81" fmla="*/ 2147483647 h 98"/>
                  <a:gd name="T82" fmla="*/ 2147483647 w 67"/>
                  <a:gd name="T83" fmla="*/ 2147483647 h 98"/>
                  <a:gd name="T84" fmla="*/ 2147483647 w 67"/>
                  <a:gd name="T85" fmla="*/ 2147483647 h 98"/>
                  <a:gd name="T86" fmla="*/ 2147483647 w 67"/>
                  <a:gd name="T87" fmla="*/ 2147483647 h 98"/>
                  <a:gd name="T88" fmla="*/ 2147483647 w 67"/>
                  <a:gd name="T89" fmla="*/ 2147483647 h 98"/>
                  <a:gd name="T90" fmla="*/ 2147483647 w 67"/>
                  <a:gd name="T91" fmla="*/ 2147483647 h 98"/>
                  <a:gd name="T92" fmla="*/ 2147483647 w 67"/>
                  <a:gd name="T93" fmla="*/ 2147483647 h 98"/>
                  <a:gd name="T94" fmla="*/ 2147483647 w 67"/>
                  <a:gd name="T95" fmla="*/ 2147483647 h 98"/>
                  <a:gd name="T96" fmla="*/ 0 w 67"/>
                  <a:gd name="T97" fmla="*/ 2147483647 h 98"/>
                  <a:gd name="T98" fmla="*/ 2147483647 w 67"/>
                  <a:gd name="T99" fmla="*/ 2147483647 h 98"/>
                  <a:gd name="T100" fmla="*/ 2147483647 w 67"/>
                  <a:gd name="T101" fmla="*/ 2147483647 h 98"/>
                  <a:gd name="T102" fmla="*/ 2147483647 w 67"/>
                  <a:gd name="T103" fmla="*/ 0 h 98"/>
                  <a:gd name="T104" fmla="*/ 2147483647 w 67"/>
                  <a:gd name="T105" fmla="*/ 2147483647 h 98"/>
                  <a:gd name="T106" fmla="*/ 2147483647 w 67"/>
                  <a:gd name="T107" fmla="*/ 0 h 98"/>
                  <a:gd name="T108" fmla="*/ 2147483647 w 67"/>
                  <a:gd name="T109" fmla="*/ 2147483647 h 9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7"/>
                  <a:gd name="T166" fmla="*/ 0 h 98"/>
                  <a:gd name="T167" fmla="*/ 67 w 67"/>
                  <a:gd name="T168" fmla="*/ 98 h 9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7" h="98">
                    <a:moveTo>
                      <a:pt x="39" y="3"/>
                    </a:moveTo>
                    <a:lnTo>
                      <a:pt x="39" y="3"/>
                    </a:lnTo>
                    <a:lnTo>
                      <a:pt x="42" y="3"/>
                    </a:lnTo>
                    <a:lnTo>
                      <a:pt x="39" y="8"/>
                    </a:lnTo>
                    <a:lnTo>
                      <a:pt x="39" y="17"/>
                    </a:lnTo>
                    <a:lnTo>
                      <a:pt x="39" y="20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2" y="25"/>
                    </a:lnTo>
                    <a:lnTo>
                      <a:pt x="36" y="39"/>
                    </a:lnTo>
                    <a:lnTo>
                      <a:pt x="36" y="42"/>
                    </a:lnTo>
                    <a:lnTo>
                      <a:pt x="36" y="39"/>
                    </a:lnTo>
                    <a:lnTo>
                      <a:pt x="31" y="42"/>
                    </a:lnTo>
                    <a:lnTo>
                      <a:pt x="28" y="45"/>
                    </a:lnTo>
                    <a:lnTo>
                      <a:pt x="28" y="47"/>
                    </a:lnTo>
                    <a:lnTo>
                      <a:pt x="28" y="50"/>
                    </a:lnTo>
                    <a:lnTo>
                      <a:pt x="25" y="53"/>
                    </a:lnTo>
                    <a:lnTo>
                      <a:pt x="28" y="59"/>
                    </a:lnTo>
                    <a:lnTo>
                      <a:pt x="31" y="61"/>
                    </a:lnTo>
                    <a:lnTo>
                      <a:pt x="31" y="64"/>
                    </a:lnTo>
                    <a:lnTo>
                      <a:pt x="31" y="67"/>
                    </a:lnTo>
                    <a:lnTo>
                      <a:pt x="31" y="70"/>
                    </a:lnTo>
                    <a:lnTo>
                      <a:pt x="31" y="73"/>
                    </a:lnTo>
                    <a:lnTo>
                      <a:pt x="36" y="75"/>
                    </a:lnTo>
                    <a:lnTo>
                      <a:pt x="39" y="75"/>
                    </a:lnTo>
                    <a:lnTo>
                      <a:pt x="39" y="73"/>
                    </a:lnTo>
                    <a:lnTo>
                      <a:pt x="39" y="70"/>
                    </a:lnTo>
                    <a:lnTo>
                      <a:pt x="42" y="70"/>
                    </a:lnTo>
                    <a:lnTo>
                      <a:pt x="45" y="70"/>
                    </a:lnTo>
                    <a:lnTo>
                      <a:pt x="48" y="67"/>
                    </a:lnTo>
                    <a:lnTo>
                      <a:pt x="48" y="70"/>
                    </a:lnTo>
                    <a:lnTo>
                      <a:pt x="50" y="70"/>
                    </a:lnTo>
                    <a:lnTo>
                      <a:pt x="53" y="73"/>
                    </a:lnTo>
                    <a:lnTo>
                      <a:pt x="53" y="75"/>
                    </a:lnTo>
                    <a:lnTo>
                      <a:pt x="53" y="78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9" y="75"/>
                    </a:lnTo>
                    <a:lnTo>
                      <a:pt x="64" y="75"/>
                    </a:lnTo>
                    <a:lnTo>
                      <a:pt x="64" y="78"/>
                    </a:lnTo>
                    <a:lnTo>
                      <a:pt x="61" y="78"/>
                    </a:lnTo>
                    <a:lnTo>
                      <a:pt x="61" y="81"/>
                    </a:lnTo>
                    <a:lnTo>
                      <a:pt x="61" y="84"/>
                    </a:lnTo>
                    <a:lnTo>
                      <a:pt x="64" y="84"/>
                    </a:lnTo>
                    <a:lnTo>
                      <a:pt x="64" y="86"/>
                    </a:lnTo>
                    <a:lnTo>
                      <a:pt x="64" y="89"/>
                    </a:lnTo>
                    <a:lnTo>
                      <a:pt x="67" y="89"/>
                    </a:lnTo>
                    <a:lnTo>
                      <a:pt x="67" y="95"/>
                    </a:lnTo>
                    <a:lnTo>
                      <a:pt x="67" y="98"/>
                    </a:lnTo>
                    <a:lnTo>
                      <a:pt x="64" y="95"/>
                    </a:lnTo>
                    <a:lnTo>
                      <a:pt x="64" y="92"/>
                    </a:lnTo>
                    <a:lnTo>
                      <a:pt x="67" y="92"/>
                    </a:lnTo>
                    <a:lnTo>
                      <a:pt x="64" y="92"/>
                    </a:lnTo>
                    <a:lnTo>
                      <a:pt x="61" y="92"/>
                    </a:lnTo>
                    <a:lnTo>
                      <a:pt x="59" y="89"/>
                    </a:lnTo>
                    <a:lnTo>
                      <a:pt x="56" y="89"/>
                    </a:lnTo>
                    <a:lnTo>
                      <a:pt x="56" y="84"/>
                    </a:lnTo>
                    <a:lnTo>
                      <a:pt x="53" y="84"/>
                    </a:lnTo>
                    <a:lnTo>
                      <a:pt x="50" y="81"/>
                    </a:lnTo>
                    <a:lnTo>
                      <a:pt x="48" y="78"/>
                    </a:lnTo>
                    <a:lnTo>
                      <a:pt x="45" y="75"/>
                    </a:lnTo>
                    <a:lnTo>
                      <a:pt x="42" y="75"/>
                    </a:lnTo>
                    <a:lnTo>
                      <a:pt x="45" y="78"/>
                    </a:lnTo>
                    <a:lnTo>
                      <a:pt x="48" y="84"/>
                    </a:lnTo>
                    <a:lnTo>
                      <a:pt x="48" y="86"/>
                    </a:lnTo>
                    <a:lnTo>
                      <a:pt x="45" y="86"/>
                    </a:lnTo>
                    <a:lnTo>
                      <a:pt x="42" y="84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28" y="75"/>
                    </a:lnTo>
                    <a:lnTo>
                      <a:pt x="28" y="78"/>
                    </a:lnTo>
                    <a:lnTo>
                      <a:pt x="25" y="78"/>
                    </a:lnTo>
                    <a:lnTo>
                      <a:pt x="22" y="81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17" y="75"/>
                    </a:lnTo>
                    <a:lnTo>
                      <a:pt x="17" y="78"/>
                    </a:lnTo>
                    <a:lnTo>
                      <a:pt x="14" y="73"/>
                    </a:lnTo>
                    <a:lnTo>
                      <a:pt x="14" y="70"/>
                    </a:lnTo>
                    <a:lnTo>
                      <a:pt x="20" y="64"/>
                    </a:lnTo>
                    <a:lnTo>
                      <a:pt x="20" y="61"/>
                    </a:lnTo>
                    <a:lnTo>
                      <a:pt x="17" y="61"/>
                    </a:lnTo>
                    <a:lnTo>
                      <a:pt x="14" y="61"/>
                    </a:lnTo>
                    <a:lnTo>
                      <a:pt x="14" y="64"/>
                    </a:lnTo>
                    <a:lnTo>
                      <a:pt x="14" y="67"/>
                    </a:lnTo>
                    <a:lnTo>
                      <a:pt x="9" y="61"/>
                    </a:lnTo>
                    <a:lnTo>
                      <a:pt x="0" y="39"/>
                    </a:lnTo>
                    <a:lnTo>
                      <a:pt x="0" y="36"/>
                    </a:lnTo>
                    <a:lnTo>
                      <a:pt x="3" y="36"/>
                    </a:lnTo>
                    <a:lnTo>
                      <a:pt x="6" y="39"/>
                    </a:lnTo>
                    <a:lnTo>
                      <a:pt x="9" y="39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25" y="0"/>
                    </a:lnTo>
                    <a:lnTo>
                      <a:pt x="31" y="3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39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Freeform 389"/>
              <p:cNvSpPr>
                <a:spLocks noChangeAspect="1"/>
              </p:cNvSpPr>
              <p:nvPr>
                <p:custDataLst>
                  <p:tags r:id="rId985"/>
                </p:custDataLst>
              </p:nvPr>
            </p:nvSpPr>
            <p:spPr bwMode="gray">
              <a:xfrm>
                <a:off x="7694165" y="3845195"/>
                <a:ext cx="1519" cy="6307"/>
              </a:xfrm>
              <a:custGeom>
                <a:avLst/>
                <a:gdLst>
                  <a:gd name="T0" fmla="*/ 0 w 2"/>
                  <a:gd name="T1" fmla="*/ 2147483647 h 5"/>
                  <a:gd name="T2" fmla="*/ 0 w 2"/>
                  <a:gd name="T3" fmla="*/ 0 h 5"/>
                  <a:gd name="T4" fmla="*/ 1783775247 w 2"/>
                  <a:gd name="T5" fmla="*/ 0 h 5"/>
                  <a:gd name="T6" fmla="*/ 1783775247 w 2"/>
                  <a:gd name="T7" fmla="*/ 2147483647 h 5"/>
                  <a:gd name="T8" fmla="*/ 0 w 2"/>
                  <a:gd name="T9" fmla="*/ 2147483647 h 5"/>
                  <a:gd name="T10" fmla="*/ 0 w 2"/>
                  <a:gd name="T11" fmla="*/ 2147483647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5"/>
                  <a:gd name="T20" fmla="*/ 2 w 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5">
                    <a:moveTo>
                      <a:pt x="0" y="3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Freeform 390"/>
              <p:cNvSpPr>
                <a:spLocks noChangeAspect="1"/>
              </p:cNvSpPr>
              <p:nvPr>
                <p:custDataLst>
                  <p:tags r:id="rId986"/>
                </p:custDataLst>
              </p:nvPr>
            </p:nvSpPr>
            <p:spPr bwMode="gray">
              <a:xfrm>
                <a:off x="7694165" y="3845195"/>
                <a:ext cx="1519" cy="6307"/>
              </a:xfrm>
              <a:custGeom>
                <a:avLst/>
                <a:gdLst>
                  <a:gd name="T0" fmla="*/ 0 w 2"/>
                  <a:gd name="T1" fmla="*/ 2147483647 h 5"/>
                  <a:gd name="T2" fmla="*/ 0 w 2"/>
                  <a:gd name="T3" fmla="*/ 0 h 5"/>
                  <a:gd name="T4" fmla="*/ 1783775247 w 2"/>
                  <a:gd name="T5" fmla="*/ 0 h 5"/>
                  <a:gd name="T6" fmla="*/ 1783775247 w 2"/>
                  <a:gd name="T7" fmla="*/ 2147483647 h 5"/>
                  <a:gd name="T8" fmla="*/ 0 w 2"/>
                  <a:gd name="T9" fmla="*/ 2147483647 h 5"/>
                  <a:gd name="T10" fmla="*/ 0 w 2"/>
                  <a:gd name="T11" fmla="*/ 2147483647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5"/>
                  <a:gd name="T20" fmla="*/ 2 w 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5">
                    <a:moveTo>
                      <a:pt x="0" y="3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Freeform 391"/>
              <p:cNvSpPr>
                <a:spLocks noChangeAspect="1"/>
              </p:cNvSpPr>
              <p:nvPr>
                <p:custDataLst>
                  <p:tags r:id="rId987"/>
                </p:custDataLst>
              </p:nvPr>
            </p:nvSpPr>
            <p:spPr bwMode="gray">
              <a:xfrm>
                <a:off x="7694165" y="3878306"/>
                <a:ext cx="1519" cy="6307"/>
              </a:xfrm>
              <a:custGeom>
                <a:avLst/>
                <a:gdLst>
                  <a:gd name="T0" fmla="*/ 0 w 2"/>
                  <a:gd name="T1" fmla="*/ 2147483647 h 5"/>
                  <a:gd name="T2" fmla="*/ 0 w 2"/>
                  <a:gd name="T3" fmla="*/ 2147483647 h 5"/>
                  <a:gd name="T4" fmla="*/ 0 w 2"/>
                  <a:gd name="T5" fmla="*/ 0 h 5"/>
                  <a:gd name="T6" fmla="*/ 1783775247 w 2"/>
                  <a:gd name="T7" fmla="*/ 0 h 5"/>
                  <a:gd name="T8" fmla="*/ 1783775247 w 2"/>
                  <a:gd name="T9" fmla="*/ 0 h 5"/>
                  <a:gd name="T10" fmla="*/ 1783775247 w 2"/>
                  <a:gd name="T11" fmla="*/ 2147483647 h 5"/>
                  <a:gd name="T12" fmla="*/ 1783775247 w 2"/>
                  <a:gd name="T13" fmla="*/ 2147483647 h 5"/>
                  <a:gd name="T14" fmla="*/ 0 w 2"/>
                  <a:gd name="T15" fmla="*/ 2147483647 h 5"/>
                  <a:gd name="T16" fmla="*/ 0 w 2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5"/>
                  <a:gd name="T29" fmla="*/ 2 w 2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Freeform 392"/>
              <p:cNvSpPr>
                <a:spLocks noChangeAspect="1"/>
              </p:cNvSpPr>
              <p:nvPr>
                <p:custDataLst>
                  <p:tags r:id="rId988"/>
                </p:custDataLst>
              </p:nvPr>
            </p:nvSpPr>
            <p:spPr bwMode="gray">
              <a:xfrm>
                <a:off x="7694165" y="3878306"/>
                <a:ext cx="1519" cy="6307"/>
              </a:xfrm>
              <a:custGeom>
                <a:avLst/>
                <a:gdLst>
                  <a:gd name="T0" fmla="*/ 0 w 2"/>
                  <a:gd name="T1" fmla="*/ 2147483647 h 5"/>
                  <a:gd name="T2" fmla="*/ 0 w 2"/>
                  <a:gd name="T3" fmla="*/ 2147483647 h 5"/>
                  <a:gd name="T4" fmla="*/ 0 w 2"/>
                  <a:gd name="T5" fmla="*/ 0 h 5"/>
                  <a:gd name="T6" fmla="*/ 1783775247 w 2"/>
                  <a:gd name="T7" fmla="*/ 0 h 5"/>
                  <a:gd name="T8" fmla="*/ 1783775247 w 2"/>
                  <a:gd name="T9" fmla="*/ 0 h 5"/>
                  <a:gd name="T10" fmla="*/ 1783775247 w 2"/>
                  <a:gd name="T11" fmla="*/ 2147483647 h 5"/>
                  <a:gd name="T12" fmla="*/ 1783775247 w 2"/>
                  <a:gd name="T13" fmla="*/ 2147483647 h 5"/>
                  <a:gd name="T14" fmla="*/ 0 w 2"/>
                  <a:gd name="T15" fmla="*/ 2147483647 h 5"/>
                  <a:gd name="T16" fmla="*/ 0 w 2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5"/>
                  <a:gd name="T29" fmla="*/ 2 w 2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Freeform 393"/>
              <p:cNvSpPr>
                <a:spLocks noChangeAspect="1"/>
              </p:cNvSpPr>
              <p:nvPr>
                <p:custDataLst>
                  <p:tags r:id="rId989"/>
                </p:custDataLst>
              </p:nvPr>
            </p:nvSpPr>
            <p:spPr bwMode="gray">
              <a:xfrm>
                <a:off x="7695685" y="3895652"/>
                <a:ext cx="1518" cy="11038"/>
              </a:xfrm>
              <a:custGeom>
                <a:avLst/>
                <a:gdLst>
                  <a:gd name="T0" fmla="*/ 0 w 1417"/>
                  <a:gd name="T1" fmla="*/ 2147483647 h 8"/>
                  <a:gd name="T2" fmla="*/ 0 w 1417"/>
                  <a:gd name="T3" fmla="*/ 0 h 8"/>
                  <a:gd name="T4" fmla="*/ 0 w 1417"/>
                  <a:gd name="T5" fmla="*/ 0 h 8"/>
                  <a:gd name="T6" fmla="*/ 0 w 1417"/>
                  <a:gd name="T7" fmla="*/ 2147483647 h 8"/>
                  <a:gd name="T8" fmla="*/ 0 w 1417"/>
                  <a:gd name="T9" fmla="*/ 2147483647 h 8"/>
                  <a:gd name="T10" fmla="*/ 0 w 1417"/>
                  <a:gd name="T11" fmla="*/ 2147483647 h 8"/>
                  <a:gd name="T12" fmla="*/ 0 w 1417"/>
                  <a:gd name="T13" fmla="*/ 214748364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17"/>
                  <a:gd name="T22" fmla="*/ 0 h 8"/>
                  <a:gd name="T23" fmla="*/ 1417 w 141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17" h="8">
                    <a:moveTo>
                      <a:pt x="0" y="3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Freeform 394"/>
              <p:cNvSpPr>
                <a:spLocks noChangeAspect="1"/>
              </p:cNvSpPr>
              <p:nvPr>
                <p:custDataLst>
                  <p:tags r:id="rId990"/>
                </p:custDataLst>
              </p:nvPr>
            </p:nvSpPr>
            <p:spPr bwMode="gray">
              <a:xfrm>
                <a:off x="7695685" y="3895652"/>
                <a:ext cx="1518" cy="11038"/>
              </a:xfrm>
              <a:custGeom>
                <a:avLst/>
                <a:gdLst>
                  <a:gd name="T0" fmla="*/ 0 w 1417"/>
                  <a:gd name="T1" fmla="*/ 2147483647 h 8"/>
                  <a:gd name="T2" fmla="*/ 0 w 1417"/>
                  <a:gd name="T3" fmla="*/ 0 h 8"/>
                  <a:gd name="T4" fmla="*/ 0 w 1417"/>
                  <a:gd name="T5" fmla="*/ 0 h 8"/>
                  <a:gd name="T6" fmla="*/ 0 w 1417"/>
                  <a:gd name="T7" fmla="*/ 2147483647 h 8"/>
                  <a:gd name="T8" fmla="*/ 0 w 1417"/>
                  <a:gd name="T9" fmla="*/ 2147483647 h 8"/>
                  <a:gd name="T10" fmla="*/ 0 w 1417"/>
                  <a:gd name="T11" fmla="*/ 2147483647 h 8"/>
                  <a:gd name="T12" fmla="*/ 0 w 1417"/>
                  <a:gd name="T13" fmla="*/ 2147483647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17"/>
                  <a:gd name="T22" fmla="*/ 0 h 8"/>
                  <a:gd name="T23" fmla="*/ 1417 w 141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17" h="8">
                    <a:moveTo>
                      <a:pt x="0" y="3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Freeform 395"/>
              <p:cNvSpPr>
                <a:spLocks noChangeAspect="1"/>
              </p:cNvSpPr>
              <p:nvPr>
                <p:custDataLst>
                  <p:tags r:id="rId991"/>
                </p:custDataLst>
              </p:nvPr>
            </p:nvSpPr>
            <p:spPr bwMode="gray">
              <a:xfrm>
                <a:off x="7703277" y="3900381"/>
                <a:ext cx="4557" cy="1577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2147483647 w 3"/>
                  <a:gd name="T5" fmla="*/ 0 h 2"/>
                  <a:gd name="T6" fmla="*/ 2147483647 w 3"/>
                  <a:gd name="T7" fmla="*/ 0 h 2"/>
                  <a:gd name="T8" fmla="*/ 2147483647 w 3"/>
                  <a:gd name="T9" fmla="*/ 891573398 h 2"/>
                  <a:gd name="T10" fmla="*/ 2147483647 w 3"/>
                  <a:gd name="T11" fmla="*/ 891573398 h 2"/>
                  <a:gd name="T12" fmla="*/ 0 w 3"/>
                  <a:gd name="T13" fmla="*/ 891573398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Freeform 396"/>
              <p:cNvSpPr>
                <a:spLocks noChangeAspect="1"/>
              </p:cNvSpPr>
              <p:nvPr>
                <p:custDataLst>
                  <p:tags r:id="rId992"/>
                </p:custDataLst>
              </p:nvPr>
            </p:nvSpPr>
            <p:spPr bwMode="gray">
              <a:xfrm>
                <a:off x="7703277" y="3900381"/>
                <a:ext cx="4557" cy="1577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2147483647 w 3"/>
                  <a:gd name="T5" fmla="*/ 0 h 2"/>
                  <a:gd name="T6" fmla="*/ 2147483647 w 3"/>
                  <a:gd name="T7" fmla="*/ 0 h 2"/>
                  <a:gd name="T8" fmla="*/ 2147483647 w 3"/>
                  <a:gd name="T9" fmla="*/ 891573398 h 2"/>
                  <a:gd name="T10" fmla="*/ 2147483647 w 3"/>
                  <a:gd name="T11" fmla="*/ 891573398 h 2"/>
                  <a:gd name="T12" fmla="*/ 0 w 3"/>
                  <a:gd name="T13" fmla="*/ 891573398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Freeform 397"/>
              <p:cNvSpPr>
                <a:spLocks noChangeAspect="1"/>
              </p:cNvSpPr>
              <p:nvPr>
                <p:custDataLst>
                  <p:tags r:id="rId993"/>
                </p:custDataLst>
              </p:nvPr>
            </p:nvSpPr>
            <p:spPr bwMode="gray">
              <a:xfrm>
                <a:off x="7713906" y="3884613"/>
                <a:ext cx="7592" cy="6307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2147483647 w 6"/>
                  <a:gd name="T5" fmla="*/ 2147483647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2147483647 h 6"/>
                  <a:gd name="T16" fmla="*/ 2147483647 w 6"/>
                  <a:gd name="T17" fmla="*/ 2147483647 h 6"/>
                  <a:gd name="T18" fmla="*/ 0 w 6"/>
                  <a:gd name="T19" fmla="*/ 2147483647 h 6"/>
                  <a:gd name="T20" fmla="*/ 0 w 6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6"/>
                  <a:gd name="T35" fmla="*/ 6 w 6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Freeform 398"/>
              <p:cNvSpPr>
                <a:spLocks noChangeAspect="1"/>
              </p:cNvSpPr>
              <p:nvPr>
                <p:custDataLst>
                  <p:tags r:id="rId994"/>
                </p:custDataLst>
              </p:nvPr>
            </p:nvSpPr>
            <p:spPr bwMode="gray">
              <a:xfrm>
                <a:off x="7729090" y="3895652"/>
                <a:ext cx="1518" cy="4731"/>
              </a:xfrm>
              <a:custGeom>
                <a:avLst/>
                <a:gdLst>
                  <a:gd name="T0" fmla="*/ 0 w 1417"/>
                  <a:gd name="T1" fmla="*/ 0 h 3"/>
                  <a:gd name="T2" fmla="*/ 0 w 1417"/>
                  <a:gd name="T3" fmla="*/ 0 h 3"/>
                  <a:gd name="T4" fmla="*/ 0 w 1417"/>
                  <a:gd name="T5" fmla="*/ 2147483647 h 3"/>
                  <a:gd name="T6" fmla="*/ 0 w 1417"/>
                  <a:gd name="T7" fmla="*/ 2147483647 h 3"/>
                  <a:gd name="T8" fmla="*/ 0 w 1417"/>
                  <a:gd name="T9" fmla="*/ 2147483647 h 3"/>
                  <a:gd name="T10" fmla="*/ 0 w 141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17"/>
                  <a:gd name="T19" fmla="*/ 0 h 3"/>
                  <a:gd name="T20" fmla="*/ 1417 w 141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17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Freeform 399"/>
              <p:cNvSpPr>
                <a:spLocks noChangeAspect="1"/>
              </p:cNvSpPr>
              <p:nvPr>
                <p:custDataLst>
                  <p:tags r:id="rId995"/>
                </p:custDataLst>
              </p:nvPr>
            </p:nvSpPr>
            <p:spPr bwMode="gray">
              <a:xfrm>
                <a:off x="7729090" y="3895652"/>
                <a:ext cx="1518" cy="4731"/>
              </a:xfrm>
              <a:custGeom>
                <a:avLst/>
                <a:gdLst>
                  <a:gd name="T0" fmla="*/ 0 w 1417"/>
                  <a:gd name="T1" fmla="*/ 0 h 3"/>
                  <a:gd name="T2" fmla="*/ 0 w 1417"/>
                  <a:gd name="T3" fmla="*/ 0 h 3"/>
                  <a:gd name="T4" fmla="*/ 0 w 1417"/>
                  <a:gd name="T5" fmla="*/ 2147483647 h 3"/>
                  <a:gd name="T6" fmla="*/ 0 w 1417"/>
                  <a:gd name="T7" fmla="*/ 2147483647 h 3"/>
                  <a:gd name="T8" fmla="*/ 0 w 1417"/>
                  <a:gd name="T9" fmla="*/ 2147483647 h 3"/>
                  <a:gd name="T10" fmla="*/ 0 w 141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17"/>
                  <a:gd name="T19" fmla="*/ 0 h 3"/>
                  <a:gd name="T20" fmla="*/ 1417 w 141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17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Freeform 400"/>
              <p:cNvSpPr>
                <a:spLocks noChangeAspect="1"/>
              </p:cNvSpPr>
              <p:nvPr>
                <p:custDataLst>
                  <p:tags r:id="rId996"/>
                </p:custDataLst>
              </p:nvPr>
            </p:nvSpPr>
            <p:spPr bwMode="gray">
              <a:xfrm>
                <a:off x="7718461" y="3895652"/>
                <a:ext cx="16704" cy="18921"/>
              </a:xfrm>
              <a:custGeom>
                <a:avLst/>
                <a:gdLst>
                  <a:gd name="T0" fmla="*/ 2147483647 w 14"/>
                  <a:gd name="T1" fmla="*/ 0 h 14"/>
                  <a:gd name="T2" fmla="*/ 2147483647 w 14"/>
                  <a:gd name="T3" fmla="*/ 2147483647 h 14"/>
                  <a:gd name="T4" fmla="*/ 2147483647 w 14"/>
                  <a:gd name="T5" fmla="*/ 2147483647 h 14"/>
                  <a:gd name="T6" fmla="*/ 2147483647 w 14"/>
                  <a:gd name="T7" fmla="*/ 2147483647 h 14"/>
                  <a:gd name="T8" fmla="*/ 2147483647 w 14"/>
                  <a:gd name="T9" fmla="*/ 2147483647 h 14"/>
                  <a:gd name="T10" fmla="*/ 2147483647 w 14"/>
                  <a:gd name="T11" fmla="*/ 2147483647 h 14"/>
                  <a:gd name="T12" fmla="*/ 2147483647 w 14"/>
                  <a:gd name="T13" fmla="*/ 2147483647 h 14"/>
                  <a:gd name="T14" fmla="*/ 2147483647 w 14"/>
                  <a:gd name="T15" fmla="*/ 2147483647 h 14"/>
                  <a:gd name="T16" fmla="*/ 2147483647 w 14"/>
                  <a:gd name="T17" fmla="*/ 2147483647 h 14"/>
                  <a:gd name="T18" fmla="*/ 2147483647 w 14"/>
                  <a:gd name="T19" fmla="*/ 2147483647 h 14"/>
                  <a:gd name="T20" fmla="*/ 2147483647 w 14"/>
                  <a:gd name="T21" fmla="*/ 2147483647 h 14"/>
                  <a:gd name="T22" fmla="*/ 2147483647 w 14"/>
                  <a:gd name="T23" fmla="*/ 2147483647 h 14"/>
                  <a:gd name="T24" fmla="*/ 2147483647 w 14"/>
                  <a:gd name="T25" fmla="*/ 2147483647 h 14"/>
                  <a:gd name="T26" fmla="*/ 2147483647 w 14"/>
                  <a:gd name="T27" fmla="*/ 2147483647 h 14"/>
                  <a:gd name="T28" fmla="*/ 0 w 14"/>
                  <a:gd name="T29" fmla="*/ 2147483647 h 14"/>
                  <a:gd name="T30" fmla="*/ 2147483647 w 14"/>
                  <a:gd name="T31" fmla="*/ 0 h 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4"/>
                  <a:gd name="T49" fmla="*/ 0 h 14"/>
                  <a:gd name="T50" fmla="*/ 14 w 14"/>
                  <a:gd name="T51" fmla="*/ 14 h 1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4" h="14">
                    <a:moveTo>
                      <a:pt x="3" y="0"/>
                    </a:moveTo>
                    <a:lnTo>
                      <a:pt x="3" y="3"/>
                    </a:lnTo>
                    <a:lnTo>
                      <a:pt x="6" y="3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7" name="Freeform 401"/>
              <p:cNvSpPr>
                <a:spLocks noChangeAspect="1"/>
              </p:cNvSpPr>
              <p:nvPr>
                <p:custDataLst>
                  <p:tags r:id="rId997"/>
                </p:custDataLst>
              </p:nvPr>
            </p:nvSpPr>
            <p:spPr bwMode="gray">
              <a:xfrm>
                <a:off x="7718461" y="3895652"/>
                <a:ext cx="16704" cy="18921"/>
              </a:xfrm>
              <a:custGeom>
                <a:avLst/>
                <a:gdLst>
                  <a:gd name="T0" fmla="*/ 2147483647 w 14"/>
                  <a:gd name="T1" fmla="*/ 0 h 14"/>
                  <a:gd name="T2" fmla="*/ 2147483647 w 14"/>
                  <a:gd name="T3" fmla="*/ 2147483647 h 14"/>
                  <a:gd name="T4" fmla="*/ 2147483647 w 14"/>
                  <a:gd name="T5" fmla="*/ 2147483647 h 14"/>
                  <a:gd name="T6" fmla="*/ 2147483647 w 14"/>
                  <a:gd name="T7" fmla="*/ 2147483647 h 14"/>
                  <a:gd name="T8" fmla="*/ 2147483647 w 14"/>
                  <a:gd name="T9" fmla="*/ 2147483647 h 14"/>
                  <a:gd name="T10" fmla="*/ 2147483647 w 14"/>
                  <a:gd name="T11" fmla="*/ 2147483647 h 14"/>
                  <a:gd name="T12" fmla="*/ 2147483647 w 14"/>
                  <a:gd name="T13" fmla="*/ 2147483647 h 14"/>
                  <a:gd name="T14" fmla="*/ 2147483647 w 14"/>
                  <a:gd name="T15" fmla="*/ 2147483647 h 14"/>
                  <a:gd name="T16" fmla="*/ 2147483647 w 14"/>
                  <a:gd name="T17" fmla="*/ 2147483647 h 14"/>
                  <a:gd name="T18" fmla="*/ 2147483647 w 14"/>
                  <a:gd name="T19" fmla="*/ 2147483647 h 14"/>
                  <a:gd name="T20" fmla="*/ 2147483647 w 14"/>
                  <a:gd name="T21" fmla="*/ 2147483647 h 14"/>
                  <a:gd name="T22" fmla="*/ 2147483647 w 14"/>
                  <a:gd name="T23" fmla="*/ 2147483647 h 14"/>
                  <a:gd name="T24" fmla="*/ 2147483647 w 14"/>
                  <a:gd name="T25" fmla="*/ 2147483647 h 14"/>
                  <a:gd name="T26" fmla="*/ 2147483647 w 14"/>
                  <a:gd name="T27" fmla="*/ 2147483647 h 14"/>
                  <a:gd name="T28" fmla="*/ 0 w 14"/>
                  <a:gd name="T29" fmla="*/ 2147483647 h 14"/>
                  <a:gd name="T30" fmla="*/ 2147483647 w 14"/>
                  <a:gd name="T31" fmla="*/ 0 h 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4"/>
                  <a:gd name="T49" fmla="*/ 0 h 14"/>
                  <a:gd name="T50" fmla="*/ 14 w 14"/>
                  <a:gd name="T51" fmla="*/ 14 h 1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4" h="14">
                    <a:moveTo>
                      <a:pt x="3" y="0"/>
                    </a:moveTo>
                    <a:lnTo>
                      <a:pt x="3" y="3"/>
                    </a:lnTo>
                    <a:lnTo>
                      <a:pt x="6" y="3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Freeform 402"/>
              <p:cNvSpPr>
                <a:spLocks noChangeAspect="1"/>
              </p:cNvSpPr>
              <p:nvPr>
                <p:custDataLst>
                  <p:tags r:id="rId998"/>
                </p:custDataLst>
              </p:nvPr>
            </p:nvSpPr>
            <p:spPr bwMode="gray">
              <a:xfrm>
                <a:off x="7745793" y="3895652"/>
                <a:ext cx="27332" cy="33112"/>
              </a:xfrm>
              <a:custGeom>
                <a:avLst/>
                <a:gdLst>
                  <a:gd name="T0" fmla="*/ 0 w 22"/>
                  <a:gd name="T1" fmla="*/ 2147483647 h 25"/>
                  <a:gd name="T2" fmla="*/ 0 w 22"/>
                  <a:gd name="T3" fmla="*/ 2147483647 h 25"/>
                  <a:gd name="T4" fmla="*/ 2147483647 w 22"/>
                  <a:gd name="T5" fmla="*/ 2147483647 h 25"/>
                  <a:gd name="T6" fmla="*/ 2147483647 w 22"/>
                  <a:gd name="T7" fmla="*/ 0 h 25"/>
                  <a:gd name="T8" fmla="*/ 2147483647 w 22"/>
                  <a:gd name="T9" fmla="*/ 0 h 25"/>
                  <a:gd name="T10" fmla="*/ 2147483647 w 22"/>
                  <a:gd name="T11" fmla="*/ 2147483647 h 25"/>
                  <a:gd name="T12" fmla="*/ 2147483647 w 22"/>
                  <a:gd name="T13" fmla="*/ 2147483647 h 25"/>
                  <a:gd name="T14" fmla="*/ 2147483647 w 22"/>
                  <a:gd name="T15" fmla="*/ 2147483647 h 25"/>
                  <a:gd name="T16" fmla="*/ 2147483647 w 22"/>
                  <a:gd name="T17" fmla="*/ 2147483647 h 25"/>
                  <a:gd name="T18" fmla="*/ 2147483647 w 22"/>
                  <a:gd name="T19" fmla="*/ 2147483647 h 25"/>
                  <a:gd name="T20" fmla="*/ 2147483647 w 22"/>
                  <a:gd name="T21" fmla="*/ 2147483647 h 25"/>
                  <a:gd name="T22" fmla="*/ 2147483647 w 22"/>
                  <a:gd name="T23" fmla="*/ 2147483647 h 25"/>
                  <a:gd name="T24" fmla="*/ 2147483647 w 22"/>
                  <a:gd name="T25" fmla="*/ 2147483647 h 25"/>
                  <a:gd name="T26" fmla="*/ 2147483647 w 22"/>
                  <a:gd name="T27" fmla="*/ 2147483647 h 25"/>
                  <a:gd name="T28" fmla="*/ 2147483647 w 22"/>
                  <a:gd name="T29" fmla="*/ 2147483647 h 25"/>
                  <a:gd name="T30" fmla="*/ 2147483647 w 22"/>
                  <a:gd name="T31" fmla="*/ 2147483647 h 25"/>
                  <a:gd name="T32" fmla="*/ 2147483647 w 22"/>
                  <a:gd name="T33" fmla="*/ 2147483647 h 25"/>
                  <a:gd name="T34" fmla="*/ 2147483647 w 22"/>
                  <a:gd name="T35" fmla="*/ 2147483647 h 25"/>
                  <a:gd name="T36" fmla="*/ 2147483647 w 22"/>
                  <a:gd name="T37" fmla="*/ 2147483647 h 25"/>
                  <a:gd name="T38" fmla="*/ 2147483647 w 22"/>
                  <a:gd name="T39" fmla="*/ 2147483647 h 25"/>
                  <a:gd name="T40" fmla="*/ 2147483647 w 22"/>
                  <a:gd name="T41" fmla="*/ 2147483647 h 25"/>
                  <a:gd name="T42" fmla="*/ 0 w 22"/>
                  <a:gd name="T43" fmla="*/ 2147483647 h 25"/>
                  <a:gd name="T44" fmla="*/ 0 w 22"/>
                  <a:gd name="T45" fmla="*/ 2147483647 h 25"/>
                  <a:gd name="T46" fmla="*/ 0 w 22"/>
                  <a:gd name="T47" fmla="*/ 2147483647 h 2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2"/>
                  <a:gd name="T73" fmla="*/ 0 h 25"/>
                  <a:gd name="T74" fmla="*/ 22 w 22"/>
                  <a:gd name="T75" fmla="*/ 25 h 2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2" h="25">
                    <a:moveTo>
                      <a:pt x="0" y="3"/>
                    </a:moveTo>
                    <a:lnTo>
                      <a:pt x="0" y="3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6" y="5"/>
                    </a:lnTo>
                    <a:lnTo>
                      <a:pt x="16" y="14"/>
                    </a:lnTo>
                    <a:lnTo>
                      <a:pt x="19" y="22"/>
                    </a:lnTo>
                    <a:lnTo>
                      <a:pt x="22" y="25"/>
                    </a:lnTo>
                    <a:lnTo>
                      <a:pt x="16" y="25"/>
                    </a:lnTo>
                    <a:lnTo>
                      <a:pt x="13" y="25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5" y="11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Freeform 403"/>
              <p:cNvSpPr>
                <a:spLocks noChangeAspect="1"/>
              </p:cNvSpPr>
              <p:nvPr>
                <p:custDataLst>
                  <p:tags r:id="rId999"/>
                </p:custDataLst>
              </p:nvPr>
            </p:nvSpPr>
            <p:spPr bwMode="gray">
              <a:xfrm>
                <a:off x="7745793" y="3895652"/>
                <a:ext cx="27332" cy="33112"/>
              </a:xfrm>
              <a:custGeom>
                <a:avLst/>
                <a:gdLst>
                  <a:gd name="T0" fmla="*/ 0 w 22"/>
                  <a:gd name="T1" fmla="*/ 2147483647 h 25"/>
                  <a:gd name="T2" fmla="*/ 0 w 22"/>
                  <a:gd name="T3" fmla="*/ 2147483647 h 25"/>
                  <a:gd name="T4" fmla="*/ 2147483647 w 22"/>
                  <a:gd name="T5" fmla="*/ 2147483647 h 25"/>
                  <a:gd name="T6" fmla="*/ 2147483647 w 22"/>
                  <a:gd name="T7" fmla="*/ 0 h 25"/>
                  <a:gd name="T8" fmla="*/ 2147483647 w 22"/>
                  <a:gd name="T9" fmla="*/ 0 h 25"/>
                  <a:gd name="T10" fmla="*/ 2147483647 w 22"/>
                  <a:gd name="T11" fmla="*/ 2147483647 h 25"/>
                  <a:gd name="T12" fmla="*/ 2147483647 w 22"/>
                  <a:gd name="T13" fmla="*/ 2147483647 h 25"/>
                  <a:gd name="T14" fmla="*/ 2147483647 w 22"/>
                  <a:gd name="T15" fmla="*/ 2147483647 h 25"/>
                  <a:gd name="T16" fmla="*/ 2147483647 w 22"/>
                  <a:gd name="T17" fmla="*/ 2147483647 h 25"/>
                  <a:gd name="T18" fmla="*/ 2147483647 w 22"/>
                  <a:gd name="T19" fmla="*/ 2147483647 h 25"/>
                  <a:gd name="T20" fmla="*/ 2147483647 w 22"/>
                  <a:gd name="T21" fmla="*/ 2147483647 h 25"/>
                  <a:gd name="T22" fmla="*/ 2147483647 w 22"/>
                  <a:gd name="T23" fmla="*/ 2147483647 h 25"/>
                  <a:gd name="T24" fmla="*/ 2147483647 w 22"/>
                  <a:gd name="T25" fmla="*/ 2147483647 h 25"/>
                  <a:gd name="T26" fmla="*/ 2147483647 w 22"/>
                  <a:gd name="T27" fmla="*/ 2147483647 h 25"/>
                  <a:gd name="T28" fmla="*/ 2147483647 w 22"/>
                  <a:gd name="T29" fmla="*/ 2147483647 h 25"/>
                  <a:gd name="T30" fmla="*/ 2147483647 w 22"/>
                  <a:gd name="T31" fmla="*/ 2147483647 h 25"/>
                  <a:gd name="T32" fmla="*/ 2147483647 w 22"/>
                  <a:gd name="T33" fmla="*/ 2147483647 h 25"/>
                  <a:gd name="T34" fmla="*/ 2147483647 w 22"/>
                  <a:gd name="T35" fmla="*/ 2147483647 h 25"/>
                  <a:gd name="T36" fmla="*/ 2147483647 w 22"/>
                  <a:gd name="T37" fmla="*/ 2147483647 h 25"/>
                  <a:gd name="T38" fmla="*/ 2147483647 w 22"/>
                  <a:gd name="T39" fmla="*/ 2147483647 h 25"/>
                  <a:gd name="T40" fmla="*/ 2147483647 w 22"/>
                  <a:gd name="T41" fmla="*/ 2147483647 h 25"/>
                  <a:gd name="T42" fmla="*/ 0 w 22"/>
                  <a:gd name="T43" fmla="*/ 2147483647 h 25"/>
                  <a:gd name="T44" fmla="*/ 0 w 22"/>
                  <a:gd name="T45" fmla="*/ 2147483647 h 25"/>
                  <a:gd name="T46" fmla="*/ 0 w 22"/>
                  <a:gd name="T47" fmla="*/ 2147483647 h 2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2"/>
                  <a:gd name="T73" fmla="*/ 0 h 25"/>
                  <a:gd name="T74" fmla="*/ 22 w 22"/>
                  <a:gd name="T75" fmla="*/ 25 h 2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2" h="25">
                    <a:moveTo>
                      <a:pt x="0" y="3"/>
                    </a:moveTo>
                    <a:lnTo>
                      <a:pt x="0" y="3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3" y="5"/>
                    </a:lnTo>
                    <a:lnTo>
                      <a:pt x="16" y="5"/>
                    </a:lnTo>
                    <a:lnTo>
                      <a:pt x="16" y="14"/>
                    </a:lnTo>
                    <a:lnTo>
                      <a:pt x="19" y="22"/>
                    </a:lnTo>
                    <a:lnTo>
                      <a:pt x="22" y="25"/>
                    </a:lnTo>
                    <a:lnTo>
                      <a:pt x="16" y="25"/>
                    </a:lnTo>
                    <a:lnTo>
                      <a:pt x="13" y="25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5" y="11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Freeform 404"/>
              <p:cNvSpPr>
                <a:spLocks noChangeAspect="1"/>
              </p:cNvSpPr>
              <p:nvPr>
                <p:custDataLst>
                  <p:tags r:id="rId1000"/>
                </p:custDataLst>
              </p:nvPr>
            </p:nvSpPr>
            <p:spPr bwMode="gray">
              <a:xfrm>
                <a:off x="7694165" y="3909841"/>
                <a:ext cx="24295" cy="33111"/>
              </a:xfrm>
              <a:custGeom>
                <a:avLst/>
                <a:gdLst>
                  <a:gd name="T0" fmla="*/ 0 w 19"/>
                  <a:gd name="T1" fmla="*/ 0 h 25"/>
                  <a:gd name="T2" fmla="*/ 2147483647 w 19"/>
                  <a:gd name="T3" fmla="*/ 0 h 25"/>
                  <a:gd name="T4" fmla="*/ 2147483647 w 19"/>
                  <a:gd name="T5" fmla="*/ 2147483647 h 25"/>
                  <a:gd name="T6" fmla="*/ 2147483647 w 19"/>
                  <a:gd name="T7" fmla="*/ 2147483647 h 25"/>
                  <a:gd name="T8" fmla="*/ 2147483647 w 19"/>
                  <a:gd name="T9" fmla="*/ 2147483647 h 25"/>
                  <a:gd name="T10" fmla="*/ 2147483647 w 19"/>
                  <a:gd name="T11" fmla="*/ 2147483647 h 25"/>
                  <a:gd name="T12" fmla="*/ 2147483647 w 19"/>
                  <a:gd name="T13" fmla="*/ 2147483647 h 25"/>
                  <a:gd name="T14" fmla="*/ 2147483647 w 19"/>
                  <a:gd name="T15" fmla="*/ 2147483647 h 25"/>
                  <a:gd name="T16" fmla="*/ 2147483647 w 19"/>
                  <a:gd name="T17" fmla="*/ 2147483647 h 25"/>
                  <a:gd name="T18" fmla="*/ 2147483647 w 19"/>
                  <a:gd name="T19" fmla="*/ 2147483647 h 25"/>
                  <a:gd name="T20" fmla="*/ 2147483647 w 19"/>
                  <a:gd name="T21" fmla="*/ 2147483647 h 25"/>
                  <a:gd name="T22" fmla="*/ 2147483647 w 19"/>
                  <a:gd name="T23" fmla="*/ 2147483647 h 25"/>
                  <a:gd name="T24" fmla="*/ 2147483647 w 19"/>
                  <a:gd name="T25" fmla="*/ 2147483647 h 25"/>
                  <a:gd name="T26" fmla="*/ 2147483647 w 19"/>
                  <a:gd name="T27" fmla="*/ 2147483647 h 25"/>
                  <a:gd name="T28" fmla="*/ 2147483647 w 19"/>
                  <a:gd name="T29" fmla="*/ 2147483647 h 25"/>
                  <a:gd name="T30" fmla="*/ 0 w 19"/>
                  <a:gd name="T31" fmla="*/ 2147483647 h 25"/>
                  <a:gd name="T32" fmla="*/ 2147483647 w 19"/>
                  <a:gd name="T33" fmla="*/ 2147483647 h 25"/>
                  <a:gd name="T34" fmla="*/ 0 w 19"/>
                  <a:gd name="T35" fmla="*/ 2147483647 h 25"/>
                  <a:gd name="T36" fmla="*/ 0 w 19"/>
                  <a:gd name="T37" fmla="*/ 0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9"/>
                  <a:gd name="T58" fmla="*/ 0 h 25"/>
                  <a:gd name="T59" fmla="*/ 19 w 19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9" h="25">
                    <a:moveTo>
                      <a:pt x="0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11"/>
                    </a:lnTo>
                    <a:lnTo>
                      <a:pt x="16" y="14"/>
                    </a:lnTo>
                    <a:lnTo>
                      <a:pt x="11" y="19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0" y="22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Freeform 405"/>
              <p:cNvSpPr>
                <a:spLocks noChangeAspect="1"/>
              </p:cNvSpPr>
              <p:nvPr>
                <p:custDataLst>
                  <p:tags r:id="rId1001"/>
                </p:custDataLst>
              </p:nvPr>
            </p:nvSpPr>
            <p:spPr bwMode="gray">
              <a:xfrm>
                <a:off x="7707832" y="3935071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2147483647 w 3"/>
                  <a:gd name="T3" fmla="*/ 0 h 6"/>
                  <a:gd name="T4" fmla="*/ 0 w 3"/>
                  <a:gd name="T5" fmla="*/ 2147483647 h 6"/>
                  <a:gd name="T6" fmla="*/ 0 w 3"/>
                  <a:gd name="T7" fmla="*/ 2147483647 h 6"/>
                  <a:gd name="T8" fmla="*/ 0 w 3"/>
                  <a:gd name="T9" fmla="*/ 2147483647 h 6"/>
                  <a:gd name="T10" fmla="*/ 0 w 3"/>
                  <a:gd name="T11" fmla="*/ 2147483647 h 6"/>
                  <a:gd name="T12" fmla="*/ 0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Freeform 406"/>
              <p:cNvSpPr>
                <a:spLocks noChangeAspect="1"/>
              </p:cNvSpPr>
              <p:nvPr>
                <p:custDataLst>
                  <p:tags r:id="rId1002"/>
                </p:custDataLst>
              </p:nvPr>
            </p:nvSpPr>
            <p:spPr bwMode="gray">
              <a:xfrm>
                <a:off x="7707832" y="3935071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2147483647 w 3"/>
                  <a:gd name="T3" fmla="*/ 0 h 6"/>
                  <a:gd name="T4" fmla="*/ 0 w 3"/>
                  <a:gd name="T5" fmla="*/ 2147483647 h 6"/>
                  <a:gd name="T6" fmla="*/ 0 w 3"/>
                  <a:gd name="T7" fmla="*/ 2147483647 h 6"/>
                  <a:gd name="T8" fmla="*/ 0 w 3"/>
                  <a:gd name="T9" fmla="*/ 2147483647 h 6"/>
                  <a:gd name="T10" fmla="*/ 0 w 3"/>
                  <a:gd name="T11" fmla="*/ 2147483647 h 6"/>
                  <a:gd name="T12" fmla="*/ 0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Freeform 407"/>
              <p:cNvSpPr>
                <a:spLocks noChangeAspect="1"/>
              </p:cNvSpPr>
              <p:nvPr>
                <p:custDataLst>
                  <p:tags r:id="rId1003"/>
                </p:custDataLst>
              </p:nvPr>
            </p:nvSpPr>
            <p:spPr bwMode="gray">
              <a:xfrm>
                <a:off x="7703277" y="3931917"/>
                <a:ext cx="22777" cy="36265"/>
              </a:xfrm>
              <a:custGeom>
                <a:avLst/>
                <a:gdLst>
                  <a:gd name="T0" fmla="*/ 2147483647 w 17"/>
                  <a:gd name="T1" fmla="*/ 0 h 27"/>
                  <a:gd name="T2" fmla="*/ 2147483647 w 17"/>
                  <a:gd name="T3" fmla="*/ 0 h 27"/>
                  <a:gd name="T4" fmla="*/ 2147483647 w 17"/>
                  <a:gd name="T5" fmla="*/ 0 h 27"/>
                  <a:gd name="T6" fmla="*/ 2147483647 w 17"/>
                  <a:gd name="T7" fmla="*/ 0 h 27"/>
                  <a:gd name="T8" fmla="*/ 2147483647 w 17"/>
                  <a:gd name="T9" fmla="*/ 2147483647 h 27"/>
                  <a:gd name="T10" fmla="*/ 2147483647 w 17"/>
                  <a:gd name="T11" fmla="*/ 2147483647 h 27"/>
                  <a:gd name="T12" fmla="*/ 2147483647 w 17"/>
                  <a:gd name="T13" fmla="*/ 2147483647 h 27"/>
                  <a:gd name="T14" fmla="*/ 2147483647 w 17"/>
                  <a:gd name="T15" fmla="*/ 2147483647 h 27"/>
                  <a:gd name="T16" fmla="*/ 2147483647 w 17"/>
                  <a:gd name="T17" fmla="*/ 2147483647 h 27"/>
                  <a:gd name="T18" fmla="*/ 2147483647 w 17"/>
                  <a:gd name="T19" fmla="*/ 2147483647 h 27"/>
                  <a:gd name="T20" fmla="*/ 2147483647 w 17"/>
                  <a:gd name="T21" fmla="*/ 2147483647 h 27"/>
                  <a:gd name="T22" fmla="*/ 2147483647 w 17"/>
                  <a:gd name="T23" fmla="*/ 2147483647 h 27"/>
                  <a:gd name="T24" fmla="*/ 2147483647 w 17"/>
                  <a:gd name="T25" fmla="*/ 2147483647 h 27"/>
                  <a:gd name="T26" fmla="*/ 2147483647 w 17"/>
                  <a:gd name="T27" fmla="*/ 2147483647 h 27"/>
                  <a:gd name="T28" fmla="*/ 0 w 17"/>
                  <a:gd name="T29" fmla="*/ 2147483647 h 27"/>
                  <a:gd name="T30" fmla="*/ 0 w 17"/>
                  <a:gd name="T31" fmla="*/ 2147483647 h 27"/>
                  <a:gd name="T32" fmla="*/ 2147483647 w 17"/>
                  <a:gd name="T33" fmla="*/ 2147483647 h 27"/>
                  <a:gd name="T34" fmla="*/ 2147483647 w 17"/>
                  <a:gd name="T35" fmla="*/ 2147483647 h 27"/>
                  <a:gd name="T36" fmla="*/ 2147483647 w 17"/>
                  <a:gd name="T37" fmla="*/ 2147483647 h 27"/>
                  <a:gd name="T38" fmla="*/ 2147483647 w 17"/>
                  <a:gd name="T39" fmla="*/ 2147483647 h 27"/>
                  <a:gd name="T40" fmla="*/ 2147483647 w 17"/>
                  <a:gd name="T41" fmla="*/ 0 h 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7"/>
                  <a:gd name="T64" fmla="*/ 0 h 27"/>
                  <a:gd name="T65" fmla="*/ 17 w 17"/>
                  <a:gd name="T66" fmla="*/ 27 h 2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7" h="27">
                    <a:moveTo>
                      <a:pt x="8" y="0"/>
                    </a:moveTo>
                    <a:lnTo>
                      <a:pt x="11" y="0"/>
                    </a:lnTo>
                    <a:lnTo>
                      <a:pt x="17" y="0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1" y="16"/>
                    </a:lnTo>
                    <a:lnTo>
                      <a:pt x="11" y="22"/>
                    </a:lnTo>
                    <a:lnTo>
                      <a:pt x="14" y="25"/>
                    </a:lnTo>
                    <a:lnTo>
                      <a:pt x="14" y="27"/>
                    </a:lnTo>
                    <a:lnTo>
                      <a:pt x="11" y="27"/>
                    </a:lnTo>
                    <a:lnTo>
                      <a:pt x="6" y="25"/>
                    </a:lnTo>
                    <a:lnTo>
                      <a:pt x="3" y="22"/>
                    </a:lnTo>
                    <a:lnTo>
                      <a:pt x="0" y="19"/>
                    </a:lnTo>
                    <a:lnTo>
                      <a:pt x="0" y="14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6" y="5"/>
                    </a:lnTo>
                    <a:lnTo>
                      <a:pt x="8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Freeform 408"/>
              <p:cNvSpPr>
                <a:spLocks noChangeAspect="1"/>
              </p:cNvSpPr>
              <p:nvPr>
                <p:custDataLst>
                  <p:tags r:id="rId1004"/>
                </p:custDataLst>
              </p:nvPr>
            </p:nvSpPr>
            <p:spPr bwMode="gray">
              <a:xfrm>
                <a:off x="7745793" y="3914572"/>
                <a:ext cx="0" cy="4731"/>
              </a:xfrm>
              <a:custGeom>
                <a:avLst/>
                <a:gdLst>
                  <a:gd name="T0" fmla="*/ 0 w 2"/>
                  <a:gd name="T1" fmla="*/ 2057181782 h 5"/>
                  <a:gd name="T2" fmla="*/ 0 w 2"/>
                  <a:gd name="T3" fmla="*/ 0 h 5"/>
                  <a:gd name="T4" fmla="*/ 0 w 2"/>
                  <a:gd name="T5" fmla="*/ 2057181782 h 5"/>
                  <a:gd name="T6" fmla="*/ 0 w 2"/>
                  <a:gd name="T7" fmla="*/ 2057181782 h 5"/>
                  <a:gd name="T8" fmla="*/ 0 w 2"/>
                  <a:gd name="T9" fmla="*/ 2057181782 h 5"/>
                  <a:gd name="T10" fmla="*/ 0 w 2"/>
                  <a:gd name="T11" fmla="*/ 2147483647 h 5"/>
                  <a:gd name="T12" fmla="*/ 0 w 2"/>
                  <a:gd name="T13" fmla="*/ 2147483647 h 5"/>
                  <a:gd name="T14" fmla="*/ 0 w 2"/>
                  <a:gd name="T15" fmla="*/ 2057181782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5"/>
                  <a:gd name="T26" fmla="*/ 0 w 2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5">
                    <a:moveTo>
                      <a:pt x="0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" name="Freeform 409"/>
              <p:cNvSpPr>
                <a:spLocks noChangeAspect="1"/>
              </p:cNvSpPr>
              <p:nvPr>
                <p:custDataLst>
                  <p:tags r:id="rId1005"/>
                </p:custDataLst>
              </p:nvPr>
            </p:nvSpPr>
            <p:spPr bwMode="gray">
              <a:xfrm>
                <a:off x="7745793" y="3914572"/>
                <a:ext cx="0" cy="4731"/>
              </a:xfrm>
              <a:custGeom>
                <a:avLst/>
                <a:gdLst>
                  <a:gd name="T0" fmla="*/ 0 w 2"/>
                  <a:gd name="T1" fmla="*/ 2057181782 h 5"/>
                  <a:gd name="T2" fmla="*/ 0 w 2"/>
                  <a:gd name="T3" fmla="*/ 0 h 5"/>
                  <a:gd name="T4" fmla="*/ 0 w 2"/>
                  <a:gd name="T5" fmla="*/ 2057181782 h 5"/>
                  <a:gd name="T6" fmla="*/ 0 w 2"/>
                  <a:gd name="T7" fmla="*/ 2057181782 h 5"/>
                  <a:gd name="T8" fmla="*/ 0 w 2"/>
                  <a:gd name="T9" fmla="*/ 2057181782 h 5"/>
                  <a:gd name="T10" fmla="*/ 0 w 2"/>
                  <a:gd name="T11" fmla="*/ 2147483647 h 5"/>
                  <a:gd name="T12" fmla="*/ 0 w 2"/>
                  <a:gd name="T13" fmla="*/ 2147483647 h 5"/>
                  <a:gd name="T14" fmla="*/ 0 w 2"/>
                  <a:gd name="T15" fmla="*/ 2057181782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5"/>
                  <a:gd name="T26" fmla="*/ 0 w 2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5">
                    <a:moveTo>
                      <a:pt x="0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" name="Freeform 410"/>
              <p:cNvSpPr>
                <a:spLocks noChangeAspect="1"/>
              </p:cNvSpPr>
              <p:nvPr>
                <p:custDataLst>
                  <p:tags r:id="rId1006"/>
                </p:custDataLst>
              </p:nvPr>
            </p:nvSpPr>
            <p:spPr bwMode="gray">
              <a:xfrm>
                <a:off x="7745793" y="3919301"/>
                <a:ext cx="15185" cy="31534"/>
              </a:xfrm>
              <a:custGeom>
                <a:avLst/>
                <a:gdLst>
                  <a:gd name="T0" fmla="*/ 0 w 13"/>
                  <a:gd name="T1" fmla="*/ 0 h 23"/>
                  <a:gd name="T2" fmla="*/ 0 w 13"/>
                  <a:gd name="T3" fmla="*/ 0 h 23"/>
                  <a:gd name="T4" fmla="*/ 0 w 13"/>
                  <a:gd name="T5" fmla="*/ 0 h 23"/>
                  <a:gd name="T6" fmla="*/ 2147483647 w 13"/>
                  <a:gd name="T7" fmla="*/ 0 h 23"/>
                  <a:gd name="T8" fmla="*/ 2147483647 w 13"/>
                  <a:gd name="T9" fmla="*/ 0 h 23"/>
                  <a:gd name="T10" fmla="*/ 2147483647 w 13"/>
                  <a:gd name="T11" fmla="*/ 0 h 23"/>
                  <a:gd name="T12" fmla="*/ 2147483647 w 13"/>
                  <a:gd name="T13" fmla="*/ 2147483647 h 23"/>
                  <a:gd name="T14" fmla="*/ 2147483647 w 13"/>
                  <a:gd name="T15" fmla="*/ 2147483647 h 23"/>
                  <a:gd name="T16" fmla="*/ 2147483647 w 13"/>
                  <a:gd name="T17" fmla="*/ 2147483647 h 23"/>
                  <a:gd name="T18" fmla="*/ 2147483647 w 13"/>
                  <a:gd name="T19" fmla="*/ 2147483647 h 23"/>
                  <a:gd name="T20" fmla="*/ 2147483647 w 13"/>
                  <a:gd name="T21" fmla="*/ 2147483647 h 23"/>
                  <a:gd name="T22" fmla="*/ 2147483647 w 13"/>
                  <a:gd name="T23" fmla="*/ 2147483647 h 23"/>
                  <a:gd name="T24" fmla="*/ 2147483647 w 13"/>
                  <a:gd name="T25" fmla="*/ 2147483647 h 23"/>
                  <a:gd name="T26" fmla="*/ 2147483647 w 13"/>
                  <a:gd name="T27" fmla="*/ 2147483647 h 23"/>
                  <a:gd name="T28" fmla="*/ 2147483647 w 13"/>
                  <a:gd name="T29" fmla="*/ 2147483647 h 23"/>
                  <a:gd name="T30" fmla="*/ 2147483647 w 13"/>
                  <a:gd name="T31" fmla="*/ 2147483647 h 23"/>
                  <a:gd name="T32" fmla="*/ 0 w 13"/>
                  <a:gd name="T33" fmla="*/ 2147483647 h 23"/>
                  <a:gd name="T34" fmla="*/ 0 w 13"/>
                  <a:gd name="T35" fmla="*/ 2147483647 h 23"/>
                  <a:gd name="T36" fmla="*/ 0 w 13"/>
                  <a:gd name="T37" fmla="*/ 0 h 23"/>
                  <a:gd name="T38" fmla="*/ 0 w 13"/>
                  <a:gd name="T39" fmla="*/ 0 h 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"/>
                  <a:gd name="T61" fmla="*/ 0 h 23"/>
                  <a:gd name="T62" fmla="*/ 13 w 13"/>
                  <a:gd name="T63" fmla="*/ 23 h 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" h="2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8" y="11"/>
                    </a:lnTo>
                    <a:lnTo>
                      <a:pt x="13" y="20"/>
                    </a:lnTo>
                    <a:lnTo>
                      <a:pt x="11" y="20"/>
                    </a:lnTo>
                    <a:lnTo>
                      <a:pt x="8" y="23"/>
                    </a:lnTo>
                    <a:lnTo>
                      <a:pt x="5" y="20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" name="Freeform 411"/>
              <p:cNvSpPr>
                <a:spLocks noChangeAspect="1"/>
              </p:cNvSpPr>
              <p:nvPr>
                <p:custDataLst>
                  <p:tags r:id="rId1007"/>
                </p:custDataLst>
              </p:nvPr>
            </p:nvSpPr>
            <p:spPr bwMode="gray">
              <a:xfrm>
                <a:off x="7768570" y="3938224"/>
                <a:ext cx="3037" cy="14190"/>
              </a:xfrm>
              <a:custGeom>
                <a:avLst/>
                <a:gdLst>
                  <a:gd name="T0" fmla="*/ 0 w 2833"/>
                  <a:gd name="T1" fmla="*/ 2147483647 h 11"/>
                  <a:gd name="T2" fmla="*/ 0 w 2833"/>
                  <a:gd name="T3" fmla="*/ 2147483647 h 11"/>
                  <a:gd name="T4" fmla="*/ 0 w 2833"/>
                  <a:gd name="T5" fmla="*/ 0 h 11"/>
                  <a:gd name="T6" fmla="*/ 0 w 2833"/>
                  <a:gd name="T7" fmla="*/ 2147483647 h 11"/>
                  <a:gd name="T8" fmla="*/ 0 w 2833"/>
                  <a:gd name="T9" fmla="*/ 2147483647 h 11"/>
                  <a:gd name="T10" fmla="*/ 0 w 2833"/>
                  <a:gd name="T11" fmla="*/ 2147483647 h 11"/>
                  <a:gd name="T12" fmla="*/ 0 w 2833"/>
                  <a:gd name="T13" fmla="*/ 2147483647 h 11"/>
                  <a:gd name="T14" fmla="*/ 0 w 2833"/>
                  <a:gd name="T15" fmla="*/ 2147483647 h 11"/>
                  <a:gd name="T16" fmla="*/ 0 w 2833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33"/>
                  <a:gd name="T28" fmla="*/ 0 h 11"/>
                  <a:gd name="T29" fmla="*/ 2833 w 2833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33" h="11">
                    <a:moveTo>
                      <a:pt x="0" y="6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" name="Freeform 412"/>
              <p:cNvSpPr>
                <a:spLocks noChangeAspect="1"/>
              </p:cNvSpPr>
              <p:nvPr>
                <p:custDataLst>
                  <p:tags r:id="rId1008"/>
                </p:custDataLst>
              </p:nvPr>
            </p:nvSpPr>
            <p:spPr bwMode="gray">
              <a:xfrm>
                <a:off x="7768570" y="3938224"/>
                <a:ext cx="3037" cy="14190"/>
              </a:xfrm>
              <a:custGeom>
                <a:avLst/>
                <a:gdLst>
                  <a:gd name="T0" fmla="*/ 0 w 2833"/>
                  <a:gd name="T1" fmla="*/ 2147483647 h 11"/>
                  <a:gd name="T2" fmla="*/ 0 w 2833"/>
                  <a:gd name="T3" fmla="*/ 2147483647 h 11"/>
                  <a:gd name="T4" fmla="*/ 0 w 2833"/>
                  <a:gd name="T5" fmla="*/ 0 h 11"/>
                  <a:gd name="T6" fmla="*/ 0 w 2833"/>
                  <a:gd name="T7" fmla="*/ 2147483647 h 11"/>
                  <a:gd name="T8" fmla="*/ 0 w 2833"/>
                  <a:gd name="T9" fmla="*/ 2147483647 h 11"/>
                  <a:gd name="T10" fmla="*/ 0 w 2833"/>
                  <a:gd name="T11" fmla="*/ 2147483647 h 11"/>
                  <a:gd name="T12" fmla="*/ 0 w 2833"/>
                  <a:gd name="T13" fmla="*/ 2147483647 h 11"/>
                  <a:gd name="T14" fmla="*/ 0 w 2833"/>
                  <a:gd name="T15" fmla="*/ 2147483647 h 11"/>
                  <a:gd name="T16" fmla="*/ 0 w 2833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33"/>
                  <a:gd name="T28" fmla="*/ 0 h 11"/>
                  <a:gd name="T29" fmla="*/ 2833 w 2833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33" h="11">
                    <a:moveTo>
                      <a:pt x="0" y="6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" name="Freeform 413"/>
              <p:cNvSpPr>
                <a:spLocks noChangeAspect="1"/>
              </p:cNvSpPr>
              <p:nvPr>
                <p:custDataLst>
                  <p:tags r:id="rId1009"/>
                </p:custDataLst>
              </p:nvPr>
            </p:nvSpPr>
            <p:spPr bwMode="gray">
              <a:xfrm>
                <a:off x="7777681" y="3950838"/>
                <a:ext cx="1518" cy="1577"/>
              </a:xfrm>
              <a:custGeom>
                <a:avLst/>
                <a:gdLst>
                  <a:gd name="T0" fmla="*/ 0 w 2"/>
                  <a:gd name="T1" fmla="*/ 0 h 2"/>
                  <a:gd name="T2" fmla="*/ 893327783 w 2"/>
                  <a:gd name="T3" fmla="*/ 891573398 h 2"/>
                  <a:gd name="T4" fmla="*/ 893327783 w 2"/>
                  <a:gd name="T5" fmla="*/ 891573398 h 2"/>
                  <a:gd name="T6" fmla="*/ 0 w 2"/>
                  <a:gd name="T7" fmla="*/ 891573398 h 2"/>
                  <a:gd name="T8" fmla="*/ 0 w 2"/>
                  <a:gd name="T9" fmla="*/ 891573398 h 2"/>
                  <a:gd name="T10" fmla="*/ 0 w 2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2"/>
                  <a:gd name="T20" fmla="*/ 2 w 2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" name="Freeform 414"/>
              <p:cNvSpPr>
                <a:spLocks noChangeAspect="1"/>
              </p:cNvSpPr>
              <p:nvPr>
                <p:custDataLst>
                  <p:tags r:id="rId1010"/>
                </p:custDataLst>
              </p:nvPr>
            </p:nvSpPr>
            <p:spPr bwMode="gray">
              <a:xfrm>
                <a:off x="7777681" y="3950838"/>
                <a:ext cx="1518" cy="1577"/>
              </a:xfrm>
              <a:custGeom>
                <a:avLst/>
                <a:gdLst>
                  <a:gd name="T0" fmla="*/ 0 w 2"/>
                  <a:gd name="T1" fmla="*/ 0 h 2"/>
                  <a:gd name="T2" fmla="*/ 893327783 w 2"/>
                  <a:gd name="T3" fmla="*/ 891573398 h 2"/>
                  <a:gd name="T4" fmla="*/ 893327783 w 2"/>
                  <a:gd name="T5" fmla="*/ 891573398 h 2"/>
                  <a:gd name="T6" fmla="*/ 0 w 2"/>
                  <a:gd name="T7" fmla="*/ 891573398 h 2"/>
                  <a:gd name="T8" fmla="*/ 0 w 2"/>
                  <a:gd name="T9" fmla="*/ 891573398 h 2"/>
                  <a:gd name="T10" fmla="*/ 0 w 2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2"/>
                  <a:gd name="T20" fmla="*/ 2 w 2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" name="Freeform 415"/>
              <p:cNvSpPr>
                <a:spLocks noChangeAspect="1"/>
              </p:cNvSpPr>
              <p:nvPr>
                <p:custDataLst>
                  <p:tags r:id="rId1011"/>
                </p:custDataLst>
              </p:nvPr>
            </p:nvSpPr>
            <p:spPr bwMode="gray">
              <a:xfrm>
                <a:off x="7721498" y="3924031"/>
                <a:ext cx="13667" cy="36266"/>
              </a:xfrm>
              <a:custGeom>
                <a:avLst/>
                <a:gdLst>
                  <a:gd name="T0" fmla="*/ 2147483647 w 11"/>
                  <a:gd name="T1" fmla="*/ 0 h 28"/>
                  <a:gd name="T2" fmla="*/ 2147483647 w 11"/>
                  <a:gd name="T3" fmla="*/ 0 h 28"/>
                  <a:gd name="T4" fmla="*/ 2147483647 w 11"/>
                  <a:gd name="T5" fmla="*/ 2147483647 h 28"/>
                  <a:gd name="T6" fmla="*/ 2147483647 w 11"/>
                  <a:gd name="T7" fmla="*/ 2147483647 h 28"/>
                  <a:gd name="T8" fmla="*/ 2147483647 w 11"/>
                  <a:gd name="T9" fmla="*/ 2147483647 h 28"/>
                  <a:gd name="T10" fmla="*/ 2147483647 w 11"/>
                  <a:gd name="T11" fmla="*/ 2147483647 h 28"/>
                  <a:gd name="T12" fmla="*/ 0 w 11"/>
                  <a:gd name="T13" fmla="*/ 2147483647 h 28"/>
                  <a:gd name="T14" fmla="*/ 2147483647 w 11"/>
                  <a:gd name="T15" fmla="*/ 0 h 28"/>
                  <a:gd name="T16" fmla="*/ 2147483647 w 11"/>
                  <a:gd name="T17" fmla="*/ 0 h 2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28"/>
                  <a:gd name="T29" fmla="*/ 11 w 11"/>
                  <a:gd name="T30" fmla="*/ 28 h 2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28">
                    <a:moveTo>
                      <a:pt x="11" y="0"/>
                    </a:moveTo>
                    <a:lnTo>
                      <a:pt x="11" y="0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3" y="28"/>
                    </a:lnTo>
                    <a:lnTo>
                      <a:pt x="0" y="22"/>
                    </a:lnTo>
                    <a:lnTo>
                      <a:pt x="8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" name="Freeform 416"/>
              <p:cNvSpPr>
                <a:spLocks noChangeAspect="1"/>
              </p:cNvSpPr>
              <p:nvPr>
                <p:custDataLst>
                  <p:tags r:id="rId1012"/>
                </p:custDataLst>
              </p:nvPr>
            </p:nvSpPr>
            <p:spPr bwMode="gray">
              <a:xfrm>
                <a:off x="7721498" y="3924031"/>
                <a:ext cx="13667" cy="36266"/>
              </a:xfrm>
              <a:custGeom>
                <a:avLst/>
                <a:gdLst>
                  <a:gd name="T0" fmla="*/ 2147483647 w 11"/>
                  <a:gd name="T1" fmla="*/ 0 h 28"/>
                  <a:gd name="T2" fmla="*/ 2147483647 w 11"/>
                  <a:gd name="T3" fmla="*/ 0 h 28"/>
                  <a:gd name="T4" fmla="*/ 2147483647 w 11"/>
                  <a:gd name="T5" fmla="*/ 2147483647 h 28"/>
                  <a:gd name="T6" fmla="*/ 2147483647 w 11"/>
                  <a:gd name="T7" fmla="*/ 2147483647 h 28"/>
                  <a:gd name="T8" fmla="*/ 2147483647 w 11"/>
                  <a:gd name="T9" fmla="*/ 2147483647 h 28"/>
                  <a:gd name="T10" fmla="*/ 2147483647 w 11"/>
                  <a:gd name="T11" fmla="*/ 2147483647 h 28"/>
                  <a:gd name="T12" fmla="*/ 0 w 11"/>
                  <a:gd name="T13" fmla="*/ 2147483647 h 28"/>
                  <a:gd name="T14" fmla="*/ 2147483647 w 11"/>
                  <a:gd name="T15" fmla="*/ 0 h 28"/>
                  <a:gd name="T16" fmla="*/ 2147483647 w 11"/>
                  <a:gd name="T17" fmla="*/ 0 h 2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28"/>
                  <a:gd name="T29" fmla="*/ 11 w 11"/>
                  <a:gd name="T30" fmla="*/ 28 h 2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28">
                    <a:moveTo>
                      <a:pt x="11" y="0"/>
                    </a:moveTo>
                    <a:lnTo>
                      <a:pt x="11" y="0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3" y="28"/>
                    </a:lnTo>
                    <a:lnTo>
                      <a:pt x="0" y="22"/>
                    </a:lnTo>
                    <a:lnTo>
                      <a:pt x="8" y="0"/>
                    </a:lnTo>
                    <a:lnTo>
                      <a:pt x="11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3" name="Freeform 417"/>
              <p:cNvSpPr>
                <a:spLocks noChangeAspect="1"/>
              </p:cNvSpPr>
              <p:nvPr>
                <p:custDataLst>
                  <p:tags r:id="rId1013"/>
                </p:custDataLst>
              </p:nvPr>
            </p:nvSpPr>
            <p:spPr bwMode="gray">
              <a:xfrm>
                <a:off x="7733646" y="3946105"/>
                <a:ext cx="12148" cy="9460"/>
              </a:xfrm>
              <a:custGeom>
                <a:avLst/>
                <a:gdLst>
                  <a:gd name="T0" fmla="*/ 0 w 11"/>
                  <a:gd name="T1" fmla="*/ 2147483647 h 8"/>
                  <a:gd name="T2" fmla="*/ 0 w 11"/>
                  <a:gd name="T3" fmla="*/ 2147483647 h 8"/>
                  <a:gd name="T4" fmla="*/ 0 w 11"/>
                  <a:gd name="T5" fmla="*/ 2147483647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0 h 8"/>
                  <a:gd name="T12" fmla="*/ 2147483647 w 11"/>
                  <a:gd name="T13" fmla="*/ 2147483647 h 8"/>
                  <a:gd name="T14" fmla="*/ 2147483647 w 11"/>
                  <a:gd name="T15" fmla="*/ 0 h 8"/>
                  <a:gd name="T16" fmla="*/ 2147483647 w 11"/>
                  <a:gd name="T17" fmla="*/ 2147483647 h 8"/>
                  <a:gd name="T18" fmla="*/ 2147483647 w 11"/>
                  <a:gd name="T19" fmla="*/ 2147483647 h 8"/>
                  <a:gd name="T20" fmla="*/ 2147483647 w 11"/>
                  <a:gd name="T21" fmla="*/ 2147483647 h 8"/>
                  <a:gd name="T22" fmla="*/ 2147483647 w 11"/>
                  <a:gd name="T23" fmla="*/ 2147483647 h 8"/>
                  <a:gd name="T24" fmla="*/ 2147483647 w 11"/>
                  <a:gd name="T25" fmla="*/ 2147483647 h 8"/>
                  <a:gd name="T26" fmla="*/ 2147483647 w 11"/>
                  <a:gd name="T27" fmla="*/ 2147483647 h 8"/>
                  <a:gd name="T28" fmla="*/ 0 w 11"/>
                  <a:gd name="T29" fmla="*/ 2147483647 h 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"/>
                  <a:gd name="T46" fmla="*/ 0 h 8"/>
                  <a:gd name="T47" fmla="*/ 11 w 11"/>
                  <a:gd name="T48" fmla="*/ 8 h 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" h="8">
                    <a:moveTo>
                      <a:pt x="0" y="5"/>
                    </a:moveTo>
                    <a:lnTo>
                      <a:pt x="0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Freeform 418"/>
              <p:cNvSpPr>
                <a:spLocks noChangeAspect="1"/>
              </p:cNvSpPr>
              <p:nvPr>
                <p:custDataLst>
                  <p:tags r:id="rId1014"/>
                </p:custDataLst>
              </p:nvPr>
            </p:nvSpPr>
            <p:spPr bwMode="gray">
              <a:xfrm>
                <a:off x="7733646" y="3946105"/>
                <a:ext cx="12148" cy="9460"/>
              </a:xfrm>
              <a:custGeom>
                <a:avLst/>
                <a:gdLst>
                  <a:gd name="T0" fmla="*/ 0 w 11"/>
                  <a:gd name="T1" fmla="*/ 2147483647 h 8"/>
                  <a:gd name="T2" fmla="*/ 0 w 11"/>
                  <a:gd name="T3" fmla="*/ 2147483647 h 8"/>
                  <a:gd name="T4" fmla="*/ 0 w 11"/>
                  <a:gd name="T5" fmla="*/ 2147483647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0 h 8"/>
                  <a:gd name="T12" fmla="*/ 2147483647 w 11"/>
                  <a:gd name="T13" fmla="*/ 2147483647 h 8"/>
                  <a:gd name="T14" fmla="*/ 2147483647 w 11"/>
                  <a:gd name="T15" fmla="*/ 0 h 8"/>
                  <a:gd name="T16" fmla="*/ 2147483647 w 11"/>
                  <a:gd name="T17" fmla="*/ 2147483647 h 8"/>
                  <a:gd name="T18" fmla="*/ 2147483647 w 11"/>
                  <a:gd name="T19" fmla="*/ 2147483647 h 8"/>
                  <a:gd name="T20" fmla="*/ 2147483647 w 11"/>
                  <a:gd name="T21" fmla="*/ 2147483647 h 8"/>
                  <a:gd name="T22" fmla="*/ 2147483647 w 11"/>
                  <a:gd name="T23" fmla="*/ 2147483647 h 8"/>
                  <a:gd name="T24" fmla="*/ 2147483647 w 11"/>
                  <a:gd name="T25" fmla="*/ 2147483647 h 8"/>
                  <a:gd name="T26" fmla="*/ 2147483647 w 11"/>
                  <a:gd name="T27" fmla="*/ 2147483647 h 8"/>
                  <a:gd name="T28" fmla="*/ 0 w 11"/>
                  <a:gd name="T29" fmla="*/ 2147483647 h 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"/>
                  <a:gd name="T46" fmla="*/ 0 h 8"/>
                  <a:gd name="T47" fmla="*/ 11 w 11"/>
                  <a:gd name="T48" fmla="*/ 8 h 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" h="8">
                    <a:moveTo>
                      <a:pt x="0" y="5"/>
                    </a:moveTo>
                    <a:lnTo>
                      <a:pt x="0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5" name="Freeform 419"/>
              <p:cNvSpPr>
                <a:spLocks noChangeAspect="1"/>
              </p:cNvSpPr>
              <p:nvPr>
                <p:custDataLst>
                  <p:tags r:id="rId1015"/>
                </p:custDataLst>
              </p:nvPr>
            </p:nvSpPr>
            <p:spPr bwMode="gray">
              <a:xfrm>
                <a:off x="7694165" y="3952413"/>
                <a:ext cx="92626" cy="86720"/>
              </a:xfrm>
              <a:custGeom>
                <a:avLst/>
                <a:gdLst>
                  <a:gd name="T0" fmla="*/ 2147483647 w 72"/>
                  <a:gd name="T1" fmla="*/ 0 h 67"/>
                  <a:gd name="T2" fmla="*/ 2147483647 w 72"/>
                  <a:gd name="T3" fmla="*/ 2147483647 h 67"/>
                  <a:gd name="T4" fmla="*/ 2147483647 w 72"/>
                  <a:gd name="T5" fmla="*/ 2147483647 h 67"/>
                  <a:gd name="T6" fmla="*/ 2147483647 w 72"/>
                  <a:gd name="T7" fmla="*/ 2147483647 h 67"/>
                  <a:gd name="T8" fmla="*/ 2147483647 w 72"/>
                  <a:gd name="T9" fmla="*/ 2147483647 h 67"/>
                  <a:gd name="T10" fmla="*/ 2147483647 w 72"/>
                  <a:gd name="T11" fmla="*/ 2147483647 h 67"/>
                  <a:gd name="T12" fmla="*/ 2147483647 w 72"/>
                  <a:gd name="T13" fmla="*/ 2147483647 h 67"/>
                  <a:gd name="T14" fmla="*/ 2147483647 w 72"/>
                  <a:gd name="T15" fmla="*/ 2147483647 h 67"/>
                  <a:gd name="T16" fmla="*/ 2147483647 w 72"/>
                  <a:gd name="T17" fmla="*/ 2147483647 h 67"/>
                  <a:gd name="T18" fmla="*/ 2147483647 w 72"/>
                  <a:gd name="T19" fmla="*/ 2147483647 h 67"/>
                  <a:gd name="T20" fmla="*/ 2147483647 w 72"/>
                  <a:gd name="T21" fmla="*/ 2147483647 h 67"/>
                  <a:gd name="T22" fmla="*/ 2147483647 w 72"/>
                  <a:gd name="T23" fmla="*/ 2147483647 h 67"/>
                  <a:gd name="T24" fmla="*/ 2147483647 w 72"/>
                  <a:gd name="T25" fmla="*/ 2147483647 h 67"/>
                  <a:gd name="T26" fmla="*/ 2147483647 w 72"/>
                  <a:gd name="T27" fmla="*/ 2147483647 h 67"/>
                  <a:gd name="T28" fmla="*/ 2147483647 w 72"/>
                  <a:gd name="T29" fmla="*/ 2147483647 h 67"/>
                  <a:gd name="T30" fmla="*/ 2147483647 w 72"/>
                  <a:gd name="T31" fmla="*/ 2147483647 h 67"/>
                  <a:gd name="T32" fmla="*/ 2147483647 w 72"/>
                  <a:gd name="T33" fmla="*/ 2147483647 h 67"/>
                  <a:gd name="T34" fmla="*/ 2147483647 w 72"/>
                  <a:gd name="T35" fmla="*/ 2147483647 h 67"/>
                  <a:gd name="T36" fmla="*/ 2147483647 w 72"/>
                  <a:gd name="T37" fmla="*/ 2147483647 h 67"/>
                  <a:gd name="T38" fmla="*/ 2147483647 w 72"/>
                  <a:gd name="T39" fmla="*/ 2147483647 h 67"/>
                  <a:gd name="T40" fmla="*/ 2147483647 w 72"/>
                  <a:gd name="T41" fmla="*/ 2147483647 h 67"/>
                  <a:gd name="T42" fmla="*/ 2147483647 w 72"/>
                  <a:gd name="T43" fmla="*/ 2147483647 h 67"/>
                  <a:gd name="T44" fmla="*/ 2147483647 w 72"/>
                  <a:gd name="T45" fmla="*/ 2147483647 h 67"/>
                  <a:gd name="T46" fmla="*/ 2147483647 w 72"/>
                  <a:gd name="T47" fmla="*/ 2147483647 h 67"/>
                  <a:gd name="T48" fmla="*/ 2147483647 w 72"/>
                  <a:gd name="T49" fmla="*/ 2147483647 h 67"/>
                  <a:gd name="T50" fmla="*/ 2147483647 w 72"/>
                  <a:gd name="T51" fmla="*/ 2147483647 h 67"/>
                  <a:gd name="T52" fmla="*/ 2147483647 w 72"/>
                  <a:gd name="T53" fmla="*/ 2147483647 h 67"/>
                  <a:gd name="T54" fmla="*/ 0 w 72"/>
                  <a:gd name="T55" fmla="*/ 2147483647 h 67"/>
                  <a:gd name="T56" fmla="*/ 2147483647 w 72"/>
                  <a:gd name="T57" fmla="*/ 2147483647 h 67"/>
                  <a:gd name="T58" fmla="*/ 2147483647 w 72"/>
                  <a:gd name="T59" fmla="*/ 2147483647 h 67"/>
                  <a:gd name="T60" fmla="*/ 2147483647 w 72"/>
                  <a:gd name="T61" fmla="*/ 2147483647 h 67"/>
                  <a:gd name="T62" fmla="*/ 2147483647 w 72"/>
                  <a:gd name="T63" fmla="*/ 2147483647 h 67"/>
                  <a:gd name="T64" fmla="*/ 2147483647 w 72"/>
                  <a:gd name="T65" fmla="*/ 2147483647 h 67"/>
                  <a:gd name="T66" fmla="*/ 2147483647 w 72"/>
                  <a:gd name="T67" fmla="*/ 2147483647 h 67"/>
                  <a:gd name="T68" fmla="*/ 2147483647 w 72"/>
                  <a:gd name="T69" fmla="*/ 2147483647 h 67"/>
                  <a:gd name="T70" fmla="*/ 2147483647 w 72"/>
                  <a:gd name="T71" fmla="*/ 2147483647 h 67"/>
                  <a:gd name="T72" fmla="*/ 2147483647 w 72"/>
                  <a:gd name="T73" fmla="*/ 2147483647 h 67"/>
                  <a:gd name="T74" fmla="*/ 2147483647 w 72"/>
                  <a:gd name="T75" fmla="*/ 2147483647 h 67"/>
                  <a:gd name="T76" fmla="*/ 2147483647 w 72"/>
                  <a:gd name="T77" fmla="*/ 2147483647 h 6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2"/>
                  <a:gd name="T118" fmla="*/ 0 h 67"/>
                  <a:gd name="T119" fmla="*/ 72 w 72"/>
                  <a:gd name="T120" fmla="*/ 67 h 6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2" h="67">
                    <a:moveTo>
                      <a:pt x="55" y="3"/>
                    </a:moveTo>
                    <a:lnTo>
                      <a:pt x="55" y="0"/>
                    </a:lnTo>
                    <a:lnTo>
                      <a:pt x="58" y="3"/>
                    </a:lnTo>
                    <a:lnTo>
                      <a:pt x="61" y="6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9" y="14"/>
                    </a:lnTo>
                    <a:lnTo>
                      <a:pt x="69" y="17"/>
                    </a:lnTo>
                    <a:lnTo>
                      <a:pt x="66" y="20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72" y="31"/>
                    </a:lnTo>
                    <a:lnTo>
                      <a:pt x="72" y="37"/>
                    </a:lnTo>
                    <a:lnTo>
                      <a:pt x="72" y="42"/>
                    </a:lnTo>
                    <a:lnTo>
                      <a:pt x="72" y="45"/>
                    </a:lnTo>
                    <a:lnTo>
                      <a:pt x="69" y="45"/>
                    </a:lnTo>
                    <a:lnTo>
                      <a:pt x="69" y="48"/>
                    </a:lnTo>
                    <a:lnTo>
                      <a:pt x="69" y="53"/>
                    </a:lnTo>
                    <a:lnTo>
                      <a:pt x="66" y="53"/>
                    </a:lnTo>
                    <a:lnTo>
                      <a:pt x="64" y="45"/>
                    </a:lnTo>
                    <a:lnTo>
                      <a:pt x="61" y="39"/>
                    </a:lnTo>
                    <a:lnTo>
                      <a:pt x="55" y="48"/>
                    </a:lnTo>
                    <a:lnTo>
                      <a:pt x="55" y="50"/>
                    </a:lnTo>
                    <a:lnTo>
                      <a:pt x="58" y="53"/>
                    </a:lnTo>
                    <a:lnTo>
                      <a:pt x="58" y="59"/>
                    </a:lnTo>
                    <a:lnTo>
                      <a:pt x="58" y="62"/>
                    </a:lnTo>
                    <a:lnTo>
                      <a:pt x="55" y="67"/>
                    </a:lnTo>
                    <a:lnTo>
                      <a:pt x="52" y="64"/>
                    </a:lnTo>
                    <a:lnTo>
                      <a:pt x="52" y="59"/>
                    </a:lnTo>
                    <a:lnTo>
                      <a:pt x="50" y="62"/>
                    </a:lnTo>
                    <a:lnTo>
                      <a:pt x="47" y="62"/>
                    </a:lnTo>
                    <a:lnTo>
                      <a:pt x="39" y="59"/>
                    </a:lnTo>
                    <a:lnTo>
                      <a:pt x="36" y="53"/>
                    </a:lnTo>
                    <a:lnTo>
                      <a:pt x="33" y="45"/>
                    </a:lnTo>
                    <a:lnTo>
                      <a:pt x="36" y="39"/>
                    </a:lnTo>
                    <a:lnTo>
                      <a:pt x="36" y="37"/>
                    </a:lnTo>
                    <a:lnTo>
                      <a:pt x="30" y="34"/>
                    </a:lnTo>
                    <a:lnTo>
                      <a:pt x="27" y="31"/>
                    </a:lnTo>
                    <a:lnTo>
                      <a:pt x="25" y="31"/>
                    </a:lnTo>
                    <a:lnTo>
                      <a:pt x="25" y="37"/>
                    </a:lnTo>
                    <a:lnTo>
                      <a:pt x="22" y="37"/>
                    </a:lnTo>
                    <a:lnTo>
                      <a:pt x="19" y="37"/>
                    </a:lnTo>
                    <a:lnTo>
                      <a:pt x="19" y="34"/>
                    </a:lnTo>
                    <a:lnTo>
                      <a:pt x="16" y="37"/>
                    </a:lnTo>
                    <a:lnTo>
                      <a:pt x="16" y="39"/>
                    </a:lnTo>
                    <a:lnTo>
                      <a:pt x="14" y="34"/>
                    </a:lnTo>
                    <a:lnTo>
                      <a:pt x="11" y="34"/>
                    </a:lnTo>
                    <a:lnTo>
                      <a:pt x="8" y="37"/>
                    </a:lnTo>
                    <a:lnTo>
                      <a:pt x="5" y="45"/>
                    </a:lnTo>
                    <a:lnTo>
                      <a:pt x="2" y="45"/>
                    </a:lnTo>
                    <a:lnTo>
                      <a:pt x="0" y="42"/>
                    </a:lnTo>
                    <a:lnTo>
                      <a:pt x="5" y="31"/>
                    </a:lnTo>
                    <a:lnTo>
                      <a:pt x="8" y="28"/>
                    </a:lnTo>
                    <a:lnTo>
                      <a:pt x="16" y="25"/>
                    </a:lnTo>
                    <a:lnTo>
                      <a:pt x="16" y="23"/>
                    </a:lnTo>
                    <a:lnTo>
                      <a:pt x="19" y="23"/>
                    </a:lnTo>
                    <a:lnTo>
                      <a:pt x="22" y="20"/>
                    </a:lnTo>
                    <a:lnTo>
                      <a:pt x="22" y="17"/>
                    </a:lnTo>
                    <a:lnTo>
                      <a:pt x="27" y="20"/>
                    </a:lnTo>
                    <a:lnTo>
                      <a:pt x="30" y="23"/>
                    </a:lnTo>
                    <a:lnTo>
                      <a:pt x="27" y="28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9" y="20"/>
                    </a:lnTo>
                    <a:lnTo>
                      <a:pt x="41" y="20"/>
                    </a:lnTo>
                    <a:lnTo>
                      <a:pt x="44" y="20"/>
                    </a:lnTo>
                    <a:lnTo>
                      <a:pt x="44" y="17"/>
                    </a:lnTo>
                    <a:lnTo>
                      <a:pt x="44" y="14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5" y="14"/>
                    </a:lnTo>
                    <a:lnTo>
                      <a:pt x="5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Freeform 420"/>
              <p:cNvSpPr>
                <a:spLocks noChangeAspect="1"/>
              </p:cNvSpPr>
              <p:nvPr>
                <p:custDataLst>
                  <p:tags r:id="rId1016"/>
                </p:custDataLst>
              </p:nvPr>
            </p:nvSpPr>
            <p:spPr bwMode="gray">
              <a:xfrm>
                <a:off x="7694165" y="4017060"/>
                <a:ext cx="6074" cy="4730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0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Freeform 421"/>
              <p:cNvSpPr>
                <a:spLocks noChangeAspect="1"/>
              </p:cNvSpPr>
              <p:nvPr>
                <p:custDataLst>
                  <p:tags r:id="rId1017"/>
                </p:custDataLst>
              </p:nvPr>
            </p:nvSpPr>
            <p:spPr bwMode="gray">
              <a:xfrm>
                <a:off x="7694165" y="4017060"/>
                <a:ext cx="6074" cy="4730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0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Freeform 422"/>
              <p:cNvSpPr>
                <a:spLocks noChangeAspect="1"/>
              </p:cNvSpPr>
              <p:nvPr>
                <p:custDataLst>
                  <p:tags r:id="rId1018"/>
                </p:custDataLst>
              </p:nvPr>
            </p:nvSpPr>
            <p:spPr bwMode="gray">
              <a:xfrm>
                <a:off x="7675945" y="4028097"/>
                <a:ext cx="6074" cy="6307"/>
              </a:xfrm>
              <a:custGeom>
                <a:avLst/>
                <a:gdLst>
                  <a:gd name="T0" fmla="*/ 0 w 5"/>
                  <a:gd name="T1" fmla="*/ 2147483647 h 5"/>
                  <a:gd name="T2" fmla="*/ 0 w 5"/>
                  <a:gd name="T3" fmla="*/ 2147483647 h 5"/>
                  <a:gd name="T4" fmla="*/ 0 w 5"/>
                  <a:gd name="T5" fmla="*/ 0 h 5"/>
                  <a:gd name="T6" fmla="*/ 2147483647 w 5"/>
                  <a:gd name="T7" fmla="*/ 0 h 5"/>
                  <a:gd name="T8" fmla="*/ 2147483647 w 5"/>
                  <a:gd name="T9" fmla="*/ 2147483647 h 5"/>
                  <a:gd name="T10" fmla="*/ 2147483647 w 5"/>
                  <a:gd name="T11" fmla="*/ 2147483647 h 5"/>
                  <a:gd name="T12" fmla="*/ 2147483647 w 5"/>
                  <a:gd name="T13" fmla="*/ 2147483647 h 5"/>
                  <a:gd name="T14" fmla="*/ 0 w 5"/>
                  <a:gd name="T15" fmla="*/ 2147483647 h 5"/>
                  <a:gd name="T16" fmla="*/ 0 w 5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Freeform 423"/>
              <p:cNvSpPr>
                <a:spLocks noChangeAspect="1"/>
              </p:cNvSpPr>
              <p:nvPr>
                <p:custDataLst>
                  <p:tags r:id="rId1019"/>
                </p:custDataLst>
              </p:nvPr>
            </p:nvSpPr>
            <p:spPr bwMode="gray">
              <a:xfrm>
                <a:off x="7675945" y="4028097"/>
                <a:ext cx="6074" cy="6307"/>
              </a:xfrm>
              <a:custGeom>
                <a:avLst/>
                <a:gdLst>
                  <a:gd name="T0" fmla="*/ 0 w 5"/>
                  <a:gd name="T1" fmla="*/ 2147483647 h 5"/>
                  <a:gd name="T2" fmla="*/ 0 w 5"/>
                  <a:gd name="T3" fmla="*/ 2147483647 h 5"/>
                  <a:gd name="T4" fmla="*/ 0 w 5"/>
                  <a:gd name="T5" fmla="*/ 0 h 5"/>
                  <a:gd name="T6" fmla="*/ 2147483647 w 5"/>
                  <a:gd name="T7" fmla="*/ 0 h 5"/>
                  <a:gd name="T8" fmla="*/ 2147483647 w 5"/>
                  <a:gd name="T9" fmla="*/ 2147483647 h 5"/>
                  <a:gd name="T10" fmla="*/ 2147483647 w 5"/>
                  <a:gd name="T11" fmla="*/ 2147483647 h 5"/>
                  <a:gd name="T12" fmla="*/ 2147483647 w 5"/>
                  <a:gd name="T13" fmla="*/ 2147483647 h 5"/>
                  <a:gd name="T14" fmla="*/ 0 w 5"/>
                  <a:gd name="T15" fmla="*/ 2147483647 h 5"/>
                  <a:gd name="T16" fmla="*/ 0 w 5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Freeform 424"/>
              <p:cNvSpPr>
                <a:spLocks noChangeAspect="1"/>
              </p:cNvSpPr>
              <p:nvPr>
                <p:custDataLst>
                  <p:tags r:id="rId1020"/>
                </p:custDataLst>
              </p:nvPr>
            </p:nvSpPr>
            <p:spPr bwMode="gray">
              <a:xfrm>
                <a:off x="7653168" y="4047017"/>
                <a:ext cx="7592" cy="3154"/>
              </a:xfrm>
              <a:custGeom>
                <a:avLst/>
                <a:gdLst>
                  <a:gd name="T0" fmla="*/ 0 w 6"/>
                  <a:gd name="T1" fmla="*/ 2147483647 h 3"/>
                  <a:gd name="T2" fmla="*/ 0 w 6"/>
                  <a:gd name="T3" fmla="*/ 2147483647 h 3"/>
                  <a:gd name="T4" fmla="*/ 0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0 h 3"/>
                  <a:gd name="T12" fmla="*/ 0 w 6"/>
                  <a:gd name="T13" fmla="*/ 2147483647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Freeform 425"/>
              <p:cNvSpPr>
                <a:spLocks noChangeAspect="1"/>
              </p:cNvSpPr>
              <p:nvPr>
                <p:custDataLst>
                  <p:tags r:id="rId1021"/>
                </p:custDataLst>
              </p:nvPr>
            </p:nvSpPr>
            <p:spPr bwMode="gray">
              <a:xfrm>
                <a:off x="7653168" y="4047017"/>
                <a:ext cx="7592" cy="3154"/>
              </a:xfrm>
              <a:custGeom>
                <a:avLst/>
                <a:gdLst>
                  <a:gd name="T0" fmla="*/ 0 w 6"/>
                  <a:gd name="T1" fmla="*/ 2147483647 h 3"/>
                  <a:gd name="T2" fmla="*/ 0 w 6"/>
                  <a:gd name="T3" fmla="*/ 2147483647 h 3"/>
                  <a:gd name="T4" fmla="*/ 0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0 h 3"/>
                  <a:gd name="T12" fmla="*/ 0 w 6"/>
                  <a:gd name="T13" fmla="*/ 2147483647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Freeform 426"/>
              <p:cNvSpPr>
                <a:spLocks noChangeAspect="1"/>
              </p:cNvSpPr>
              <p:nvPr>
                <p:custDataLst>
                  <p:tags r:id="rId1022"/>
                </p:custDataLst>
              </p:nvPr>
            </p:nvSpPr>
            <p:spPr bwMode="gray">
              <a:xfrm>
                <a:off x="8465542" y="4387593"/>
                <a:ext cx="7593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0 w 5"/>
                  <a:gd name="T5" fmla="*/ 0 h 3"/>
                  <a:gd name="T6" fmla="*/ 2147483647 w 5"/>
                  <a:gd name="T7" fmla="*/ 0 h 3"/>
                  <a:gd name="T8" fmla="*/ 2147483647 w 5"/>
                  <a:gd name="T9" fmla="*/ 0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2147483647 w 5"/>
                  <a:gd name="T15" fmla="*/ 0 h 3"/>
                  <a:gd name="T16" fmla="*/ 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Freeform 427"/>
              <p:cNvSpPr>
                <a:spLocks noChangeAspect="1"/>
              </p:cNvSpPr>
              <p:nvPr>
                <p:custDataLst>
                  <p:tags r:id="rId1023"/>
                </p:custDataLst>
              </p:nvPr>
            </p:nvSpPr>
            <p:spPr bwMode="gray">
              <a:xfrm>
                <a:off x="8465542" y="4387593"/>
                <a:ext cx="7593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0 w 5"/>
                  <a:gd name="T5" fmla="*/ 0 h 3"/>
                  <a:gd name="T6" fmla="*/ 2147483647 w 5"/>
                  <a:gd name="T7" fmla="*/ 0 h 3"/>
                  <a:gd name="T8" fmla="*/ 2147483647 w 5"/>
                  <a:gd name="T9" fmla="*/ 0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2147483647 w 5"/>
                  <a:gd name="T15" fmla="*/ 0 h 3"/>
                  <a:gd name="T16" fmla="*/ 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4" name="Freeform 428"/>
              <p:cNvSpPr>
                <a:spLocks noChangeAspect="1"/>
              </p:cNvSpPr>
              <p:nvPr>
                <p:custDataLst>
                  <p:tags r:id="rId1024"/>
                </p:custDataLst>
              </p:nvPr>
            </p:nvSpPr>
            <p:spPr bwMode="gray">
              <a:xfrm>
                <a:off x="8588537" y="5327330"/>
                <a:ext cx="3037" cy="11038"/>
              </a:xfrm>
              <a:custGeom>
                <a:avLst/>
                <a:gdLst>
                  <a:gd name="T0" fmla="*/ 2147483647 w 3"/>
                  <a:gd name="T1" fmla="*/ 0 h 8"/>
                  <a:gd name="T2" fmla="*/ 2147483647 w 3"/>
                  <a:gd name="T3" fmla="*/ 0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2147483647 w 3"/>
                  <a:gd name="T11" fmla="*/ 2147483647 h 8"/>
                  <a:gd name="T12" fmla="*/ 0 w 3"/>
                  <a:gd name="T13" fmla="*/ 2147483647 h 8"/>
                  <a:gd name="T14" fmla="*/ 2147483647 w 3"/>
                  <a:gd name="T15" fmla="*/ 2147483647 h 8"/>
                  <a:gd name="T16" fmla="*/ 2147483647 w 3"/>
                  <a:gd name="T17" fmla="*/ 2147483647 h 8"/>
                  <a:gd name="T18" fmla="*/ 0 w 3"/>
                  <a:gd name="T19" fmla="*/ 2147483647 h 8"/>
                  <a:gd name="T20" fmla="*/ 0 w 3"/>
                  <a:gd name="T21" fmla="*/ 2147483647 h 8"/>
                  <a:gd name="T22" fmla="*/ 0 w 3"/>
                  <a:gd name="T23" fmla="*/ 2147483647 h 8"/>
                  <a:gd name="T24" fmla="*/ 0 w 3"/>
                  <a:gd name="T25" fmla="*/ 2147483647 h 8"/>
                  <a:gd name="T26" fmla="*/ 0 w 3"/>
                  <a:gd name="T27" fmla="*/ 2147483647 h 8"/>
                  <a:gd name="T28" fmla="*/ 0 w 3"/>
                  <a:gd name="T29" fmla="*/ 2147483647 h 8"/>
                  <a:gd name="T30" fmla="*/ 2147483647 w 3"/>
                  <a:gd name="T31" fmla="*/ 0 h 8"/>
                  <a:gd name="T32" fmla="*/ 2147483647 w 3"/>
                  <a:gd name="T33" fmla="*/ 0 h 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"/>
                  <a:gd name="T52" fmla="*/ 0 h 8"/>
                  <a:gd name="T53" fmla="*/ 3 w 3"/>
                  <a:gd name="T54" fmla="*/ 8 h 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Freeform 429"/>
              <p:cNvSpPr>
                <a:spLocks noChangeAspect="1"/>
              </p:cNvSpPr>
              <p:nvPr>
                <p:custDataLst>
                  <p:tags r:id="rId1025"/>
                </p:custDataLst>
              </p:nvPr>
            </p:nvSpPr>
            <p:spPr bwMode="gray">
              <a:xfrm>
                <a:off x="8588537" y="5327330"/>
                <a:ext cx="3037" cy="11038"/>
              </a:xfrm>
              <a:custGeom>
                <a:avLst/>
                <a:gdLst>
                  <a:gd name="T0" fmla="*/ 2147483647 w 3"/>
                  <a:gd name="T1" fmla="*/ 0 h 8"/>
                  <a:gd name="T2" fmla="*/ 2147483647 w 3"/>
                  <a:gd name="T3" fmla="*/ 0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2147483647 w 3"/>
                  <a:gd name="T11" fmla="*/ 2147483647 h 8"/>
                  <a:gd name="T12" fmla="*/ 0 w 3"/>
                  <a:gd name="T13" fmla="*/ 2147483647 h 8"/>
                  <a:gd name="T14" fmla="*/ 2147483647 w 3"/>
                  <a:gd name="T15" fmla="*/ 2147483647 h 8"/>
                  <a:gd name="T16" fmla="*/ 2147483647 w 3"/>
                  <a:gd name="T17" fmla="*/ 2147483647 h 8"/>
                  <a:gd name="T18" fmla="*/ 0 w 3"/>
                  <a:gd name="T19" fmla="*/ 2147483647 h 8"/>
                  <a:gd name="T20" fmla="*/ 0 w 3"/>
                  <a:gd name="T21" fmla="*/ 2147483647 h 8"/>
                  <a:gd name="T22" fmla="*/ 0 w 3"/>
                  <a:gd name="T23" fmla="*/ 2147483647 h 8"/>
                  <a:gd name="T24" fmla="*/ 0 w 3"/>
                  <a:gd name="T25" fmla="*/ 2147483647 h 8"/>
                  <a:gd name="T26" fmla="*/ 0 w 3"/>
                  <a:gd name="T27" fmla="*/ 2147483647 h 8"/>
                  <a:gd name="T28" fmla="*/ 0 w 3"/>
                  <a:gd name="T29" fmla="*/ 2147483647 h 8"/>
                  <a:gd name="T30" fmla="*/ 2147483647 w 3"/>
                  <a:gd name="T31" fmla="*/ 0 h 8"/>
                  <a:gd name="T32" fmla="*/ 2147483647 w 3"/>
                  <a:gd name="T33" fmla="*/ 0 h 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"/>
                  <a:gd name="T52" fmla="*/ 0 h 8"/>
                  <a:gd name="T53" fmla="*/ 3 w 3"/>
                  <a:gd name="T54" fmla="*/ 8 h 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6" name="Freeform 430"/>
              <p:cNvSpPr>
                <a:spLocks noChangeAspect="1"/>
              </p:cNvSpPr>
              <p:nvPr>
                <p:custDataLst>
                  <p:tags r:id="rId1026"/>
                </p:custDataLst>
              </p:nvPr>
            </p:nvSpPr>
            <p:spPr bwMode="gray">
              <a:xfrm>
                <a:off x="8618906" y="5209075"/>
                <a:ext cx="13665" cy="17344"/>
              </a:xfrm>
              <a:custGeom>
                <a:avLst/>
                <a:gdLst>
                  <a:gd name="T0" fmla="*/ 2147483647 w 11"/>
                  <a:gd name="T1" fmla="*/ 0 h 14"/>
                  <a:gd name="T2" fmla="*/ 2147483647 w 11"/>
                  <a:gd name="T3" fmla="*/ 0 h 14"/>
                  <a:gd name="T4" fmla="*/ 2147483647 w 11"/>
                  <a:gd name="T5" fmla="*/ 0 h 14"/>
                  <a:gd name="T6" fmla="*/ 2147483647 w 11"/>
                  <a:gd name="T7" fmla="*/ 2147483647 h 14"/>
                  <a:gd name="T8" fmla="*/ 2147483647 w 11"/>
                  <a:gd name="T9" fmla="*/ 2147483647 h 14"/>
                  <a:gd name="T10" fmla="*/ 2147483647 w 11"/>
                  <a:gd name="T11" fmla="*/ 2147483647 h 14"/>
                  <a:gd name="T12" fmla="*/ 2147483647 w 11"/>
                  <a:gd name="T13" fmla="*/ 2147483647 h 14"/>
                  <a:gd name="T14" fmla="*/ 2147483647 w 11"/>
                  <a:gd name="T15" fmla="*/ 2147483647 h 14"/>
                  <a:gd name="T16" fmla="*/ 2147483647 w 11"/>
                  <a:gd name="T17" fmla="*/ 2147483647 h 14"/>
                  <a:gd name="T18" fmla="*/ 2147483647 w 11"/>
                  <a:gd name="T19" fmla="*/ 2147483647 h 14"/>
                  <a:gd name="T20" fmla="*/ 2147483647 w 11"/>
                  <a:gd name="T21" fmla="*/ 2147483647 h 14"/>
                  <a:gd name="T22" fmla="*/ 2147483647 w 11"/>
                  <a:gd name="T23" fmla="*/ 2147483647 h 14"/>
                  <a:gd name="T24" fmla="*/ 2147483647 w 11"/>
                  <a:gd name="T25" fmla="*/ 2147483647 h 14"/>
                  <a:gd name="T26" fmla="*/ 2147483647 w 11"/>
                  <a:gd name="T27" fmla="*/ 2147483647 h 14"/>
                  <a:gd name="T28" fmla="*/ 0 w 11"/>
                  <a:gd name="T29" fmla="*/ 2147483647 h 14"/>
                  <a:gd name="T30" fmla="*/ 0 w 11"/>
                  <a:gd name="T31" fmla="*/ 2147483647 h 14"/>
                  <a:gd name="T32" fmla="*/ 2147483647 w 11"/>
                  <a:gd name="T33" fmla="*/ 2147483647 h 14"/>
                  <a:gd name="T34" fmla="*/ 2147483647 w 11"/>
                  <a:gd name="T35" fmla="*/ 2147483647 h 14"/>
                  <a:gd name="T36" fmla="*/ 2147483647 w 11"/>
                  <a:gd name="T37" fmla="*/ 0 h 14"/>
                  <a:gd name="T38" fmla="*/ 2147483647 w 11"/>
                  <a:gd name="T39" fmla="*/ 0 h 14"/>
                  <a:gd name="T40" fmla="*/ 2147483647 w 11"/>
                  <a:gd name="T41" fmla="*/ 0 h 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"/>
                  <a:gd name="T64" fmla="*/ 0 h 14"/>
                  <a:gd name="T65" fmla="*/ 11 w 11"/>
                  <a:gd name="T66" fmla="*/ 14 h 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" h="14">
                    <a:moveTo>
                      <a:pt x="8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7" name="Freeform 431"/>
              <p:cNvSpPr>
                <a:spLocks noChangeAspect="1"/>
              </p:cNvSpPr>
              <p:nvPr>
                <p:custDataLst>
                  <p:tags r:id="rId1027"/>
                </p:custDataLst>
              </p:nvPr>
            </p:nvSpPr>
            <p:spPr bwMode="gray">
              <a:xfrm>
                <a:off x="8618906" y="5209075"/>
                <a:ext cx="13665" cy="17344"/>
              </a:xfrm>
              <a:custGeom>
                <a:avLst/>
                <a:gdLst>
                  <a:gd name="T0" fmla="*/ 2147483647 w 11"/>
                  <a:gd name="T1" fmla="*/ 0 h 14"/>
                  <a:gd name="T2" fmla="*/ 2147483647 w 11"/>
                  <a:gd name="T3" fmla="*/ 0 h 14"/>
                  <a:gd name="T4" fmla="*/ 2147483647 w 11"/>
                  <a:gd name="T5" fmla="*/ 0 h 14"/>
                  <a:gd name="T6" fmla="*/ 2147483647 w 11"/>
                  <a:gd name="T7" fmla="*/ 2147483647 h 14"/>
                  <a:gd name="T8" fmla="*/ 2147483647 w 11"/>
                  <a:gd name="T9" fmla="*/ 2147483647 h 14"/>
                  <a:gd name="T10" fmla="*/ 2147483647 w 11"/>
                  <a:gd name="T11" fmla="*/ 2147483647 h 14"/>
                  <a:gd name="T12" fmla="*/ 2147483647 w 11"/>
                  <a:gd name="T13" fmla="*/ 2147483647 h 14"/>
                  <a:gd name="T14" fmla="*/ 2147483647 w 11"/>
                  <a:gd name="T15" fmla="*/ 2147483647 h 14"/>
                  <a:gd name="T16" fmla="*/ 2147483647 w 11"/>
                  <a:gd name="T17" fmla="*/ 2147483647 h 14"/>
                  <a:gd name="T18" fmla="*/ 2147483647 w 11"/>
                  <a:gd name="T19" fmla="*/ 2147483647 h 14"/>
                  <a:gd name="T20" fmla="*/ 2147483647 w 11"/>
                  <a:gd name="T21" fmla="*/ 2147483647 h 14"/>
                  <a:gd name="T22" fmla="*/ 2147483647 w 11"/>
                  <a:gd name="T23" fmla="*/ 2147483647 h 14"/>
                  <a:gd name="T24" fmla="*/ 2147483647 w 11"/>
                  <a:gd name="T25" fmla="*/ 2147483647 h 14"/>
                  <a:gd name="T26" fmla="*/ 2147483647 w 11"/>
                  <a:gd name="T27" fmla="*/ 2147483647 h 14"/>
                  <a:gd name="T28" fmla="*/ 0 w 11"/>
                  <a:gd name="T29" fmla="*/ 2147483647 h 14"/>
                  <a:gd name="T30" fmla="*/ 0 w 11"/>
                  <a:gd name="T31" fmla="*/ 2147483647 h 14"/>
                  <a:gd name="T32" fmla="*/ 2147483647 w 11"/>
                  <a:gd name="T33" fmla="*/ 2147483647 h 14"/>
                  <a:gd name="T34" fmla="*/ 2147483647 w 11"/>
                  <a:gd name="T35" fmla="*/ 2147483647 h 14"/>
                  <a:gd name="T36" fmla="*/ 2147483647 w 11"/>
                  <a:gd name="T37" fmla="*/ 0 h 14"/>
                  <a:gd name="T38" fmla="*/ 2147483647 w 11"/>
                  <a:gd name="T39" fmla="*/ 0 h 14"/>
                  <a:gd name="T40" fmla="*/ 2147483647 w 11"/>
                  <a:gd name="T41" fmla="*/ 0 h 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"/>
                  <a:gd name="T64" fmla="*/ 0 h 14"/>
                  <a:gd name="T65" fmla="*/ 11 w 11"/>
                  <a:gd name="T66" fmla="*/ 14 h 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" h="14">
                    <a:moveTo>
                      <a:pt x="8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8" name="Freeform 432"/>
              <p:cNvSpPr>
                <a:spLocks noChangeAspect="1"/>
              </p:cNvSpPr>
              <p:nvPr>
                <p:custDataLst>
                  <p:tags r:id="rId1028"/>
                </p:custDataLst>
              </p:nvPr>
            </p:nvSpPr>
            <p:spPr bwMode="gray">
              <a:xfrm>
                <a:off x="8600685" y="5040364"/>
                <a:ext cx="153364" cy="168711"/>
              </a:xfrm>
              <a:custGeom>
                <a:avLst/>
                <a:gdLst>
                  <a:gd name="T0" fmla="*/ 2147483647 w 119"/>
                  <a:gd name="T1" fmla="*/ 2147483647 h 131"/>
                  <a:gd name="T2" fmla="*/ 2147483647 w 119"/>
                  <a:gd name="T3" fmla="*/ 0 h 131"/>
                  <a:gd name="T4" fmla="*/ 2147483647 w 119"/>
                  <a:gd name="T5" fmla="*/ 0 h 131"/>
                  <a:gd name="T6" fmla="*/ 2147483647 w 119"/>
                  <a:gd name="T7" fmla="*/ 2147483647 h 131"/>
                  <a:gd name="T8" fmla="*/ 2147483647 w 119"/>
                  <a:gd name="T9" fmla="*/ 2147483647 h 131"/>
                  <a:gd name="T10" fmla="*/ 2147483647 w 119"/>
                  <a:gd name="T11" fmla="*/ 2147483647 h 131"/>
                  <a:gd name="T12" fmla="*/ 2147483647 w 119"/>
                  <a:gd name="T13" fmla="*/ 2147483647 h 131"/>
                  <a:gd name="T14" fmla="*/ 2147483647 w 119"/>
                  <a:gd name="T15" fmla="*/ 2147483647 h 131"/>
                  <a:gd name="T16" fmla="*/ 2147483647 w 119"/>
                  <a:gd name="T17" fmla="*/ 2147483647 h 131"/>
                  <a:gd name="T18" fmla="*/ 2147483647 w 119"/>
                  <a:gd name="T19" fmla="*/ 2147483647 h 131"/>
                  <a:gd name="T20" fmla="*/ 2147483647 w 119"/>
                  <a:gd name="T21" fmla="*/ 2147483647 h 131"/>
                  <a:gd name="T22" fmla="*/ 2147483647 w 119"/>
                  <a:gd name="T23" fmla="*/ 2147483647 h 131"/>
                  <a:gd name="T24" fmla="*/ 2147483647 w 119"/>
                  <a:gd name="T25" fmla="*/ 2147483647 h 131"/>
                  <a:gd name="T26" fmla="*/ 2147483647 w 119"/>
                  <a:gd name="T27" fmla="*/ 2147483647 h 131"/>
                  <a:gd name="T28" fmla="*/ 2147483647 w 119"/>
                  <a:gd name="T29" fmla="*/ 2147483647 h 131"/>
                  <a:gd name="T30" fmla="*/ 2147483647 w 119"/>
                  <a:gd name="T31" fmla="*/ 2147483647 h 131"/>
                  <a:gd name="T32" fmla="*/ 2147483647 w 119"/>
                  <a:gd name="T33" fmla="*/ 2147483647 h 131"/>
                  <a:gd name="T34" fmla="*/ 2147483647 w 119"/>
                  <a:gd name="T35" fmla="*/ 2147483647 h 131"/>
                  <a:gd name="T36" fmla="*/ 2147483647 w 119"/>
                  <a:gd name="T37" fmla="*/ 2147483647 h 131"/>
                  <a:gd name="T38" fmla="*/ 2147483647 w 119"/>
                  <a:gd name="T39" fmla="*/ 2147483647 h 131"/>
                  <a:gd name="T40" fmla="*/ 2147483647 w 119"/>
                  <a:gd name="T41" fmla="*/ 2147483647 h 131"/>
                  <a:gd name="T42" fmla="*/ 2147483647 w 119"/>
                  <a:gd name="T43" fmla="*/ 2147483647 h 131"/>
                  <a:gd name="T44" fmla="*/ 2147483647 w 119"/>
                  <a:gd name="T45" fmla="*/ 2147483647 h 131"/>
                  <a:gd name="T46" fmla="*/ 2147483647 w 119"/>
                  <a:gd name="T47" fmla="*/ 2147483647 h 131"/>
                  <a:gd name="T48" fmla="*/ 2147483647 w 119"/>
                  <a:gd name="T49" fmla="*/ 2147483647 h 131"/>
                  <a:gd name="T50" fmla="*/ 2147483647 w 119"/>
                  <a:gd name="T51" fmla="*/ 2147483647 h 131"/>
                  <a:gd name="T52" fmla="*/ 2147483647 w 119"/>
                  <a:gd name="T53" fmla="*/ 2147483647 h 131"/>
                  <a:gd name="T54" fmla="*/ 2147483647 w 119"/>
                  <a:gd name="T55" fmla="*/ 2147483647 h 131"/>
                  <a:gd name="T56" fmla="*/ 2147483647 w 119"/>
                  <a:gd name="T57" fmla="*/ 2147483647 h 131"/>
                  <a:gd name="T58" fmla="*/ 2147483647 w 119"/>
                  <a:gd name="T59" fmla="*/ 2147483647 h 131"/>
                  <a:gd name="T60" fmla="*/ 2147483647 w 119"/>
                  <a:gd name="T61" fmla="*/ 2147483647 h 131"/>
                  <a:gd name="T62" fmla="*/ 2147483647 w 119"/>
                  <a:gd name="T63" fmla="*/ 2147483647 h 131"/>
                  <a:gd name="T64" fmla="*/ 2147483647 w 119"/>
                  <a:gd name="T65" fmla="*/ 2147483647 h 131"/>
                  <a:gd name="T66" fmla="*/ 2147483647 w 119"/>
                  <a:gd name="T67" fmla="*/ 2147483647 h 131"/>
                  <a:gd name="T68" fmla="*/ 2147483647 w 119"/>
                  <a:gd name="T69" fmla="*/ 2147483647 h 131"/>
                  <a:gd name="T70" fmla="*/ 2147483647 w 119"/>
                  <a:gd name="T71" fmla="*/ 2147483647 h 131"/>
                  <a:gd name="T72" fmla="*/ 2147483647 w 119"/>
                  <a:gd name="T73" fmla="*/ 2147483647 h 131"/>
                  <a:gd name="T74" fmla="*/ 2147483647 w 119"/>
                  <a:gd name="T75" fmla="*/ 2147483647 h 131"/>
                  <a:gd name="T76" fmla="*/ 2147483647 w 119"/>
                  <a:gd name="T77" fmla="*/ 2147483647 h 131"/>
                  <a:gd name="T78" fmla="*/ 0 w 119"/>
                  <a:gd name="T79" fmla="*/ 2147483647 h 131"/>
                  <a:gd name="T80" fmla="*/ 2147483647 w 119"/>
                  <a:gd name="T81" fmla="*/ 2147483647 h 131"/>
                  <a:gd name="T82" fmla="*/ 2147483647 w 119"/>
                  <a:gd name="T83" fmla="*/ 2147483647 h 131"/>
                  <a:gd name="T84" fmla="*/ 2147483647 w 119"/>
                  <a:gd name="T85" fmla="*/ 2147483647 h 131"/>
                  <a:gd name="T86" fmla="*/ 2147483647 w 119"/>
                  <a:gd name="T87" fmla="*/ 2147483647 h 131"/>
                  <a:gd name="T88" fmla="*/ 2147483647 w 119"/>
                  <a:gd name="T89" fmla="*/ 2147483647 h 131"/>
                  <a:gd name="T90" fmla="*/ 2147483647 w 119"/>
                  <a:gd name="T91" fmla="*/ 2147483647 h 131"/>
                  <a:gd name="T92" fmla="*/ 2147483647 w 119"/>
                  <a:gd name="T93" fmla="*/ 2147483647 h 131"/>
                  <a:gd name="T94" fmla="*/ 2147483647 w 119"/>
                  <a:gd name="T95" fmla="*/ 2147483647 h 131"/>
                  <a:gd name="T96" fmla="*/ 2147483647 w 119"/>
                  <a:gd name="T97" fmla="*/ 2147483647 h 131"/>
                  <a:gd name="T98" fmla="*/ 2147483647 w 119"/>
                  <a:gd name="T99" fmla="*/ 2147483647 h 131"/>
                  <a:gd name="T100" fmla="*/ 2147483647 w 119"/>
                  <a:gd name="T101" fmla="*/ 2147483647 h 131"/>
                  <a:gd name="T102" fmla="*/ 2147483647 w 119"/>
                  <a:gd name="T103" fmla="*/ 2147483647 h 131"/>
                  <a:gd name="T104" fmla="*/ 2147483647 w 119"/>
                  <a:gd name="T105" fmla="*/ 2147483647 h 131"/>
                  <a:gd name="T106" fmla="*/ 2147483647 w 119"/>
                  <a:gd name="T107" fmla="*/ 2147483647 h 131"/>
                  <a:gd name="T108" fmla="*/ 2147483647 w 119"/>
                  <a:gd name="T109" fmla="*/ 2147483647 h 131"/>
                  <a:gd name="T110" fmla="*/ 2147483647 w 119"/>
                  <a:gd name="T111" fmla="*/ 2147483647 h 131"/>
                  <a:gd name="T112" fmla="*/ 2147483647 w 119"/>
                  <a:gd name="T113" fmla="*/ 2147483647 h 131"/>
                  <a:gd name="T114" fmla="*/ 2147483647 w 119"/>
                  <a:gd name="T115" fmla="*/ 2147483647 h 131"/>
                  <a:gd name="T116" fmla="*/ 2147483647 w 119"/>
                  <a:gd name="T117" fmla="*/ 2147483647 h 1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9"/>
                  <a:gd name="T178" fmla="*/ 0 h 131"/>
                  <a:gd name="T179" fmla="*/ 119 w 119"/>
                  <a:gd name="T180" fmla="*/ 131 h 13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9" h="131">
                    <a:moveTo>
                      <a:pt x="86" y="8"/>
                    </a:moveTo>
                    <a:lnTo>
                      <a:pt x="86" y="8"/>
                    </a:lnTo>
                    <a:lnTo>
                      <a:pt x="86" y="6"/>
                    </a:lnTo>
                    <a:lnTo>
                      <a:pt x="89" y="3"/>
                    </a:lnTo>
                    <a:lnTo>
                      <a:pt x="91" y="0"/>
                    </a:lnTo>
                    <a:lnTo>
                      <a:pt x="94" y="0"/>
                    </a:lnTo>
                    <a:lnTo>
                      <a:pt x="94" y="3"/>
                    </a:lnTo>
                    <a:lnTo>
                      <a:pt x="97" y="6"/>
                    </a:lnTo>
                    <a:lnTo>
                      <a:pt x="100" y="6"/>
                    </a:lnTo>
                    <a:lnTo>
                      <a:pt x="100" y="11"/>
                    </a:lnTo>
                    <a:lnTo>
                      <a:pt x="100" y="14"/>
                    </a:lnTo>
                    <a:lnTo>
                      <a:pt x="103" y="14"/>
                    </a:lnTo>
                    <a:lnTo>
                      <a:pt x="105" y="11"/>
                    </a:lnTo>
                    <a:lnTo>
                      <a:pt x="108" y="11"/>
                    </a:lnTo>
                    <a:lnTo>
                      <a:pt x="111" y="8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4" y="11"/>
                    </a:lnTo>
                    <a:lnTo>
                      <a:pt x="111" y="14"/>
                    </a:lnTo>
                    <a:lnTo>
                      <a:pt x="114" y="11"/>
                    </a:lnTo>
                    <a:lnTo>
                      <a:pt x="117" y="8"/>
                    </a:lnTo>
                    <a:lnTo>
                      <a:pt x="119" y="11"/>
                    </a:lnTo>
                    <a:lnTo>
                      <a:pt x="117" y="14"/>
                    </a:lnTo>
                    <a:lnTo>
                      <a:pt x="119" y="17"/>
                    </a:lnTo>
                    <a:lnTo>
                      <a:pt x="117" y="20"/>
                    </a:lnTo>
                    <a:lnTo>
                      <a:pt x="119" y="22"/>
                    </a:lnTo>
                    <a:lnTo>
                      <a:pt x="117" y="31"/>
                    </a:lnTo>
                    <a:lnTo>
                      <a:pt x="114" y="31"/>
                    </a:lnTo>
                    <a:lnTo>
                      <a:pt x="114" y="33"/>
                    </a:lnTo>
                    <a:lnTo>
                      <a:pt x="111" y="33"/>
                    </a:lnTo>
                    <a:lnTo>
                      <a:pt x="111" y="36"/>
                    </a:lnTo>
                    <a:lnTo>
                      <a:pt x="108" y="39"/>
                    </a:lnTo>
                    <a:lnTo>
                      <a:pt x="105" y="47"/>
                    </a:lnTo>
                    <a:lnTo>
                      <a:pt x="103" y="47"/>
                    </a:lnTo>
                    <a:lnTo>
                      <a:pt x="103" y="50"/>
                    </a:lnTo>
                    <a:lnTo>
                      <a:pt x="100" y="50"/>
                    </a:lnTo>
                    <a:lnTo>
                      <a:pt x="97" y="53"/>
                    </a:lnTo>
                    <a:lnTo>
                      <a:pt x="94" y="64"/>
                    </a:lnTo>
                    <a:lnTo>
                      <a:pt x="100" y="67"/>
                    </a:lnTo>
                    <a:lnTo>
                      <a:pt x="100" y="70"/>
                    </a:lnTo>
                    <a:lnTo>
                      <a:pt x="100" y="67"/>
                    </a:lnTo>
                    <a:lnTo>
                      <a:pt x="100" y="70"/>
                    </a:lnTo>
                    <a:lnTo>
                      <a:pt x="91" y="67"/>
                    </a:lnTo>
                    <a:lnTo>
                      <a:pt x="91" y="70"/>
                    </a:lnTo>
                    <a:lnTo>
                      <a:pt x="89" y="70"/>
                    </a:lnTo>
                    <a:lnTo>
                      <a:pt x="86" y="67"/>
                    </a:lnTo>
                    <a:lnTo>
                      <a:pt x="86" y="70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5" y="78"/>
                    </a:lnTo>
                    <a:lnTo>
                      <a:pt x="75" y="81"/>
                    </a:lnTo>
                    <a:lnTo>
                      <a:pt x="72" y="89"/>
                    </a:lnTo>
                    <a:lnTo>
                      <a:pt x="72" y="92"/>
                    </a:lnTo>
                    <a:lnTo>
                      <a:pt x="72" y="95"/>
                    </a:lnTo>
                    <a:lnTo>
                      <a:pt x="69" y="98"/>
                    </a:lnTo>
                    <a:lnTo>
                      <a:pt x="69" y="103"/>
                    </a:lnTo>
                    <a:lnTo>
                      <a:pt x="66" y="106"/>
                    </a:lnTo>
                    <a:lnTo>
                      <a:pt x="64" y="109"/>
                    </a:lnTo>
                    <a:lnTo>
                      <a:pt x="64" y="111"/>
                    </a:lnTo>
                    <a:lnTo>
                      <a:pt x="64" y="114"/>
                    </a:lnTo>
                    <a:lnTo>
                      <a:pt x="61" y="114"/>
                    </a:lnTo>
                    <a:lnTo>
                      <a:pt x="58" y="117"/>
                    </a:lnTo>
                    <a:lnTo>
                      <a:pt x="55" y="120"/>
                    </a:lnTo>
                    <a:lnTo>
                      <a:pt x="50" y="123"/>
                    </a:lnTo>
                    <a:lnTo>
                      <a:pt x="50" y="125"/>
                    </a:lnTo>
                    <a:lnTo>
                      <a:pt x="47" y="128"/>
                    </a:lnTo>
                    <a:lnTo>
                      <a:pt x="41" y="131"/>
                    </a:lnTo>
                    <a:lnTo>
                      <a:pt x="41" y="128"/>
                    </a:lnTo>
                    <a:lnTo>
                      <a:pt x="39" y="131"/>
                    </a:lnTo>
                    <a:lnTo>
                      <a:pt x="36" y="131"/>
                    </a:lnTo>
                    <a:lnTo>
                      <a:pt x="36" y="128"/>
                    </a:lnTo>
                    <a:lnTo>
                      <a:pt x="33" y="128"/>
                    </a:lnTo>
                    <a:lnTo>
                      <a:pt x="30" y="128"/>
                    </a:lnTo>
                    <a:lnTo>
                      <a:pt x="27" y="128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19" y="123"/>
                    </a:lnTo>
                    <a:lnTo>
                      <a:pt x="19" y="120"/>
                    </a:lnTo>
                    <a:lnTo>
                      <a:pt x="16" y="120"/>
                    </a:lnTo>
                    <a:lnTo>
                      <a:pt x="14" y="120"/>
                    </a:lnTo>
                    <a:lnTo>
                      <a:pt x="11" y="120"/>
                    </a:lnTo>
                    <a:lnTo>
                      <a:pt x="8" y="123"/>
                    </a:lnTo>
                    <a:lnTo>
                      <a:pt x="2" y="120"/>
                    </a:lnTo>
                    <a:lnTo>
                      <a:pt x="2" y="117"/>
                    </a:lnTo>
                    <a:lnTo>
                      <a:pt x="5" y="114"/>
                    </a:lnTo>
                    <a:lnTo>
                      <a:pt x="2" y="117"/>
                    </a:lnTo>
                    <a:lnTo>
                      <a:pt x="2" y="114"/>
                    </a:lnTo>
                    <a:lnTo>
                      <a:pt x="0" y="114"/>
                    </a:lnTo>
                    <a:lnTo>
                      <a:pt x="0" y="111"/>
                    </a:lnTo>
                    <a:lnTo>
                      <a:pt x="2" y="111"/>
                    </a:lnTo>
                    <a:lnTo>
                      <a:pt x="5" y="109"/>
                    </a:lnTo>
                    <a:lnTo>
                      <a:pt x="5" y="106"/>
                    </a:lnTo>
                    <a:lnTo>
                      <a:pt x="2" y="106"/>
                    </a:lnTo>
                    <a:lnTo>
                      <a:pt x="2" y="103"/>
                    </a:lnTo>
                    <a:lnTo>
                      <a:pt x="5" y="103"/>
                    </a:lnTo>
                    <a:lnTo>
                      <a:pt x="5" y="100"/>
                    </a:lnTo>
                    <a:lnTo>
                      <a:pt x="8" y="100"/>
                    </a:lnTo>
                    <a:lnTo>
                      <a:pt x="11" y="100"/>
                    </a:lnTo>
                    <a:lnTo>
                      <a:pt x="8" y="98"/>
                    </a:lnTo>
                    <a:lnTo>
                      <a:pt x="8" y="92"/>
                    </a:lnTo>
                    <a:lnTo>
                      <a:pt x="11" y="92"/>
                    </a:lnTo>
                    <a:lnTo>
                      <a:pt x="11" y="89"/>
                    </a:lnTo>
                    <a:lnTo>
                      <a:pt x="11" y="92"/>
                    </a:lnTo>
                    <a:lnTo>
                      <a:pt x="14" y="92"/>
                    </a:lnTo>
                    <a:lnTo>
                      <a:pt x="14" y="95"/>
                    </a:lnTo>
                    <a:lnTo>
                      <a:pt x="14" y="92"/>
                    </a:lnTo>
                    <a:lnTo>
                      <a:pt x="14" y="89"/>
                    </a:lnTo>
                    <a:lnTo>
                      <a:pt x="16" y="86"/>
                    </a:lnTo>
                    <a:lnTo>
                      <a:pt x="19" y="84"/>
                    </a:lnTo>
                    <a:lnTo>
                      <a:pt x="19" y="81"/>
                    </a:lnTo>
                    <a:lnTo>
                      <a:pt x="22" y="78"/>
                    </a:lnTo>
                    <a:lnTo>
                      <a:pt x="25" y="78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30" y="72"/>
                    </a:lnTo>
                    <a:lnTo>
                      <a:pt x="30" y="70"/>
                    </a:lnTo>
                    <a:lnTo>
                      <a:pt x="36" y="70"/>
                    </a:lnTo>
                    <a:lnTo>
                      <a:pt x="55" y="56"/>
                    </a:lnTo>
                    <a:lnTo>
                      <a:pt x="55" y="53"/>
                    </a:lnTo>
                    <a:lnTo>
                      <a:pt x="61" y="50"/>
                    </a:lnTo>
                    <a:lnTo>
                      <a:pt x="66" y="45"/>
                    </a:lnTo>
                    <a:lnTo>
                      <a:pt x="72" y="39"/>
                    </a:lnTo>
                    <a:lnTo>
                      <a:pt x="75" y="25"/>
                    </a:lnTo>
                    <a:lnTo>
                      <a:pt x="80" y="22"/>
                    </a:lnTo>
                    <a:lnTo>
                      <a:pt x="83" y="22"/>
                    </a:lnTo>
                    <a:lnTo>
                      <a:pt x="86" y="17"/>
                    </a:lnTo>
                    <a:lnTo>
                      <a:pt x="8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9" name="Freeform 433"/>
              <p:cNvSpPr>
                <a:spLocks noChangeAspect="1"/>
              </p:cNvSpPr>
              <p:nvPr>
                <p:custDataLst>
                  <p:tags r:id="rId1029"/>
                </p:custDataLst>
              </p:nvPr>
            </p:nvSpPr>
            <p:spPr bwMode="gray">
              <a:xfrm>
                <a:off x="8722162" y="4884266"/>
                <a:ext cx="116920" cy="182902"/>
              </a:xfrm>
              <a:custGeom>
                <a:avLst/>
                <a:gdLst>
                  <a:gd name="T0" fmla="*/ 2147483647 w 89"/>
                  <a:gd name="T1" fmla="*/ 2147483647 h 140"/>
                  <a:gd name="T2" fmla="*/ 2147483647 w 89"/>
                  <a:gd name="T3" fmla="*/ 2147483647 h 140"/>
                  <a:gd name="T4" fmla="*/ 2147483647 w 89"/>
                  <a:gd name="T5" fmla="*/ 2147483647 h 140"/>
                  <a:gd name="T6" fmla="*/ 2147483647 w 89"/>
                  <a:gd name="T7" fmla="*/ 2147483647 h 140"/>
                  <a:gd name="T8" fmla="*/ 2147483647 w 89"/>
                  <a:gd name="T9" fmla="*/ 2147483647 h 140"/>
                  <a:gd name="T10" fmla="*/ 2147483647 w 89"/>
                  <a:gd name="T11" fmla="*/ 2147483647 h 140"/>
                  <a:gd name="T12" fmla="*/ 2147483647 w 89"/>
                  <a:gd name="T13" fmla="*/ 2147483647 h 140"/>
                  <a:gd name="T14" fmla="*/ 2147483647 w 89"/>
                  <a:gd name="T15" fmla="*/ 2147483647 h 140"/>
                  <a:gd name="T16" fmla="*/ 2147483647 w 89"/>
                  <a:gd name="T17" fmla="*/ 2147483647 h 140"/>
                  <a:gd name="T18" fmla="*/ 2147483647 w 89"/>
                  <a:gd name="T19" fmla="*/ 2147483647 h 140"/>
                  <a:gd name="T20" fmla="*/ 2147483647 w 89"/>
                  <a:gd name="T21" fmla="*/ 2147483647 h 140"/>
                  <a:gd name="T22" fmla="*/ 2147483647 w 89"/>
                  <a:gd name="T23" fmla="*/ 2147483647 h 140"/>
                  <a:gd name="T24" fmla="*/ 2147483647 w 89"/>
                  <a:gd name="T25" fmla="*/ 2147483647 h 140"/>
                  <a:gd name="T26" fmla="*/ 2147483647 w 89"/>
                  <a:gd name="T27" fmla="*/ 2147483647 h 140"/>
                  <a:gd name="T28" fmla="*/ 2147483647 w 89"/>
                  <a:gd name="T29" fmla="*/ 2147483647 h 140"/>
                  <a:gd name="T30" fmla="*/ 2147483647 w 89"/>
                  <a:gd name="T31" fmla="*/ 2147483647 h 140"/>
                  <a:gd name="T32" fmla="*/ 2147483647 w 89"/>
                  <a:gd name="T33" fmla="*/ 2147483647 h 140"/>
                  <a:gd name="T34" fmla="*/ 0 w 89"/>
                  <a:gd name="T35" fmla="*/ 0 h 140"/>
                  <a:gd name="T36" fmla="*/ 2147483647 w 89"/>
                  <a:gd name="T37" fmla="*/ 0 h 140"/>
                  <a:gd name="T38" fmla="*/ 2147483647 w 89"/>
                  <a:gd name="T39" fmla="*/ 2147483647 h 140"/>
                  <a:gd name="T40" fmla="*/ 2147483647 w 89"/>
                  <a:gd name="T41" fmla="*/ 2147483647 h 140"/>
                  <a:gd name="T42" fmla="*/ 2147483647 w 89"/>
                  <a:gd name="T43" fmla="*/ 2147483647 h 140"/>
                  <a:gd name="T44" fmla="*/ 2147483647 w 89"/>
                  <a:gd name="T45" fmla="*/ 2147483647 h 140"/>
                  <a:gd name="T46" fmla="*/ 2147483647 w 89"/>
                  <a:gd name="T47" fmla="*/ 2147483647 h 140"/>
                  <a:gd name="T48" fmla="*/ 2147483647 w 89"/>
                  <a:gd name="T49" fmla="*/ 2147483647 h 140"/>
                  <a:gd name="T50" fmla="*/ 2147483647 w 89"/>
                  <a:gd name="T51" fmla="*/ 2147483647 h 140"/>
                  <a:gd name="T52" fmla="*/ 2147483647 w 89"/>
                  <a:gd name="T53" fmla="*/ 2147483647 h 140"/>
                  <a:gd name="T54" fmla="*/ 2147483647 w 89"/>
                  <a:gd name="T55" fmla="*/ 2147483647 h 140"/>
                  <a:gd name="T56" fmla="*/ 2147483647 w 89"/>
                  <a:gd name="T57" fmla="*/ 2147483647 h 140"/>
                  <a:gd name="T58" fmla="*/ 2147483647 w 89"/>
                  <a:gd name="T59" fmla="*/ 2147483647 h 140"/>
                  <a:gd name="T60" fmla="*/ 2147483647 w 89"/>
                  <a:gd name="T61" fmla="*/ 2147483647 h 140"/>
                  <a:gd name="T62" fmla="*/ 2147483647 w 89"/>
                  <a:gd name="T63" fmla="*/ 2147483647 h 140"/>
                  <a:gd name="T64" fmla="*/ 2147483647 w 89"/>
                  <a:gd name="T65" fmla="*/ 2147483647 h 140"/>
                  <a:gd name="T66" fmla="*/ 2147483647 w 89"/>
                  <a:gd name="T67" fmla="*/ 2147483647 h 140"/>
                  <a:gd name="T68" fmla="*/ 2147483647 w 89"/>
                  <a:gd name="T69" fmla="*/ 2147483647 h 140"/>
                  <a:gd name="T70" fmla="*/ 2147483647 w 89"/>
                  <a:gd name="T71" fmla="*/ 2147483647 h 140"/>
                  <a:gd name="T72" fmla="*/ 2147483647 w 89"/>
                  <a:gd name="T73" fmla="*/ 2147483647 h 140"/>
                  <a:gd name="T74" fmla="*/ 2147483647 w 89"/>
                  <a:gd name="T75" fmla="*/ 2147483647 h 140"/>
                  <a:gd name="T76" fmla="*/ 2147483647 w 89"/>
                  <a:gd name="T77" fmla="*/ 2147483647 h 140"/>
                  <a:gd name="T78" fmla="*/ 2147483647 w 89"/>
                  <a:gd name="T79" fmla="*/ 2147483647 h 140"/>
                  <a:gd name="T80" fmla="*/ 2147483647 w 89"/>
                  <a:gd name="T81" fmla="*/ 2147483647 h 140"/>
                  <a:gd name="T82" fmla="*/ 2147483647 w 89"/>
                  <a:gd name="T83" fmla="*/ 2147483647 h 140"/>
                  <a:gd name="T84" fmla="*/ 2147483647 w 89"/>
                  <a:gd name="T85" fmla="*/ 2147483647 h 140"/>
                  <a:gd name="T86" fmla="*/ 2147483647 w 89"/>
                  <a:gd name="T87" fmla="*/ 2147483647 h 140"/>
                  <a:gd name="T88" fmla="*/ 2147483647 w 89"/>
                  <a:gd name="T89" fmla="*/ 2147483647 h 140"/>
                  <a:gd name="T90" fmla="*/ 2147483647 w 89"/>
                  <a:gd name="T91" fmla="*/ 2147483647 h 140"/>
                  <a:gd name="T92" fmla="*/ 2147483647 w 89"/>
                  <a:gd name="T93" fmla="*/ 2147483647 h 140"/>
                  <a:gd name="T94" fmla="*/ 2147483647 w 89"/>
                  <a:gd name="T95" fmla="*/ 2147483647 h 140"/>
                  <a:gd name="T96" fmla="*/ 2147483647 w 89"/>
                  <a:gd name="T97" fmla="*/ 2147483647 h 140"/>
                  <a:gd name="T98" fmla="*/ 2147483647 w 89"/>
                  <a:gd name="T99" fmla="*/ 2147483647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9"/>
                  <a:gd name="T151" fmla="*/ 0 h 140"/>
                  <a:gd name="T152" fmla="*/ 89 w 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9" h="140">
                    <a:moveTo>
                      <a:pt x="34" y="131"/>
                    </a:moveTo>
                    <a:lnTo>
                      <a:pt x="36" y="126"/>
                    </a:lnTo>
                    <a:lnTo>
                      <a:pt x="39" y="114"/>
                    </a:lnTo>
                    <a:lnTo>
                      <a:pt x="39" y="112"/>
                    </a:lnTo>
                    <a:lnTo>
                      <a:pt x="36" y="106"/>
                    </a:lnTo>
                    <a:lnTo>
                      <a:pt x="31" y="106"/>
                    </a:lnTo>
                    <a:lnTo>
                      <a:pt x="23" y="98"/>
                    </a:lnTo>
                    <a:lnTo>
                      <a:pt x="20" y="98"/>
                    </a:lnTo>
                    <a:lnTo>
                      <a:pt x="17" y="95"/>
                    </a:lnTo>
                    <a:lnTo>
                      <a:pt x="17" y="92"/>
                    </a:lnTo>
                    <a:lnTo>
                      <a:pt x="20" y="89"/>
                    </a:lnTo>
                    <a:lnTo>
                      <a:pt x="28" y="87"/>
                    </a:lnTo>
                    <a:lnTo>
                      <a:pt x="31" y="84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4" y="64"/>
                    </a:lnTo>
                    <a:lnTo>
                      <a:pt x="36" y="62"/>
                    </a:lnTo>
                    <a:lnTo>
                      <a:pt x="34" y="62"/>
                    </a:lnTo>
                    <a:lnTo>
                      <a:pt x="34" y="59"/>
                    </a:lnTo>
                    <a:lnTo>
                      <a:pt x="34" y="56"/>
                    </a:lnTo>
                    <a:lnTo>
                      <a:pt x="31" y="53"/>
                    </a:lnTo>
                    <a:lnTo>
                      <a:pt x="31" y="50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1" y="48"/>
                    </a:lnTo>
                    <a:lnTo>
                      <a:pt x="28" y="48"/>
                    </a:lnTo>
                    <a:lnTo>
                      <a:pt x="25" y="39"/>
                    </a:lnTo>
                    <a:lnTo>
                      <a:pt x="25" y="42"/>
                    </a:lnTo>
                    <a:lnTo>
                      <a:pt x="28" y="39"/>
                    </a:lnTo>
                    <a:lnTo>
                      <a:pt x="28" y="37"/>
                    </a:lnTo>
                    <a:lnTo>
                      <a:pt x="25" y="37"/>
                    </a:lnTo>
                    <a:lnTo>
                      <a:pt x="25" y="34"/>
                    </a:lnTo>
                    <a:lnTo>
                      <a:pt x="25" y="31"/>
                    </a:lnTo>
                    <a:lnTo>
                      <a:pt x="23" y="34"/>
                    </a:lnTo>
                    <a:lnTo>
                      <a:pt x="23" y="31"/>
                    </a:lnTo>
                    <a:lnTo>
                      <a:pt x="23" y="34"/>
                    </a:lnTo>
                    <a:lnTo>
                      <a:pt x="23" y="37"/>
                    </a:lnTo>
                    <a:lnTo>
                      <a:pt x="11" y="20"/>
                    </a:lnTo>
                    <a:lnTo>
                      <a:pt x="14" y="17"/>
                    </a:lnTo>
                    <a:lnTo>
                      <a:pt x="14" y="14"/>
                    </a:lnTo>
                    <a:lnTo>
                      <a:pt x="11" y="17"/>
                    </a:lnTo>
                    <a:lnTo>
                      <a:pt x="9" y="17"/>
                    </a:lnTo>
                    <a:lnTo>
                      <a:pt x="9" y="14"/>
                    </a:lnTo>
                    <a:lnTo>
                      <a:pt x="9" y="11"/>
                    </a:lnTo>
                    <a:lnTo>
                      <a:pt x="6" y="9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14" y="9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20" y="11"/>
                    </a:lnTo>
                    <a:lnTo>
                      <a:pt x="23" y="11"/>
                    </a:lnTo>
                    <a:lnTo>
                      <a:pt x="20" y="14"/>
                    </a:lnTo>
                    <a:lnTo>
                      <a:pt x="23" y="17"/>
                    </a:lnTo>
                    <a:lnTo>
                      <a:pt x="23" y="14"/>
                    </a:lnTo>
                    <a:lnTo>
                      <a:pt x="25" y="17"/>
                    </a:lnTo>
                    <a:lnTo>
                      <a:pt x="25" y="20"/>
                    </a:lnTo>
                    <a:lnTo>
                      <a:pt x="28" y="23"/>
                    </a:lnTo>
                    <a:lnTo>
                      <a:pt x="31" y="25"/>
                    </a:lnTo>
                    <a:lnTo>
                      <a:pt x="28" y="25"/>
                    </a:lnTo>
                    <a:lnTo>
                      <a:pt x="25" y="25"/>
                    </a:lnTo>
                    <a:lnTo>
                      <a:pt x="28" y="25"/>
                    </a:lnTo>
                    <a:lnTo>
                      <a:pt x="28" y="28"/>
                    </a:lnTo>
                    <a:lnTo>
                      <a:pt x="28" y="31"/>
                    </a:lnTo>
                    <a:lnTo>
                      <a:pt x="34" y="37"/>
                    </a:lnTo>
                    <a:lnTo>
                      <a:pt x="34" y="39"/>
                    </a:lnTo>
                    <a:lnTo>
                      <a:pt x="31" y="42"/>
                    </a:lnTo>
                    <a:lnTo>
                      <a:pt x="34" y="42"/>
                    </a:lnTo>
                    <a:lnTo>
                      <a:pt x="34" y="45"/>
                    </a:lnTo>
                    <a:lnTo>
                      <a:pt x="31" y="45"/>
                    </a:lnTo>
                    <a:lnTo>
                      <a:pt x="34" y="45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39" y="48"/>
                    </a:lnTo>
                    <a:lnTo>
                      <a:pt x="42" y="50"/>
                    </a:lnTo>
                    <a:lnTo>
                      <a:pt x="42" y="53"/>
                    </a:lnTo>
                    <a:lnTo>
                      <a:pt x="45" y="50"/>
                    </a:lnTo>
                    <a:lnTo>
                      <a:pt x="45" y="42"/>
                    </a:lnTo>
                    <a:lnTo>
                      <a:pt x="42" y="39"/>
                    </a:lnTo>
                    <a:lnTo>
                      <a:pt x="45" y="42"/>
                    </a:lnTo>
                    <a:lnTo>
                      <a:pt x="48" y="42"/>
                    </a:lnTo>
                    <a:lnTo>
                      <a:pt x="48" y="45"/>
                    </a:lnTo>
                    <a:lnTo>
                      <a:pt x="50" y="53"/>
                    </a:lnTo>
                    <a:lnTo>
                      <a:pt x="50" y="56"/>
                    </a:lnTo>
                    <a:lnTo>
                      <a:pt x="53" y="59"/>
                    </a:lnTo>
                    <a:lnTo>
                      <a:pt x="53" y="62"/>
                    </a:lnTo>
                    <a:lnTo>
                      <a:pt x="56" y="62"/>
                    </a:lnTo>
                    <a:lnTo>
                      <a:pt x="59" y="64"/>
                    </a:lnTo>
                    <a:lnTo>
                      <a:pt x="67" y="67"/>
                    </a:lnTo>
                    <a:lnTo>
                      <a:pt x="70" y="67"/>
                    </a:lnTo>
                    <a:lnTo>
                      <a:pt x="73" y="67"/>
                    </a:lnTo>
                    <a:lnTo>
                      <a:pt x="75" y="67"/>
                    </a:lnTo>
                    <a:lnTo>
                      <a:pt x="78" y="62"/>
                    </a:lnTo>
                    <a:lnTo>
                      <a:pt x="84" y="59"/>
                    </a:lnTo>
                    <a:lnTo>
                      <a:pt x="87" y="59"/>
                    </a:lnTo>
                    <a:lnTo>
                      <a:pt x="89" y="62"/>
                    </a:lnTo>
                    <a:lnTo>
                      <a:pt x="87" y="78"/>
                    </a:lnTo>
                    <a:lnTo>
                      <a:pt x="84" y="81"/>
                    </a:lnTo>
                    <a:lnTo>
                      <a:pt x="84" y="84"/>
                    </a:lnTo>
                    <a:lnTo>
                      <a:pt x="81" y="87"/>
                    </a:lnTo>
                    <a:lnTo>
                      <a:pt x="81" y="89"/>
                    </a:lnTo>
                    <a:lnTo>
                      <a:pt x="84" y="89"/>
                    </a:lnTo>
                    <a:lnTo>
                      <a:pt x="81" y="92"/>
                    </a:lnTo>
                    <a:lnTo>
                      <a:pt x="81" y="89"/>
                    </a:lnTo>
                    <a:lnTo>
                      <a:pt x="78" y="89"/>
                    </a:lnTo>
                    <a:lnTo>
                      <a:pt x="73" y="89"/>
                    </a:lnTo>
                    <a:lnTo>
                      <a:pt x="64" y="98"/>
                    </a:lnTo>
                    <a:lnTo>
                      <a:pt x="67" y="98"/>
                    </a:lnTo>
                    <a:lnTo>
                      <a:pt x="67" y="101"/>
                    </a:lnTo>
                    <a:lnTo>
                      <a:pt x="50" y="137"/>
                    </a:lnTo>
                    <a:lnTo>
                      <a:pt x="42" y="140"/>
                    </a:lnTo>
                    <a:lnTo>
                      <a:pt x="39" y="137"/>
                    </a:lnTo>
                    <a:lnTo>
                      <a:pt x="34" y="137"/>
                    </a:lnTo>
                    <a:lnTo>
                      <a:pt x="31" y="134"/>
                    </a:lnTo>
                    <a:lnTo>
                      <a:pt x="34" y="1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0" name="Freeform 434"/>
              <p:cNvSpPr>
                <a:spLocks noChangeAspect="1"/>
              </p:cNvSpPr>
              <p:nvPr>
                <p:custDataLst>
                  <p:tags r:id="rId1030"/>
                </p:custDataLst>
              </p:nvPr>
            </p:nvSpPr>
            <p:spPr bwMode="gray">
              <a:xfrm>
                <a:off x="8360769" y="4247264"/>
                <a:ext cx="1518" cy="9460"/>
              </a:xfrm>
              <a:custGeom>
                <a:avLst/>
                <a:gdLst>
                  <a:gd name="T0" fmla="*/ 0 w 1417"/>
                  <a:gd name="T1" fmla="*/ 2147483647 h 8"/>
                  <a:gd name="T2" fmla="*/ 0 w 1417"/>
                  <a:gd name="T3" fmla="*/ 0 h 8"/>
                  <a:gd name="T4" fmla="*/ 0 w 1417"/>
                  <a:gd name="T5" fmla="*/ 2147483647 h 8"/>
                  <a:gd name="T6" fmla="*/ 0 w 1417"/>
                  <a:gd name="T7" fmla="*/ 2147483647 h 8"/>
                  <a:gd name="T8" fmla="*/ 0 w 1417"/>
                  <a:gd name="T9" fmla="*/ 2147483647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17"/>
                  <a:gd name="T16" fmla="*/ 0 h 8"/>
                  <a:gd name="T17" fmla="*/ 1417 w 1417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17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1" name="Freeform 435"/>
              <p:cNvSpPr>
                <a:spLocks noChangeAspect="1"/>
              </p:cNvSpPr>
              <p:nvPr>
                <p:custDataLst>
                  <p:tags r:id="rId1031"/>
                </p:custDataLst>
              </p:nvPr>
            </p:nvSpPr>
            <p:spPr bwMode="gray">
              <a:xfrm>
                <a:off x="8360769" y="4247264"/>
                <a:ext cx="1518" cy="9460"/>
              </a:xfrm>
              <a:custGeom>
                <a:avLst/>
                <a:gdLst>
                  <a:gd name="T0" fmla="*/ 0 w 1417"/>
                  <a:gd name="T1" fmla="*/ 2147483647 h 8"/>
                  <a:gd name="T2" fmla="*/ 0 w 1417"/>
                  <a:gd name="T3" fmla="*/ 0 h 8"/>
                  <a:gd name="T4" fmla="*/ 0 w 1417"/>
                  <a:gd name="T5" fmla="*/ 2147483647 h 8"/>
                  <a:gd name="T6" fmla="*/ 0 w 1417"/>
                  <a:gd name="T7" fmla="*/ 2147483647 h 8"/>
                  <a:gd name="T8" fmla="*/ 0 w 1417"/>
                  <a:gd name="T9" fmla="*/ 2147483647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17"/>
                  <a:gd name="T16" fmla="*/ 0 h 8"/>
                  <a:gd name="T17" fmla="*/ 1417 w 1417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17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2" name="Freeform 436"/>
              <p:cNvSpPr>
                <a:spLocks noChangeAspect="1"/>
              </p:cNvSpPr>
              <p:nvPr>
                <p:custDataLst>
                  <p:tags r:id="rId1032"/>
                </p:custDataLst>
              </p:nvPr>
            </p:nvSpPr>
            <p:spPr bwMode="gray">
              <a:xfrm>
                <a:off x="8363806" y="4256725"/>
                <a:ext cx="22777" cy="28381"/>
              </a:xfrm>
              <a:custGeom>
                <a:avLst/>
                <a:gdLst>
                  <a:gd name="T0" fmla="*/ 0 w 16"/>
                  <a:gd name="T1" fmla="*/ 0 h 22"/>
                  <a:gd name="T2" fmla="*/ 2147483647 w 16"/>
                  <a:gd name="T3" fmla="*/ 0 h 22"/>
                  <a:gd name="T4" fmla="*/ 2147483647 w 16"/>
                  <a:gd name="T5" fmla="*/ 2147483647 h 22"/>
                  <a:gd name="T6" fmla="*/ 2147483647 w 16"/>
                  <a:gd name="T7" fmla="*/ 2147483647 h 22"/>
                  <a:gd name="T8" fmla="*/ 2147483647 w 16"/>
                  <a:gd name="T9" fmla="*/ 2147483647 h 22"/>
                  <a:gd name="T10" fmla="*/ 2147483647 w 16"/>
                  <a:gd name="T11" fmla="*/ 2147483647 h 22"/>
                  <a:gd name="T12" fmla="*/ 2147483647 w 16"/>
                  <a:gd name="T13" fmla="*/ 2147483647 h 22"/>
                  <a:gd name="T14" fmla="*/ 2147483647 w 16"/>
                  <a:gd name="T15" fmla="*/ 2147483647 h 22"/>
                  <a:gd name="T16" fmla="*/ 2147483647 w 16"/>
                  <a:gd name="T17" fmla="*/ 2147483647 h 22"/>
                  <a:gd name="T18" fmla="*/ 2147483647 w 16"/>
                  <a:gd name="T19" fmla="*/ 2147483647 h 22"/>
                  <a:gd name="T20" fmla="*/ 2147483647 w 16"/>
                  <a:gd name="T21" fmla="*/ 2147483647 h 22"/>
                  <a:gd name="T22" fmla="*/ 0 w 16"/>
                  <a:gd name="T23" fmla="*/ 2147483647 h 22"/>
                  <a:gd name="T24" fmla="*/ 0 w 16"/>
                  <a:gd name="T25" fmla="*/ 2147483647 h 22"/>
                  <a:gd name="T26" fmla="*/ 0 w 16"/>
                  <a:gd name="T27" fmla="*/ 0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"/>
                  <a:gd name="T43" fmla="*/ 0 h 22"/>
                  <a:gd name="T44" fmla="*/ 16 w 16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" h="22">
                    <a:moveTo>
                      <a:pt x="0" y="0"/>
                    </a:moveTo>
                    <a:lnTo>
                      <a:pt x="2" y="0"/>
                    </a:lnTo>
                    <a:lnTo>
                      <a:pt x="16" y="17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4" y="22"/>
                    </a:lnTo>
                    <a:lnTo>
                      <a:pt x="11" y="22"/>
                    </a:lnTo>
                    <a:lnTo>
                      <a:pt x="8" y="20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3" name="Freeform 437"/>
              <p:cNvSpPr>
                <a:spLocks noChangeAspect="1"/>
              </p:cNvSpPr>
              <p:nvPr>
                <p:custDataLst>
                  <p:tags r:id="rId1033"/>
                </p:custDataLst>
              </p:nvPr>
            </p:nvSpPr>
            <p:spPr bwMode="gray">
              <a:xfrm>
                <a:off x="8397212" y="4280375"/>
                <a:ext cx="21259" cy="17345"/>
              </a:xfrm>
              <a:custGeom>
                <a:avLst/>
                <a:gdLst>
                  <a:gd name="T0" fmla="*/ 0 w 16"/>
                  <a:gd name="T1" fmla="*/ 2147483647 h 14"/>
                  <a:gd name="T2" fmla="*/ 2147483647 w 16"/>
                  <a:gd name="T3" fmla="*/ 0 h 14"/>
                  <a:gd name="T4" fmla="*/ 2147483647 w 16"/>
                  <a:gd name="T5" fmla="*/ 2147483647 h 14"/>
                  <a:gd name="T6" fmla="*/ 2147483647 w 16"/>
                  <a:gd name="T7" fmla="*/ 2147483647 h 14"/>
                  <a:gd name="T8" fmla="*/ 2147483647 w 16"/>
                  <a:gd name="T9" fmla="*/ 2147483647 h 14"/>
                  <a:gd name="T10" fmla="*/ 2147483647 w 16"/>
                  <a:gd name="T11" fmla="*/ 2147483647 h 14"/>
                  <a:gd name="T12" fmla="*/ 2147483647 w 16"/>
                  <a:gd name="T13" fmla="*/ 2147483647 h 14"/>
                  <a:gd name="T14" fmla="*/ 2147483647 w 16"/>
                  <a:gd name="T15" fmla="*/ 2147483647 h 14"/>
                  <a:gd name="T16" fmla="*/ 2147483647 w 16"/>
                  <a:gd name="T17" fmla="*/ 2147483647 h 14"/>
                  <a:gd name="T18" fmla="*/ 2147483647 w 16"/>
                  <a:gd name="T19" fmla="*/ 2147483647 h 14"/>
                  <a:gd name="T20" fmla="*/ 2147483647 w 16"/>
                  <a:gd name="T21" fmla="*/ 2147483647 h 14"/>
                  <a:gd name="T22" fmla="*/ 2147483647 w 16"/>
                  <a:gd name="T23" fmla="*/ 2147483647 h 14"/>
                  <a:gd name="T24" fmla="*/ 0 w 16"/>
                  <a:gd name="T25" fmla="*/ 2147483647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14"/>
                  <a:gd name="T41" fmla="*/ 16 w 16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14">
                    <a:moveTo>
                      <a:pt x="0" y="3"/>
                    </a:moveTo>
                    <a:lnTo>
                      <a:pt x="2" y="0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6" y="11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8" y="1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4" name="Freeform 438"/>
              <p:cNvSpPr>
                <a:spLocks noChangeAspect="1"/>
              </p:cNvSpPr>
              <p:nvPr>
                <p:custDataLst>
                  <p:tags r:id="rId1034"/>
                </p:custDataLst>
              </p:nvPr>
            </p:nvSpPr>
            <p:spPr bwMode="gray">
              <a:xfrm>
                <a:off x="8397212" y="4280375"/>
                <a:ext cx="21259" cy="17345"/>
              </a:xfrm>
              <a:custGeom>
                <a:avLst/>
                <a:gdLst>
                  <a:gd name="T0" fmla="*/ 0 w 16"/>
                  <a:gd name="T1" fmla="*/ 2147483647 h 14"/>
                  <a:gd name="T2" fmla="*/ 2147483647 w 16"/>
                  <a:gd name="T3" fmla="*/ 0 h 14"/>
                  <a:gd name="T4" fmla="*/ 2147483647 w 16"/>
                  <a:gd name="T5" fmla="*/ 2147483647 h 14"/>
                  <a:gd name="T6" fmla="*/ 2147483647 w 16"/>
                  <a:gd name="T7" fmla="*/ 2147483647 h 14"/>
                  <a:gd name="T8" fmla="*/ 2147483647 w 16"/>
                  <a:gd name="T9" fmla="*/ 2147483647 h 14"/>
                  <a:gd name="T10" fmla="*/ 2147483647 w 16"/>
                  <a:gd name="T11" fmla="*/ 2147483647 h 14"/>
                  <a:gd name="T12" fmla="*/ 2147483647 w 16"/>
                  <a:gd name="T13" fmla="*/ 2147483647 h 14"/>
                  <a:gd name="T14" fmla="*/ 2147483647 w 16"/>
                  <a:gd name="T15" fmla="*/ 2147483647 h 14"/>
                  <a:gd name="T16" fmla="*/ 2147483647 w 16"/>
                  <a:gd name="T17" fmla="*/ 2147483647 h 14"/>
                  <a:gd name="T18" fmla="*/ 2147483647 w 16"/>
                  <a:gd name="T19" fmla="*/ 2147483647 h 14"/>
                  <a:gd name="T20" fmla="*/ 2147483647 w 16"/>
                  <a:gd name="T21" fmla="*/ 2147483647 h 14"/>
                  <a:gd name="T22" fmla="*/ 2147483647 w 16"/>
                  <a:gd name="T23" fmla="*/ 2147483647 h 14"/>
                  <a:gd name="T24" fmla="*/ 0 w 16"/>
                  <a:gd name="T25" fmla="*/ 2147483647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14"/>
                  <a:gd name="T41" fmla="*/ 16 w 16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14">
                    <a:moveTo>
                      <a:pt x="0" y="3"/>
                    </a:moveTo>
                    <a:lnTo>
                      <a:pt x="2" y="0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6" y="11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8" y="11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5" name="Freeform 439"/>
              <p:cNvSpPr>
                <a:spLocks noChangeAspect="1"/>
              </p:cNvSpPr>
              <p:nvPr>
                <p:custDataLst>
                  <p:tags r:id="rId1035"/>
                </p:custDataLst>
              </p:nvPr>
            </p:nvSpPr>
            <p:spPr bwMode="gray">
              <a:xfrm>
                <a:off x="8400248" y="4300873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2147483647 w 3"/>
                  <a:gd name="T5" fmla="*/ 0 h 6"/>
                  <a:gd name="T6" fmla="*/ 2147483647 w 3"/>
                  <a:gd name="T7" fmla="*/ 2147483647 h 6"/>
                  <a:gd name="T8" fmla="*/ 2147483647 w 3"/>
                  <a:gd name="T9" fmla="*/ 2147483647 h 6"/>
                  <a:gd name="T10" fmla="*/ 0 w 3"/>
                  <a:gd name="T11" fmla="*/ 2147483647 h 6"/>
                  <a:gd name="T12" fmla="*/ 0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6" name="Freeform 440"/>
              <p:cNvSpPr>
                <a:spLocks noChangeAspect="1"/>
              </p:cNvSpPr>
              <p:nvPr>
                <p:custDataLst>
                  <p:tags r:id="rId1036"/>
                </p:custDataLst>
              </p:nvPr>
            </p:nvSpPr>
            <p:spPr bwMode="gray">
              <a:xfrm>
                <a:off x="8400248" y="4300873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2147483647 w 3"/>
                  <a:gd name="T5" fmla="*/ 0 h 6"/>
                  <a:gd name="T6" fmla="*/ 2147483647 w 3"/>
                  <a:gd name="T7" fmla="*/ 2147483647 h 6"/>
                  <a:gd name="T8" fmla="*/ 2147483647 w 3"/>
                  <a:gd name="T9" fmla="*/ 2147483647 h 6"/>
                  <a:gd name="T10" fmla="*/ 0 w 3"/>
                  <a:gd name="T11" fmla="*/ 2147483647 h 6"/>
                  <a:gd name="T12" fmla="*/ 0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7" name="Freeform 441"/>
              <p:cNvSpPr>
                <a:spLocks noChangeAspect="1"/>
              </p:cNvSpPr>
              <p:nvPr>
                <p:custDataLst>
                  <p:tags r:id="rId1037"/>
                </p:custDataLst>
              </p:nvPr>
            </p:nvSpPr>
            <p:spPr bwMode="gray">
              <a:xfrm>
                <a:off x="8407840" y="4304027"/>
                <a:ext cx="4557" cy="7884"/>
              </a:xfrm>
              <a:custGeom>
                <a:avLst/>
                <a:gdLst>
                  <a:gd name="T0" fmla="*/ 2147483647 w 3"/>
                  <a:gd name="T1" fmla="*/ 2147483647 h 6"/>
                  <a:gd name="T2" fmla="*/ 2147483647 w 3"/>
                  <a:gd name="T3" fmla="*/ 2147483647 h 6"/>
                  <a:gd name="T4" fmla="*/ 2147483647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0 w 3"/>
                  <a:gd name="T11" fmla="*/ 0 h 6"/>
                  <a:gd name="T12" fmla="*/ 0 w 3"/>
                  <a:gd name="T13" fmla="*/ 0 h 6"/>
                  <a:gd name="T14" fmla="*/ 2147483647 w 3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3" y="3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8" name="Freeform 442"/>
              <p:cNvSpPr>
                <a:spLocks noChangeAspect="1"/>
              </p:cNvSpPr>
              <p:nvPr>
                <p:custDataLst>
                  <p:tags r:id="rId1038"/>
                </p:custDataLst>
              </p:nvPr>
            </p:nvSpPr>
            <p:spPr bwMode="gray">
              <a:xfrm>
                <a:off x="8407840" y="4304027"/>
                <a:ext cx="4557" cy="7884"/>
              </a:xfrm>
              <a:custGeom>
                <a:avLst/>
                <a:gdLst>
                  <a:gd name="T0" fmla="*/ 2147483647 w 3"/>
                  <a:gd name="T1" fmla="*/ 2147483647 h 6"/>
                  <a:gd name="T2" fmla="*/ 2147483647 w 3"/>
                  <a:gd name="T3" fmla="*/ 2147483647 h 6"/>
                  <a:gd name="T4" fmla="*/ 2147483647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0 w 3"/>
                  <a:gd name="T11" fmla="*/ 0 h 6"/>
                  <a:gd name="T12" fmla="*/ 0 w 3"/>
                  <a:gd name="T13" fmla="*/ 0 h 6"/>
                  <a:gd name="T14" fmla="*/ 2147483647 w 3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3" y="3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9" name="Freeform 443"/>
              <p:cNvSpPr>
                <a:spLocks noChangeAspect="1"/>
              </p:cNvSpPr>
              <p:nvPr>
                <p:custDataLst>
                  <p:tags r:id="rId1039"/>
                </p:custDataLst>
              </p:nvPr>
            </p:nvSpPr>
            <p:spPr bwMode="gray">
              <a:xfrm>
                <a:off x="8413914" y="4308756"/>
                <a:ext cx="12148" cy="9460"/>
              </a:xfrm>
              <a:custGeom>
                <a:avLst/>
                <a:gdLst>
                  <a:gd name="T0" fmla="*/ 0 w 8"/>
                  <a:gd name="T1" fmla="*/ 2147483647 h 8"/>
                  <a:gd name="T2" fmla="*/ 0 w 8"/>
                  <a:gd name="T3" fmla="*/ 2147483647 h 8"/>
                  <a:gd name="T4" fmla="*/ 0 w 8"/>
                  <a:gd name="T5" fmla="*/ 2147483647 h 8"/>
                  <a:gd name="T6" fmla="*/ 0 w 8"/>
                  <a:gd name="T7" fmla="*/ 0 h 8"/>
                  <a:gd name="T8" fmla="*/ 2147483647 w 8"/>
                  <a:gd name="T9" fmla="*/ 0 h 8"/>
                  <a:gd name="T10" fmla="*/ 2147483647 w 8"/>
                  <a:gd name="T11" fmla="*/ 2147483647 h 8"/>
                  <a:gd name="T12" fmla="*/ 2147483647 w 8"/>
                  <a:gd name="T13" fmla="*/ 2147483647 h 8"/>
                  <a:gd name="T14" fmla="*/ 2147483647 w 8"/>
                  <a:gd name="T15" fmla="*/ 2147483647 h 8"/>
                  <a:gd name="T16" fmla="*/ 2147483647 w 8"/>
                  <a:gd name="T17" fmla="*/ 2147483647 h 8"/>
                  <a:gd name="T18" fmla="*/ 2147483647 w 8"/>
                  <a:gd name="T19" fmla="*/ 2147483647 h 8"/>
                  <a:gd name="T20" fmla="*/ 0 w 8"/>
                  <a:gd name="T21" fmla="*/ 2147483647 h 8"/>
                  <a:gd name="T22" fmla="*/ 0 w 8"/>
                  <a:gd name="T23" fmla="*/ 2147483647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8"/>
                  <a:gd name="T38" fmla="*/ 8 w 8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8">
                    <a:moveTo>
                      <a:pt x="0" y="6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0" name="Freeform 444"/>
              <p:cNvSpPr>
                <a:spLocks noChangeAspect="1"/>
              </p:cNvSpPr>
              <p:nvPr>
                <p:custDataLst>
                  <p:tags r:id="rId1040"/>
                </p:custDataLst>
              </p:nvPr>
            </p:nvSpPr>
            <p:spPr bwMode="gray">
              <a:xfrm>
                <a:off x="8413914" y="4318217"/>
                <a:ext cx="3037" cy="3154"/>
              </a:xfrm>
              <a:custGeom>
                <a:avLst/>
                <a:gdLst>
                  <a:gd name="T0" fmla="*/ 0 w 2833"/>
                  <a:gd name="T1" fmla="*/ 2147483647 h 3"/>
                  <a:gd name="T2" fmla="*/ 0 w 2833"/>
                  <a:gd name="T3" fmla="*/ 0 h 3"/>
                  <a:gd name="T4" fmla="*/ 0 w 2833"/>
                  <a:gd name="T5" fmla="*/ 0 h 3"/>
                  <a:gd name="T6" fmla="*/ 0 w 2833"/>
                  <a:gd name="T7" fmla="*/ 0 h 3"/>
                  <a:gd name="T8" fmla="*/ 0 w 2833"/>
                  <a:gd name="T9" fmla="*/ 2147483647 h 3"/>
                  <a:gd name="T10" fmla="*/ 0 w 2833"/>
                  <a:gd name="T11" fmla="*/ 2147483647 h 3"/>
                  <a:gd name="T12" fmla="*/ 0 w 2833"/>
                  <a:gd name="T13" fmla="*/ 2147483647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33"/>
                  <a:gd name="T22" fmla="*/ 0 h 3"/>
                  <a:gd name="T23" fmla="*/ 2833 w 283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33"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1" name="Freeform 445"/>
              <p:cNvSpPr>
                <a:spLocks noChangeAspect="1"/>
              </p:cNvSpPr>
              <p:nvPr>
                <p:custDataLst>
                  <p:tags r:id="rId1041"/>
                </p:custDataLst>
              </p:nvPr>
            </p:nvSpPr>
            <p:spPr bwMode="gray">
              <a:xfrm>
                <a:off x="8413914" y="4318217"/>
                <a:ext cx="3037" cy="3154"/>
              </a:xfrm>
              <a:custGeom>
                <a:avLst/>
                <a:gdLst>
                  <a:gd name="T0" fmla="*/ 0 w 2833"/>
                  <a:gd name="T1" fmla="*/ 2147483647 h 3"/>
                  <a:gd name="T2" fmla="*/ 0 w 2833"/>
                  <a:gd name="T3" fmla="*/ 0 h 3"/>
                  <a:gd name="T4" fmla="*/ 0 w 2833"/>
                  <a:gd name="T5" fmla="*/ 0 h 3"/>
                  <a:gd name="T6" fmla="*/ 0 w 2833"/>
                  <a:gd name="T7" fmla="*/ 0 h 3"/>
                  <a:gd name="T8" fmla="*/ 0 w 2833"/>
                  <a:gd name="T9" fmla="*/ 2147483647 h 3"/>
                  <a:gd name="T10" fmla="*/ 0 w 2833"/>
                  <a:gd name="T11" fmla="*/ 2147483647 h 3"/>
                  <a:gd name="T12" fmla="*/ 0 w 2833"/>
                  <a:gd name="T13" fmla="*/ 2147483647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33"/>
                  <a:gd name="T22" fmla="*/ 0 h 3"/>
                  <a:gd name="T23" fmla="*/ 2833 w 283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33"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2" name="Freeform 446"/>
              <p:cNvSpPr>
                <a:spLocks noChangeAspect="1"/>
              </p:cNvSpPr>
              <p:nvPr>
                <p:custDataLst>
                  <p:tags r:id="rId1042"/>
                </p:custDataLst>
              </p:nvPr>
            </p:nvSpPr>
            <p:spPr bwMode="gray">
              <a:xfrm>
                <a:off x="8426062" y="4318217"/>
                <a:ext cx="3037" cy="3154"/>
              </a:xfrm>
              <a:custGeom>
                <a:avLst/>
                <a:gdLst>
                  <a:gd name="T0" fmla="*/ 2147483647 w 3"/>
                  <a:gd name="T1" fmla="*/ 2147483647 h 3"/>
                  <a:gd name="T2" fmla="*/ 0 w 3"/>
                  <a:gd name="T3" fmla="*/ 2147483647 h 3"/>
                  <a:gd name="T4" fmla="*/ 0 w 3"/>
                  <a:gd name="T5" fmla="*/ 2147483647 h 3"/>
                  <a:gd name="T6" fmla="*/ 2147483647 w 3"/>
                  <a:gd name="T7" fmla="*/ 0 h 3"/>
                  <a:gd name="T8" fmla="*/ 2147483647 w 3"/>
                  <a:gd name="T9" fmla="*/ 0 h 3"/>
                  <a:gd name="T10" fmla="*/ 2147483647 w 3"/>
                  <a:gd name="T11" fmla="*/ 2147483647 h 3"/>
                  <a:gd name="T12" fmla="*/ 2147483647 w 3"/>
                  <a:gd name="T13" fmla="*/ 2147483647 h 3"/>
                  <a:gd name="T14" fmla="*/ 2147483647 w 3"/>
                  <a:gd name="T15" fmla="*/ 2147483647 h 3"/>
                  <a:gd name="T16" fmla="*/ 2147483647 w 3"/>
                  <a:gd name="T17" fmla="*/ 2147483647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3" name="Freeform 447"/>
              <p:cNvSpPr>
                <a:spLocks noChangeAspect="1"/>
              </p:cNvSpPr>
              <p:nvPr>
                <p:custDataLst>
                  <p:tags r:id="rId1043"/>
                </p:custDataLst>
              </p:nvPr>
            </p:nvSpPr>
            <p:spPr bwMode="gray">
              <a:xfrm>
                <a:off x="8426062" y="4318217"/>
                <a:ext cx="3037" cy="3154"/>
              </a:xfrm>
              <a:custGeom>
                <a:avLst/>
                <a:gdLst>
                  <a:gd name="T0" fmla="*/ 2147483647 w 3"/>
                  <a:gd name="T1" fmla="*/ 2147483647 h 3"/>
                  <a:gd name="T2" fmla="*/ 0 w 3"/>
                  <a:gd name="T3" fmla="*/ 2147483647 h 3"/>
                  <a:gd name="T4" fmla="*/ 0 w 3"/>
                  <a:gd name="T5" fmla="*/ 2147483647 h 3"/>
                  <a:gd name="T6" fmla="*/ 2147483647 w 3"/>
                  <a:gd name="T7" fmla="*/ 0 h 3"/>
                  <a:gd name="T8" fmla="*/ 2147483647 w 3"/>
                  <a:gd name="T9" fmla="*/ 0 h 3"/>
                  <a:gd name="T10" fmla="*/ 2147483647 w 3"/>
                  <a:gd name="T11" fmla="*/ 2147483647 h 3"/>
                  <a:gd name="T12" fmla="*/ 2147483647 w 3"/>
                  <a:gd name="T13" fmla="*/ 2147483647 h 3"/>
                  <a:gd name="T14" fmla="*/ 2147483647 w 3"/>
                  <a:gd name="T15" fmla="*/ 2147483647 h 3"/>
                  <a:gd name="T16" fmla="*/ 2147483647 w 3"/>
                  <a:gd name="T17" fmla="*/ 2147483647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4" name="Freeform 448"/>
              <p:cNvSpPr>
                <a:spLocks noChangeAspect="1"/>
              </p:cNvSpPr>
              <p:nvPr>
                <p:custDataLst>
                  <p:tags r:id="rId1044"/>
                </p:custDataLst>
              </p:nvPr>
            </p:nvSpPr>
            <p:spPr bwMode="gray">
              <a:xfrm>
                <a:off x="8439729" y="4300873"/>
                <a:ext cx="25813" cy="17344"/>
              </a:xfrm>
              <a:custGeom>
                <a:avLst/>
                <a:gdLst>
                  <a:gd name="T0" fmla="*/ 0 w 20"/>
                  <a:gd name="T1" fmla="*/ 0 h 14"/>
                  <a:gd name="T2" fmla="*/ 0 w 20"/>
                  <a:gd name="T3" fmla="*/ 0 h 14"/>
                  <a:gd name="T4" fmla="*/ 2147483647 w 20"/>
                  <a:gd name="T5" fmla="*/ 2147483647 h 14"/>
                  <a:gd name="T6" fmla="*/ 2147483647 w 20"/>
                  <a:gd name="T7" fmla="*/ 2147483647 h 14"/>
                  <a:gd name="T8" fmla="*/ 2147483647 w 20"/>
                  <a:gd name="T9" fmla="*/ 2147483647 h 14"/>
                  <a:gd name="T10" fmla="*/ 2147483647 w 20"/>
                  <a:gd name="T11" fmla="*/ 2147483647 h 14"/>
                  <a:gd name="T12" fmla="*/ 0 w 20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4"/>
                  <a:gd name="T23" fmla="*/ 20 w 2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4">
                    <a:moveTo>
                      <a:pt x="0" y="0"/>
                    </a:moveTo>
                    <a:lnTo>
                      <a:pt x="0" y="0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5" name="Freeform 449"/>
              <p:cNvSpPr>
                <a:spLocks noChangeAspect="1"/>
              </p:cNvSpPr>
              <p:nvPr>
                <p:custDataLst>
                  <p:tags r:id="rId1045"/>
                </p:custDataLst>
              </p:nvPr>
            </p:nvSpPr>
            <p:spPr bwMode="gray">
              <a:xfrm>
                <a:off x="8439729" y="4300873"/>
                <a:ext cx="25813" cy="17344"/>
              </a:xfrm>
              <a:custGeom>
                <a:avLst/>
                <a:gdLst>
                  <a:gd name="T0" fmla="*/ 0 w 20"/>
                  <a:gd name="T1" fmla="*/ 0 h 14"/>
                  <a:gd name="T2" fmla="*/ 0 w 20"/>
                  <a:gd name="T3" fmla="*/ 0 h 14"/>
                  <a:gd name="T4" fmla="*/ 2147483647 w 20"/>
                  <a:gd name="T5" fmla="*/ 2147483647 h 14"/>
                  <a:gd name="T6" fmla="*/ 2147483647 w 20"/>
                  <a:gd name="T7" fmla="*/ 2147483647 h 14"/>
                  <a:gd name="T8" fmla="*/ 2147483647 w 20"/>
                  <a:gd name="T9" fmla="*/ 2147483647 h 14"/>
                  <a:gd name="T10" fmla="*/ 2147483647 w 20"/>
                  <a:gd name="T11" fmla="*/ 2147483647 h 14"/>
                  <a:gd name="T12" fmla="*/ 0 w 20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4"/>
                  <a:gd name="T23" fmla="*/ 20 w 2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4">
                    <a:moveTo>
                      <a:pt x="0" y="0"/>
                    </a:moveTo>
                    <a:lnTo>
                      <a:pt x="0" y="0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6" name="Freeform 452"/>
              <p:cNvSpPr>
                <a:spLocks noChangeAspect="1"/>
              </p:cNvSpPr>
              <p:nvPr>
                <p:custDataLst>
                  <p:tags r:id="rId1046"/>
                </p:custDataLst>
              </p:nvPr>
            </p:nvSpPr>
            <p:spPr bwMode="gray">
              <a:xfrm>
                <a:off x="8473134" y="4329254"/>
                <a:ext cx="3037" cy="4730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2147483647 w 3"/>
                  <a:gd name="T7" fmla="*/ 0 h 2"/>
                  <a:gd name="T8" fmla="*/ 2147483647 w 3"/>
                  <a:gd name="T9" fmla="*/ 2147483647 h 2"/>
                  <a:gd name="T10" fmla="*/ 2147483647 w 3"/>
                  <a:gd name="T11" fmla="*/ 2147483647 h 2"/>
                  <a:gd name="T12" fmla="*/ 2147483647 w 3"/>
                  <a:gd name="T13" fmla="*/ 2147483647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7" name="Freeform 453"/>
              <p:cNvSpPr>
                <a:spLocks noChangeAspect="1"/>
              </p:cNvSpPr>
              <p:nvPr>
                <p:custDataLst>
                  <p:tags r:id="rId1047"/>
                </p:custDataLst>
              </p:nvPr>
            </p:nvSpPr>
            <p:spPr bwMode="gray">
              <a:xfrm>
                <a:off x="8473134" y="4329254"/>
                <a:ext cx="3037" cy="4730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2147483647 w 3"/>
                  <a:gd name="T7" fmla="*/ 0 h 2"/>
                  <a:gd name="T8" fmla="*/ 2147483647 w 3"/>
                  <a:gd name="T9" fmla="*/ 2147483647 h 2"/>
                  <a:gd name="T10" fmla="*/ 2147483647 w 3"/>
                  <a:gd name="T11" fmla="*/ 2147483647 h 2"/>
                  <a:gd name="T12" fmla="*/ 2147483647 w 3"/>
                  <a:gd name="T13" fmla="*/ 2147483647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8" name="Freeform 454"/>
              <p:cNvSpPr>
                <a:spLocks noChangeAspect="1"/>
              </p:cNvSpPr>
              <p:nvPr>
                <p:custDataLst>
                  <p:tags r:id="rId1048"/>
                </p:custDataLst>
              </p:nvPr>
            </p:nvSpPr>
            <p:spPr bwMode="gray">
              <a:xfrm>
                <a:off x="8462504" y="4333984"/>
                <a:ext cx="24295" cy="14192"/>
              </a:xfrm>
              <a:custGeom>
                <a:avLst/>
                <a:gdLst>
                  <a:gd name="T0" fmla="*/ 0 w 19"/>
                  <a:gd name="T1" fmla="*/ 2147483647 h 12"/>
                  <a:gd name="T2" fmla="*/ 0 w 19"/>
                  <a:gd name="T3" fmla="*/ 0 h 12"/>
                  <a:gd name="T4" fmla="*/ 2147483647 w 19"/>
                  <a:gd name="T5" fmla="*/ 2147483647 h 12"/>
                  <a:gd name="T6" fmla="*/ 2147483647 w 19"/>
                  <a:gd name="T7" fmla="*/ 2147483647 h 12"/>
                  <a:gd name="T8" fmla="*/ 2147483647 w 19"/>
                  <a:gd name="T9" fmla="*/ 2147483647 h 12"/>
                  <a:gd name="T10" fmla="*/ 2147483647 w 19"/>
                  <a:gd name="T11" fmla="*/ 2147483647 h 12"/>
                  <a:gd name="T12" fmla="*/ 2147483647 w 19"/>
                  <a:gd name="T13" fmla="*/ 2147483647 h 12"/>
                  <a:gd name="T14" fmla="*/ 2147483647 w 19"/>
                  <a:gd name="T15" fmla="*/ 2147483647 h 12"/>
                  <a:gd name="T16" fmla="*/ 2147483647 w 19"/>
                  <a:gd name="T17" fmla="*/ 2147483647 h 12"/>
                  <a:gd name="T18" fmla="*/ 0 w 19"/>
                  <a:gd name="T19" fmla="*/ 2147483647 h 12"/>
                  <a:gd name="T20" fmla="*/ 0 w 19"/>
                  <a:gd name="T21" fmla="*/ 2147483647 h 12"/>
                  <a:gd name="T22" fmla="*/ 0 w 19"/>
                  <a:gd name="T23" fmla="*/ 2147483647 h 12"/>
                  <a:gd name="T24" fmla="*/ 0 w 19"/>
                  <a:gd name="T25" fmla="*/ 2147483647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12"/>
                  <a:gd name="T41" fmla="*/ 19 w 19"/>
                  <a:gd name="T42" fmla="*/ 12 h 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12">
                    <a:moveTo>
                      <a:pt x="0" y="3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11" y="3"/>
                    </a:lnTo>
                    <a:lnTo>
                      <a:pt x="17" y="9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5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9" name="Freeform 484"/>
              <p:cNvSpPr>
                <a:spLocks noChangeAspect="1"/>
              </p:cNvSpPr>
              <p:nvPr>
                <p:custDataLst>
                  <p:tags r:id="rId1049"/>
                </p:custDataLst>
              </p:nvPr>
            </p:nvSpPr>
            <p:spPr bwMode="gray">
              <a:xfrm>
                <a:off x="8301549" y="3078899"/>
                <a:ext cx="9110" cy="9460"/>
              </a:xfrm>
              <a:custGeom>
                <a:avLst/>
                <a:gdLst>
                  <a:gd name="T0" fmla="*/ 2147483647 w 6"/>
                  <a:gd name="T1" fmla="*/ 0 h 8"/>
                  <a:gd name="T2" fmla="*/ 2147483647 w 6"/>
                  <a:gd name="T3" fmla="*/ 2147483647 h 8"/>
                  <a:gd name="T4" fmla="*/ 0 w 6"/>
                  <a:gd name="T5" fmla="*/ 2147483647 h 8"/>
                  <a:gd name="T6" fmla="*/ 0 w 6"/>
                  <a:gd name="T7" fmla="*/ 2147483647 h 8"/>
                  <a:gd name="T8" fmla="*/ 0 w 6"/>
                  <a:gd name="T9" fmla="*/ 2147483647 h 8"/>
                  <a:gd name="T10" fmla="*/ 2147483647 w 6"/>
                  <a:gd name="T11" fmla="*/ 2147483647 h 8"/>
                  <a:gd name="T12" fmla="*/ 2147483647 w 6"/>
                  <a:gd name="T13" fmla="*/ 0 h 8"/>
                  <a:gd name="T14" fmla="*/ 2147483647 w 6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8"/>
                  <a:gd name="T26" fmla="*/ 6 w 6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8">
                    <a:moveTo>
                      <a:pt x="6" y="0"/>
                    </a:moveTo>
                    <a:lnTo>
                      <a:pt x="6" y="3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0" name="Freeform 485"/>
              <p:cNvSpPr>
                <a:spLocks noChangeAspect="1"/>
              </p:cNvSpPr>
              <p:nvPr>
                <p:custDataLst>
                  <p:tags r:id="rId1050"/>
                </p:custDataLst>
              </p:nvPr>
            </p:nvSpPr>
            <p:spPr bwMode="gray">
              <a:xfrm>
                <a:off x="8301549" y="3078899"/>
                <a:ext cx="9110" cy="9460"/>
              </a:xfrm>
              <a:custGeom>
                <a:avLst/>
                <a:gdLst>
                  <a:gd name="T0" fmla="*/ 2147483647 w 6"/>
                  <a:gd name="T1" fmla="*/ 0 h 8"/>
                  <a:gd name="T2" fmla="*/ 2147483647 w 6"/>
                  <a:gd name="T3" fmla="*/ 2147483647 h 8"/>
                  <a:gd name="T4" fmla="*/ 0 w 6"/>
                  <a:gd name="T5" fmla="*/ 2147483647 h 8"/>
                  <a:gd name="T6" fmla="*/ 0 w 6"/>
                  <a:gd name="T7" fmla="*/ 2147483647 h 8"/>
                  <a:gd name="T8" fmla="*/ 0 w 6"/>
                  <a:gd name="T9" fmla="*/ 2147483647 h 8"/>
                  <a:gd name="T10" fmla="*/ 2147483647 w 6"/>
                  <a:gd name="T11" fmla="*/ 2147483647 h 8"/>
                  <a:gd name="T12" fmla="*/ 2147483647 w 6"/>
                  <a:gd name="T13" fmla="*/ 0 h 8"/>
                  <a:gd name="T14" fmla="*/ 2147483647 w 6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8"/>
                  <a:gd name="T26" fmla="*/ 6 w 6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8">
                    <a:moveTo>
                      <a:pt x="6" y="0"/>
                    </a:moveTo>
                    <a:lnTo>
                      <a:pt x="6" y="3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1" name="Freeform 486"/>
              <p:cNvSpPr>
                <a:spLocks noChangeAspect="1"/>
              </p:cNvSpPr>
              <p:nvPr>
                <p:custDataLst>
                  <p:tags r:id="rId1051"/>
                </p:custDataLst>
              </p:nvPr>
            </p:nvSpPr>
            <p:spPr bwMode="gray">
              <a:xfrm>
                <a:off x="8255995" y="3105705"/>
                <a:ext cx="21259" cy="18921"/>
              </a:xfrm>
              <a:custGeom>
                <a:avLst/>
                <a:gdLst>
                  <a:gd name="T0" fmla="*/ 2147483647 w 17"/>
                  <a:gd name="T1" fmla="*/ 0 h 14"/>
                  <a:gd name="T2" fmla="*/ 2147483647 w 17"/>
                  <a:gd name="T3" fmla="*/ 2147483647 h 14"/>
                  <a:gd name="T4" fmla="*/ 2147483647 w 17"/>
                  <a:gd name="T5" fmla="*/ 2147483647 h 14"/>
                  <a:gd name="T6" fmla="*/ 0 w 17"/>
                  <a:gd name="T7" fmla="*/ 2147483647 h 14"/>
                  <a:gd name="T8" fmla="*/ 2147483647 w 17"/>
                  <a:gd name="T9" fmla="*/ 2147483647 h 14"/>
                  <a:gd name="T10" fmla="*/ 2147483647 w 17"/>
                  <a:gd name="T11" fmla="*/ 0 h 14"/>
                  <a:gd name="T12" fmla="*/ 2147483647 w 17"/>
                  <a:gd name="T13" fmla="*/ 0 h 14"/>
                  <a:gd name="T14" fmla="*/ 2147483647 w 17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4"/>
                  <a:gd name="T26" fmla="*/ 17 w 17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4">
                    <a:moveTo>
                      <a:pt x="17" y="0"/>
                    </a:moveTo>
                    <a:lnTo>
                      <a:pt x="14" y="3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3" y="11"/>
                    </a:lnTo>
                    <a:lnTo>
                      <a:pt x="1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2" name="Freeform 487"/>
              <p:cNvSpPr>
                <a:spLocks noChangeAspect="1"/>
              </p:cNvSpPr>
              <p:nvPr>
                <p:custDataLst>
                  <p:tags r:id="rId1052"/>
                </p:custDataLst>
              </p:nvPr>
            </p:nvSpPr>
            <p:spPr bwMode="gray">
              <a:xfrm>
                <a:off x="8255995" y="3105705"/>
                <a:ext cx="21259" cy="18921"/>
              </a:xfrm>
              <a:custGeom>
                <a:avLst/>
                <a:gdLst>
                  <a:gd name="T0" fmla="*/ 2147483647 w 17"/>
                  <a:gd name="T1" fmla="*/ 0 h 14"/>
                  <a:gd name="T2" fmla="*/ 2147483647 w 17"/>
                  <a:gd name="T3" fmla="*/ 2147483647 h 14"/>
                  <a:gd name="T4" fmla="*/ 2147483647 w 17"/>
                  <a:gd name="T5" fmla="*/ 2147483647 h 14"/>
                  <a:gd name="T6" fmla="*/ 0 w 17"/>
                  <a:gd name="T7" fmla="*/ 2147483647 h 14"/>
                  <a:gd name="T8" fmla="*/ 2147483647 w 17"/>
                  <a:gd name="T9" fmla="*/ 2147483647 h 14"/>
                  <a:gd name="T10" fmla="*/ 2147483647 w 17"/>
                  <a:gd name="T11" fmla="*/ 0 h 14"/>
                  <a:gd name="T12" fmla="*/ 2147483647 w 17"/>
                  <a:gd name="T13" fmla="*/ 0 h 14"/>
                  <a:gd name="T14" fmla="*/ 2147483647 w 17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4"/>
                  <a:gd name="T26" fmla="*/ 17 w 17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4">
                    <a:moveTo>
                      <a:pt x="17" y="0"/>
                    </a:moveTo>
                    <a:lnTo>
                      <a:pt x="14" y="3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3" y="11"/>
                    </a:lnTo>
                    <a:lnTo>
                      <a:pt x="14" y="0"/>
                    </a:lnTo>
                    <a:lnTo>
                      <a:pt x="17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3" name="Freeform 488"/>
              <p:cNvSpPr>
                <a:spLocks noChangeAspect="1"/>
              </p:cNvSpPr>
              <p:nvPr>
                <p:custDataLst>
                  <p:tags r:id="rId1053"/>
                </p:custDataLst>
              </p:nvPr>
            </p:nvSpPr>
            <p:spPr bwMode="gray">
              <a:xfrm>
                <a:off x="8204367" y="3129356"/>
                <a:ext cx="40998" cy="28381"/>
              </a:xfrm>
              <a:custGeom>
                <a:avLst/>
                <a:gdLst>
                  <a:gd name="T0" fmla="*/ 2147483647 w 31"/>
                  <a:gd name="T1" fmla="*/ 2147483647 h 22"/>
                  <a:gd name="T2" fmla="*/ 2147483647 w 31"/>
                  <a:gd name="T3" fmla="*/ 0 h 22"/>
                  <a:gd name="T4" fmla="*/ 2147483647 w 31"/>
                  <a:gd name="T5" fmla="*/ 2147483647 h 22"/>
                  <a:gd name="T6" fmla="*/ 2147483647 w 31"/>
                  <a:gd name="T7" fmla="*/ 2147483647 h 22"/>
                  <a:gd name="T8" fmla="*/ 2147483647 w 31"/>
                  <a:gd name="T9" fmla="*/ 2147483647 h 22"/>
                  <a:gd name="T10" fmla="*/ 2147483647 w 31"/>
                  <a:gd name="T11" fmla="*/ 2147483647 h 22"/>
                  <a:gd name="T12" fmla="*/ 2147483647 w 31"/>
                  <a:gd name="T13" fmla="*/ 2147483647 h 22"/>
                  <a:gd name="T14" fmla="*/ 2147483647 w 31"/>
                  <a:gd name="T15" fmla="*/ 2147483647 h 22"/>
                  <a:gd name="T16" fmla="*/ 0 w 31"/>
                  <a:gd name="T17" fmla="*/ 2147483647 h 22"/>
                  <a:gd name="T18" fmla="*/ 2147483647 w 31"/>
                  <a:gd name="T19" fmla="*/ 2147483647 h 22"/>
                  <a:gd name="T20" fmla="*/ 2147483647 w 31"/>
                  <a:gd name="T21" fmla="*/ 2147483647 h 22"/>
                  <a:gd name="T22" fmla="*/ 2147483647 w 31"/>
                  <a:gd name="T23" fmla="*/ 2147483647 h 22"/>
                  <a:gd name="T24" fmla="*/ 2147483647 w 31"/>
                  <a:gd name="T25" fmla="*/ 2147483647 h 22"/>
                  <a:gd name="T26" fmla="*/ 2147483647 w 31"/>
                  <a:gd name="T27" fmla="*/ 2147483647 h 22"/>
                  <a:gd name="T28" fmla="*/ 2147483647 w 31"/>
                  <a:gd name="T29" fmla="*/ 2147483647 h 22"/>
                  <a:gd name="T30" fmla="*/ 2147483647 w 31"/>
                  <a:gd name="T31" fmla="*/ 2147483647 h 22"/>
                  <a:gd name="T32" fmla="*/ 2147483647 w 31"/>
                  <a:gd name="T33" fmla="*/ 2147483647 h 22"/>
                  <a:gd name="T34" fmla="*/ 2147483647 w 31"/>
                  <a:gd name="T35" fmla="*/ 2147483647 h 22"/>
                  <a:gd name="T36" fmla="*/ 2147483647 w 31"/>
                  <a:gd name="T37" fmla="*/ 0 h 22"/>
                  <a:gd name="T38" fmla="*/ 2147483647 w 31"/>
                  <a:gd name="T39" fmla="*/ 0 h 22"/>
                  <a:gd name="T40" fmla="*/ 2147483647 w 31"/>
                  <a:gd name="T41" fmla="*/ 0 h 22"/>
                  <a:gd name="T42" fmla="*/ 2147483647 w 31"/>
                  <a:gd name="T43" fmla="*/ 2147483647 h 2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1"/>
                  <a:gd name="T67" fmla="*/ 0 h 22"/>
                  <a:gd name="T68" fmla="*/ 31 w 31"/>
                  <a:gd name="T69" fmla="*/ 22 h 2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1" h="22">
                    <a:moveTo>
                      <a:pt x="31" y="3"/>
                    </a:moveTo>
                    <a:lnTo>
                      <a:pt x="31" y="0"/>
                    </a:lnTo>
                    <a:lnTo>
                      <a:pt x="31" y="3"/>
                    </a:lnTo>
                    <a:lnTo>
                      <a:pt x="14" y="11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11" y="8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20" y="5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1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4" name="Freeform 489"/>
              <p:cNvSpPr>
                <a:spLocks noChangeAspect="1"/>
              </p:cNvSpPr>
              <p:nvPr>
                <p:custDataLst>
                  <p:tags r:id="rId1054"/>
                </p:custDataLst>
              </p:nvPr>
            </p:nvSpPr>
            <p:spPr bwMode="gray">
              <a:xfrm>
                <a:off x="8204367" y="3129356"/>
                <a:ext cx="40998" cy="28381"/>
              </a:xfrm>
              <a:custGeom>
                <a:avLst/>
                <a:gdLst>
                  <a:gd name="T0" fmla="*/ 2147483647 w 31"/>
                  <a:gd name="T1" fmla="*/ 2147483647 h 22"/>
                  <a:gd name="T2" fmla="*/ 2147483647 w 31"/>
                  <a:gd name="T3" fmla="*/ 0 h 22"/>
                  <a:gd name="T4" fmla="*/ 2147483647 w 31"/>
                  <a:gd name="T5" fmla="*/ 2147483647 h 22"/>
                  <a:gd name="T6" fmla="*/ 2147483647 w 31"/>
                  <a:gd name="T7" fmla="*/ 2147483647 h 22"/>
                  <a:gd name="T8" fmla="*/ 2147483647 w 31"/>
                  <a:gd name="T9" fmla="*/ 2147483647 h 22"/>
                  <a:gd name="T10" fmla="*/ 2147483647 w 31"/>
                  <a:gd name="T11" fmla="*/ 2147483647 h 22"/>
                  <a:gd name="T12" fmla="*/ 2147483647 w 31"/>
                  <a:gd name="T13" fmla="*/ 2147483647 h 22"/>
                  <a:gd name="T14" fmla="*/ 2147483647 w 31"/>
                  <a:gd name="T15" fmla="*/ 2147483647 h 22"/>
                  <a:gd name="T16" fmla="*/ 0 w 31"/>
                  <a:gd name="T17" fmla="*/ 2147483647 h 22"/>
                  <a:gd name="T18" fmla="*/ 2147483647 w 31"/>
                  <a:gd name="T19" fmla="*/ 2147483647 h 22"/>
                  <a:gd name="T20" fmla="*/ 2147483647 w 31"/>
                  <a:gd name="T21" fmla="*/ 2147483647 h 22"/>
                  <a:gd name="T22" fmla="*/ 2147483647 w 31"/>
                  <a:gd name="T23" fmla="*/ 2147483647 h 22"/>
                  <a:gd name="T24" fmla="*/ 2147483647 w 31"/>
                  <a:gd name="T25" fmla="*/ 2147483647 h 22"/>
                  <a:gd name="T26" fmla="*/ 2147483647 w 31"/>
                  <a:gd name="T27" fmla="*/ 2147483647 h 22"/>
                  <a:gd name="T28" fmla="*/ 2147483647 w 31"/>
                  <a:gd name="T29" fmla="*/ 2147483647 h 22"/>
                  <a:gd name="T30" fmla="*/ 2147483647 w 31"/>
                  <a:gd name="T31" fmla="*/ 2147483647 h 22"/>
                  <a:gd name="T32" fmla="*/ 2147483647 w 31"/>
                  <a:gd name="T33" fmla="*/ 2147483647 h 22"/>
                  <a:gd name="T34" fmla="*/ 2147483647 w 31"/>
                  <a:gd name="T35" fmla="*/ 2147483647 h 22"/>
                  <a:gd name="T36" fmla="*/ 2147483647 w 31"/>
                  <a:gd name="T37" fmla="*/ 0 h 22"/>
                  <a:gd name="T38" fmla="*/ 2147483647 w 31"/>
                  <a:gd name="T39" fmla="*/ 0 h 22"/>
                  <a:gd name="T40" fmla="*/ 2147483647 w 31"/>
                  <a:gd name="T41" fmla="*/ 0 h 22"/>
                  <a:gd name="T42" fmla="*/ 2147483647 w 31"/>
                  <a:gd name="T43" fmla="*/ 2147483647 h 2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1"/>
                  <a:gd name="T67" fmla="*/ 0 h 22"/>
                  <a:gd name="T68" fmla="*/ 31 w 31"/>
                  <a:gd name="T69" fmla="*/ 22 h 2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1" h="22">
                    <a:moveTo>
                      <a:pt x="31" y="3"/>
                    </a:moveTo>
                    <a:lnTo>
                      <a:pt x="31" y="0"/>
                    </a:lnTo>
                    <a:lnTo>
                      <a:pt x="31" y="3"/>
                    </a:lnTo>
                    <a:lnTo>
                      <a:pt x="14" y="11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11" y="8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20" y="5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1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5" name="Freeform 490"/>
              <p:cNvSpPr>
                <a:spLocks noChangeAspect="1"/>
              </p:cNvSpPr>
              <p:nvPr>
                <p:custDataLst>
                  <p:tags r:id="rId1055"/>
                </p:custDataLst>
              </p:nvPr>
            </p:nvSpPr>
            <p:spPr bwMode="gray">
              <a:xfrm>
                <a:off x="8198293" y="3175084"/>
                <a:ext cx="6074" cy="3154"/>
              </a:xfrm>
              <a:custGeom>
                <a:avLst/>
                <a:gdLst>
                  <a:gd name="T0" fmla="*/ 2147483647 w 5"/>
                  <a:gd name="T1" fmla="*/ 0 h 3"/>
                  <a:gd name="T2" fmla="*/ 2147483647 w 5"/>
                  <a:gd name="T3" fmla="*/ 0 h 3"/>
                  <a:gd name="T4" fmla="*/ 2147483647 w 5"/>
                  <a:gd name="T5" fmla="*/ 0 h 3"/>
                  <a:gd name="T6" fmla="*/ 0 w 5"/>
                  <a:gd name="T7" fmla="*/ 2147483647 h 3"/>
                  <a:gd name="T8" fmla="*/ 0 w 5"/>
                  <a:gd name="T9" fmla="*/ 2147483647 h 3"/>
                  <a:gd name="T10" fmla="*/ 0 w 5"/>
                  <a:gd name="T11" fmla="*/ 0 h 3"/>
                  <a:gd name="T12" fmla="*/ 2147483647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2" y="0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6" name="Freeform 491"/>
              <p:cNvSpPr>
                <a:spLocks noChangeAspect="1"/>
              </p:cNvSpPr>
              <p:nvPr>
                <p:custDataLst>
                  <p:tags r:id="rId1056"/>
                </p:custDataLst>
              </p:nvPr>
            </p:nvSpPr>
            <p:spPr bwMode="gray">
              <a:xfrm>
                <a:off x="8198293" y="3175084"/>
                <a:ext cx="6074" cy="3154"/>
              </a:xfrm>
              <a:custGeom>
                <a:avLst/>
                <a:gdLst>
                  <a:gd name="T0" fmla="*/ 2147483647 w 5"/>
                  <a:gd name="T1" fmla="*/ 0 h 3"/>
                  <a:gd name="T2" fmla="*/ 2147483647 w 5"/>
                  <a:gd name="T3" fmla="*/ 0 h 3"/>
                  <a:gd name="T4" fmla="*/ 2147483647 w 5"/>
                  <a:gd name="T5" fmla="*/ 0 h 3"/>
                  <a:gd name="T6" fmla="*/ 0 w 5"/>
                  <a:gd name="T7" fmla="*/ 2147483647 h 3"/>
                  <a:gd name="T8" fmla="*/ 0 w 5"/>
                  <a:gd name="T9" fmla="*/ 2147483647 h 3"/>
                  <a:gd name="T10" fmla="*/ 0 w 5"/>
                  <a:gd name="T11" fmla="*/ 0 h 3"/>
                  <a:gd name="T12" fmla="*/ 2147483647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2" y="0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7" name="Freeform 492"/>
              <p:cNvSpPr>
                <a:spLocks noChangeAspect="1"/>
              </p:cNvSpPr>
              <p:nvPr>
                <p:custDataLst>
                  <p:tags r:id="rId1057"/>
                </p:custDataLst>
              </p:nvPr>
            </p:nvSpPr>
            <p:spPr bwMode="gray">
              <a:xfrm>
                <a:off x="8172480" y="3157736"/>
                <a:ext cx="18222" cy="20499"/>
              </a:xfrm>
              <a:custGeom>
                <a:avLst/>
                <a:gdLst>
                  <a:gd name="T0" fmla="*/ 2147483647 w 14"/>
                  <a:gd name="T1" fmla="*/ 0 h 17"/>
                  <a:gd name="T2" fmla="*/ 2147483647 w 14"/>
                  <a:gd name="T3" fmla="*/ 0 h 17"/>
                  <a:gd name="T4" fmla="*/ 2147483647 w 14"/>
                  <a:gd name="T5" fmla="*/ 0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0 w 14"/>
                  <a:gd name="T11" fmla="*/ 2147483647 h 17"/>
                  <a:gd name="T12" fmla="*/ 2147483647 w 14"/>
                  <a:gd name="T13" fmla="*/ 2147483647 h 17"/>
                  <a:gd name="T14" fmla="*/ 2147483647 w 14"/>
                  <a:gd name="T15" fmla="*/ 0 h 17"/>
                  <a:gd name="T16" fmla="*/ 2147483647 w 14"/>
                  <a:gd name="T17" fmla="*/ 0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17"/>
                  <a:gd name="T29" fmla="*/ 14 w 14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17">
                    <a:moveTo>
                      <a:pt x="11" y="0"/>
                    </a:moveTo>
                    <a:lnTo>
                      <a:pt x="11" y="0"/>
                    </a:lnTo>
                    <a:lnTo>
                      <a:pt x="14" y="0"/>
                    </a:lnTo>
                    <a:lnTo>
                      <a:pt x="14" y="3"/>
                    </a:lnTo>
                    <a:lnTo>
                      <a:pt x="3" y="17"/>
                    </a:lnTo>
                    <a:lnTo>
                      <a:pt x="0" y="14"/>
                    </a:lnTo>
                    <a:lnTo>
                      <a:pt x="8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8" name="Freeform 493"/>
              <p:cNvSpPr>
                <a:spLocks noChangeAspect="1"/>
              </p:cNvSpPr>
              <p:nvPr>
                <p:custDataLst>
                  <p:tags r:id="rId1058"/>
                </p:custDataLst>
              </p:nvPr>
            </p:nvSpPr>
            <p:spPr bwMode="gray">
              <a:xfrm>
                <a:off x="8172480" y="3157736"/>
                <a:ext cx="18222" cy="20499"/>
              </a:xfrm>
              <a:custGeom>
                <a:avLst/>
                <a:gdLst>
                  <a:gd name="T0" fmla="*/ 2147483647 w 14"/>
                  <a:gd name="T1" fmla="*/ 0 h 17"/>
                  <a:gd name="T2" fmla="*/ 2147483647 w 14"/>
                  <a:gd name="T3" fmla="*/ 0 h 17"/>
                  <a:gd name="T4" fmla="*/ 2147483647 w 14"/>
                  <a:gd name="T5" fmla="*/ 0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0 w 14"/>
                  <a:gd name="T11" fmla="*/ 2147483647 h 17"/>
                  <a:gd name="T12" fmla="*/ 2147483647 w 14"/>
                  <a:gd name="T13" fmla="*/ 2147483647 h 17"/>
                  <a:gd name="T14" fmla="*/ 2147483647 w 14"/>
                  <a:gd name="T15" fmla="*/ 0 h 17"/>
                  <a:gd name="T16" fmla="*/ 2147483647 w 14"/>
                  <a:gd name="T17" fmla="*/ 0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17"/>
                  <a:gd name="T29" fmla="*/ 14 w 14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17">
                    <a:moveTo>
                      <a:pt x="11" y="0"/>
                    </a:moveTo>
                    <a:lnTo>
                      <a:pt x="11" y="0"/>
                    </a:lnTo>
                    <a:lnTo>
                      <a:pt x="14" y="0"/>
                    </a:lnTo>
                    <a:lnTo>
                      <a:pt x="14" y="3"/>
                    </a:lnTo>
                    <a:lnTo>
                      <a:pt x="3" y="17"/>
                    </a:lnTo>
                    <a:lnTo>
                      <a:pt x="0" y="14"/>
                    </a:lnTo>
                    <a:lnTo>
                      <a:pt x="8" y="3"/>
                    </a:lnTo>
                    <a:lnTo>
                      <a:pt x="11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9" name="Freeform 577"/>
              <p:cNvSpPr>
                <a:spLocks noChangeAspect="1"/>
              </p:cNvSpPr>
              <p:nvPr>
                <p:custDataLst>
                  <p:tags r:id="rId1059"/>
                </p:custDataLst>
              </p:nvPr>
            </p:nvSpPr>
            <p:spPr bwMode="gray">
              <a:xfrm>
                <a:off x="7091340" y="3562959"/>
                <a:ext cx="180696" cy="383147"/>
              </a:xfrm>
              <a:custGeom>
                <a:avLst/>
                <a:gdLst>
                  <a:gd name="T0" fmla="*/ 2147483647 w 140"/>
                  <a:gd name="T1" fmla="*/ 2147483647 h 298"/>
                  <a:gd name="T2" fmla="*/ 2147483647 w 140"/>
                  <a:gd name="T3" fmla="*/ 2147483647 h 298"/>
                  <a:gd name="T4" fmla="*/ 2147483647 w 140"/>
                  <a:gd name="T5" fmla="*/ 2147483647 h 298"/>
                  <a:gd name="T6" fmla="*/ 2147483647 w 140"/>
                  <a:gd name="T7" fmla="*/ 2147483647 h 298"/>
                  <a:gd name="T8" fmla="*/ 2147483647 w 140"/>
                  <a:gd name="T9" fmla="*/ 2147483647 h 298"/>
                  <a:gd name="T10" fmla="*/ 2147483647 w 140"/>
                  <a:gd name="T11" fmla="*/ 2147483647 h 298"/>
                  <a:gd name="T12" fmla="*/ 2147483647 w 140"/>
                  <a:gd name="T13" fmla="*/ 2147483647 h 298"/>
                  <a:gd name="T14" fmla="*/ 2147483647 w 140"/>
                  <a:gd name="T15" fmla="*/ 2147483647 h 298"/>
                  <a:gd name="T16" fmla="*/ 2147483647 w 140"/>
                  <a:gd name="T17" fmla="*/ 2147483647 h 298"/>
                  <a:gd name="T18" fmla="*/ 2147483647 w 140"/>
                  <a:gd name="T19" fmla="*/ 2147483647 h 298"/>
                  <a:gd name="T20" fmla="*/ 2147483647 w 140"/>
                  <a:gd name="T21" fmla="*/ 2147483647 h 298"/>
                  <a:gd name="T22" fmla="*/ 2147483647 w 140"/>
                  <a:gd name="T23" fmla="*/ 2147483647 h 298"/>
                  <a:gd name="T24" fmla="*/ 2147483647 w 140"/>
                  <a:gd name="T25" fmla="*/ 2147483647 h 298"/>
                  <a:gd name="T26" fmla="*/ 2147483647 w 140"/>
                  <a:gd name="T27" fmla="*/ 2147483647 h 298"/>
                  <a:gd name="T28" fmla="*/ 2147483647 w 140"/>
                  <a:gd name="T29" fmla="*/ 2147483647 h 298"/>
                  <a:gd name="T30" fmla="*/ 2147483647 w 140"/>
                  <a:gd name="T31" fmla="*/ 2147483647 h 298"/>
                  <a:gd name="T32" fmla="*/ 2147483647 w 140"/>
                  <a:gd name="T33" fmla="*/ 2147483647 h 298"/>
                  <a:gd name="T34" fmla="*/ 2147483647 w 140"/>
                  <a:gd name="T35" fmla="*/ 2147483647 h 298"/>
                  <a:gd name="T36" fmla="*/ 2147483647 w 140"/>
                  <a:gd name="T37" fmla="*/ 2147483647 h 298"/>
                  <a:gd name="T38" fmla="*/ 2147483647 w 140"/>
                  <a:gd name="T39" fmla="*/ 2147483647 h 298"/>
                  <a:gd name="T40" fmla="*/ 2147483647 w 140"/>
                  <a:gd name="T41" fmla="*/ 0 h 298"/>
                  <a:gd name="T42" fmla="*/ 2147483647 w 140"/>
                  <a:gd name="T43" fmla="*/ 0 h 298"/>
                  <a:gd name="T44" fmla="*/ 2147483647 w 140"/>
                  <a:gd name="T45" fmla="*/ 2147483647 h 298"/>
                  <a:gd name="T46" fmla="*/ 2147483647 w 140"/>
                  <a:gd name="T47" fmla="*/ 2147483647 h 298"/>
                  <a:gd name="T48" fmla="*/ 2147483647 w 140"/>
                  <a:gd name="T49" fmla="*/ 2147483647 h 298"/>
                  <a:gd name="T50" fmla="*/ 2147483647 w 140"/>
                  <a:gd name="T51" fmla="*/ 2147483647 h 298"/>
                  <a:gd name="T52" fmla="*/ 2147483647 w 140"/>
                  <a:gd name="T53" fmla="*/ 2147483647 h 298"/>
                  <a:gd name="T54" fmla="*/ 2147483647 w 140"/>
                  <a:gd name="T55" fmla="*/ 2147483647 h 298"/>
                  <a:gd name="T56" fmla="*/ 2147483647 w 140"/>
                  <a:gd name="T57" fmla="*/ 2147483647 h 298"/>
                  <a:gd name="T58" fmla="*/ 2147483647 w 140"/>
                  <a:gd name="T59" fmla="*/ 2147483647 h 298"/>
                  <a:gd name="T60" fmla="*/ 2147483647 w 140"/>
                  <a:gd name="T61" fmla="*/ 2147483647 h 298"/>
                  <a:gd name="T62" fmla="*/ 2147483647 w 140"/>
                  <a:gd name="T63" fmla="*/ 2147483647 h 298"/>
                  <a:gd name="T64" fmla="*/ 2147483647 w 140"/>
                  <a:gd name="T65" fmla="*/ 2147483647 h 298"/>
                  <a:gd name="T66" fmla="*/ 2147483647 w 140"/>
                  <a:gd name="T67" fmla="*/ 2147483647 h 298"/>
                  <a:gd name="T68" fmla="*/ 2147483647 w 140"/>
                  <a:gd name="T69" fmla="*/ 2147483647 h 298"/>
                  <a:gd name="T70" fmla="*/ 2147483647 w 140"/>
                  <a:gd name="T71" fmla="*/ 2147483647 h 298"/>
                  <a:gd name="T72" fmla="*/ 2147483647 w 140"/>
                  <a:gd name="T73" fmla="*/ 2147483647 h 298"/>
                  <a:gd name="T74" fmla="*/ 2147483647 w 140"/>
                  <a:gd name="T75" fmla="*/ 2147483647 h 298"/>
                  <a:gd name="T76" fmla="*/ 2147483647 w 140"/>
                  <a:gd name="T77" fmla="*/ 2147483647 h 298"/>
                  <a:gd name="T78" fmla="*/ 2147483647 w 140"/>
                  <a:gd name="T79" fmla="*/ 2147483647 h 298"/>
                  <a:gd name="T80" fmla="*/ 2147483647 w 140"/>
                  <a:gd name="T81" fmla="*/ 2147483647 h 298"/>
                  <a:gd name="T82" fmla="*/ 2147483647 w 140"/>
                  <a:gd name="T83" fmla="*/ 2147483647 h 298"/>
                  <a:gd name="T84" fmla="*/ 2147483647 w 140"/>
                  <a:gd name="T85" fmla="*/ 2147483647 h 298"/>
                  <a:gd name="T86" fmla="*/ 2147483647 w 140"/>
                  <a:gd name="T87" fmla="*/ 2147483647 h 298"/>
                  <a:gd name="T88" fmla="*/ 2147483647 w 140"/>
                  <a:gd name="T89" fmla="*/ 2147483647 h 298"/>
                  <a:gd name="T90" fmla="*/ 2147483647 w 140"/>
                  <a:gd name="T91" fmla="*/ 2147483647 h 298"/>
                  <a:gd name="T92" fmla="*/ 2147483647 w 140"/>
                  <a:gd name="T93" fmla="*/ 2147483647 h 298"/>
                  <a:gd name="T94" fmla="*/ 2147483647 w 140"/>
                  <a:gd name="T95" fmla="*/ 2147483647 h 298"/>
                  <a:gd name="T96" fmla="*/ 2147483647 w 140"/>
                  <a:gd name="T97" fmla="*/ 2147483647 h 298"/>
                  <a:gd name="T98" fmla="*/ 2147483647 w 140"/>
                  <a:gd name="T99" fmla="*/ 2147483647 h 298"/>
                  <a:gd name="T100" fmla="*/ 2147483647 w 140"/>
                  <a:gd name="T101" fmla="*/ 2147483647 h 298"/>
                  <a:gd name="T102" fmla="*/ 2147483647 w 140"/>
                  <a:gd name="T103" fmla="*/ 2147483647 h 2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40"/>
                  <a:gd name="T157" fmla="*/ 0 h 298"/>
                  <a:gd name="T158" fmla="*/ 140 w 140"/>
                  <a:gd name="T159" fmla="*/ 298 h 29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40" h="298">
                    <a:moveTo>
                      <a:pt x="34" y="200"/>
                    </a:moveTo>
                    <a:lnTo>
                      <a:pt x="37" y="186"/>
                    </a:lnTo>
                    <a:lnTo>
                      <a:pt x="37" y="172"/>
                    </a:lnTo>
                    <a:lnTo>
                      <a:pt x="34" y="170"/>
                    </a:lnTo>
                    <a:lnTo>
                      <a:pt x="34" y="167"/>
                    </a:lnTo>
                    <a:lnTo>
                      <a:pt x="28" y="153"/>
                    </a:lnTo>
                    <a:lnTo>
                      <a:pt x="25" y="159"/>
                    </a:lnTo>
                    <a:lnTo>
                      <a:pt x="23" y="156"/>
                    </a:lnTo>
                    <a:lnTo>
                      <a:pt x="20" y="153"/>
                    </a:lnTo>
                    <a:lnTo>
                      <a:pt x="23" y="150"/>
                    </a:lnTo>
                    <a:lnTo>
                      <a:pt x="25" y="150"/>
                    </a:lnTo>
                    <a:lnTo>
                      <a:pt x="23" y="147"/>
                    </a:lnTo>
                    <a:lnTo>
                      <a:pt x="23" y="145"/>
                    </a:lnTo>
                    <a:lnTo>
                      <a:pt x="12" y="139"/>
                    </a:lnTo>
                    <a:lnTo>
                      <a:pt x="12" y="136"/>
                    </a:lnTo>
                    <a:lnTo>
                      <a:pt x="9" y="136"/>
                    </a:lnTo>
                    <a:lnTo>
                      <a:pt x="6" y="133"/>
                    </a:lnTo>
                    <a:lnTo>
                      <a:pt x="0" y="125"/>
                    </a:lnTo>
                    <a:lnTo>
                      <a:pt x="0" y="117"/>
                    </a:lnTo>
                    <a:lnTo>
                      <a:pt x="3" y="117"/>
                    </a:lnTo>
                    <a:lnTo>
                      <a:pt x="6" y="117"/>
                    </a:lnTo>
                    <a:lnTo>
                      <a:pt x="6" y="108"/>
                    </a:lnTo>
                    <a:lnTo>
                      <a:pt x="9" y="106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4" y="103"/>
                    </a:lnTo>
                    <a:lnTo>
                      <a:pt x="12" y="100"/>
                    </a:lnTo>
                    <a:lnTo>
                      <a:pt x="14" y="92"/>
                    </a:lnTo>
                    <a:lnTo>
                      <a:pt x="17" y="92"/>
                    </a:lnTo>
                    <a:lnTo>
                      <a:pt x="17" y="78"/>
                    </a:lnTo>
                    <a:lnTo>
                      <a:pt x="20" y="75"/>
                    </a:lnTo>
                    <a:lnTo>
                      <a:pt x="23" y="75"/>
                    </a:lnTo>
                    <a:lnTo>
                      <a:pt x="31" y="75"/>
                    </a:lnTo>
                    <a:lnTo>
                      <a:pt x="39" y="56"/>
                    </a:lnTo>
                    <a:lnTo>
                      <a:pt x="39" y="53"/>
                    </a:lnTo>
                    <a:lnTo>
                      <a:pt x="39" y="50"/>
                    </a:lnTo>
                    <a:lnTo>
                      <a:pt x="45" y="47"/>
                    </a:lnTo>
                    <a:lnTo>
                      <a:pt x="48" y="42"/>
                    </a:lnTo>
                    <a:lnTo>
                      <a:pt x="45" y="36"/>
                    </a:lnTo>
                    <a:lnTo>
                      <a:pt x="48" y="30"/>
                    </a:lnTo>
                    <a:lnTo>
                      <a:pt x="51" y="28"/>
                    </a:lnTo>
                    <a:lnTo>
                      <a:pt x="56" y="25"/>
                    </a:lnTo>
                    <a:lnTo>
                      <a:pt x="62" y="19"/>
                    </a:lnTo>
                    <a:lnTo>
                      <a:pt x="67" y="19"/>
                    </a:lnTo>
                    <a:lnTo>
                      <a:pt x="70" y="17"/>
                    </a:lnTo>
                    <a:lnTo>
                      <a:pt x="76" y="19"/>
                    </a:lnTo>
                    <a:lnTo>
                      <a:pt x="76" y="17"/>
                    </a:lnTo>
                    <a:lnTo>
                      <a:pt x="76" y="11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4" y="0"/>
                    </a:lnTo>
                    <a:lnTo>
                      <a:pt x="87" y="0"/>
                    </a:lnTo>
                    <a:lnTo>
                      <a:pt x="90" y="0"/>
                    </a:lnTo>
                    <a:lnTo>
                      <a:pt x="92" y="5"/>
                    </a:lnTo>
                    <a:lnTo>
                      <a:pt x="92" y="11"/>
                    </a:lnTo>
                    <a:lnTo>
                      <a:pt x="95" y="11"/>
                    </a:lnTo>
                    <a:lnTo>
                      <a:pt x="101" y="11"/>
                    </a:lnTo>
                    <a:lnTo>
                      <a:pt x="101" y="39"/>
                    </a:lnTo>
                    <a:lnTo>
                      <a:pt x="95" y="50"/>
                    </a:lnTo>
                    <a:lnTo>
                      <a:pt x="92" y="50"/>
                    </a:lnTo>
                    <a:lnTo>
                      <a:pt x="92" y="53"/>
                    </a:lnTo>
                    <a:lnTo>
                      <a:pt x="90" y="56"/>
                    </a:lnTo>
                    <a:lnTo>
                      <a:pt x="87" y="64"/>
                    </a:lnTo>
                    <a:lnTo>
                      <a:pt x="87" y="69"/>
                    </a:lnTo>
                    <a:lnTo>
                      <a:pt x="87" y="72"/>
                    </a:lnTo>
                    <a:lnTo>
                      <a:pt x="84" y="78"/>
                    </a:lnTo>
                    <a:lnTo>
                      <a:pt x="87" y="78"/>
                    </a:lnTo>
                    <a:lnTo>
                      <a:pt x="92" y="72"/>
                    </a:lnTo>
                    <a:lnTo>
                      <a:pt x="103" y="72"/>
                    </a:lnTo>
                    <a:lnTo>
                      <a:pt x="103" y="75"/>
                    </a:lnTo>
                    <a:lnTo>
                      <a:pt x="106" y="78"/>
                    </a:lnTo>
                    <a:lnTo>
                      <a:pt x="106" y="86"/>
                    </a:lnTo>
                    <a:lnTo>
                      <a:pt x="115" y="89"/>
                    </a:lnTo>
                    <a:lnTo>
                      <a:pt x="112" y="103"/>
                    </a:lnTo>
                    <a:lnTo>
                      <a:pt x="120" y="106"/>
                    </a:lnTo>
                    <a:lnTo>
                      <a:pt x="120" y="108"/>
                    </a:lnTo>
                    <a:lnTo>
                      <a:pt x="126" y="114"/>
                    </a:lnTo>
                    <a:lnTo>
                      <a:pt x="131" y="114"/>
                    </a:lnTo>
                    <a:lnTo>
                      <a:pt x="137" y="111"/>
                    </a:lnTo>
                    <a:lnTo>
                      <a:pt x="140" y="111"/>
                    </a:lnTo>
                    <a:lnTo>
                      <a:pt x="140" y="114"/>
                    </a:lnTo>
                    <a:lnTo>
                      <a:pt x="137" y="114"/>
                    </a:lnTo>
                    <a:lnTo>
                      <a:pt x="131" y="120"/>
                    </a:lnTo>
                    <a:lnTo>
                      <a:pt x="131" y="125"/>
                    </a:lnTo>
                    <a:lnTo>
                      <a:pt x="128" y="125"/>
                    </a:lnTo>
                    <a:lnTo>
                      <a:pt x="126" y="125"/>
                    </a:lnTo>
                    <a:lnTo>
                      <a:pt x="126" y="128"/>
                    </a:lnTo>
                    <a:lnTo>
                      <a:pt x="123" y="128"/>
                    </a:lnTo>
                    <a:lnTo>
                      <a:pt x="120" y="133"/>
                    </a:lnTo>
                    <a:lnTo>
                      <a:pt x="117" y="136"/>
                    </a:lnTo>
                    <a:lnTo>
                      <a:pt x="103" y="145"/>
                    </a:lnTo>
                    <a:lnTo>
                      <a:pt x="92" y="147"/>
                    </a:lnTo>
                    <a:lnTo>
                      <a:pt x="87" y="161"/>
                    </a:lnTo>
                    <a:lnTo>
                      <a:pt x="87" y="164"/>
                    </a:lnTo>
                    <a:lnTo>
                      <a:pt x="84" y="167"/>
                    </a:lnTo>
                    <a:lnTo>
                      <a:pt x="90" y="181"/>
                    </a:lnTo>
                    <a:lnTo>
                      <a:pt x="95" y="184"/>
                    </a:lnTo>
                    <a:lnTo>
                      <a:pt x="98" y="186"/>
                    </a:lnTo>
                    <a:lnTo>
                      <a:pt x="101" y="200"/>
                    </a:lnTo>
                    <a:lnTo>
                      <a:pt x="103" y="200"/>
                    </a:lnTo>
                    <a:lnTo>
                      <a:pt x="103" y="203"/>
                    </a:lnTo>
                    <a:lnTo>
                      <a:pt x="101" y="203"/>
                    </a:lnTo>
                    <a:lnTo>
                      <a:pt x="98" y="211"/>
                    </a:lnTo>
                    <a:lnTo>
                      <a:pt x="98" y="214"/>
                    </a:lnTo>
                    <a:lnTo>
                      <a:pt x="95" y="217"/>
                    </a:lnTo>
                    <a:lnTo>
                      <a:pt x="95" y="220"/>
                    </a:lnTo>
                    <a:lnTo>
                      <a:pt x="95" y="223"/>
                    </a:lnTo>
                    <a:lnTo>
                      <a:pt x="95" y="228"/>
                    </a:lnTo>
                    <a:lnTo>
                      <a:pt x="106" y="237"/>
                    </a:lnTo>
                    <a:lnTo>
                      <a:pt x="109" y="256"/>
                    </a:lnTo>
                    <a:lnTo>
                      <a:pt x="112" y="256"/>
                    </a:lnTo>
                    <a:lnTo>
                      <a:pt x="117" y="270"/>
                    </a:lnTo>
                    <a:lnTo>
                      <a:pt x="115" y="273"/>
                    </a:lnTo>
                    <a:lnTo>
                      <a:pt x="112" y="281"/>
                    </a:lnTo>
                    <a:lnTo>
                      <a:pt x="106" y="284"/>
                    </a:lnTo>
                    <a:lnTo>
                      <a:pt x="101" y="298"/>
                    </a:lnTo>
                    <a:lnTo>
                      <a:pt x="98" y="295"/>
                    </a:lnTo>
                    <a:lnTo>
                      <a:pt x="103" y="273"/>
                    </a:lnTo>
                    <a:lnTo>
                      <a:pt x="98" y="270"/>
                    </a:lnTo>
                    <a:lnTo>
                      <a:pt x="98" y="267"/>
                    </a:lnTo>
                    <a:lnTo>
                      <a:pt x="101" y="267"/>
                    </a:lnTo>
                    <a:lnTo>
                      <a:pt x="101" y="264"/>
                    </a:lnTo>
                    <a:lnTo>
                      <a:pt x="101" y="262"/>
                    </a:lnTo>
                    <a:lnTo>
                      <a:pt x="95" y="242"/>
                    </a:lnTo>
                    <a:lnTo>
                      <a:pt x="95" y="245"/>
                    </a:lnTo>
                    <a:lnTo>
                      <a:pt x="87" y="198"/>
                    </a:lnTo>
                    <a:lnTo>
                      <a:pt x="84" y="198"/>
                    </a:lnTo>
                    <a:lnTo>
                      <a:pt x="76" y="189"/>
                    </a:lnTo>
                    <a:lnTo>
                      <a:pt x="73" y="189"/>
                    </a:lnTo>
                    <a:lnTo>
                      <a:pt x="70" y="181"/>
                    </a:lnTo>
                    <a:lnTo>
                      <a:pt x="70" y="195"/>
                    </a:lnTo>
                    <a:lnTo>
                      <a:pt x="51" y="209"/>
                    </a:lnTo>
                    <a:lnTo>
                      <a:pt x="48" y="209"/>
                    </a:lnTo>
                    <a:lnTo>
                      <a:pt x="45" y="209"/>
                    </a:lnTo>
                    <a:lnTo>
                      <a:pt x="45" y="206"/>
                    </a:lnTo>
                    <a:lnTo>
                      <a:pt x="42" y="209"/>
                    </a:lnTo>
                    <a:lnTo>
                      <a:pt x="37" y="206"/>
                    </a:lnTo>
                    <a:lnTo>
                      <a:pt x="37" y="203"/>
                    </a:lnTo>
                    <a:lnTo>
                      <a:pt x="34" y="206"/>
                    </a:lnTo>
                    <a:lnTo>
                      <a:pt x="31" y="203"/>
                    </a:lnTo>
                    <a:lnTo>
                      <a:pt x="34" y="20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0" name="Freeform 578"/>
              <p:cNvSpPr>
                <a:spLocks noChangeAspect="1"/>
              </p:cNvSpPr>
              <p:nvPr>
                <p:custDataLst>
                  <p:tags r:id="rId1060"/>
                </p:custDataLst>
              </p:nvPr>
            </p:nvSpPr>
            <p:spPr bwMode="gray">
              <a:xfrm>
                <a:off x="7293293" y="3851501"/>
                <a:ext cx="110848" cy="86720"/>
              </a:xfrm>
              <a:custGeom>
                <a:avLst/>
                <a:gdLst>
                  <a:gd name="T0" fmla="*/ 2147483647 w 84"/>
                  <a:gd name="T1" fmla="*/ 2147483647 h 67"/>
                  <a:gd name="T2" fmla="*/ 2147483647 w 84"/>
                  <a:gd name="T3" fmla="*/ 2147483647 h 67"/>
                  <a:gd name="T4" fmla="*/ 2147483647 w 84"/>
                  <a:gd name="T5" fmla="*/ 2147483647 h 67"/>
                  <a:gd name="T6" fmla="*/ 2147483647 w 84"/>
                  <a:gd name="T7" fmla="*/ 2147483647 h 67"/>
                  <a:gd name="T8" fmla="*/ 2147483647 w 84"/>
                  <a:gd name="T9" fmla="*/ 2147483647 h 67"/>
                  <a:gd name="T10" fmla="*/ 2147483647 w 84"/>
                  <a:gd name="T11" fmla="*/ 2147483647 h 67"/>
                  <a:gd name="T12" fmla="*/ 2147483647 w 84"/>
                  <a:gd name="T13" fmla="*/ 2147483647 h 67"/>
                  <a:gd name="T14" fmla="*/ 2147483647 w 84"/>
                  <a:gd name="T15" fmla="*/ 2147483647 h 67"/>
                  <a:gd name="T16" fmla="*/ 2147483647 w 84"/>
                  <a:gd name="T17" fmla="*/ 2147483647 h 67"/>
                  <a:gd name="T18" fmla="*/ 2147483647 w 84"/>
                  <a:gd name="T19" fmla="*/ 2147483647 h 67"/>
                  <a:gd name="T20" fmla="*/ 2147483647 w 84"/>
                  <a:gd name="T21" fmla="*/ 2147483647 h 67"/>
                  <a:gd name="T22" fmla="*/ 2147483647 w 84"/>
                  <a:gd name="T23" fmla="*/ 2147483647 h 67"/>
                  <a:gd name="T24" fmla="*/ 2147483647 w 84"/>
                  <a:gd name="T25" fmla="*/ 2147483647 h 67"/>
                  <a:gd name="T26" fmla="*/ 2147483647 w 84"/>
                  <a:gd name="T27" fmla="*/ 2147483647 h 67"/>
                  <a:gd name="T28" fmla="*/ 2147483647 w 84"/>
                  <a:gd name="T29" fmla="*/ 2147483647 h 67"/>
                  <a:gd name="T30" fmla="*/ 2147483647 w 84"/>
                  <a:gd name="T31" fmla="*/ 2147483647 h 67"/>
                  <a:gd name="T32" fmla="*/ 2147483647 w 84"/>
                  <a:gd name="T33" fmla="*/ 2147483647 h 67"/>
                  <a:gd name="T34" fmla="*/ 2147483647 w 84"/>
                  <a:gd name="T35" fmla="*/ 2147483647 h 67"/>
                  <a:gd name="T36" fmla="*/ 2147483647 w 84"/>
                  <a:gd name="T37" fmla="*/ 2147483647 h 67"/>
                  <a:gd name="T38" fmla="*/ 2147483647 w 84"/>
                  <a:gd name="T39" fmla="*/ 2147483647 h 67"/>
                  <a:gd name="T40" fmla="*/ 2147483647 w 84"/>
                  <a:gd name="T41" fmla="*/ 2147483647 h 67"/>
                  <a:gd name="T42" fmla="*/ 2147483647 w 84"/>
                  <a:gd name="T43" fmla="*/ 2147483647 h 67"/>
                  <a:gd name="T44" fmla="*/ 2147483647 w 84"/>
                  <a:gd name="T45" fmla="*/ 2147483647 h 67"/>
                  <a:gd name="T46" fmla="*/ 2147483647 w 84"/>
                  <a:gd name="T47" fmla="*/ 2147483647 h 67"/>
                  <a:gd name="T48" fmla="*/ 2147483647 w 84"/>
                  <a:gd name="T49" fmla="*/ 2147483647 h 67"/>
                  <a:gd name="T50" fmla="*/ 2147483647 w 84"/>
                  <a:gd name="T51" fmla="*/ 2147483647 h 67"/>
                  <a:gd name="T52" fmla="*/ 2147483647 w 84"/>
                  <a:gd name="T53" fmla="*/ 2147483647 h 67"/>
                  <a:gd name="T54" fmla="*/ 2147483647 w 84"/>
                  <a:gd name="T55" fmla="*/ 2147483647 h 67"/>
                  <a:gd name="T56" fmla="*/ 2147483647 w 84"/>
                  <a:gd name="T57" fmla="*/ 2147483647 h 67"/>
                  <a:gd name="T58" fmla="*/ 2147483647 w 84"/>
                  <a:gd name="T59" fmla="*/ 2147483647 h 67"/>
                  <a:gd name="T60" fmla="*/ 2147483647 w 84"/>
                  <a:gd name="T61" fmla="*/ 2147483647 h 67"/>
                  <a:gd name="T62" fmla="*/ 2147483647 w 84"/>
                  <a:gd name="T63" fmla="*/ 2147483647 h 6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"/>
                  <a:gd name="T97" fmla="*/ 0 h 67"/>
                  <a:gd name="T98" fmla="*/ 84 w 84"/>
                  <a:gd name="T99" fmla="*/ 67 h 6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" h="67">
                    <a:moveTo>
                      <a:pt x="37" y="67"/>
                    </a:moveTo>
                    <a:lnTo>
                      <a:pt x="34" y="67"/>
                    </a:lnTo>
                    <a:lnTo>
                      <a:pt x="31" y="67"/>
                    </a:lnTo>
                    <a:lnTo>
                      <a:pt x="25" y="64"/>
                    </a:lnTo>
                    <a:lnTo>
                      <a:pt x="25" y="67"/>
                    </a:lnTo>
                    <a:lnTo>
                      <a:pt x="23" y="67"/>
                    </a:lnTo>
                    <a:lnTo>
                      <a:pt x="23" y="64"/>
                    </a:lnTo>
                    <a:lnTo>
                      <a:pt x="23" y="62"/>
                    </a:lnTo>
                    <a:lnTo>
                      <a:pt x="23" y="59"/>
                    </a:lnTo>
                    <a:lnTo>
                      <a:pt x="20" y="59"/>
                    </a:lnTo>
                    <a:lnTo>
                      <a:pt x="17" y="62"/>
                    </a:lnTo>
                    <a:lnTo>
                      <a:pt x="14" y="62"/>
                    </a:lnTo>
                    <a:lnTo>
                      <a:pt x="14" y="53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9" y="37"/>
                    </a:lnTo>
                    <a:lnTo>
                      <a:pt x="3" y="34"/>
                    </a:lnTo>
                    <a:lnTo>
                      <a:pt x="0" y="25"/>
                    </a:lnTo>
                    <a:lnTo>
                      <a:pt x="3" y="20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42" y="6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50" y="12"/>
                    </a:lnTo>
                    <a:lnTo>
                      <a:pt x="59" y="12"/>
                    </a:lnTo>
                    <a:lnTo>
                      <a:pt x="62" y="9"/>
                    </a:lnTo>
                    <a:lnTo>
                      <a:pt x="67" y="3"/>
                    </a:lnTo>
                    <a:lnTo>
                      <a:pt x="70" y="3"/>
                    </a:lnTo>
                    <a:lnTo>
                      <a:pt x="73" y="6"/>
                    </a:lnTo>
                    <a:lnTo>
                      <a:pt x="75" y="6"/>
                    </a:lnTo>
                    <a:lnTo>
                      <a:pt x="78" y="6"/>
                    </a:lnTo>
                    <a:lnTo>
                      <a:pt x="81" y="3"/>
                    </a:lnTo>
                    <a:lnTo>
                      <a:pt x="81" y="0"/>
                    </a:lnTo>
                    <a:lnTo>
                      <a:pt x="81" y="17"/>
                    </a:lnTo>
                    <a:lnTo>
                      <a:pt x="84" y="20"/>
                    </a:lnTo>
                    <a:lnTo>
                      <a:pt x="84" y="37"/>
                    </a:lnTo>
                    <a:lnTo>
                      <a:pt x="81" y="39"/>
                    </a:lnTo>
                    <a:lnTo>
                      <a:pt x="78" y="39"/>
                    </a:lnTo>
                    <a:lnTo>
                      <a:pt x="73" y="42"/>
                    </a:lnTo>
                    <a:lnTo>
                      <a:pt x="67" y="45"/>
                    </a:lnTo>
                    <a:lnTo>
                      <a:pt x="67" y="48"/>
                    </a:lnTo>
                    <a:lnTo>
                      <a:pt x="59" y="50"/>
                    </a:lnTo>
                    <a:lnTo>
                      <a:pt x="56" y="53"/>
                    </a:lnTo>
                    <a:lnTo>
                      <a:pt x="59" y="59"/>
                    </a:lnTo>
                    <a:lnTo>
                      <a:pt x="53" y="59"/>
                    </a:lnTo>
                    <a:lnTo>
                      <a:pt x="50" y="62"/>
                    </a:lnTo>
                    <a:lnTo>
                      <a:pt x="48" y="62"/>
                    </a:lnTo>
                    <a:lnTo>
                      <a:pt x="45" y="62"/>
                    </a:lnTo>
                    <a:lnTo>
                      <a:pt x="42" y="64"/>
                    </a:lnTo>
                    <a:lnTo>
                      <a:pt x="42" y="67"/>
                    </a:lnTo>
                    <a:lnTo>
                      <a:pt x="37" y="6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1" name="Freeform 579"/>
              <p:cNvSpPr>
                <a:spLocks noChangeAspect="1"/>
              </p:cNvSpPr>
              <p:nvPr>
                <p:custDataLst>
                  <p:tags r:id="rId1061"/>
                </p:custDataLst>
              </p:nvPr>
            </p:nvSpPr>
            <p:spPr bwMode="gray">
              <a:xfrm>
                <a:off x="7293293" y="3851501"/>
                <a:ext cx="110848" cy="86720"/>
              </a:xfrm>
              <a:custGeom>
                <a:avLst/>
                <a:gdLst>
                  <a:gd name="T0" fmla="*/ 2147483647 w 84"/>
                  <a:gd name="T1" fmla="*/ 2147483647 h 67"/>
                  <a:gd name="T2" fmla="*/ 2147483647 w 84"/>
                  <a:gd name="T3" fmla="*/ 2147483647 h 67"/>
                  <a:gd name="T4" fmla="*/ 2147483647 w 84"/>
                  <a:gd name="T5" fmla="*/ 2147483647 h 67"/>
                  <a:gd name="T6" fmla="*/ 2147483647 w 84"/>
                  <a:gd name="T7" fmla="*/ 2147483647 h 67"/>
                  <a:gd name="T8" fmla="*/ 2147483647 w 84"/>
                  <a:gd name="T9" fmla="*/ 2147483647 h 67"/>
                  <a:gd name="T10" fmla="*/ 2147483647 w 84"/>
                  <a:gd name="T11" fmla="*/ 2147483647 h 67"/>
                  <a:gd name="T12" fmla="*/ 2147483647 w 84"/>
                  <a:gd name="T13" fmla="*/ 2147483647 h 67"/>
                  <a:gd name="T14" fmla="*/ 2147483647 w 84"/>
                  <a:gd name="T15" fmla="*/ 2147483647 h 67"/>
                  <a:gd name="T16" fmla="*/ 2147483647 w 84"/>
                  <a:gd name="T17" fmla="*/ 2147483647 h 67"/>
                  <a:gd name="T18" fmla="*/ 2147483647 w 84"/>
                  <a:gd name="T19" fmla="*/ 2147483647 h 67"/>
                  <a:gd name="T20" fmla="*/ 2147483647 w 84"/>
                  <a:gd name="T21" fmla="*/ 2147483647 h 67"/>
                  <a:gd name="T22" fmla="*/ 2147483647 w 84"/>
                  <a:gd name="T23" fmla="*/ 2147483647 h 67"/>
                  <a:gd name="T24" fmla="*/ 2147483647 w 84"/>
                  <a:gd name="T25" fmla="*/ 2147483647 h 67"/>
                  <a:gd name="T26" fmla="*/ 2147483647 w 84"/>
                  <a:gd name="T27" fmla="*/ 2147483647 h 67"/>
                  <a:gd name="T28" fmla="*/ 2147483647 w 84"/>
                  <a:gd name="T29" fmla="*/ 2147483647 h 67"/>
                  <a:gd name="T30" fmla="*/ 2147483647 w 84"/>
                  <a:gd name="T31" fmla="*/ 2147483647 h 67"/>
                  <a:gd name="T32" fmla="*/ 2147483647 w 84"/>
                  <a:gd name="T33" fmla="*/ 2147483647 h 67"/>
                  <a:gd name="T34" fmla="*/ 2147483647 w 84"/>
                  <a:gd name="T35" fmla="*/ 2147483647 h 67"/>
                  <a:gd name="T36" fmla="*/ 2147483647 w 84"/>
                  <a:gd name="T37" fmla="*/ 2147483647 h 67"/>
                  <a:gd name="T38" fmla="*/ 2147483647 w 84"/>
                  <a:gd name="T39" fmla="*/ 2147483647 h 67"/>
                  <a:gd name="T40" fmla="*/ 2147483647 w 84"/>
                  <a:gd name="T41" fmla="*/ 2147483647 h 67"/>
                  <a:gd name="T42" fmla="*/ 2147483647 w 84"/>
                  <a:gd name="T43" fmla="*/ 2147483647 h 67"/>
                  <a:gd name="T44" fmla="*/ 2147483647 w 84"/>
                  <a:gd name="T45" fmla="*/ 2147483647 h 67"/>
                  <a:gd name="T46" fmla="*/ 2147483647 w 84"/>
                  <a:gd name="T47" fmla="*/ 2147483647 h 67"/>
                  <a:gd name="T48" fmla="*/ 2147483647 w 84"/>
                  <a:gd name="T49" fmla="*/ 2147483647 h 67"/>
                  <a:gd name="T50" fmla="*/ 2147483647 w 84"/>
                  <a:gd name="T51" fmla="*/ 2147483647 h 67"/>
                  <a:gd name="T52" fmla="*/ 2147483647 w 84"/>
                  <a:gd name="T53" fmla="*/ 2147483647 h 67"/>
                  <a:gd name="T54" fmla="*/ 2147483647 w 84"/>
                  <a:gd name="T55" fmla="*/ 2147483647 h 67"/>
                  <a:gd name="T56" fmla="*/ 2147483647 w 84"/>
                  <a:gd name="T57" fmla="*/ 2147483647 h 67"/>
                  <a:gd name="T58" fmla="*/ 2147483647 w 84"/>
                  <a:gd name="T59" fmla="*/ 2147483647 h 67"/>
                  <a:gd name="T60" fmla="*/ 2147483647 w 84"/>
                  <a:gd name="T61" fmla="*/ 2147483647 h 67"/>
                  <a:gd name="T62" fmla="*/ 2147483647 w 84"/>
                  <a:gd name="T63" fmla="*/ 2147483647 h 6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"/>
                  <a:gd name="T97" fmla="*/ 0 h 67"/>
                  <a:gd name="T98" fmla="*/ 84 w 84"/>
                  <a:gd name="T99" fmla="*/ 67 h 6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" h="67">
                    <a:moveTo>
                      <a:pt x="37" y="67"/>
                    </a:moveTo>
                    <a:lnTo>
                      <a:pt x="34" y="67"/>
                    </a:lnTo>
                    <a:lnTo>
                      <a:pt x="31" y="67"/>
                    </a:lnTo>
                    <a:lnTo>
                      <a:pt x="25" y="64"/>
                    </a:lnTo>
                    <a:lnTo>
                      <a:pt x="25" y="67"/>
                    </a:lnTo>
                    <a:lnTo>
                      <a:pt x="23" y="67"/>
                    </a:lnTo>
                    <a:lnTo>
                      <a:pt x="23" y="64"/>
                    </a:lnTo>
                    <a:lnTo>
                      <a:pt x="23" y="62"/>
                    </a:lnTo>
                    <a:lnTo>
                      <a:pt x="23" y="59"/>
                    </a:lnTo>
                    <a:lnTo>
                      <a:pt x="20" y="59"/>
                    </a:lnTo>
                    <a:lnTo>
                      <a:pt x="17" y="62"/>
                    </a:lnTo>
                    <a:lnTo>
                      <a:pt x="14" y="62"/>
                    </a:lnTo>
                    <a:lnTo>
                      <a:pt x="14" y="53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9" y="37"/>
                    </a:lnTo>
                    <a:lnTo>
                      <a:pt x="3" y="34"/>
                    </a:lnTo>
                    <a:lnTo>
                      <a:pt x="0" y="25"/>
                    </a:lnTo>
                    <a:lnTo>
                      <a:pt x="3" y="20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42" y="6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50" y="12"/>
                    </a:lnTo>
                    <a:lnTo>
                      <a:pt x="59" y="12"/>
                    </a:lnTo>
                    <a:lnTo>
                      <a:pt x="62" y="9"/>
                    </a:lnTo>
                    <a:lnTo>
                      <a:pt x="67" y="3"/>
                    </a:lnTo>
                    <a:lnTo>
                      <a:pt x="70" y="3"/>
                    </a:lnTo>
                    <a:lnTo>
                      <a:pt x="73" y="6"/>
                    </a:lnTo>
                    <a:lnTo>
                      <a:pt x="75" y="6"/>
                    </a:lnTo>
                    <a:lnTo>
                      <a:pt x="78" y="6"/>
                    </a:lnTo>
                    <a:lnTo>
                      <a:pt x="81" y="3"/>
                    </a:lnTo>
                    <a:lnTo>
                      <a:pt x="81" y="0"/>
                    </a:lnTo>
                    <a:lnTo>
                      <a:pt x="81" y="17"/>
                    </a:lnTo>
                    <a:lnTo>
                      <a:pt x="84" y="20"/>
                    </a:lnTo>
                    <a:lnTo>
                      <a:pt x="84" y="37"/>
                    </a:lnTo>
                    <a:lnTo>
                      <a:pt x="81" y="39"/>
                    </a:lnTo>
                    <a:lnTo>
                      <a:pt x="78" y="39"/>
                    </a:lnTo>
                    <a:lnTo>
                      <a:pt x="73" y="42"/>
                    </a:lnTo>
                    <a:lnTo>
                      <a:pt x="67" y="45"/>
                    </a:lnTo>
                    <a:lnTo>
                      <a:pt x="67" y="48"/>
                    </a:lnTo>
                    <a:lnTo>
                      <a:pt x="59" y="50"/>
                    </a:lnTo>
                    <a:lnTo>
                      <a:pt x="56" y="53"/>
                    </a:lnTo>
                    <a:lnTo>
                      <a:pt x="59" y="59"/>
                    </a:lnTo>
                    <a:lnTo>
                      <a:pt x="53" y="59"/>
                    </a:lnTo>
                    <a:lnTo>
                      <a:pt x="50" y="62"/>
                    </a:lnTo>
                    <a:lnTo>
                      <a:pt x="48" y="62"/>
                    </a:lnTo>
                    <a:lnTo>
                      <a:pt x="45" y="62"/>
                    </a:lnTo>
                    <a:lnTo>
                      <a:pt x="42" y="64"/>
                    </a:lnTo>
                    <a:lnTo>
                      <a:pt x="42" y="67"/>
                    </a:lnTo>
                    <a:lnTo>
                      <a:pt x="37" y="6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2" name="Freeform 580"/>
              <p:cNvSpPr>
                <a:spLocks noChangeAspect="1"/>
              </p:cNvSpPr>
              <p:nvPr>
                <p:custDataLst>
                  <p:tags r:id="rId1062"/>
                </p:custDataLst>
              </p:nvPr>
            </p:nvSpPr>
            <p:spPr bwMode="gray">
              <a:xfrm>
                <a:off x="7533209" y="4050171"/>
                <a:ext cx="28851" cy="17345"/>
              </a:xfrm>
              <a:custGeom>
                <a:avLst/>
                <a:gdLst>
                  <a:gd name="T0" fmla="*/ 2147483647 w 22"/>
                  <a:gd name="T1" fmla="*/ 0 h 13"/>
                  <a:gd name="T2" fmla="*/ 2147483647 w 22"/>
                  <a:gd name="T3" fmla="*/ 2147483647 h 13"/>
                  <a:gd name="T4" fmla="*/ 2147483647 w 22"/>
                  <a:gd name="T5" fmla="*/ 2147483647 h 13"/>
                  <a:gd name="T6" fmla="*/ 2147483647 w 22"/>
                  <a:gd name="T7" fmla="*/ 2147483647 h 13"/>
                  <a:gd name="T8" fmla="*/ 2147483647 w 22"/>
                  <a:gd name="T9" fmla="*/ 2147483647 h 13"/>
                  <a:gd name="T10" fmla="*/ 2147483647 w 22"/>
                  <a:gd name="T11" fmla="*/ 2147483647 h 13"/>
                  <a:gd name="T12" fmla="*/ 2147483647 w 22"/>
                  <a:gd name="T13" fmla="*/ 2147483647 h 13"/>
                  <a:gd name="T14" fmla="*/ 2147483647 w 22"/>
                  <a:gd name="T15" fmla="*/ 2147483647 h 13"/>
                  <a:gd name="T16" fmla="*/ 2147483647 w 22"/>
                  <a:gd name="T17" fmla="*/ 2147483647 h 13"/>
                  <a:gd name="T18" fmla="*/ 2147483647 w 22"/>
                  <a:gd name="T19" fmla="*/ 2147483647 h 13"/>
                  <a:gd name="T20" fmla="*/ 2147483647 w 22"/>
                  <a:gd name="T21" fmla="*/ 2147483647 h 13"/>
                  <a:gd name="T22" fmla="*/ 2147483647 w 22"/>
                  <a:gd name="T23" fmla="*/ 2147483647 h 13"/>
                  <a:gd name="T24" fmla="*/ 2147483647 w 22"/>
                  <a:gd name="T25" fmla="*/ 2147483647 h 13"/>
                  <a:gd name="T26" fmla="*/ 2147483647 w 22"/>
                  <a:gd name="T27" fmla="*/ 2147483647 h 13"/>
                  <a:gd name="T28" fmla="*/ 2147483647 w 22"/>
                  <a:gd name="T29" fmla="*/ 2147483647 h 13"/>
                  <a:gd name="T30" fmla="*/ 2147483647 w 22"/>
                  <a:gd name="T31" fmla="*/ 2147483647 h 13"/>
                  <a:gd name="T32" fmla="*/ 0 w 22"/>
                  <a:gd name="T33" fmla="*/ 2147483647 h 13"/>
                  <a:gd name="T34" fmla="*/ 0 w 22"/>
                  <a:gd name="T35" fmla="*/ 2147483647 h 13"/>
                  <a:gd name="T36" fmla="*/ 0 w 22"/>
                  <a:gd name="T37" fmla="*/ 2147483647 h 13"/>
                  <a:gd name="T38" fmla="*/ 2147483647 w 22"/>
                  <a:gd name="T39" fmla="*/ 2147483647 h 13"/>
                  <a:gd name="T40" fmla="*/ 2147483647 w 22"/>
                  <a:gd name="T41" fmla="*/ 0 h 13"/>
                  <a:gd name="T42" fmla="*/ 2147483647 w 22"/>
                  <a:gd name="T43" fmla="*/ 0 h 13"/>
                  <a:gd name="T44" fmla="*/ 2147483647 w 22"/>
                  <a:gd name="T45" fmla="*/ 0 h 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2"/>
                  <a:gd name="T70" fmla="*/ 0 h 13"/>
                  <a:gd name="T71" fmla="*/ 22 w 22"/>
                  <a:gd name="T72" fmla="*/ 13 h 1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2" h="13">
                    <a:moveTo>
                      <a:pt x="20" y="0"/>
                    </a:moveTo>
                    <a:lnTo>
                      <a:pt x="20" y="2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7" y="5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8" y="13"/>
                    </a:lnTo>
                    <a:lnTo>
                      <a:pt x="0" y="5"/>
                    </a:lnTo>
                    <a:lnTo>
                      <a:pt x="8" y="5"/>
                    </a:lnTo>
                    <a:lnTo>
                      <a:pt x="14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3" name="Freeform 581"/>
              <p:cNvSpPr>
                <a:spLocks noChangeAspect="1"/>
              </p:cNvSpPr>
              <p:nvPr>
                <p:custDataLst>
                  <p:tags r:id="rId1063"/>
                </p:custDataLst>
              </p:nvPr>
            </p:nvSpPr>
            <p:spPr bwMode="gray">
              <a:xfrm>
                <a:off x="7533209" y="4050171"/>
                <a:ext cx="28851" cy="17345"/>
              </a:xfrm>
              <a:custGeom>
                <a:avLst/>
                <a:gdLst>
                  <a:gd name="T0" fmla="*/ 2147483647 w 22"/>
                  <a:gd name="T1" fmla="*/ 0 h 13"/>
                  <a:gd name="T2" fmla="*/ 2147483647 w 22"/>
                  <a:gd name="T3" fmla="*/ 2147483647 h 13"/>
                  <a:gd name="T4" fmla="*/ 2147483647 w 22"/>
                  <a:gd name="T5" fmla="*/ 2147483647 h 13"/>
                  <a:gd name="T6" fmla="*/ 2147483647 w 22"/>
                  <a:gd name="T7" fmla="*/ 2147483647 h 13"/>
                  <a:gd name="T8" fmla="*/ 2147483647 w 22"/>
                  <a:gd name="T9" fmla="*/ 2147483647 h 13"/>
                  <a:gd name="T10" fmla="*/ 2147483647 w 22"/>
                  <a:gd name="T11" fmla="*/ 2147483647 h 13"/>
                  <a:gd name="T12" fmla="*/ 2147483647 w 22"/>
                  <a:gd name="T13" fmla="*/ 2147483647 h 13"/>
                  <a:gd name="T14" fmla="*/ 2147483647 w 22"/>
                  <a:gd name="T15" fmla="*/ 2147483647 h 13"/>
                  <a:gd name="T16" fmla="*/ 2147483647 w 22"/>
                  <a:gd name="T17" fmla="*/ 2147483647 h 13"/>
                  <a:gd name="T18" fmla="*/ 2147483647 w 22"/>
                  <a:gd name="T19" fmla="*/ 2147483647 h 13"/>
                  <a:gd name="T20" fmla="*/ 2147483647 w 22"/>
                  <a:gd name="T21" fmla="*/ 2147483647 h 13"/>
                  <a:gd name="T22" fmla="*/ 2147483647 w 22"/>
                  <a:gd name="T23" fmla="*/ 2147483647 h 13"/>
                  <a:gd name="T24" fmla="*/ 2147483647 w 22"/>
                  <a:gd name="T25" fmla="*/ 2147483647 h 13"/>
                  <a:gd name="T26" fmla="*/ 2147483647 w 22"/>
                  <a:gd name="T27" fmla="*/ 2147483647 h 13"/>
                  <a:gd name="T28" fmla="*/ 2147483647 w 22"/>
                  <a:gd name="T29" fmla="*/ 2147483647 h 13"/>
                  <a:gd name="T30" fmla="*/ 2147483647 w 22"/>
                  <a:gd name="T31" fmla="*/ 2147483647 h 13"/>
                  <a:gd name="T32" fmla="*/ 0 w 22"/>
                  <a:gd name="T33" fmla="*/ 2147483647 h 13"/>
                  <a:gd name="T34" fmla="*/ 0 w 22"/>
                  <a:gd name="T35" fmla="*/ 2147483647 h 13"/>
                  <a:gd name="T36" fmla="*/ 0 w 22"/>
                  <a:gd name="T37" fmla="*/ 2147483647 h 13"/>
                  <a:gd name="T38" fmla="*/ 2147483647 w 22"/>
                  <a:gd name="T39" fmla="*/ 2147483647 h 13"/>
                  <a:gd name="T40" fmla="*/ 2147483647 w 22"/>
                  <a:gd name="T41" fmla="*/ 0 h 13"/>
                  <a:gd name="T42" fmla="*/ 2147483647 w 22"/>
                  <a:gd name="T43" fmla="*/ 0 h 13"/>
                  <a:gd name="T44" fmla="*/ 2147483647 w 22"/>
                  <a:gd name="T45" fmla="*/ 0 h 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2"/>
                  <a:gd name="T70" fmla="*/ 0 h 13"/>
                  <a:gd name="T71" fmla="*/ 22 w 22"/>
                  <a:gd name="T72" fmla="*/ 13 h 1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2" h="13">
                    <a:moveTo>
                      <a:pt x="20" y="0"/>
                    </a:moveTo>
                    <a:lnTo>
                      <a:pt x="20" y="2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7" y="5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11" y="11"/>
                    </a:lnTo>
                    <a:lnTo>
                      <a:pt x="11" y="13"/>
                    </a:lnTo>
                    <a:lnTo>
                      <a:pt x="8" y="13"/>
                    </a:lnTo>
                    <a:lnTo>
                      <a:pt x="0" y="5"/>
                    </a:lnTo>
                    <a:lnTo>
                      <a:pt x="8" y="5"/>
                    </a:lnTo>
                    <a:lnTo>
                      <a:pt x="14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4" name="Freeform 598"/>
              <p:cNvSpPr>
                <a:spLocks noChangeAspect="1"/>
              </p:cNvSpPr>
              <p:nvPr>
                <p:custDataLst>
                  <p:tags r:id="rId1064"/>
                </p:custDataLst>
              </p:nvPr>
            </p:nvSpPr>
            <p:spPr bwMode="gray">
              <a:xfrm>
                <a:off x="6616061" y="5264259"/>
                <a:ext cx="34925" cy="34688"/>
              </a:xfrm>
              <a:custGeom>
                <a:avLst/>
                <a:gdLst>
                  <a:gd name="T0" fmla="*/ 2147483647 w 28"/>
                  <a:gd name="T1" fmla="*/ 2147483647 h 26"/>
                  <a:gd name="T2" fmla="*/ 2147483647 w 28"/>
                  <a:gd name="T3" fmla="*/ 2147483647 h 26"/>
                  <a:gd name="T4" fmla="*/ 2147483647 w 28"/>
                  <a:gd name="T5" fmla="*/ 2147483647 h 26"/>
                  <a:gd name="T6" fmla="*/ 2147483647 w 28"/>
                  <a:gd name="T7" fmla="*/ 2147483647 h 26"/>
                  <a:gd name="T8" fmla="*/ 2147483647 w 28"/>
                  <a:gd name="T9" fmla="*/ 2147483647 h 26"/>
                  <a:gd name="T10" fmla="*/ 2147483647 w 28"/>
                  <a:gd name="T11" fmla="*/ 2147483647 h 26"/>
                  <a:gd name="T12" fmla="*/ 2147483647 w 28"/>
                  <a:gd name="T13" fmla="*/ 2147483647 h 26"/>
                  <a:gd name="T14" fmla="*/ 2147483647 w 28"/>
                  <a:gd name="T15" fmla="*/ 2147483647 h 26"/>
                  <a:gd name="T16" fmla="*/ 2147483647 w 28"/>
                  <a:gd name="T17" fmla="*/ 2147483647 h 26"/>
                  <a:gd name="T18" fmla="*/ 2147483647 w 28"/>
                  <a:gd name="T19" fmla="*/ 2147483647 h 26"/>
                  <a:gd name="T20" fmla="*/ 2147483647 w 28"/>
                  <a:gd name="T21" fmla="*/ 2147483647 h 26"/>
                  <a:gd name="T22" fmla="*/ 2147483647 w 28"/>
                  <a:gd name="T23" fmla="*/ 2147483647 h 26"/>
                  <a:gd name="T24" fmla="*/ 2147483647 w 28"/>
                  <a:gd name="T25" fmla="*/ 0 h 26"/>
                  <a:gd name="T26" fmla="*/ 0 w 28"/>
                  <a:gd name="T27" fmla="*/ 2147483647 h 26"/>
                  <a:gd name="T28" fmla="*/ 0 w 28"/>
                  <a:gd name="T29" fmla="*/ 2147483647 h 26"/>
                  <a:gd name="T30" fmla="*/ 2147483647 w 28"/>
                  <a:gd name="T31" fmla="*/ 2147483647 h 26"/>
                  <a:gd name="T32" fmla="*/ 2147483647 w 28"/>
                  <a:gd name="T33" fmla="*/ 2147483647 h 26"/>
                  <a:gd name="T34" fmla="*/ 2147483647 w 28"/>
                  <a:gd name="T35" fmla="*/ 2147483647 h 26"/>
                  <a:gd name="T36" fmla="*/ 2147483647 w 28"/>
                  <a:gd name="T37" fmla="*/ 2147483647 h 26"/>
                  <a:gd name="T38" fmla="*/ 2147483647 w 28"/>
                  <a:gd name="T39" fmla="*/ 2147483647 h 26"/>
                  <a:gd name="T40" fmla="*/ 2147483647 w 28"/>
                  <a:gd name="T41" fmla="*/ 2147483647 h 26"/>
                  <a:gd name="T42" fmla="*/ 2147483647 w 28"/>
                  <a:gd name="T43" fmla="*/ 2147483647 h 26"/>
                  <a:gd name="T44" fmla="*/ 2147483647 w 28"/>
                  <a:gd name="T45" fmla="*/ 2147483647 h 26"/>
                  <a:gd name="T46" fmla="*/ 2147483647 w 28"/>
                  <a:gd name="T47" fmla="*/ 2147483647 h 26"/>
                  <a:gd name="T48" fmla="*/ 2147483647 w 28"/>
                  <a:gd name="T49" fmla="*/ 2147483647 h 26"/>
                  <a:gd name="T50" fmla="*/ 2147483647 w 28"/>
                  <a:gd name="T51" fmla="*/ 2147483647 h 26"/>
                  <a:gd name="T52" fmla="*/ 2147483647 w 28"/>
                  <a:gd name="T53" fmla="*/ 2147483647 h 26"/>
                  <a:gd name="T54" fmla="*/ 2147483647 w 28"/>
                  <a:gd name="T55" fmla="*/ 2147483647 h 26"/>
                  <a:gd name="T56" fmla="*/ 2147483647 w 28"/>
                  <a:gd name="T57" fmla="*/ 2147483647 h 26"/>
                  <a:gd name="T58" fmla="*/ 2147483647 w 28"/>
                  <a:gd name="T59" fmla="*/ 2147483647 h 26"/>
                  <a:gd name="T60" fmla="*/ 2147483647 w 28"/>
                  <a:gd name="T61" fmla="*/ 2147483647 h 26"/>
                  <a:gd name="T62" fmla="*/ 2147483647 w 28"/>
                  <a:gd name="T63" fmla="*/ 2147483647 h 26"/>
                  <a:gd name="T64" fmla="*/ 2147483647 w 28"/>
                  <a:gd name="T65" fmla="*/ 2147483647 h 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"/>
                  <a:gd name="T100" fmla="*/ 0 h 26"/>
                  <a:gd name="T101" fmla="*/ 28 w 28"/>
                  <a:gd name="T102" fmla="*/ 26 h 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" h="26">
                    <a:moveTo>
                      <a:pt x="19" y="12"/>
                    </a:moveTo>
                    <a:lnTo>
                      <a:pt x="19" y="14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1" y="17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4" y="9"/>
                    </a:lnTo>
                    <a:lnTo>
                      <a:pt x="11" y="9"/>
                    </a:lnTo>
                    <a:lnTo>
                      <a:pt x="8" y="12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19" y="12"/>
                    </a:lnTo>
                    <a:lnTo>
                      <a:pt x="2" y="17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2" y="23"/>
                    </a:lnTo>
                    <a:lnTo>
                      <a:pt x="5" y="26"/>
                    </a:lnTo>
                    <a:lnTo>
                      <a:pt x="8" y="23"/>
                    </a:lnTo>
                    <a:lnTo>
                      <a:pt x="8" y="20"/>
                    </a:lnTo>
                    <a:lnTo>
                      <a:pt x="11" y="23"/>
                    </a:lnTo>
                    <a:lnTo>
                      <a:pt x="11" y="26"/>
                    </a:lnTo>
                    <a:lnTo>
                      <a:pt x="14" y="26"/>
                    </a:lnTo>
                    <a:lnTo>
                      <a:pt x="14" y="23"/>
                    </a:lnTo>
                    <a:lnTo>
                      <a:pt x="16" y="20"/>
                    </a:lnTo>
                    <a:lnTo>
                      <a:pt x="16" y="23"/>
                    </a:lnTo>
                    <a:lnTo>
                      <a:pt x="16" y="26"/>
                    </a:lnTo>
                    <a:lnTo>
                      <a:pt x="19" y="26"/>
                    </a:lnTo>
                    <a:lnTo>
                      <a:pt x="25" y="26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22" y="20"/>
                    </a:lnTo>
                    <a:lnTo>
                      <a:pt x="22" y="23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19" y="17"/>
                    </a:lnTo>
                    <a:lnTo>
                      <a:pt x="22" y="17"/>
                    </a:lnTo>
                    <a:lnTo>
                      <a:pt x="25" y="20"/>
                    </a:lnTo>
                    <a:lnTo>
                      <a:pt x="25" y="17"/>
                    </a:lnTo>
                    <a:lnTo>
                      <a:pt x="28" y="12"/>
                    </a:lnTo>
                    <a:lnTo>
                      <a:pt x="28" y="9"/>
                    </a:lnTo>
                    <a:lnTo>
                      <a:pt x="22" y="12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5" name="Freeform 606"/>
              <p:cNvSpPr>
                <a:spLocks noChangeAspect="1"/>
              </p:cNvSpPr>
              <p:nvPr>
                <p:custDataLst>
                  <p:tags r:id="rId1065"/>
                </p:custDataLst>
              </p:nvPr>
            </p:nvSpPr>
            <p:spPr bwMode="gray">
              <a:xfrm>
                <a:off x="7023009" y="3562959"/>
                <a:ext cx="68330" cy="34688"/>
              </a:xfrm>
              <a:custGeom>
                <a:avLst/>
                <a:gdLst>
                  <a:gd name="T0" fmla="*/ 2147483647 w 52"/>
                  <a:gd name="T1" fmla="*/ 2147483647 h 28"/>
                  <a:gd name="T2" fmla="*/ 2147483647 w 52"/>
                  <a:gd name="T3" fmla="*/ 2147483647 h 28"/>
                  <a:gd name="T4" fmla="*/ 2147483647 w 52"/>
                  <a:gd name="T5" fmla="*/ 2147483647 h 28"/>
                  <a:gd name="T6" fmla="*/ 2147483647 w 52"/>
                  <a:gd name="T7" fmla="*/ 2147483647 h 28"/>
                  <a:gd name="T8" fmla="*/ 2147483647 w 52"/>
                  <a:gd name="T9" fmla="*/ 2147483647 h 28"/>
                  <a:gd name="T10" fmla="*/ 2147483647 w 52"/>
                  <a:gd name="T11" fmla="*/ 2147483647 h 28"/>
                  <a:gd name="T12" fmla="*/ 2147483647 w 52"/>
                  <a:gd name="T13" fmla="*/ 2147483647 h 28"/>
                  <a:gd name="T14" fmla="*/ 2147483647 w 52"/>
                  <a:gd name="T15" fmla="*/ 2147483647 h 28"/>
                  <a:gd name="T16" fmla="*/ 2147483647 w 52"/>
                  <a:gd name="T17" fmla="*/ 0 h 28"/>
                  <a:gd name="T18" fmla="*/ 2147483647 w 52"/>
                  <a:gd name="T19" fmla="*/ 0 h 28"/>
                  <a:gd name="T20" fmla="*/ 2147483647 w 52"/>
                  <a:gd name="T21" fmla="*/ 0 h 28"/>
                  <a:gd name="T22" fmla="*/ 2147483647 w 52"/>
                  <a:gd name="T23" fmla="*/ 0 h 28"/>
                  <a:gd name="T24" fmla="*/ 2147483647 w 52"/>
                  <a:gd name="T25" fmla="*/ 0 h 28"/>
                  <a:gd name="T26" fmla="*/ 2147483647 w 52"/>
                  <a:gd name="T27" fmla="*/ 2147483647 h 28"/>
                  <a:gd name="T28" fmla="*/ 2147483647 w 52"/>
                  <a:gd name="T29" fmla="*/ 2147483647 h 28"/>
                  <a:gd name="T30" fmla="*/ 2147483647 w 52"/>
                  <a:gd name="T31" fmla="*/ 2147483647 h 28"/>
                  <a:gd name="T32" fmla="*/ 0 w 52"/>
                  <a:gd name="T33" fmla="*/ 2147483647 h 28"/>
                  <a:gd name="T34" fmla="*/ 0 w 52"/>
                  <a:gd name="T35" fmla="*/ 2147483647 h 28"/>
                  <a:gd name="T36" fmla="*/ 0 w 52"/>
                  <a:gd name="T37" fmla="*/ 2147483647 h 28"/>
                  <a:gd name="T38" fmla="*/ 0 w 52"/>
                  <a:gd name="T39" fmla="*/ 2147483647 h 28"/>
                  <a:gd name="T40" fmla="*/ 0 w 52"/>
                  <a:gd name="T41" fmla="*/ 2147483647 h 28"/>
                  <a:gd name="T42" fmla="*/ 0 w 52"/>
                  <a:gd name="T43" fmla="*/ 2147483647 h 28"/>
                  <a:gd name="T44" fmla="*/ 0 w 52"/>
                  <a:gd name="T45" fmla="*/ 2147483647 h 28"/>
                  <a:gd name="T46" fmla="*/ 2147483647 w 52"/>
                  <a:gd name="T47" fmla="*/ 2147483647 h 28"/>
                  <a:gd name="T48" fmla="*/ 2147483647 w 52"/>
                  <a:gd name="T49" fmla="*/ 2147483647 h 28"/>
                  <a:gd name="T50" fmla="*/ 2147483647 w 52"/>
                  <a:gd name="T51" fmla="*/ 2147483647 h 28"/>
                  <a:gd name="T52" fmla="*/ 2147483647 w 52"/>
                  <a:gd name="T53" fmla="*/ 2147483647 h 28"/>
                  <a:gd name="T54" fmla="*/ 2147483647 w 52"/>
                  <a:gd name="T55" fmla="*/ 2147483647 h 28"/>
                  <a:gd name="T56" fmla="*/ 2147483647 w 52"/>
                  <a:gd name="T57" fmla="*/ 2147483647 h 28"/>
                  <a:gd name="T58" fmla="*/ 2147483647 w 52"/>
                  <a:gd name="T59" fmla="*/ 2147483647 h 28"/>
                  <a:gd name="T60" fmla="*/ 2147483647 w 52"/>
                  <a:gd name="T61" fmla="*/ 2147483647 h 28"/>
                  <a:gd name="T62" fmla="*/ 2147483647 w 52"/>
                  <a:gd name="T63" fmla="*/ 2147483647 h 28"/>
                  <a:gd name="T64" fmla="*/ 2147483647 w 52"/>
                  <a:gd name="T65" fmla="*/ 2147483647 h 28"/>
                  <a:gd name="T66" fmla="*/ 2147483647 w 52"/>
                  <a:gd name="T67" fmla="*/ 2147483647 h 28"/>
                  <a:gd name="T68" fmla="*/ 2147483647 w 52"/>
                  <a:gd name="T69" fmla="*/ 2147483647 h 28"/>
                  <a:gd name="T70" fmla="*/ 2147483647 w 52"/>
                  <a:gd name="T71" fmla="*/ 2147483647 h 28"/>
                  <a:gd name="T72" fmla="*/ 2147483647 w 52"/>
                  <a:gd name="T73" fmla="*/ 2147483647 h 28"/>
                  <a:gd name="T74" fmla="*/ 2147483647 w 52"/>
                  <a:gd name="T75" fmla="*/ 2147483647 h 28"/>
                  <a:gd name="T76" fmla="*/ 2147483647 w 52"/>
                  <a:gd name="T77" fmla="*/ 2147483647 h 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2"/>
                  <a:gd name="T118" fmla="*/ 0 h 28"/>
                  <a:gd name="T119" fmla="*/ 52 w 52"/>
                  <a:gd name="T120" fmla="*/ 28 h 28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2" h="28">
                    <a:moveTo>
                      <a:pt x="44" y="8"/>
                    </a:moveTo>
                    <a:lnTo>
                      <a:pt x="44" y="8"/>
                    </a:lnTo>
                    <a:lnTo>
                      <a:pt x="41" y="5"/>
                    </a:lnTo>
                    <a:lnTo>
                      <a:pt x="38" y="3"/>
                    </a:lnTo>
                    <a:lnTo>
                      <a:pt x="36" y="5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3"/>
                    </a:lnTo>
                    <a:lnTo>
                      <a:pt x="8" y="8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16" y="28"/>
                    </a:lnTo>
                    <a:lnTo>
                      <a:pt x="25" y="25"/>
                    </a:lnTo>
                    <a:lnTo>
                      <a:pt x="30" y="25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0" y="19"/>
                    </a:lnTo>
                    <a:lnTo>
                      <a:pt x="52" y="17"/>
                    </a:lnTo>
                    <a:lnTo>
                      <a:pt x="50" y="14"/>
                    </a:lnTo>
                    <a:lnTo>
                      <a:pt x="44" y="11"/>
                    </a:lnTo>
                    <a:lnTo>
                      <a:pt x="44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6" name="Freeform 607"/>
              <p:cNvSpPr>
                <a:spLocks noChangeAspect="1"/>
              </p:cNvSpPr>
              <p:nvPr>
                <p:custDataLst>
                  <p:tags r:id="rId1066"/>
                </p:custDataLst>
              </p:nvPr>
            </p:nvSpPr>
            <p:spPr bwMode="gray">
              <a:xfrm>
                <a:off x="7023009" y="3562959"/>
                <a:ext cx="68330" cy="34688"/>
              </a:xfrm>
              <a:custGeom>
                <a:avLst/>
                <a:gdLst>
                  <a:gd name="T0" fmla="*/ 2147483647 w 52"/>
                  <a:gd name="T1" fmla="*/ 2147483647 h 28"/>
                  <a:gd name="T2" fmla="*/ 2147483647 w 52"/>
                  <a:gd name="T3" fmla="*/ 2147483647 h 28"/>
                  <a:gd name="T4" fmla="*/ 2147483647 w 52"/>
                  <a:gd name="T5" fmla="*/ 2147483647 h 28"/>
                  <a:gd name="T6" fmla="*/ 2147483647 w 52"/>
                  <a:gd name="T7" fmla="*/ 2147483647 h 28"/>
                  <a:gd name="T8" fmla="*/ 2147483647 w 52"/>
                  <a:gd name="T9" fmla="*/ 2147483647 h 28"/>
                  <a:gd name="T10" fmla="*/ 2147483647 w 52"/>
                  <a:gd name="T11" fmla="*/ 2147483647 h 28"/>
                  <a:gd name="T12" fmla="*/ 2147483647 w 52"/>
                  <a:gd name="T13" fmla="*/ 2147483647 h 28"/>
                  <a:gd name="T14" fmla="*/ 2147483647 w 52"/>
                  <a:gd name="T15" fmla="*/ 2147483647 h 28"/>
                  <a:gd name="T16" fmla="*/ 2147483647 w 52"/>
                  <a:gd name="T17" fmla="*/ 0 h 28"/>
                  <a:gd name="T18" fmla="*/ 2147483647 w 52"/>
                  <a:gd name="T19" fmla="*/ 0 h 28"/>
                  <a:gd name="T20" fmla="*/ 2147483647 w 52"/>
                  <a:gd name="T21" fmla="*/ 0 h 28"/>
                  <a:gd name="T22" fmla="*/ 2147483647 w 52"/>
                  <a:gd name="T23" fmla="*/ 0 h 28"/>
                  <a:gd name="T24" fmla="*/ 2147483647 w 52"/>
                  <a:gd name="T25" fmla="*/ 0 h 28"/>
                  <a:gd name="T26" fmla="*/ 2147483647 w 52"/>
                  <a:gd name="T27" fmla="*/ 2147483647 h 28"/>
                  <a:gd name="T28" fmla="*/ 2147483647 w 52"/>
                  <a:gd name="T29" fmla="*/ 2147483647 h 28"/>
                  <a:gd name="T30" fmla="*/ 2147483647 w 52"/>
                  <a:gd name="T31" fmla="*/ 2147483647 h 28"/>
                  <a:gd name="T32" fmla="*/ 0 w 52"/>
                  <a:gd name="T33" fmla="*/ 2147483647 h 28"/>
                  <a:gd name="T34" fmla="*/ 0 w 52"/>
                  <a:gd name="T35" fmla="*/ 2147483647 h 28"/>
                  <a:gd name="T36" fmla="*/ 0 w 52"/>
                  <a:gd name="T37" fmla="*/ 2147483647 h 28"/>
                  <a:gd name="T38" fmla="*/ 0 w 52"/>
                  <a:gd name="T39" fmla="*/ 2147483647 h 28"/>
                  <a:gd name="T40" fmla="*/ 0 w 52"/>
                  <a:gd name="T41" fmla="*/ 2147483647 h 28"/>
                  <a:gd name="T42" fmla="*/ 0 w 52"/>
                  <a:gd name="T43" fmla="*/ 2147483647 h 28"/>
                  <a:gd name="T44" fmla="*/ 0 w 52"/>
                  <a:gd name="T45" fmla="*/ 2147483647 h 28"/>
                  <a:gd name="T46" fmla="*/ 2147483647 w 52"/>
                  <a:gd name="T47" fmla="*/ 2147483647 h 28"/>
                  <a:gd name="T48" fmla="*/ 2147483647 w 52"/>
                  <a:gd name="T49" fmla="*/ 2147483647 h 28"/>
                  <a:gd name="T50" fmla="*/ 2147483647 w 52"/>
                  <a:gd name="T51" fmla="*/ 2147483647 h 28"/>
                  <a:gd name="T52" fmla="*/ 2147483647 w 52"/>
                  <a:gd name="T53" fmla="*/ 2147483647 h 28"/>
                  <a:gd name="T54" fmla="*/ 2147483647 w 52"/>
                  <a:gd name="T55" fmla="*/ 2147483647 h 28"/>
                  <a:gd name="T56" fmla="*/ 2147483647 w 52"/>
                  <a:gd name="T57" fmla="*/ 2147483647 h 28"/>
                  <a:gd name="T58" fmla="*/ 2147483647 w 52"/>
                  <a:gd name="T59" fmla="*/ 2147483647 h 28"/>
                  <a:gd name="T60" fmla="*/ 2147483647 w 52"/>
                  <a:gd name="T61" fmla="*/ 2147483647 h 28"/>
                  <a:gd name="T62" fmla="*/ 2147483647 w 52"/>
                  <a:gd name="T63" fmla="*/ 2147483647 h 28"/>
                  <a:gd name="T64" fmla="*/ 2147483647 w 52"/>
                  <a:gd name="T65" fmla="*/ 2147483647 h 28"/>
                  <a:gd name="T66" fmla="*/ 2147483647 w 52"/>
                  <a:gd name="T67" fmla="*/ 2147483647 h 28"/>
                  <a:gd name="T68" fmla="*/ 2147483647 w 52"/>
                  <a:gd name="T69" fmla="*/ 2147483647 h 28"/>
                  <a:gd name="T70" fmla="*/ 2147483647 w 52"/>
                  <a:gd name="T71" fmla="*/ 2147483647 h 28"/>
                  <a:gd name="T72" fmla="*/ 2147483647 w 52"/>
                  <a:gd name="T73" fmla="*/ 2147483647 h 28"/>
                  <a:gd name="T74" fmla="*/ 2147483647 w 52"/>
                  <a:gd name="T75" fmla="*/ 2147483647 h 28"/>
                  <a:gd name="T76" fmla="*/ 2147483647 w 52"/>
                  <a:gd name="T77" fmla="*/ 2147483647 h 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2"/>
                  <a:gd name="T118" fmla="*/ 0 h 28"/>
                  <a:gd name="T119" fmla="*/ 52 w 52"/>
                  <a:gd name="T120" fmla="*/ 28 h 28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2" h="28">
                    <a:moveTo>
                      <a:pt x="44" y="8"/>
                    </a:moveTo>
                    <a:lnTo>
                      <a:pt x="44" y="8"/>
                    </a:lnTo>
                    <a:lnTo>
                      <a:pt x="41" y="5"/>
                    </a:lnTo>
                    <a:lnTo>
                      <a:pt x="38" y="3"/>
                    </a:lnTo>
                    <a:lnTo>
                      <a:pt x="36" y="5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1" y="3"/>
                    </a:lnTo>
                    <a:lnTo>
                      <a:pt x="8" y="8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16" y="28"/>
                    </a:lnTo>
                    <a:lnTo>
                      <a:pt x="25" y="25"/>
                    </a:lnTo>
                    <a:lnTo>
                      <a:pt x="30" y="25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0" y="19"/>
                    </a:lnTo>
                    <a:lnTo>
                      <a:pt x="52" y="17"/>
                    </a:lnTo>
                    <a:lnTo>
                      <a:pt x="50" y="14"/>
                    </a:lnTo>
                    <a:lnTo>
                      <a:pt x="44" y="11"/>
                    </a:lnTo>
                    <a:lnTo>
                      <a:pt x="44" y="8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7" name="Freeform 717"/>
              <p:cNvSpPr>
                <a:spLocks noChangeAspect="1"/>
              </p:cNvSpPr>
              <p:nvPr>
                <p:custDataLst>
                  <p:tags r:id="rId1067"/>
                </p:custDataLst>
              </p:nvPr>
            </p:nvSpPr>
            <p:spPr bwMode="gray">
              <a:xfrm>
                <a:off x="7323662" y="4116394"/>
                <a:ext cx="6074" cy="9460"/>
              </a:xfrm>
              <a:custGeom>
                <a:avLst/>
                <a:gdLst>
                  <a:gd name="T0" fmla="*/ 2147483647 w 5"/>
                  <a:gd name="T1" fmla="*/ 2147483647 h 6"/>
                  <a:gd name="T2" fmla="*/ 2147483647 w 5"/>
                  <a:gd name="T3" fmla="*/ 0 h 6"/>
                  <a:gd name="T4" fmla="*/ 2147483647 w 5"/>
                  <a:gd name="T5" fmla="*/ 0 h 6"/>
                  <a:gd name="T6" fmla="*/ 2147483647 w 5"/>
                  <a:gd name="T7" fmla="*/ 2147483647 h 6"/>
                  <a:gd name="T8" fmla="*/ 0 w 5"/>
                  <a:gd name="T9" fmla="*/ 2147483647 h 6"/>
                  <a:gd name="T10" fmla="*/ 0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2147483647 w 5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6"/>
                  <a:gd name="T29" fmla="*/ 5 w 5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6">
                    <a:moveTo>
                      <a:pt x="5" y="3"/>
                    </a:moveTo>
                    <a:lnTo>
                      <a:pt x="5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8" name="Freeform 718"/>
              <p:cNvSpPr>
                <a:spLocks noChangeAspect="1"/>
              </p:cNvSpPr>
              <p:nvPr>
                <p:custDataLst>
                  <p:tags r:id="rId1068"/>
                </p:custDataLst>
              </p:nvPr>
            </p:nvSpPr>
            <p:spPr bwMode="gray">
              <a:xfrm>
                <a:off x="7323662" y="4116394"/>
                <a:ext cx="6074" cy="9460"/>
              </a:xfrm>
              <a:custGeom>
                <a:avLst/>
                <a:gdLst>
                  <a:gd name="T0" fmla="*/ 2147483647 w 5"/>
                  <a:gd name="T1" fmla="*/ 2147483647 h 6"/>
                  <a:gd name="T2" fmla="*/ 2147483647 w 5"/>
                  <a:gd name="T3" fmla="*/ 0 h 6"/>
                  <a:gd name="T4" fmla="*/ 2147483647 w 5"/>
                  <a:gd name="T5" fmla="*/ 0 h 6"/>
                  <a:gd name="T6" fmla="*/ 2147483647 w 5"/>
                  <a:gd name="T7" fmla="*/ 2147483647 h 6"/>
                  <a:gd name="T8" fmla="*/ 0 w 5"/>
                  <a:gd name="T9" fmla="*/ 2147483647 h 6"/>
                  <a:gd name="T10" fmla="*/ 0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2147483647 w 5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6"/>
                  <a:gd name="T29" fmla="*/ 5 w 5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6">
                    <a:moveTo>
                      <a:pt x="5" y="3"/>
                    </a:moveTo>
                    <a:lnTo>
                      <a:pt x="5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9" name="Freeform 719"/>
              <p:cNvSpPr>
                <a:spLocks noChangeAspect="1"/>
              </p:cNvSpPr>
              <p:nvPr>
                <p:custDataLst>
                  <p:tags r:id="rId1069"/>
                </p:custDataLst>
              </p:nvPr>
            </p:nvSpPr>
            <p:spPr bwMode="gray">
              <a:xfrm>
                <a:off x="8198293" y="4190501"/>
                <a:ext cx="9110" cy="6307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0 w 8"/>
                  <a:gd name="T5" fmla="*/ 0 h 6"/>
                  <a:gd name="T6" fmla="*/ 2147483647 w 8"/>
                  <a:gd name="T7" fmla="*/ 0 h 6"/>
                  <a:gd name="T8" fmla="*/ 2147483647 w 8"/>
                  <a:gd name="T9" fmla="*/ 0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2147483647 w 8"/>
                  <a:gd name="T15" fmla="*/ 2147483647 h 6"/>
                  <a:gd name="T16" fmla="*/ 2147483647 w 8"/>
                  <a:gd name="T17" fmla="*/ 2147483647 h 6"/>
                  <a:gd name="T18" fmla="*/ 0 w 8"/>
                  <a:gd name="T19" fmla="*/ 2147483647 h 6"/>
                  <a:gd name="T20" fmla="*/ 0 w 8"/>
                  <a:gd name="T21" fmla="*/ 2147483647 h 6"/>
                  <a:gd name="T22" fmla="*/ 0 w 8"/>
                  <a:gd name="T23" fmla="*/ 0 h 6"/>
                  <a:gd name="T24" fmla="*/ 0 w 8"/>
                  <a:gd name="T25" fmla="*/ 0 h 6"/>
                  <a:gd name="T26" fmla="*/ 0 w 8"/>
                  <a:gd name="T27" fmla="*/ 0 h 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6"/>
                  <a:gd name="T44" fmla="*/ 8 w 8"/>
                  <a:gd name="T45" fmla="*/ 6 h 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0" name="Freeform 720"/>
              <p:cNvSpPr>
                <a:spLocks noChangeAspect="1"/>
              </p:cNvSpPr>
              <p:nvPr>
                <p:custDataLst>
                  <p:tags r:id="rId1070"/>
                </p:custDataLst>
              </p:nvPr>
            </p:nvSpPr>
            <p:spPr bwMode="gray">
              <a:xfrm>
                <a:off x="8198293" y="4190501"/>
                <a:ext cx="9110" cy="6307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0 w 8"/>
                  <a:gd name="T5" fmla="*/ 0 h 6"/>
                  <a:gd name="T6" fmla="*/ 2147483647 w 8"/>
                  <a:gd name="T7" fmla="*/ 0 h 6"/>
                  <a:gd name="T8" fmla="*/ 2147483647 w 8"/>
                  <a:gd name="T9" fmla="*/ 0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2147483647 w 8"/>
                  <a:gd name="T15" fmla="*/ 2147483647 h 6"/>
                  <a:gd name="T16" fmla="*/ 2147483647 w 8"/>
                  <a:gd name="T17" fmla="*/ 2147483647 h 6"/>
                  <a:gd name="T18" fmla="*/ 0 w 8"/>
                  <a:gd name="T19" fmla="*/ 2147483647 h 6"/>
                  <a:gd name="T20" fmla="*/ 0 w 8"/>
                  <a:gd name="T21" fmla="*/ 2147483647 h 6"/>
                  <a:gd name="T22" fmla="*/ 0 w 8"/>
                  <a:gd name="T23" fmla="*/ 0 h 6"/>
                  <a:gd name="T24" fmla="*/ 0 w 8"/>
                  <a:gd name="T25" fmla="*/ 0 h 6"/>
                  <a:gd name="T26" fmla="*/ 0 w 8"/>
                  <a:gd name="T27" fmla="*/ 0 h 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"/>
                  <a:gd name="T43" fmla="*/ 0 h 6"/>
                  <a:gd name="T44" fmla="*/ 8 w 8"/>
                  <a:gd name="T45" fmla="*/ 6 h 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1" name="Freeform 721"/>
              <p:cNvSpPr>
                <a:spLocks noChangeAspect="1"/>
              </p:cNvSpPr>
              <p:nvPr>
                <p:custDataLst>
                  <p:tags r:id="rId1071"/>
                </p:custDataLst>
              </p:nvPr>
            </p:nvSpPr>
            <p:spPr bwMode="gray">
              <a:xfrm>
                <a:off x="8255995" y="4176312"/>
                <a:ext cx="6074" cy="6307"/>
              </a:xfrm>
              <a:custGeom>
                <a:avLst/>
                <a:gdLst>
                  <a:gd name="T0" fmla="*/ 2147483647 w 6"/>
                  <a:gd name="T1" fmla="*/ 0 h 6"/>
                  <a:gd name="T2" fmla="*/ 2147483647 w 6"/>
                  <a:gd name="T3" fmla="*/ 0 h 6"/>
                  <a:gd name="T4" fmla="*/ 2147483647 w 6"/>
                  <a:gd name="T5" fmla="*/ 2147483647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0 w 6"/>
                  <a:gd name="T11" fmla="*/ 2147483647 h 6"/>
                  <a:gd name="T12" fmla="*/ 2147483647 w 6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6"/>
                  <a:gd name="T23" fmla="*/ 6 w 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6">
                    <a:moveTo>
                      <a:pt x="3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2" name="Freeform 722"/>
              <p:cNvSpPr>
                <a:spLocks noChangeAspect="1"/>
              </p:cNvSpPr>
              <p:nvPr>
                <p:custDataLst>
                  <p:tags r:id="rId1072"/>
                </p:custDataLst>
              </p:nvPr>
            </p:nvSpPr>
            <p:spPr bwMode="gray">
              <a:xfrm>
                <a:off x="8255995" y="4176312"/>
                <a:ext cx="6074" cy="6307"/>
              </a:xfrm>
              <a:custGeom>
                <a:avLst/>
                <a:gdLst>
                  <a:gd name="T0" fmla="*/ 2147483647 w 6"/>
                  <a:gd name="T1" fmla="*/ 0 h 6"/>
                  <a:gd name="T2" fmla="*/ 2147483647 w 6"/>
                  <a:gd name="T3" fmla="*/ 0 h 6"/>
                  <a:gd name="T4" fmla="*/ 2147483647 w 6"/>
                  <a:gd name="T5" fmla="*/ 2147483647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0 w 6"/>
                  <a:gd name="T11" fmla="*/ 2147483647 h 6"/>
                  <a:gd name="T12" fmla="*/ 2147483647 w 6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6"/>
                  <a:gd name="T23" fmla="*/ 6 w 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6">
                    <a:moveTo>
                      <a:pt x="3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3" name="Freeform 723"/>
              <p:cNvSpPr>
                <a:spLocks noChangeAspect="1"/>
              </p:cNvSpPr>
              <p:nvPr>
                <p:custDataLst>
                  <p:tags r:id="rId1073"/>
                </p:custDataLst>
              </p:nvPr>
            </p:nvSpPr>
            <p:spPr bwMode="gray">
              <a:xfrm>
                <a:off x="8265105" y="4196808"/>
                <a:ext cx="7593" cy="7884"/>
              </a:xfrm>
              <a:custGeom>
                <a:avLst/>
                <a:gdLst>
                  <a:gd name="T0" fmla="*/ 0 w 6"/>
                  <a:gd name="T1" fmla="*/ 2147483647 h 5"/>
                  <a:gd name="T2" fmla="*/ 0 w 6"/>
                  <a:gd name="T3" fmla="*/ 0 h 5"/>
                  <a:gd name="T4" fmla="*/ 2147483647 w 6"/>
                  <a:gd name="T5" fmla="*/ 0 h 5"/>
                  <a:gd name="T6" fmla="*/ 2147483647 w 6"/>
                  <a:gd name="T7" fmla="*/ 2147483647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0 w 6"/>
                  <a:gd name="T13" fmla="*/ 2147483647 h 5"/>
                  <a:gd name="T14" fmla="*/ 0 w 6"/>
                  <a:gd name="T15" fmla="*/ 2147483647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5"/>
                  <a:gd name="T26" fmla="*/ 6 w 6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5">
                    <a:moveTo>
                      <a:pt x="0" y="2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4" name="Freeform 724"/>
              <p:cNvSpPr>
                <a:spLocks noChangeAspect="1"/>
              </p:cNvSpPr>
              <p:nvPr>
                <p:custDataLst>
                  <p:tags r:id="rId1074"/>
                </p:custDataLst>
              </p:nvPr>
            </p:nvSpPr>
            <p:spPr bwMode="gray">
              <a:xfrm>
                <a:off x="8265105" y="4196808"/>
                <a:ext cx="7593" cy="7884"/>
              </a:xfrm>
              <a:custGeom>
                <a:avLst/>
                <a:gdLst>
                  <a:gd name="T0" fmla="*/ 0 w 6"/>
                  <a:gd name="T1" fmla="*/ 2147483647 h 5"/>
                  <a:gd name="T2" fmla="*/ 0 w 6"/>
                  <a:gd name="T3" fmla="*/ 0 h 5"/>
                  <a:gd name="T4" fmla="*/ 2147483647 w 6"/>
                  <a:gd name="T5" fmla="*/ 0 h 5"/>
                  <a:gd name="T6" fmla="*/ 2147483647 w 6"/>
                  <a:gd name="T7" fmla="*/ 2147483647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0 w 6"/>
                  <a:gd name="T13" fmla="*/ 2147483647 h 5"/>
                  <a:gd name="T14" fmla="*/ 0 w 6"/>
                  <a:gd name="T15" fmla="*/ 2147483647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5"/>
                  <a:gd name="T26" fmla="*/ 6 w 6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5">
                    <a:moveTo>
                      <a:pt x="0" y="2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5" name="Freeform 725"/>
              <p:cNvSpPr>
                <a:spLocks noChangeAspect="1"/>
              </p:cNvSpPr>
              <p:nvPr>
                <p:custDataLst>
                  <p:tags r:id="rId1075"/>
                </p:custDataLst>
              </p:nvPr>
            </p:nvSpPr>
            <p:spPr bwMode="gray">
              <a:xfrm>
                <a:off x="8283328" y="4199962"/>
                <a:ext cx="48591" cy="47302"/>
              </a:xfrm>
              <a:custGeom>
                <a:avLst/>
                <a:gdLst>
                  <a:gd name="T0" fmla="*/ 0 w 37"/>
                  <a:gd name="T1" fmla="*/ 2147483647 h 37"/>
                  <a:gd name="T2" fmla="*/ 0 w 37"/>
                  <a:gd name="T3" fmla="*/ 0 h 37"/>
                  <a:gd name="T4" fmla="*/ 2147483647 w 37"/>
                  <a:gd name="T5" fmla="*/ 2147483647 h 37"/>
                  <a:gd name="T6" fmla="*/ 2147483647 w 37"/>
                  <a:gd name="T7" fmla="*/ 2147483647 h 37"/>
                  <a:gd name="T8" fmla="*/ 2147483647 w 37"/>
                  <a:gd name="T9" fmla="*/ 2147483647 h 37"/>
                  <a:gd name="T10" fmla="*/ 2147483647 w 37"/>
                  <a:gd name="T11" fmla="*/ 2147483647 h 37"/>
                  <a:gd name="T12" fmla="*/ 2147483647 w 37"/>
                  <a:gd name="T13" fmla="*/ 2147483647 h 37"/>
                  <a:gd name="T14" fmla="*/ 2147483647 w 37"/>
                  <a:gd name="T15" fmla="*/ 2147483647 h 37"/>
                  <a:gd name="T16" fmla="*/ 2147483647 w 37"/>
                  <a:gd name="T17" fmla="*/ 2147483647 h 37"/>
                  <a:gd name="T18" fmla="*/ 2147483647 w 37"/>
                  <a:gd name="T19" fmla="*/ 2147483647 h 37"/>
                  <a:gd name="T20" fmla="*/ 2147483647 w 37"/>
                  <a:gd name="T21" fmla="*/ 2147483647 h 37"/>
                  <a:gd name="T22" fmla="*/ 2147483647 w 37"/>
                  <a:gd name="T23" fmla="*/ 2147483647 h 37"/>
                  <a:gd name="T24" fmla="*/ 2147483647 w 37"/>
                  <a:gd name="T25" fmla="*/ 2147483647 h 37"/>
                  <a:gd name="T26" fmla="*/ 2147483647 w 37"/>
                  <a:gd name="T27" fmla="*/ 2147483647 h 37"/>
                  <a:gd name="T28" fmla="*/ 2147483647 w 37"/>
                  <a:gd name="T29" fmla="*/ 2147483647 h 37"/>
                  <a:gd name="T30" fmla="*/ 2147483647 w 37"/>
                  <a:gd name="T31" fmla="*/ 2147483647 h 37"/>
                  <a:gd name="T32" fmla="*/ 2147483647 w 37"/>
                  <a:gd name="T33" fmla="*/ 2147483647 h 37"/>
                  <a:gd name="T34" fmla="*/ 2147483647 w 37"/>
                  <a:gd name="T35" fmla="*/ 2147483647 h 37"/>
                  <a:gd name="T36" fmla="*/ 2147483647 w 37"/>
                  <a:gd name="T37" fmla="*/ 2147483647 h 37"/>
                  <a:gd name="T38" fmla="*/ 0 w 37"/>
                  <a:gd name="T39" fmla="*/ 2147483647 h 37"/>
                  <a:gd name="T40" fmla="*/ 0 w 37"/>
                  <a:gd name="T41" fmla="*/ 2147483647 h 3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7"/>
                  <a:gd name="T64" fmla="*/ 0 h 37"/>
                  <a:gd name="T65" fmla="*/ 37 w 37"/>
                  <a:gd name="T66" fmla="*/ 37 h 3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7" h="37">
                    <a:moveTo>
                      <a:pt x="0" y="3"/>
                    </a:moveTo>
                    <a:lnTo>
                      <a:pt x="0" y="0"/>
                    </a:lnTo>
                    <a:lnTo>
                      <a:pt x="14" y="12"/>
                    </a:lnTo>
                    <a:lnTo>
                      <a:pt x="17" y="12"/>
                    </a:lnTo>
                    <a:lnTo>
                      <a:pt x="25" y="17"/>
                    </a:lnTo>
                    <a:lnTo>
                      <a:pt x="28" y="20"/>
                    </a:lnTo>
                    <a:lnTo>
                      <a:pt x="31" y="23"/>
                    </a:lnTo>
                    <a:lnTo>
                      <a:pt x="34" y="23"/>
                    </a:lnTo>
                    <a:lnTo>
                      <a:pt x="37" y="28"/>
                    </a:lnTo>
                    <a:lnTo>
                      <a:pt x="37" y="31"/>
                    </a:lnTo>
                    <a:lnTo>
                      <a:pt x="34" y="34"/>
                    </a:lnTo>
                    <a:lnTo>
                      <a:pt x="31" y="37"/>
                    </a:lnTo>
                    <a:lnTo>
                      <a:pt x="25" y="17"/>
                    </a:lnTo>
                    <a:lnTo>
                      <a:pt x="23" y="14"/>
                    </a:lnTo>
                    <a:lnTo>
                      <a:pt x="17" y="14"/>
                    </a:lnTo>
                    <a:lnTo>
                      <a:pt x="12" y="9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6" name="Freeform 726"/>
              <p:cNvSpPr>
                <a:spLocks noChangeAspect="1"/>
              </p:cNvSpPr>
              <p:nvPr>
                <p:custDataLst>
                  <p:tags r:id="rId1076"/>
                </p:custDataLst>
              </p:nvPr>
            </p:nvSpPr>
            <p:spPr bwMode="gray">
              <a:xfrm>
                <a:off x="8207404" y="4255149"/>
                <a:ext cx="4557" cy="1577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2147483647 w 3"/>
                  <a:gd name="T7" fmla="*/ 793788808 h 3"/>
                  <a:gd name="T8" fmla="*/ 0 w 3"/>
                  <a:gd name="T9" fmla="*/ 793788808 h 3"/>
                  <a:gd name="T10" fmla="*/ 0 w 3"/>
                  <a:gd name="T11" fmla="*/ 793788808 h 3"/>
                  <a:gd name="T12" fmla="*/ 0 w 3"/>
                  <a:gd name="T13" fmla="*/ 793788808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7" name="Freeform 727"/>
              <p:cNvSpPr>
                <a:spLocks noChangeAspect="1"/>
              </p:cNvSpPr>
              <p:nvPr>
                <p:custDataLst>
                  <p:tags r:id="rId1077"/>
                </p:custDataLst>
              </p:nvPr>
            </p:nvSpPr>
            <p:spPr bwMode="gray">
              <a:xfrm>
                <a:off x="8207404" y="4255149"/>
                <a:ext cx="4557" cy="1577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2147483647 w 3"/>
                  <a:gd name="T7" fmla="*/ 793788808 h 3"/>
                  <a:gd name="T8" fmla="*/ 0 w 3"/>
                  <a:gd name="T9" fmla="*/ 793788808 h 3"/>
                  <a:gd name="T10" fmla="*/ 0 w 3"/>
                  <a:gd name="T11" fmla="*/ 793788808 h 3"/>
                  <a:gd name="T12" fmla="*/ 0 w 3"/>
                  <a:gd name="T13" fmla="*/ 793788808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8" name="Freeform 728"/>
              <p:cNvSpPr>
                <a:spLocks noChangeAspect="1"/>
              </p:cNvSpPr>
              <p:nvPr>
                <p:custDataLst>
                  <p:tags r:id="rId1078"/>
                </p:custDataLst>
              </p:nvPr>
            </p:nvSpPr>
            <p:spPr bwMode="gray">
              <a:xfrm>
                <a:off x="8224108" y="4261456"/>
                <a:ext cx="1518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793788808 w 3"/>
                  <a:gd name="T7" fmla="*/ 0 h 3"/>
                  <a:gd name="T8" fmla="*/ 793788808 w 3"/>
                  <a:gd name="T9" fmla="*/ 2147483647 h 3"/>
                  <a:gd name="T10" fmla="*/ 793788808 w 3"/>
                  <a:gd name="T11" fmla="*/ 2147483647 h 3"/>
                  <a:gd name="T12" fmla="*/ 0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9" name="Freeform 729"/>
              <p:cNvSpPr>
                <a:spLocks noChangeAspect="1"/>
              </p:cNvSpPr>
              <p:nvPr>
                <p:custDataLst>
                  <p:tags r:id="rId1079"/>
                </p:custDataLst>
              </p:nvPr>
            </p:nvSpPr>
            <p:spPr bwMode="gray">
              <a:xfrm>
                <a:off x="8224108" y="4261456"/>
                <a:ext cx="1518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793788808 w 3"/>
                  <a:gd name="T7" fmla="*/ 0 h 3"/>
                  <a:gd name="T8" fmla="*/ 793788808 w 3"/>
                  <a:gd name="T9" fmla="*/ 2147483647 h 3"/>
                  <a:gd name="T10" fmla="*/ 793788808 w 3"/>
                  <a:gd name="T11" fmla="*/ 2147483647 h 3"/>
                  <a:gd name="T12" fmla="*/ 0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0" name="Freeform 730"/>
              <p:cNvSpPr>
                <a:spLocks noChangeAspect="1"/>
              </p:cNvSpPr>
              <p:nvPr>
                <p:custDataLst>
                  <p:tags r:id="rId1080"/>
                </p:custDataLst>
              </p:nvPr>
            </p:nvSpPr>
            <p:spPr bwMode="gray">
              <a:xfrm>
                <a:off x="8233218" y="4233073"/>
                <a:ext cx="81997" cy="42572"/>
              </a:xfrm>
              <a:custGeom>
                <a:avLst/>
                <a:gdLst>
                  <a:gd name="T0" fmla="*/ 0 w 64"/>
                  <a:gd name="T1" fmla="*/ 2147483647 h 33"/>
                  <a:gd name="T2" fmla="*/ 0 w 64"/>
                  <a:gd name="T3" fmla="*/ 2147483647 h 33"/>
                  <a:gd name="T4" fmla="*/ 2147483647 w 64"/>
                  <a:gd name="T5" fmla="*/ 2147483647 h 33"/>
                  <a:gd name="T6" fmla="*/ 2147483647 w 64"/>
                  <a:gd name="T7" fmla="*/ 2147483647 h 33"/>
                  <a:gd name="T8" fmla="*/ 2147483647 w 64"/>
                  <a:gd name="T9" fmla="*/ 2147483647 h 33"/>
                  <a:gd name="T10" fmla="*/ 2147483647 w 64"/>
                  <a:gd name="T11" fmla="*/ 2147483647 h 33"/>
                  <a:gd name="T12" fmla="*/ 2147483647 w 64"/>
                  <a:gd name="T13" fmla="*/ 2147483647 h 33"/>
                  <a:gd name="T14" fmla="*/ 2147483647 w 64"/>
                  <a:gd name="T15" fmla="*/ 2147483647 h 33"/>
                  <a:gd name="T16" fmla="*/ 2147483647 w 64"/>
                  <a:gd name="T17" fmla="*/ 2147483647 h 33"/>
                  <a:gd name="T18" fmla="*/ 2147483647 w 64"/>
                  <a:gd name="T19" fmla="*/ 2147483647 h 33"/>
                  <a:gd name="T20" fmla="*/ 2147483647 w 64"/>
                  <a:gd name="T21" fmla="*/ 2147483647 h 33"/>
                  <a:gd name="T22" fmla="*/ 2147483647 w 64"/>
                  <a:gd name="T23" fmla="*/ 2147483647 h 33"/>
                  <a:gd name="T24" fmla="*/ 2147483647 w 64"/>
                  <a:gd name="T25" fmla="*/ 2147483647 h 33"/>
                  <a:gd name="T26" fmla="*/ 2147483647 w 64"/>
                  <a:gd name="T27" fmla="*/ 2147483647 h 33"/>
                  <a:gd name="T28" fmla="*/ 2147483647 w 64"/>
                  <a:gd name="T29" fmla="*/ 2147483647 h 33"/>
                  <a:gd name="T30" fmla="*/ 2147483647 w 64"/>
                  <a:gd name="T31" fmla="*/ 2147483647 h 33"/>
                  <a:gd name="T32" fmla="*/ 2147483647 w 64"/>
                  <a:gd name="T33" fmla="*/ 2147483647 h 33"/>
                  <a:gd name="T34" fmla="*/ 2147483647 w 64"/>
                  <a:gd name="T35" fmla="*/ 2147483647 h 33"/>
                  <a:gd name="T36" fmla="*/ 2147483647 w 64"/>
                  <a:gd name="T37" fmla="*/ 2147483647 h 33"/>
                  <a:gd name="T38" fmla="*/ 2147483647 w 64"/>
                  <a:gd name="T39" fmla="*/ 2147483647 h 33"/>
                  <a:gd name="T40" fmla="*/ 2147483647 w 64"/>
                  <a:gd name="T41" fmla="*/ 2147483647 h 33"/>
                  <a:gd name="T42" fmla="*/ 2147483647 w 64"/>
                  <a:gd name="T43" fmla="*/ 2147483647 h 33"/>
                  <a:gd name="T44" fmla="*/ 2147483647 w 64"/>
                  <a:gd name="T45" fmla="*/ 2147483647 h 33"/>
                  <a:gd name="T46" fmla="*/ 2147483647 w 64"/>
                  <a:gd name="T47" fmla="*/ 0 h 33"/>
                  <a:gd name="T48" fmla="*/ 2147483647 w 64"/>
                  <a:gd name="T49" fmla="*/ 2147483647 h 33"/>
                  <a:gd name="T50" fmla="*/ 2147483647 w 64"/>
                  <a:gd name="T51" fmla="*/ 2147483647 h 33"/>
                  <a:gd name="T52" fmla="*/ 2147483647 w 64"/>
                  <a:gd name="T53" fmla="*/ 2147483647 h 33"/>
                  <a:gd name="T54" fmla="*/ 2147483647 w 64"/>
                  <a:gd name="T55" fmla="*/ 0 h 33"/>
                  <a:gd name="T56" fmla="*/ 2147483647 w 64"/>
                  <a:gd name="T57" fmla="*/ 2147483647 h 33"/>
                  <a:gd name="T58" fmla="*/ 2147483647 w 64"/>
                  <a:gd name="T59" fmla="*/ 2147483647 h 33"/>
                  <a:gd name="T60" fmla="*/ 2147483647 w 64"/>
                  <a:gd name="T61" fmla="*/ 2147483647 h 33"/>
                  <a:gd name="T62" fmla="*/ 2147483647 w 64"/>
                  <a:gd name="T63" fmla="*/ 2147483647 h 33"/>
                  <a:gd name="T64" fmla="*/ 2147483647 w 64"/>
                  <a:gd name="T65" fmla="*/ 2147483647 h 33"/>
                  <a:gd name="T66" fmla="*/ 2147483647 w 64"/>
                  <a:gd name="T67" fmla="*/ 2147483647 h 33"/>
                  <a:gd name="T68" fmla="*/ 2147483647 w 64"/>
                  <a:gd name="T69" fmla="*/ 2147483647 h 33"/>
                  <a:gd name="T70" fmla="*/ 2147483647 w 64"/>
                  <a:gd name="T71" fmla="*/ 2147483647 h 33"/>
                  <a:gd name="T72" fmla="*/ 2147483647 w 64"/>
                  <a:gd name="T73" fmla="*/ 2147483647 h 33"/>
                  <a:gd name="T74" fmla="*/ 2147483647 w 64"/>
                  <a:gd name="T75" fmla="*/ 2147483647 h 33"/>
                  <a:gd name="T76" fmla="*/ 2147483647 w 64"/>
                  <a:gd name="T77" fmla="*/ 2147483647 h 33"/>
                  <a:gd name="T78" fmla="*/ 2147483647 w 64"/>
                  <a:gd name="T79" fmla="*/ 2147483647 h 33"/>
                  <a:gd name="T80" fmla="*/ 2147483647 w 64"/>
                  <a:gd name="T81" fmla="*/ 2147483647 h 33"/>
                  <a:gd name="T82" fmla="*/ 2147483647 w 64"/>
                  <a:gd name="T83" fmla="*/ 2147483647 h 33"/>
                  <a:gd name="T84" fmla="*/ 2147483647 w 64"/>
                  <a:gd name="T85" fmla="*/ 2147483647 h 33"/>
                  <a:gd name="T86" fmla="*/ 2147483647 w 64"/>
                  <a:gd name="T87" fmla="*/ 2147483647 h 33"/>
                  <a:gd name="T88" fmla="*/ 2147483647 w 64"/>
                  <a:gd name="T89" fmla="*/ 2147483647 h 33"/>
                  <a:gd name="T90" fmla="*/ 2147483647 w 64"/>
                  <a:gd name="T91" fmla="*/ 2147483647 h 33"/>
                  <a:gd name="T92" fmla="*/ 2147483647 w 64"/>
                  <a:gd name="T93" fmla="*/ 2147483647 h 33"/>
                  <a:gd name="T94" fmla="*/ 2147483647 w 64"/>
                  <a:gd name="T95" fmla="*/ 2147483647 h 33"/>
                  <a:gd name="T96" fmla="*/ 0 w 64"/>
                  <a:gd name="T97" fmla="*/ 2147483647 h 33"/>
                  <a:gd name="T98" fmla="*/ 0 w 64"/>
                  <a:gd name="T99" fmla="*/ 2147483647 h 3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4"/>
                  <a:gd name="T151" fmla="*/ 0 h 33"/>
                  <a:gd name="T152" fmla="*/ 64 w 64"/>
                  <a:gd name="T153" fmla="*/ 33 h 3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4" h="33">
                    <a:moveTo>
                      <a:pt x="0" y="22"/>
                    </a:moveTo>
                    <a:lnTo>
                      <a:pt x="0" y="19"/>
                    </a:lnTo>
                    <a:lnTo>
                      <a:pt x="3" y="22"/>
                    </a:lnTo>
                    <a:lnTo>
                      <a:pt x="23" y="22"/>
                    </a:lnTo>
                    <a:lnTo>
                      <a:pt x="25" y="19"/>
                    </a:lnTo>
                    <a:lnTo>
                      <a:pt x="25" y="13"/>
                    </a:lnTo>
                    <a:lnTo>
                      <a:pt x="28" y="13"/>
                    </a:lnTo>
                    <a:lnTo>
                      <a:pt x="28" y="16"/>
                    </a:lnTo>
                    <a:lnTo>
                      <a:pt x="28" y="19"/>
                    </a:lnTo>
                    <a:lnTo>
                      <a:pt x="28" y="22"/>
                    </a:lnTo>
                    <a:lnTo>
                      <a:pt x="34" y="19"/>
                    </a:lnTo>
                    <a:lnTo>
                      <a:pt x="37" y="22"/>
                    </a:lnTo>
                    <a:lnTo>
                      <a:pt x="39" y="19"/>
                    </a:lnTo>
                    <a:lnTo>
                      <a:pt x="45" y="13"/>
                    </a:lnTo>
                    <a:lnTo>
                      <a:pt x="48" y="11"/>
                    </a:lnTo>
                    <a:lnTo>
                      <a:pt x="51" y="13"/>
                    </a:lnTo>
                    <a:lnTo>
                      <a:pt x="51" y="11"/>
                    </a:lnTo>
                    <a:lnTo>
                      <a:pt x="53" y="8"/>
                    </a:lnTo>
                    <a:lnTo>
                      <a:pt x="51" y="2"/>
                    </a:lnTo>
                    <a:lnTo>
                      <a:pt x="53" y="0"/>
                    </a:lnTo>
                    <a:lnTo>
                      <a:pt x="56" y="2"/>
                    </a:lnTo>
                    <a:lnTo>
                      <a:pt x="59" y="0"/>
                    </a:lnTo>
                    <a:lnTo>
                      <a:pt x="62" y="2"/>
                    </a:lnTo>
                    <a:lnTo>
                      <a:pt x="62" y="5"/>
                    </a:lnTo>
                    <a:lnTo>
                      <a:pt x="64" y="8"/>
                    </a:lnTo>
                    <a:lnTo>
                      <a:pt x="62" y="11"/>
                    </a:lnTo>
                    <a:lnTo>
                      <a:pt x="62" y="13"/>
                    </a:lnTo>
                    <a:lnTo>
                      <a:pt x="59" y="13"/>
                    </a:lnTo>
                    <a:lnTo>
                      <a:pt x="59" y="16"/>
                    </a:lnTo>
                    <a:lnTo>
                      <a:pt x="59" y="19"/>
                    </a:lnTo>
                    <a:lnTo>
                      <a:pt x="56" y="22"/>
                    </a:lnTo>
                    <a:lnTo>
                      <a:pt x="51" y="22"/>
                    </a:lnTo>
                    <a:lnTo>
                      <a:pt x="51" y="25"/>
                    </a:lnTo>
                    <a:lnTo>
                      <a:pt x="48" y="27"/>
                    </a:lnTo>
                    <a:lnTo>
                      <a:pt x="37" y="33"/>
                    </a:lnTo>
                    <a:lnTo>
                      <a:pt x="23" y="33"/>
                    </a:lnTo>
                    <a:lnTo>
                      <a:pt x="17" y="30"/>
                    </a:lnTo>
                    <a:lnTo>
                      <a:pt x="14" y="30"/>
                    </a:lnTo>
                    <a:lnTo>
                      <a:pt x="6" y="27"/>
                    </a:lnTo>
                    <a:lnTo>
                      <a:pt x="3" y="27"/>
                    </a:lnTo>
                    <a:lnTo>
                      <a:pt x="0" y="25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1" name="Freeform 731"/>
              <p:cNvSpPr>
                <a:spLocks noChangeAspect="1"/>
              </p:cNvSpPr>
              <p:nvPr>
                <p:custDataLst>
                  <p:tags r:id="rId1081"/>
                </p:custDataLst>
              </p:nvPr>
            </p:nvSpPr>
            <p:spPr bwMode="gray">
              <a:xfrm>
                <a:off x="8321289" y="4329255"/>
                <a:ext cx="6074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0 w 6"/>
                  <a:gd name="T9" fmla="*/ 2147483647 h 5"/>
                  <a:gd name="T10" fmla="*/ 0 w 6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0" y="0"/>
                    </a:moveTo>
                    <a:lnTo>
                      <a:pt x="6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2" name="Freeform 732"/>
              <p:cNvSpPr>
                <a:spLocks noChangeAspect="1"/>
              </p:cNvSpPr>
              <p:nvPr>
                <p:custDataLst>
                  <p:tags r:id="rId1082"/>
                </p:custDataLst>
              </p:nvPr>
            </p:nvSpPr>
            <p:spPr bwMode="gray">
              <a:xfrm>
                <a:off x="8321289" y="4329255"/>
                <a:ext cx="6074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0 w 6"/>
                  <a:gd name="T9" fmla="*/ 2147483647 h 5"/>
                  <a:gd name="T10" fmla="*/ 0 w 6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5"/>
                  <a:gd name="T20" fmla="*/ 6 w 6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5">
                    <a:moveTo>
                      <a:pt x="0" y="0"/>
                    </a:moveTo>
                    <a:lnTo>
                      <a:pt x="6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3" name="Freeform 733"/>
              <p:cNvSpPr>
                <a:spLocks noChangeAspect="1"/>
              </p:cNvSpPr>
              <p:nvPr>
                <p:custDataLst>
                  <p:tags r:id="rId1083"/>
                </p:custDataLst>
              </p:nvPr>
            </p:nvSpPr>
            <p:spPr bwMode="gray">
              <a:xfrm>
                <a:off x="8277254" y="4335561"/>
                <a:ext cx="6074" cy="9460"/>
              </a:xfrm>
              <a:custGeom>
                <a:avLst/>
                <a:gdLst>
                  <a:gd name="T0" fmla="*/ 0 w 5"/>
                  <a:gd name="T1" fmla="*/ 0 h 6"/>
                  <a:gd name="T2" fmla="*/ 2147483647 w 5"/>
                  <a:gd name="T3" fmla="*/ 0 h 6"/>
                  <a:gd name="T4" fmla="*/ 2147483647 w 5"/>
                  <a:gd name="T5" fmla="*/ 2147483647 h 6"/>
                  <a:gd name="T6" fmla="*/ 2147483647 w 5"/>
                  <a:gd name="T7" fmla="*/ 2147483647 h 6"/>
                  <a:gd name="T8" fmla="*/ 0 w 5"/>
                  <a:gd name="T9" fmla="*/ 2147483647 h 6"/>
                  <a:gd name="T10" fmla="*/ 0 w 5"/>
                  <a:gd name="T11" fmla="*/ 2147483647 h 6"/>
                  <a:gd name="T12" fmla="*/ 0 w 5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6"/>
                  <a:gd name="T23" fmla="*/ 5 w 5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6">
                    <a:moveTo>
                      <a:pt x="0" y="0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Freeform 734"/>
              <p:cNvSpPr>
                <a:spLocks noChangeAspect="1"/>
              </p:cNvSpPr>
              <p:nvPr>
                <p:custDataLst>
                  <p:tags r:id="rId1084"/>
                </p:custDataLst>
              </p:nvPr>
            </p:nvSpPr>
            <p:spPr bwMode="gray">
              <a:xfrm>
                <a:off x="8277254" y="4335561"/>
                <a:ext cx="6074" cy="9460"/>
              </a:xfrm>
              <a:custGeom>
                <a:avLst/>
                <a:gdLst>
                  <a:gd name="T0" fmla="*/ 0 w 5"/>
                  <a:gd name="T1" fmla="*/ 0 h 6"/>
                  <a:gd name="T2" fmla="*/ 2147483647 w 5"/>
                  <a:gd name="T3" fmla="*/ 0 h 6"/>
                  <a:gd name="T4" fmla="*/ 2147483647 w 5"/>
                  <a:gd name="T5" fmla="*/ 2147483647 h 6"/>
                  <a:gd name="T6" fmla="*/ 2147483647 w 5"/>
                  <a:gd name="T7" fmla="*/ 2147483647 h 6"/>
                  <a:gd name="T8" fmla="*/ 0 w 5"/>
                  <a:gd name="T9" fmla="*/ 2147483647 h 6"/>
                  <a:gd name="T10" fmla="*/ 0 w 5"/>
                  <a:gd name="T11" fmla="*/ 2147483647 h 6"/>
                  <a:gd name="T12" fmla="*/ 0 w 5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6"/>
                  <a:gd name="T23" fmla="*/ 5 w 5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6">
                    <a:moveTo>
                      <a:pt x="0" y="0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5" name="Freeform 735"/>
              <p:cNvSpPr>
                <a:spLocks noChangeAspect="1"/>
              </p:cNvSpPr>
              <p:nvPr>
                <p:custDataLst>
                  <p:tags r:id="rId1085"/>
                </p:custDataLst>
              </p:nvPr>
            </p:nvSpPr>
            <p:spPr bwMode="gray">
              <a:xfrm>
                <a:off x="8283328" y="4348176"/>
                <a:ext cx="7593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2147483647 w 6"/>
                  <a:gd name="T13" fmla="*/ 2147483647 h 5"/>
                  <a:gd name="T14" fmla="*/ 0 w 6"/>
                  <a:gd name="T15" fmla="*/ 2147483647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3" y="2"/>
                    </a:lnTo>
                    <a:lnTo>
                      <a:pt x="6" y="2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6" name="Freeform 736"/>
              <p:cNvSpPr>
                <a:spLocks noChangeAspect="1"/>
              </p:cNvSpPr>
              <p:nvPr>
                <p:custDataLst>
                  <p:tags r:id="rId1086"/>
                </p:custDataLst>
              </p:nvPr>
            </p:nvSpPr>
            <p:spPr bwMode="gray">
              <a:xfrm>
                <a:off x="8283328" y="4348176"/>
                <a:ext cx="7593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2147483647 w 6"/>
                  <a:gd name="T13" fmla="*/ 2147483647 h 5"/>
                  <a:gd name="T14" fmla="*/ 0 w 6"/>
                  <a:gd name="T15" fmla="*/ 2147483647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3" y="2"/>
                    </a:lnTo>
                    <a:lnTo>
                      <a:pt x="6" y="2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7" name="Freeform 772"/>
              <p:cNvSpPr>
                <a:spLocks noChangeAspect="1"/>
              </p:cNvSpPr>
              <p:nvPr>
                <p:custDataLst>
                  <p:tags r:id="rId1087"/>
                </p:custDataLst>
              </p:nvPr>
            </p:nvSpPr>
            <p:spPr bwMode="gray">
              <a:xfrm>
                <a:off x="8084409" y="4199962"/>
                <a:ext cx="198918" cy="165556"/>
              </a:xfrm>
              <a:custGeom>
                <a:avLst/>
                <a:gdLst>
                  <a:gd name="T0" fmla="*/ 0 w 153"/>
                  <a:gd name="T1" fmla="*/ 2147483647 h 129"/>
                  <a:gd name="T2" fmla="*/ 0 w 153"/>
                  <a:gd name="T3" fmla="*/ 2147483647 h 129"/>
                  <a:gd name="T4" fmla="*/ 2147483647 w 153"/>
                  <a:gd name="T5" fmla="*/ 2147483647 h 129"/>
                  <a:gd name="T6" fmla="*/ 2147483647 w 153"/>
                  <a:gd name="T7" fmla="*/ 2147483647 h 129"/>
                  <a:gd name="T8" fmla="*/ 2147483647 w 153"/>
                  <a:gd name="T9" fmla="*/ 2147483647 h 129"/>
                  <a:gd name="T10" fmla="*/ 2147483647 w 153"/>
                  <a:gd name="T11" fmla="*/ 2147483647 h 129"/>
                  <a:gd name="T12" fmla="*/ 2147483647 w 153"/>
                  <a:gd name="T13" fmla="*/ 2147483647 h 129"/>
                  <a:gd name="T14" fmla="*/ 2147483647 w 153"/>
                  <a:gd name="T15" fmla="*/ 2147483647 h 129"/>
                  <a:gd name="T16" fmla="*/ 2147483647 w 153"/>
                  <a:gd name="T17" fmla="*/ 2147483647 h 129"/>
                  <a:gd name="T18" fmla="*/ 2147483647 w 153"/>
                  <a:gd name="T19" fmla="*/ 2147483647 h 129"/>
                  <a:gd name="T20" fmla="*/ 2147483647 w 153"/>
                  <a:gd name="T21" fmla="*/ 2147483647 h 129"/>
                  <a:gd name="T22" fmla="*/ 2147483647 w 153"/>
                  <a:gd name="T23" fmla="*/ 2147483647 h 129"/>
                  <a:gd name="T24" fmla="*/ 2147483647 w 153"/>
                  <a:gd name="T25" fmla="*/ 2147483647 h 129"/>
                  <a:gd name="T26" fmla="*/ 2147483647 w 153"/>
                  <a:gd name="T27" fmla="*/ 2147483647 h 129"/>
                  <a:gd name="T28" fmla="*/ 2147483647 w 153"/>
                  <a:gd name="T29" fmla="*/ 2147483647 h 129"/>
                  <a:gd name="T30" fmla="*/ 2147483647 w 153"/>
                  <a:gd name="T31" fmla="*/ 2147483647 h 129"/>
                  <a:gd name="T32" fmla="*/ 2147483647 w 153"/>
                  <a:gd name="T33" fmla="*/ 2147483647 h 129"/>
                  <a:gd name="T34" fmla="*/ 2147483647 w 153"/>
                  <a:gd name="T35" fmla="*/ 2147483647 h 129"/>
                  <a:gd name="T36" fmla="*/ 2147483647 w 153"/>
                  <a:gd name="T37" fmla="*/ 2147483647 h 129"/>
                  <a:gd name="T38" fmla="*/ 2147483647 w 153"/>
                  <a:gd name="T39" fmla="*/ 2147483647 h 129"/>
                  <a:gd name="T40" fmla="*/ 2147483647 w 153"/>
                  <a:gd name="T41" fmla="*/ 2147483647 h 129"/>
                  <a:gd name="T42" fmla="*/ 2147483647 w 153"/>
                  <a:gd name="T43" fmla="*/ 2147483647 h 129"/>
                  <a:gd name="T44" fmla="*/ 2147483647 w 153"/>
                  <a:gd name="T45" fmla="*/ 2147483647 h 129"/>
                  <a:gd name="T46" fmla="*/ 2147483647 w 153"/>
                  <a:gd name="T47" fmla="*/ 2147483647 h 129"/>
                  <a:gd name="T48" fmla="*/ 2147483647 w 153"/>
                  <a:gd name="T49" fmla="*/ 2147483647 h 129"/>
                  <a:gd name="T50" fmla="*/ 2147483647 w 153"/>
                  <a:gd name="T51" fmla="*/ 2147483647 h 129"/>
                  <a:gd name="T52" fmla="*/ 2147483647 w 153"/>
                  <a:gd name="T53" fmla="*/ 2147483647 h 129"/>
                  <a:gd name="T54" fmla="*/ 2147483647 w 153"/>
                  <a:gd name="T55" fmla="*/ 2147483647 h 129"/>
                  <a:gd name="T56" fmla="*/ 2147483647 w 153"/>
                  <a:gd name="T57" fmla="*/ 2147483647 h 129"/>
                  <a:gd name="T58" fmla="*/ 2147483647 w 153"/>
                  <a:gd name="T59" fmla="*/ 2147483647 h 129"/>
                  <a:gd name="T60" fmla="*/ 2147483647 w 153"/>
                  <a:gd name="T61" fmla="*/ 2147483647 h 129"/>
                  <a:gd name="T62" fmla="*/ 2147483647 w 153"/>
                  <a:gd name="T63" fmla="*/ 2147483647 h 129"/>
                  <a:gd name="T64" fmla="*/ 2147483647 w 153"/>
                  <a:gd name="T65" fmla="*/ 2147483647 h 129"/>
                  <a:gd name="T66" fmla="*/ 2147483647 w 153"/>
                  <a:gd name="T67" fmla="*/ 2147483647 h 129"/>
                  <a:gd name="T68" fmla="*/ 2147483647 w 153"/>
                  <a:gd name="T69" fmla="*/ 2147483647 h 129"/>
                  <a:gd name="T70" fmla="*/ 2147483647 w 153"/>
                  <a:gd name="T71" fmla="*/ 2147483647 h 129"/>
                  <a:gd name="T72" fmla="*/ 2147483647 w 153"/>
                  <a:gd name="T73" fmla="*/ 2147483647 h 129"/>
                  <a:gd name="T74" fmla="*/ 2147483647 w 153"/>
                  <a:gd name="T75" fmla="*/ 2147483647 h 129"/>
                  <a:gd name="T76" fmla="*/ 2147483647 w 153"/>
                  <a:gd name="T77" fmla="*/ 2147483647 h 129"/>
                  <a:gd name="T78" fmla="*/ 2147483647 w 153"/>
                  <a:gd name="T79" fmla="*/ 2147483647 h 129"/>
                  <a:gd name="T80" fmla="*/ 2147483647 w 153"/>
                  <a:gd name="T81" fmla="*/ 2147483647 h 129"/>
                  <a:gd name="T82" fmla="*/ 2147483647 w 153"/>
                  <a:gd name="T83" fmla="*/ 2147483647 h 129"/>
                  <a:gd name="T84" fmla="*/ 2147483647 w 153"/>
                  <a:gd name="T85" fmla="*/ 2147483647 h 129"/>
                  <a:gd name="T86" fmla="*/ 2147483647 w 153"/>
                  <a:gd name="T87" fmla="*/ 2147483647 h 129"/>
                  <a:gd name="T88" fmla="*/ 2147483647 w 153"/>
                  <a:gd name="T89" fmla="*/ 2147483647 h 129"/>
                  <a:gd name="T90" fmla="*/ 2147483647 w 153"/>
                  <a:gd name="T91" fmla="*/ 2147483647 h 12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53"/>
                  <a:gd name="T139" fmla="*/ 0 h 129"/>
                  <a:gd name="T140" fmla="*/ 153 w 153"/>
                  <a:gd name="T141" fmla="*/ 129 h 12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53" h="129">
                    <a:moveTo>
                      <a:pt x="0" y="0"/>
                    </a:moveTo>
                    <a:lnTo>
                      <a:pt x="0" y="65"/>
                    </a:lnTo>
                    <a:lnTo>
                      <a:pt x="0" y="67"/>
                    </a:lnTo>
                    <a:lnTo>
                      <a:pt x="0" y="73"/>
                    </a:lnTo>
                    <a:lnTo>
                      <a:pt x="3" y="103"/>
                    </a:lnTo>
                    <a:lnTo>
                      <a:pt x="6" y="103"/>
                    </a:lnTo>
                    <a:lnTo>
                      <a:pt x="9" y="103"/>
                    </a:lnTo>
                    <a:lnTo>
                      <a:pt x="11" y="106"/>
                    </a:lnTo>
                    <a:lnTo>
                      <a:pt x="20" y="103"/>
                    </a:lnTo>
                    <a:lnTo>
                      <a:pt x="25" y="106"/>
                    </a:lnTo>
                    <a:lnTo>
                      <a:pt x="34" y="101"/>
                    </a:lnTo>
                    <a:lnTo>
                      <a:pt x="36" y="101"/>
                    </a:lnTo>
                    <a:lnTo>
                      <a:pt x="34" y="95"/>
                    </a:lnTo>
                    <a:lnTo>
                      <a:pt x="31" y="92"/>
                    </a:lnTo>
                    <a:lnTo>
                      <a:pt x="39" y="90"/>
                    </a:lnTo>
                    <a:lnTo>
                      <a:pt x="36" y="87"/>
                    </a:lnTo>
                    <a:lnTo>
                      <a:pt x="39" y="87"/>
                    </a:lnTo>
                    <a:lnTo>
                      <a:pt x="42" y="87"/>
                    </a:lnTo>
                    <a:lnTo>
                      <a:pt x="45" y="84"/>
                    </a:lnTo>
                    <a:lnTo>
                      <a:pt x="42" y="78"/>
                    </a:lnTo>
                    <a:lnTo>
                      <a:pt x="45" y="81"/>
                    </a:lnTo>
                    <a:lnTo>
                      <a:pt x="48" y="81"/>
                    </a:lnTo>
                    <a:lnTo>
                      <a:pt x="50" y="81"/>
                    </a:lnTo>
                    <a:lnTo>
                      <a:pt x="53" y="78"/>
                    </a:lnTo>
                    <a:lnTo>
                      <a:pt x="56" y="78"/>
                    </a:lnTo>
                    <a:lnTo>
                      <a:pt x="59" y="78"/>
                    </a:lnTo>
                    <a:lnTo>
                      <a:pt x="59" y="81"/>
                    </a:lnTo>
                    <a:lnTo>
                      <a:pt x="64" y="84"/>
                    </a:lnTo>
                    <a:lnTo>
                      <a:pt x="67" y="84"/>
                    </a:lnTo>
                    <a:lnTo>
                      <a:pt x="70" y="84"/>
                    </a:lnTo>
                    <a:lnTo>
                      <a:pt x="78" y="87"/>
                    </a:lnTo>
                    <a:lnTo>
                      <a:pt x="81" y="90"/>
                    </a:lnTo>
                    <a:lnTo>
                      <a:pt x="81" y="92"/>
                    </a:lnTo>
                    <a:lnTo>
                      <a:pt x="87" y="101"/>
                    </a:lnTo>
                    <a:lnTo>
                      <a:pt x="92" y="103"/>
                    </a:lnTo>
                    <a:lnTo>
                      <a:pt x="92" y="106"/>
                    </a:lnTo>
                    <a:lnTo>
                      <a:pt x="95" y="106"/>
                    </a:lnTo>
                    <a:lnTo>
                      <a:pt x="98" y="109"/>
                    </a:lnTo>
                    <a:lnTo>
                      <a:pt x="106" y="117"/>
                    </a:lnTo>
                    <a:lnTo>
                      <a:pt x="109" y="120"/>
                    </a:lnTo>
                    <a:lnTo>
                      <a:pt x="139" y="123"/>
                    </a:lnTo>
                    <a:lnTo>
                      <a:pt x="139" y="126"/>
                    </a:lnTo>
                    <a:lnTo>
                      <a:pt x="145" y="129"/>
                    </a:lnTo>
                    <a:lnTo>
                      <a:pt x="148" y="126"/>
                    </a:lnTo>
                    <a:lnTo>
                      <a:pt x="151" y="126"/>
                    </a:lnTo>
                    <a:lnTo>
                      <a:pt x="148" y="123"/>
                    </a:lnTo>
                    <a:lnTo>
                      <a:pt x="145" y="123"/>
                    </a:lnTo>
                    <a:lnTo>
                      <a:pt x="151" y="123"/>
                    </a:lnTo>
                    <a:lnTo>
                      <a:pt x="153" y="123"/>
                    </a:lnTo>
                    <a:lnTo>
                      <a:pt x="153" y="120"/>
                    </a:lnTo>
                    <a:lnTo>
                      <a:pt x="142" y="117"/>
                    </a:lnTo>
                    <a:lnTo>
                      <a:pt x="137" y="115"/>
                    </a:lnTo>
                    <a:lnTo>
                      <a:pt x="139" y="115"/>
                    </a:lnTo>
                    <a:lnTo>
                      <a:pt x="139" y="112"/>
                    </a:lnTo>
                    <a:lnTo>
                      <a:pt x="137" y="112"/>
                    </a:lnTo>
                    <a:lnTo>
                      <a:pt x="131" y="109"/>
                    </a:lnTo>
                    <a:lnTo>
                      <a:pt x="128" y="109"/>
                    </a:lnTo>
                    <a:lnTo>
                      <a:pt x="128" y="103"/>
                    </a:lnTo>
                    <a:lnTo>
                      <a:pt x="128" y="101"/>
                    </a:lnTo>
                    <a:lnTo>
                      <a:pt x="120" y="103"/>
                    </a:lnTo>
                    <a:lnTo>
                      <a:pt x="117" y="101"/>
                    </a:lnTo>
                    <a:lnTo>
                      <a:pt x="117" y="98"/>
                    </a:lnTo>
                    <a:lnTo>
                      <a:pt x="114" y="95"/>
                    </a:lnTo>
                    <a:lnTo>
                      <a:pt x="112" y="92"/>
                    </a:lnTo>
                    <a:lnTo>
                      <a:pt x="112" y="87"/>
                    </a:lnTo>
                    <a:lnTo>
                      <a:pt x="109" y="87"/>
                    </a:lnTo>
                    <a:lnTo>
                      <a:pt x="100" y="78"/>
                    </a:lnTo>
                    <a:lnTo>
                      <a:pt x="98" y="78"/>
                    </a:lnTo>
                    <a:lnTo>
                      <a:pt x="95" y="67"/>
                    </a:lnTo>
                    <a:lnTo>
                      <a:pt x="103" y="67"/>
                    </a:lnTo>
                    <a:lnTo>
                      <a:pt x="103" y="65"/>
                    </a:lnTo>
                    <a:lnTo>
                      <a:pt x="106" y="65"/>
                    </a:lnTo>
                    <a:lnTo>
                      <a:pt x="106" y="62"/>
                    </a:lnTo>
                    <a:lnTo>
                      <a:pt x="103" y="56"/>
                    </a:lnTo>
                    <a:lnTo>
                      <a:pt x="100" y="53"/>
                    </a:lnTo>
                    <a:lnTo>
                      <a:pt x="98" y="53"/>
                    </a:lnTo>
                    <a:lnTo>
                      <a:pt x="89" y="51"/>
                    </a:lnTo>
                    <a:lnTo>
                      <a:pt x="84" y="48"/>
                    </a:lnTo>
                    <a:lnTo>
                      <a:pt x="75" y="48"/>
                    </a:lnTo>
                    <a:lnTo>
                      <a:pt x="75" y="45"/>
                    </a:lnTo>
                    <a:lnTo>
                      <a:pt x="75" y="39"/>
                    </a:lnTo>
                    <a:lnTo>
                      <a:pt x="73" y="37"/>
                    </a:lnTo>
                    <a:lnTo>
                      <a:pt x="70" y="34"/>
                    </a:lnTo>
                    <a:lnTo>
                      <a:pt x="56" y="26"/>
                    </a:lnTo>
                    <a:lnTo>
                      <a:pt x="53" y="20"/>
                    </a:lnTo>
                    <a:lnTo>
                      <a:pt x="50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Freeform 791"/>
              <p:cNvSpPr>
                <a:spLocks noChangeAspect="1"/>
              </p:cNvSpPr>
              <p:nvPr>
                <p:custDataLst>
                  <p:tags r:id="rId1088"/>
                </p:custDataLst>
              </p:nvPr>
            </p:nvSpPr>
            <p:spPr bwMode="gray">
              <a:xfrm>
                <a:off x="8060116" y="3129355"/>
                <a:ext cx="121477" cy="108796"/>
              </a:xfrm>
              <a:custGeom>
                <a:avLst/>
                <a:gdLst>
                  <a:gd name="T0" fmla="*/ 2147483647 w 94"/>
                  <a:gd name="T1" fmla="*/ 2147483647 h 86"/>
                  <a:gd name="T2" fmla="*/ 2147483647 w 94"/>
                  <a:gd name="T3" fmla="*/ 2147483647 h 86"/>
                  <a:gd name="T4" fmla="*/ 2147483647 w 94"/>
                  <a:gd name="T5" fmla="*/ 2147483647 h 86"/>
                  <a:gd name="T6" fmla="*/ 2147483647 w 94"/>
                  <a:gd name="T7" fmla="*/ 2147483647 h 86"/>
                  <a:gd name="T8" fmla="*/ 2147483647 w 94"/>
                  <a:gd name="T9" fmla="*/ 2147483647 h 86"/>
                  <a:gd name="T10" fmla="*/ 2147483647 w 94"/>
                  <a:gd name="T11" fmla="*/ 2147483647 h 86"/>
                  <a:gd name="T12" fmla="*/ 2147483647 w 94"/>
                  <a:gd name="T13" fmla="*/ 2147483647 h 86"/>
                  <a:gd name="T14" fmla="*/ 2147483647 w 94"/>
                  <a:gd name="T15" fmla="*/ 2147483647 h 86"/>
                  <a:gd name="T16" fmla="*/ 2147483647 w 94"/>
                  <a:gd name="T17" fmla="*/ 2147483647 h 86"/>
                  <a:gd name="T18" fmla="*/ 2147483647 w 94"/>
                  <a:gd name="T19" fmla="*/ 2147483647 h 86"/>
                  <a:gd name="T20" fmla="*/ 2147483647 w 94"/>
                  <a:gd name="T21" fmla="*/ 2147483647 h 86"/>
                  <a:gd name="T22" fmla="*/ 2147483647 w 94"/>
                  <a:gd name="T23" fmla="*/ 2147483647 h 86"/>
                  <a:gd name="T24" fmla="*/ 2147483647 w 94"/>
                  <a:gd name="T25" fmla="*/ 2147483647 h 86"/>
                  <a:gd name="T26" fmla="*/ 2147483647 w 94"/>
                  <a:gd name="T27" fmla="*/ 2147483647 h 86"/>
                  <a:gd name="T28" fmla="*/ 2147483647 w 94"/>
                  <a:gd name="T29" fmla="*/ 2147483647 h 86"/>
                  <a:gd name="T30" fmla="*/ 2147483647 w 94"/>
                  <a:gd name="T31" fmla="*/ 2147483647 h 86"/>
                  <a:gd name="T32" fmla="*/ 2147483647 w 94"/>
                  <a:gd name="T33" fmla="*/ 2147483647 h 86"/>
                  <a:gd name="T34" fmla="*/ 2147483647 w 94"/>
                  <a:gd name="T35" fmla="*/ 2147483647 h 86"/>
                  <a:gd name="T36" fmla="*/ 2147483647 w 94"/>
                  <a:gd name="T37" fmla="*/ 2147483647 h 86"/>
                  <a:gd name="T38" fmla="*/ 0 w 94"/>
                  <a:gd name="T39" fmla="*/ 2147483647 h 86"/>
                  <a:gd name="T40" fmla="*/ 2147483647 w 94"/>
                  <a:gd name="T41" fmla="*/ 2147483647 h 86"/>
                  <a:gd name="T42" fmla="*/ 2147483647 w 94"/>
                  <a:gd name="T43" fmla="*/ 2147483647 h 86"/>
                  <a:gd name="T44" fmla="*/ 2147483647 w 94"/>
                  <a:gd name="T45" fmla="*/ 2147483647 h 86"/>
                  <a:gd name="T46" fmla="*/ 2147483647 w 94"/>
                  <a:gd name="T47" fmla="*/ 2147483647 h 86"/>
                  <a:gd name="T48" fmla="*/ 2147483647 w 94"/>
                  <a:gd name="T49" fmla="*/ 2147483647 h 86"/>
                  <a:gd name="T50" fmla="*/ 2147483647 w 94"/>
                  <a:gd name="T51" fmla="*/ 2147483647 h 86"/>
                  <a:gd name="T52" fmla="*/ 2147483647 w 94"/>
                  <a:gd name="T53" fmla="*/ 2147483647 h 86"/>
                  <a:gd name="T54" fmla="*/ 2147483647 w 94"/>
                  <a:gd name="T55" fmla="*/ 0 h 86"/>
                  <a:gd name="T56" fmla="*/ 2147483647 w 94"/>
                  <a:gd name="T57" fmla="*/ 2147483647 h 86"/>
                  <a:gd name="T58" fmla="*/ 2147483647 w 94"/>
                  <a:gd name="T59" fmla="*/ 2147483647 h 86"/>
                  <a:gd name="T60" fmla="*/ 2147483647 w 94"/>
                  <a:gd name="T61" fmla="*/ 2147483647 h 86"/>
                  <a:gd name="T62" fmla="*/ 2147483647 w 94"/>
                  <a:gd name="T63" fmla="*/ 2147483647 h 86"/>
                  <a:gd name="T64" fmla="*/ 2147483647 w 94"/>
                  <a:gd name="T65" fmla="*/ 2147483647 h 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4"/>
                  <a:gd name="T100" fmla="*/ 0 h 86"/>
                  <a:gd name="T101" fmla="*/ 94 w 94"/>
                  <a:gd name="T102" fmla="*/ 86 h 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4" h="86">
                    <a:moveTo>
                      <a:pt x="81" y="31"/>
                    </a:moveTo>
                    <a:lnTo>
                      <a:pt x="86" y="25"/>
                    </a:lnTo>
                    <a:lnTo>
                      <a:pt x="86" y="28"/>
                    </a:lnTo>
                    <a:lnTo>
                      <a:pt x="81" y="36"/>
                    </a:lnTo>
                    <a:lnTo>
                      <a:pt x="83" y="39"/>
                    </a:lnTo>
                    <a:lnTo>
                      <a:pt x="86" y="42"/>
                    </a:lnTo>
                    <a:lnTo>
                      <a:pt x="86" y="47"/>
                    </a:lnTo>
                    <a:lnTo>
                      <a:pt x="89" y="47"/>
                    </a:lnTo>
                    <a:lnTo>
                      <a:pt x="94" y="44"/>
                    </a:lnTo>
                    <a:lnTo>
                      <a:pt x="92" y="47"/>
                    </a:lnTo>
                    <a:lnTo>
                      <a:pt x="83" y="53"/>
                    </a:lnTo>
                    <a:lnTo>
                      <a:pt x="81" y="53"/>
                    </a:lnTo>
                    <a:lnTo>
                      <a:pt x="78" y="53"/>
                    </a:lnTo>
                    <a:lnTo>
                      <a:pt x="78" y="56"/>
                    </a:lnTo>
                    <a:lnTo>
                      <a:pt x="72" y="56"/>
                    </a:lnTo>
                    <a:lnTo>
                      <a:pt x="67" y="56"/>
                    </a:lnTo>
                    <a:lnTo>
                      <a:pt x="64" y="58"/>
                    </a:lnTo>
                    <a:lnTo>
                      <a:pt x="55" y="70"/>
                    </a:lnTo>
                    <a:lnTo>
                      <a:pt x="55" y="72"/>
                    </a:lnTo>
                    <a:lnTo>
                      <a:pt x="53" y="75"/>
                    </a:lnTo>
                    <a:lnTo>
                      <a:pt x="30" y="64"/>
                    </a:lnTo>
                    <a:lnTo>
                      <a:pt x="28" y="64"/>
                    </a:lnTo>
                    <a:lnTo>
                      <a:pt x="22" y="64"/>
                    </a:lnTo>
                    <a:lnTo>
                      <a:pt x="19" y="67"/>
                    </a:lnTo>
                    <a:lnTo>
                      <a:pt x="16" y="67"/>
                    </a:lnTo>
                    <a:lnTo>
                      <a:pt x="14" y="64"/>
                    </a:lnTo>
                    <a:lnTo>
                      <a:pt x="11" y="64"/>
                    </a:lnTo>
                    <a:lnTo>
                      <a:pt x="8" y="67"/>
                    </a:lnTo>
                    <a:lnTo>
                      <a:pt x="8" y="72"/>
                    </a:lnTo>
                    <a:lnTo>
                      <a:pt x="16" y="75"/>
                    </a:lnTo>
                    <a:lnTo>
                      <a:pt x="19" y="78"/>
                    </a:lnTo>
                    <a:lnTo>
                      <a:pt x="19" y="81"/>
                    </a:lnTo>
                    <a:lnTo>
                      <a:pt x="14" y="81"/>
                    </a:lnTo>
                    <a:lnTo>
                      <a:pt x="11" y="81"/>
                    </a:lnTo>
                    <a:lnTo>
                      <a:pt x="8" y="83"/>
                    </a:lnTo>
                    <a:lnTo>
                      <a:pt x="5" y="86"/>
                    </a:lnTo>
                    <a:lnTo>
                      <a:pt x="3" y="86"/>
                    </a:lnTo>
                    <a:lnTo>
                      <a:pt x="3" y="83"/>
                    </a:lnTo>
                    <a:lnTo>
                      <a:pt x="5" y="75"/>
                    </a:lnTo>
                    <a:lnTo>
                      <a:pt x="0" y="70"/>
                    </a:lnTo>
                    <a:lnTo>
                      <a:pt x="0" y="64"/>
                    </a:lnTo>
                    <a:lnTo>
                      <a:pt x="3" y="61"/>
                    </a:lnTo>
                    <a:lnTo>
                      <a:pt x="5" y="58"/>
                    </a:lnTo>
                    <a:lnTo>
                      <a:pt x="8" y="56"/>
                    </a:lnTo>
                    <a:lnTo>
                      <a:pt x="11" y="53"/>
                    </a:lnTo>
                    <a:lnTo>
                      <a:pt x="8" y="50"/>
                    </a:lnTo>
                    <a:lnTo>
                      <a:pt x="8" y="47"/>
                    </a:lnTo>
                    <a:lnTo>
                      <a:pt x="16" y="50"/>
                    </a:lnTo>
                    <a:lnTo>
                      <a:pt x="22" y="50"/>
                    </a:lnTo>
                    <a:lnTo>
                      <a:pt x="25" y="44"/>
                    </a:lnTo>
                    <a:lnTo>
                      <a:pt x="25" y="39"/>
                    </a:lnTo>
                    <a:lnTo>
                      <a:pt x="25" y="36"/>
                    </a:lnTo>
                    <a:lnTo>
                      <a:pt x="30" y="17"/>
                    </a:lnTo>
                    <a:lnTo>
                      <a:pt x="28" y="5"/>
                    </a:lnTo>
                    <a:lnTo>
                      <a:pt x="28" y="3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3"/>
                    </a:lnTo>
                    <a:lnTo>
                      <a:pt x="36" y="3"/>
                    </a:lnTo>
                    <a:lnTo>
                      <a:pt x="50" y="22"/>
                    </a:lnTo>
                    <a:lnTo>
                      <a:pt x="61" y="28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75" y="33"/>
                    </a:lnTo>
                    <a:lnTo>
                      <a:pt x="78" y="33"/>
                    </a:lnTo>
                    <a:lnTo>
                      <a:pt x="81" y="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9" name="Freeform 792"/>
              <p:cNvSpPr>
                <a:spLocks noChangeAspect="1"/>
              </p:cNvSpPr>
              <p:nvPr>
                <p:custDataLst>
                  <p:tags r:id="rId1089"/>
                </p:custDataLst>
              </p:nvPr>
            </p:nvSpPr>
            <p:spPr bwMode="gray">
              <a:xfrm>
                <a:off x="8084409" y="3134086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2147483647 w 3"/>
                  <a:gd name="T7" fmla="*/ 2147483647 h 3"/>
                  <a:gd name="T8" fmla="*/ 2147483647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0" name="Freeform 793"/>
              <p:cNvSpPr>
                <a:spLocks noChangeAspect="1"/>
              </p:cNvSpPr>
              <p:nvPr>
                <p:custDataLst>
                  <p:tags r:id="rId1090"/>
                </p:custDataLst>
              </p:nvPr>
            </p:nvSpPr>
            <p:spPr bwMode="gray">
              <a:xfrm>
                <a:off x="8084409" y="3134086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2147483647 h 3"/>
                  <a:gd name="T6" fmla="*/ 2147483647 w 3"/>
                  <a:gd name="T7" fmla="*/ 2147483647 h 3"/>
                  <a:gd name="T8" fmla="*/ 2147483647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1" name="Freeform 794"/>
              <p:cNvSpPr>
                <a:spLocks noChangeAspect="1"/>
              </p:cNvSpPr>
              <p:nvPr>
                <p:custDataLst>
                  <p:tags r:id="rId1091"/>
                </p:custDataLst>
              </p:nvPr>
            </p:nvSpPr>
            <p:spPr bwMode="gray">
              <a:xfrm>
                <a:off x="7877899" y="3238152"/>
                <a:ext cx="229287" cy="201823"/>
              </a:xfrm>
              <a:custGeom>
                <a:avLst/>
                <a:gdLst>
                  <a:gd name="T0" fmla="*/ 2147483647 w 175"/>
                  <a:gd name="T1" fmla="*/ 2147483647 h 156"/>
                  <a:gd name="T2" fmla="*/ 2147483647 w 175"/>
                  <a:gd name="T3" fmla="*/ 2147483647 h 156"/>
                  <a:gd name="T4" fmla="*/ 2147483647 w 175"/>
                  <a:gd name="T5" fmla="*/ 2147483647 h 156"/>
                  <a:gd name="T6" fmla="*/ 2147483647 w 175"/>
                  <a:gd name="T7" fmla="*/ 2147483647 h 156"/>
                  <a:gd name="T8" fmla="*/ 2147483647 w 175"/>
                  <a:gd name="T9" fmla="*/ 2147483647 h 156"/>
                  <a:gd name="T10" fmla="*/ 2147483647 w 175"/>
                  <a:gd name="T11" fmla="*/ 2147483647 h 156"/>
                  <a:gd name="T12" fmla="*/ 2147483647 w 175"/>
                  <a:gd name="T13" fmla="*/ 2147483647 h 156"/>
                  <a:gd name="T14" fmla="*/ 2147483647 w 175"/>
                  <a:gd name="T15" fmla="*/ 2147483647 h 156"/>
                  <a:gd name="T16" fmla="*/ 2147483647 w 175"/>
                  <a:gd name="T17" fmla="*/ 2147483647 h 156"/>
                  <a:gd name="T18" fmla="*/ 2147483647 w 175"/>
                  <a:gd name="T19" fmla="*/ 2147483647 h 156"/>
                  <a:gd name="T20" fmla="*/ 2147483647 w 175"/>
                  <a:gd name="T21" fmla="*/ 2147483647 h 156"/>
                  <a:gd name="T22" fmla="*/ 2147483647 w 175"/>
                  <a:gd name="T23" fmla="*/ 2147483647 h 156"/>
                  <a:gd name="T24" fmla="*/ 2147483647 w 175"/>
                  <a:gd name="T25" fmla="*/ 2147483647 h 156"/>
                  <a:gd name="T26" fmla="*/ 2147483647 w 175"/>
                  <a:gd name="T27" fmla="*/ 2147483647 h 156"/>
                  <a:gd name="T28" fmla="*/ 2147483647 w 175"/>
                  <a:gd name="T29" fmla="*/ 2147483647 h 156"/>
                  <a:gd name="T30" fmla="*/ 2147483647 w 175"/>
                  <a:gd name="T31" fmla="*/ 2147483647 h 156"/>
                  <a:gd name="T32" fmla="*/ 2147483647 w 175"/>
                  <a:gd name="T33" fmla="*/ 2147483647 h 156"/>
                  <a:gd name="T34" fmla="*/ 2147483647 w 175"/>
                  <a:gd name="T35" fmla="*/ 2147483647 h 156"/>
                  <a:gd name="T36" fmla="*/ 2147483647 w 175"/>
                  <a:gd name="T37" fmla="*/ 2147483647 h 156"/>
                  <a:gd name="T38" fmla="*/ 2147483647 w 175"/>
                  <a:gd name="T39" fmla="*/ 2147483647 h 156"/>
                  <a:gd name="T40" fmla="*/ 2147483647 w 175"/>
                  <a:gd name="T41" fmla="*/ 2147483647 h 156"/>
                  <a:gd name="T42" fmla="*/ 2147483647 w 175"/>
                  <a:gd name="T43" fmla="*/ 2147483647 h 156"/>
                  <a:gd name="T44" fmla="*/ 2147483647 w 175"/>
                  <a:gd name="T45" fmla="*/ 2147483647 h 156"/>
                  <a:gd name="T46" fmla="*/ 2147483647 w 175"/>
                  <a:gd name="T47" fmla="*/ 2147483647 h 156"/>
                  <a:gd name="T48" fmla="*/ 2147483647 w 175"/>
                  <a:gd name="T49" fmla="*/ 2147483647 h 156"/>
                  <a:gd name="T50" fmla="*/ 2147483647 w 175"/>
                  <a:gd name="T51" fmla="*/ 2147483647 h 156"/>
                  <a:gd name="T52" fmla="*/ 2147483647 w 175"/>
                  <a:gd name="T53" fmla="*/ 2147483647 h 156"/>
                  <a:gd name="T54" fmla="*/ 2147483647 w 175"/>
                  <a:gd name="T55" fmla="*/ 2147483647 h 156"/>
                  <a:gd name="T56" fmla="*/ 2147483647 w 175"/>
                  <a:gd name="T57" fmla="*/ 2147483647 h 156"/>
                  <a:gd name="T58" fmla="*/ 2147483647 w 175"/>
                  <a:gd name="T59" fmla="*/ 2147483647 h 156"/>
                  <a:gd name="T60" fmla="*/ 2147483647 w 175"/>
                  <a:gd name="T61" fmla="*/ 2147483647 h 156"/>
                  <a:gd name="T62" fmla="*/ 2147483647 w 175"/>
                  <a:gd name="T63" fmla="*/ 2147483647 h 156"/>
                  <a:gd name="T64" fmla="*/ 2147483647 w 175"/>
                  <a:gd name="T65" fmla="*/ 2147483647 h 156"/>
                  <a:gd name="T66" fmla="*/ 2147483647 w 175"/>
                  <a:gd name="T67" fmla="*/ 2147483647 h 156"/>
                  <a:gd name="T68" fmla="*/ 2147483647 w 175"/>
                  <a:gd name="T69" fmla="*/ 2147483647 h 156"/>
                  <a:gd name="T70" fmla="*/ 2147483647 w 175"/>
                  <a:gd name="T71" fmla="*/ 2147483647 h 156"/>
                  <a:gd name="T72" fmla="*/ 2147483647 w 175"/>
                  <a:gd name="T73" fmla="*/ 2147483647 h 156"/>
                  <a:gd name="T74" fmla="*/ 2147483647 w 175"/>
                  <a:gd name="T75" fmla="*/ 2147483647 h 156"/>
                  <a:gd name="T76" fmla="*/ 2147483647 w 175"/>
                  <a:gd name="T77" fmla="*/ 2147483647 h 156"/>
                  <a:gd name="T78" fmla="*/ 2147483647 w 175"/>
                  <a:gd name="T79" fmla="*/ 2147483647 h 156"/>
                  <a:gd name="T80" fmla="*/ 2147483647 w 175"/>
                  <a:gd name="T81" fmla="*/ 2147483647 h 156"/>
                  <a:gd name="T82" fmla="*/ 2147483647 w 175"/>
                  <a:gd name="T83" fmla="*/ 2147483647 h 156"/>
                  <a:gd name="T84" fmla="*/ 2147483647 w 175"/>
                  <a:gd name="T85" fmla="*/ 2147483647 h 156"/>
                  <a:gd name="T86" fmla="*/ 2147483647 w 175"/>
                  <a:gd name="T87" fmla="*/ 2147483647 h 156"/>
                  <a:gd name="T88" fmla="*/ 2147483647 w 175"/>
                  <a:gd name="T89" fmla="*/ 2147483647 h 156"/>
                  <a:gd name="T90" fmla="*/ 2147483647 w 175"/>
                  <a:gd name="T91" fmla="*/ 2147483647 h 156"/>
                  <a:gd name="T92" fmla="*/ 2147483647 w 175"/>
                  <a:gd name="T93" fmla="*/ 0 h 15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75"/>
                  <a:gd name="T142" fmla="*/ 0 h 156"/>
                  <a:gd name="T143" fmla="*/ 175 w 175"/>
                  <a:gd name="T144" fmla="*/ 156 h 15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75" h="156">
                    <a:moveTo>
                      <a:pt x="158" y="0"/>
                    </a:moveTo>
                    <a:lnTo>
                      <a:pt x="164" y="0"/>
                    </a:lnTo>
                    <a:lnTo>
                      <a:pt x="164" y="3"/>
                    </a:lnTo>
                    <a:lnTo>
                      <a:pt x="164" y="14"/>
                    </a:lnTo>
                    <a:lnTo>
                      <a:pt x="164" y="20"/>
                    </a:lnTo>
                    <a:lnTo>
                      <a:pt x="169" y="22"/>
                    </a:lnTo>
                    <a:lnTo>
                      <a:pt x="175" y="39"/>
                    </a:lnTo>
                    <a:lnTo>
                      <a:pt x="172" y="42"/>
                    </a:lnTo>
                    <a:lnTo>
                      <a:pt x="172" y="45"/>
                    </a:lnTo>
                    <a:lnTo>
                      <a:pt x="172" y="48"/>
                    </a:lnTo>
                    <a:lnTo>
                      <a:pt x="169" y="50"/>
                    </a:lnTo>
                    <a:lnTo>
                      <a:pt x="167" y="59"/>
                    </a:lnTo>
                    <a:lnTo>
                      <a:pt x="167" y="64"/>
                    </a:lnTo>
                    <a:lnTo>
                      <a:pt x="161" y="64"/>
                    </a:lnTo>
                    <a:lnTo>
                      <a:pt x="158" y="67"/>
                    </a:lnTo>
                    <a:lnTo>
                      <a:pt x="155" y="70"/>
                    </a:lnTo>
                    <a:lnTo>
                      <a:pt x="158" y="89"/>
                    </a:lnTo>
                    <a:lnTo>
                      <a:pt x="155" y="92"/>
                    </a:lnTo>
                    <a:lnTo>
                      <a:pt x="153" y="98"/>
                    </a:lnTo>
                    <a:lnTo>
                      <a:pt x="153" y="109"/>
                    </a:lnTo>
                    <a:lnTo>
                      <a:pt x="153" y="112"/>
                    </a:lnTo>
                    <a:lnTo>
                      <a:pt x="155" y="114"/>
                    </a:lnTo>
                    <a:lnTo>
                      <a:pt x="153" y="117"/>
                    </a:lnTo>
                    <a:lnTo>
                      <a:pt x="147" y="126"/>
                    </a:lnTo>
                    <a:lnTo>
                      <a:pt x="139" y="131"/>
                    </a:lnTo>
                    <a:lnTo>
                      <a:pt x="139" y="128"/>
                    </a:lnTo>
                    <a:lnTo>
                      <a:pt x="142" y="120"/>
                    </a:lnTo>
                    <a:lnTo>
                      <a:pt x="142" y="117"/>
                    </a:lnTo>
                    <a:lnTo>
                      <a:pt x="144" y="114"/>
                    </a:lnTo>
                    <a:lnTo>
                      <a:pt x="139" y="114"/>
                    </a:lnTo>
                    <a:lnTo>
                      <a:pt x="136" y="123"/>
                    </a:lnTo>
                    <a:lnTo>
                      <a:pt x="136" y="126"/>
                    </a:lnTo>
                    <a:lnTo>
                      <a:pt x="136" y="123"/>
                    </a:lnTo>
                    <a:lnTo>
                      <a:pt x="130" y="123"/>
                    </a:lnTo>
                    <a:lnTo>
                      <a:pt x="130" y="126"/>
                    </a:lnTo>
                    <a:lnTo>
                      <a:pt x="128" y="134"/>
                    </a:lnTo>
                    <a:lnTo>
                      <a:pt x="125" y="134"/>
                    </a:lnTo>
                    <a:lnTo>
                      <a:pt x="122" y="131"/>
                    </a:lnTo>
                    <a:lnTo>
                      <a:pt x="125" y="126"/>
                    </a:lnTo>
                    <a:lnTo>
                      <a:pt x="122" y="126"/>
                    </a:lnTo>
                    <a:lnTo>
                      <a:pt x="114" y="137"/>
                    </a:lnTo>
                    <a:lnTo>
                      <a:pt x="100" y="134"/>
                    </a:lnTo>
                    <a:lnTo>
                      <a:pt x="97" y="137"/>
                    </a:lnTo>
                    <a:lnTo>
                      <a:pt x="97" y="134"/>
                    </a:lnTo>
                    <a:lnTo>
                      <a:pt x="100" y="134"/>
                    </a:lnTo>
                    <a:lnTo>
                      <a:pt x="97" y="131"/>
                    </a:lnTo>
                    <a:lnTo>
                      <a:pt x="94" y="131"/>
                    </a:lnTo>
                    <a:lnTo>
                      <a:pt x="94" y="134"/>
                    </a:lnTo>
                    <a:lnTo>
                      <a:pt x="91" y="131"/>
                    </a:lnTo>
                    <a:lnTo>
                      <a:pt x="91" y="128"/>
                    </a:lnTo>
                    <a:lnTo>
                      <a:pt x="89" y="134"/>
                    </a:lnTo>
                    <a:lnTo>
                      <a:pt x="94" y="139"/>
                    </a:lnTo>
                    <a:lnTo>
                      <a:pt x="94" y="142"/>
                    </a:lnTo>
                    <a:lnTo>
                      <a:pt x="91" y="142"/>
                    </a:lnTo>
                    <a:lnTo>
                      <a:pt x="89" y="142"/>
                    </a:lnTo>
                    <a:lnTo>
                      <a:pt x="86" y="142"/>
                    </a:lnTo>
                    <a:lnTo>
                      <a:pt x="86" y="145"/>
                    </a:lnTo>
                    <a:lnTo>
                      <a:pt x="78" y="153"/>
                    </a:lnTo>
                    <a:lnTo>
                      <a:pt x="75" y="156"/>
                    </a:lnTo>
                    <a:lnTo>
                      <a:pt x="72" y="153"/>
                    </a:lnTo>
                    <a:lnTo>
                      <a:pt x="69" y="151"/>
                    </a:lnTo>
                    <a:lnTo>
                      <a:pt x="66" y="151"/>
                    </a:lnTo>
                    <a:lnTo>
                      <a:pt x="66" y="148"/>
                    </a:lnTo>
                    <a:lnTo>
                      <a:pt x="66" y="142"/>
                    </a:lnTo>
                    <a:lnTo>
                      <a:pt x="69" y="137"/>
                    </a:lnTo>
                    <a:lnTo>
                      <a:pt x="69" y="134"/>
                    </a:lnTo>
                    <a:lnTo>
                      <a:pt x="64" y="134"/>
                    </a:lnTo>
                    <a:lnTo>
                      <a:pt x="58" y="134"/>
                    </a:lnTo>
                    <a:lnTo>
                      <a:pt x="52" y="134"/>
                    </a:lnTo>
                    <a:lnTo>
                      <a:pt x="47" y="139"/>
                    </a:lnTo>
                    <a:lnTo>
                      <a:pt x="44" y="137"/>
                    </a:lnTo>
                    <a:lnTo>
                      <a:pt x="25" y="142"/>
                    </a:lnTo>
                    <a:lnTo>
                      <a:pt x="25" y="139"/>
                    </a:lnTo>
                    <a:lnTo>
                      <a:pt x="22" y="142"/>
                    </a:lnTo>
                    <a:lnTo>
                      <a:pt x="19" y="148"/>
                    </a:lnTo>
                    <a:lnTo>
                      <a:pt x="11" y="145"/>
                    </a:lnTo>
                    <a:lnTo>
                      <a:pt x="8" y="148"/>
                    </a:lnTo>
                    <a:lnTo>
                      <a:pt x="5" y="148"/>
                    </a:lnTo>
                    <a:lnTo>
                      <a:pt x="0" y="145"/>
                    </a:lnTo>
                    <a:lnTo>
                      <a:pt x="0" y="139"/>
                    </a:lnTo>
                    <a:lnTo>
                      <a:pt x="8" y="139"/>
                    </a:lnTo>
                    <a:lnTo>
                      <a:pt x="16" y="131"/>
                    </a:lnTo>
                    <a:lnTo>
                      <a:pt x="19" y="126"/>
                    </a:lnTo>
                    <a:lnTo>
                      <a:pt x="25" y="123"/>
                    </a:lnTo>
                    <a:lnTo>
                      <a:pt x="27" y="120"/>
                    </a:lnTo>
                    <a:lnTo>
                      <a:pt x="33" y="117"/>
                    </a:lnTo>
                    <a:lnTo>
                      <a:pt x="39" y="117"/>
                    </a:lnTo>
                    <a:lnTo>
                      <a:pt x="66" y="114"/>
                    </a:lnTo>
                    <a:lnTo>
                      <a:pt x="66" y="117"/>
                    </a:lnTo>
                    <a:lnTo>
                      <a:pt x="75" y="117"/>
                    </a:lnTo>
                    <a:lnTo>
                      <a:pt x="80" y="114"/>
                    </a:lnTo>
                    <a:lnTo>
                      <a:pt x="80" y="106"/>
                    </a:lnTo>
                    <a:lnTo>
                      <a:pt x="89" y="95"/>
                    </a:lnTo>
                    <a:lnTo>
                      <a:pt x="91" y="89"/>
                    </a:lnTo>
                    <a:lnTo>
                      <a:pt x="91" y="84"/>
                    </a:lnTo>
                    <a:lnTo>
                      <a:pt x="97" y="81"/>
                    </a:lnTo>
                    <a:lnTo>
                      <a:pt x="100" y="81"/>
                    </a:lnTo>
                    <a:lnTo>
                      <a:pt x="100" y="84"/>
                    </a:lnTo>
                    <a:lnTo>
                      <a:pt x="97" y="84"/>
                    </a:lnTo>
                    <a:lnTo>
                      <a:pt x="94" y="87"/>
                    </a:lnTo>
                    <a:lnTo>
                      <a:pt x="94" y="89"/>
                    </a:lnTo>
                    <a:lnTo>
                      <a:pt x="94" y="95"/>
                    </a:lnTo>
                    <a:lnTo>
                      <a:pt x="100" y="95"/>
                    </a:lnTo>
                    <a:lnTo>
                      <a:pt x="103" y="92"/>
                    </a:lnTo>
                    <a:lnTo>
                      <a:pt x="111" y="87"/>
                    </a:lnTo>
                    <a:lnTo>
                      <a:pt x="119" y="81"/>
                    </a:lnTo>
                    <a:lnTo>
                      <a:pt x="125" y="73"/>
                    </a:lnTo>
                    <a:lnTo>
                      <a:pt x="128" y="70"/>
                    </a:lnTo>
                    <a:lnTo>
                      <a:pt x="130" y="70"/>
                    </a:lnTo>
                    <a:lnTo>
                      <a:pt x="133" y="67"/>
                    </a:lnTo>
                    <a:lnTo>
                      <a:pt x="142" y="34"/>
                    </a:lnTo>
                    <a:lnTo>
                      <a:pt x="136" y="31"/>
                    </a:lnTo>
                    <a:lnTo>
                      <a:pt x="142" y="25"/>
                    </a:lnTo>
                    <a:lnTo>
                      <a:pt x="142" y="17"/>
                    </a:lnTo>
                    <a:lnTo>
                      <a:pt x="142" y="14"/>
                    </a:lnTo>
                    <a:lnTo>
                      <a:pt x="144" y="14"/>
                    </a:lnTo>
                    <a:lnTo>
                      <a:pt x="144" y="9"/>
                    </a:lnTo>
                    <a:lnTo>
                      <a:pt x="147" y="6"/>
                    </a:lnTo>
                    <a:lnTo>
                      <a:pt x="150" y="6"/>
                    </a:lnTo>
                    <a:lnTo>
                      <a:pt x="150" y="9"/>
                    </a:lnTo>
                    <a:lnTo>
                      <a:pt x="153" y="11"/>
                    </a:lnTo>
                    <a:lnTo>
                      <a:pt x="153" y="14"/>
                    </a:lnTo>
                    <a:lnTo>
                      <a:pt x="155" y="11"/>
                    </a:lnTo>
                    <a:lnTo>
                      <a:pt x="158" y="11"/>
                    </a:lnTo>
                    <a:lnTo>
                      <a:pt x="161" y="9"/>
                    </a:lnTo>
                    <a:lnTo>
                      <a:pt x="161" y="3"/>
                    </a:lnTo>
                    <a:lnTo>
                      <a:pt x="158" y="6"/>
                    </a:lnTo>
                    <a:lnTo>
                      <a:pt x="155" y="6"/>
                    </a:lnTo>
                    <a:lnTo>
                      <a:pt x="153" y="3"/>
                    </a:lnTo>
                    <a:lnTo>
                      <a:pt x="155" y="0"/>
                    </a:lnTo>
                    <a:lnTo>
                      <a:pt x="15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2" name="Freeform 795"/>
              <p:cNvSpPr>
                <a:spLocks noChangeAspect="1"/>
              </p:cNvSpPr>
              <p:nvPr>
                <p:custDataLst>
                  <p:tags r:id="rId1092"/>
                </p:custDataLst>
              </p:nvPr>
            </p:nvSpPr>
            <p:spPr bwMode="gray">
              <a:xfrm>
                <a:off x="8026708" y="3321718"/>
                <a:ext cx="7592" cy="11038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2147483647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0 w 5"/>
                  <a:gd name="T9" fmla="*/ 2147483647 h 9"/>
                  <a:gd name="T10" fmla="*/ 0 w 5"/>
                  <a:gd name="T11" fmla="*/ 2147483647 h 9"/>
                  <a:gd name="T12" fmla="*/ 2147483647 w 5"/>
                  <a:gd name="T13" fmla="*/ 0 h 9"/>
                  <a:gd name="T14" fmla="*/ 2147483647 w 5"/>
                  <a:gd name="T15" fmla="*/ 0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9"/>
                  <a:gd name="T26" fmla="*/ 5 w 5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9">
                    <a:moveTo>
                      <a:pt x="5" y="0"/>
                    </a:moveTo>
                    <a:lnTo>
                      <a:pt x="5" y="3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3" name="Freeform 796"/>
              <p:cNvSpPr>
                <a:spLocks noChangeAspect="1"/>
              </p:cNvSpPr>
              <p:nvPr>
                <p:custDataLst>
                  <p:tags r:id="rId1093"/>
                </p:custDataLst>
              </p:nvPr>
            </p:nvSpPr>
            <p:spPr bwMode="gray">
              <a:xfrm>
                <a:off x="8026708" y="3321718"/>
                <a:ext cx="7592" cy="11038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2147483647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0 w 5"/>
                  <a:gd name="T9" fmla="*/ 2147483647 h 9"/>
                  <a:gd name="T10" fmla="*/ 0 w 5"/>
                  <a:gd name="T11" fmla="*/ 2147483647 h 9"/>
                  <a:gd name="T12" fmla="*/ 2147483647 w 5"/>
                  <a:gd name="T13" fmla="*/ 0 h 9"/>
                  <a:gd name="T14" fmla="*/ 2147483647 w 5"/>
                  <a:gd name="T15" fmla="*/ 0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9"/>
                  <a:gd name="T26" fmla="*/ 5 w 5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9">
                    <a:moveTo>
                      <a:pt x="5" y="0"/>
                    </a:moveTo>
                    <a:lnTo>
                      <a:pt x="5" y="3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4" name="Freeform 797"/>
              <p:cNvSpPr>
                <a:spLocks noChangeAspect="1"/>
              </p:cNvSpPr>
              <p:nvPr>
                <p:custDataLst>
                  <p:tags r:id="rId1094"/>
                </p:custDataLst>
              </p:nvPr>
            </p:nvSpPr>
            <p:spPr bwMode="gray">
              <a:xfrm>
                <a:off x="7903714" y="3417899"/>
                <a:ext cx="50110" cy="40995"/>
              </a:xfrm>
              <a:custGeom>
                <a:avLst/>
                <a:gdLst>
                  <a:gd name="T0" fmla="*/ 2147483647 w 39"/>
                  <a:gd name="T1" fmla="*/ 2147483647 h 31"/>
                  <a:gd name="T2" fmla="*/ 2147483647 w 39"/>
                  <a:gd name="T3" fmla="*/ 2147483647 h 31"/>
                  <a:gd name="T4" fmla="*/ 2147483647 w 39"/>
                  <a:gd name="T5" fmla="*/ 2147483647 h 31"/>
                  <a:gd name="T6" fmla="*/ 2147483647 w 39"/>
                  <a:gd name="T7" fmla="*/ 2147483647 h 31"/>
                  <a:gd name="T8" fmla="*/ 2147483647 w 39"/>
                  <a:gd name="T9" fmla="*/ 2147483647 h 31"/>
                  <a:gd name="T10" fmla="*/ 2147483647 w 39"/>
                  <a:gd name="T11" fmla="*/ 2147483647 h 31"/>
                  <a:gd name="T12" fmla="*/ 2147483647 w 39"/>
                  <a:gd name="T13" fmla="*/ 2147483647 h 31"/>
                  <a:gd name="T14" fmla="*/ 2147483647 w 39"/>
                  <a:gd name="T15" fmla="*/ 2147483647 h 31"/>
                  <a:gd name="T16" fmla="*/ 2147483647 w 39"/>
                  <a:gd name="T17" fmla="*/ 2147483647 h 31"/>
                  <a:gd name="T18" fmla="*/ 2147483647 w 39"/>
                  <a:gd name="T19" fmla="*/ 2147483647 h 31"/>
                  <a:gd name="T20" fmla="*/ 2147483647 w 39"/>
                  <a:gd name="T21" fmla="*/ 2147483647 h 31"/>
                  <a:gd name="T22" fmla="*/ 2147483647 w 39"/>
                  <a:gd name="T23" fmla="*/ 2147483647 h 31"/>
                  <a:gd name="T24" fmla="*/ 0 w 39"/>
                  <a:gd name="T25" fmla="*/ 2147483647 h 31"/>
                  <a:gd name="T26" fmla="*/ 2147483647 w 39"/>
                  <a:gd name="T27" fmla="*/ 2147483647 h 31"/>
                  <a:gd name="T28" fmla="*/ 2147483647 w 39"/>
                  <a:gd name="T29" fmla="*/ 2147483647 h 31"/>
                  <a:gd name="T30" fmla="*/ 2147483647 w 39"/>
                  <a:gd name="T31" fmla="*/ 2147483647 h 31"/>
                  <a:gd name="T32" fmla="*/ 2147483647 w 39"/>
                  <a:gd name="T33" fmla="*/ 2147483647 h 31"/>
                  <a:gd name="T34" fmla="*/ 2147483647 w 39"/>
                  <a:gd name="T35" fmla="*/ 2147483647 h 31"/>
                  <a:gd name="T36" fmla="*/ 2147483647 w 39"/>
                  <a:gd name="T37" fmla="*/ 0 h 31"/>
                  <a:gd name="T38" fmla="*/ 2147483647 w 39"/>
                  <a:gd name="T39" fmla="*/ 0 h 31"/>
                  <a:gd name="T40" fmla="*/ 2147483647 w 39"/>
                  <a:gd name="T41" fmla="*/ 2147483647 h 31"/>
                  <a:gd name="T42" fmla="*/ 2147483647 w 39"/>
                  <a:gd name="T43" fmla="*/ 2147483647 h 31"/>
                  <a:gd name="T44" fmla="*/ 2147483647 w 39"/>
                  <a:gd name="T45" fmla="*/ 2147483647 h 31"/>
                  <a:gd name="T46" fmla="*/ 2147483647 w 39"/>
                  <a:gd name="T47" fmla="*/ 2147483647 h 31"/>
                  <a:gd name="T48" fmla="*/ 2147483647 w 39"/>
                  <a:gd name="T49" fmla="*/ 2147483647 h 31"/>
                  <a:gd name="T50" fmla="*/ 2147483647 w 39"/>
                  <a:gd name="T51" fmla="*/ 2147483647 h 31"/>
                  <a:gd name="T52" fmla="*/ 2147483647 w 39"/>
                  <a:gd name="T53" fmla="*/ 2147483647 h 31"/>
                  <a:gd name="T54" fmla="*/ 2147483647 w 39"/>
                  <a:gd name="T55" fmla="*/ 2147483647 h 3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9"/>
                  <a:gd name="T85" fmla="*/ 0 h 31"/>
                  <a:gd name="T86" fmla="*/ 39 w 39"/>
                  <a:gd name="T87" fmla="*/ 31 h 3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9" h="31">
                    <a:moveTo>
                      <a:pt x="31" y="20"/>
                    </a:moveTo>
                    <a:lnTo>
                      <a:pt x="25" y="17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4" y="28"/>
                    </a:lnTo>
                    <a:lnTo>
                      <a:pt x="14" y="31"/>
                    </a:lnTo>
                    <a:lnTo>
                      <a:pt x="11" y="31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6" y="23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0" y="20"/>
                    </a:lnTo>
                    <a:lnTo>
                      <a:pt x="11" y="9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2" y="6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6" y="3"/>
                    </a:lnTo>
                    <a:lnTo>
                      <a:pt x="39" y="12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1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5" name="Freeform 798"/>
              <p:cNvSpPr>
                <a:spLocks noChangeAspect="1"/>
              </p:cNvSpPr>
              <p:nvPr>
                <p:custDataLst>
                  <p:tags r:id="rId1095"/>
                </p:custDataLst>
              </p:nvPr>
            </p:nvSpPr>
            <p:spPr bwMode="gray">
              <a:xfrm>
                <a:off x="7953824" y="3416323"/>
                <a:ext cx="7592" cy="6307"/>
              </a:xfrm>
              <a:custGeom>
                <a:avLst/>
                <a:gdLst>
                  <a:gd name="T0" fmla="*/ 2147483647 w 6"/>
                  <a:gd name="T1" fmla="*/ 0 h 5"/>
                  <a:gd name="T2" fmla="*/ 0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2147483647 w 6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6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Freeform 799"/>
              <p:cNvSpPr>
                <a:spLocks noChangeAspect="1"/>
              </p:cNvSpPr>
              <p:nvPr>
                <p:custDataLst>
                  <p:tags r:id="rId1096"/>
                </p:custDataLst>
              </p:nvPr>
            </p:nvSpPr>
            <p:spPr bwMode="gray">
              <a:xfrm>
                <a:off x="7953824" y="3416323"/>
                <a:ext cx="7592" cy="6307"/>
              </a:xfrm>
              <a:custGeom>
                <a:avLst/>
                <a:gdLst>
                  <a:gd name="T0" fmla="*/ 2147483647 w 6"/>
                  <a:gd name="T1" fmla="*/ 0 h 5"/>
                  <a:gd name="T2" fmla="*/ 0 w 6"/>
                  <a:gd name="T3" fmla="*/ 2147483647 h 5"/>
                  <a:gd name="T4" fmla="*/ 2147483647 w 6"/>
                  <a:gd name="T5" fmla="*/ 2147483647 h 5"/>
                  <a:gd name="T6" fmla="*/ 2147483647 w 6"/>
                  <a:gd name="T7" fmla="*/ 2147483647 h 5"/>
                  <a:gd name="T8" fmla="*/ 2147483647 w 6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6" y="0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6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Freeform 800"/>
              <p:cNvSpPr>
                <a:spLocks noChangeAspect="1"/>
              </p:cNvSpPr>
              <p:nvPr>
                <p:custDataLst>
                  <p:tags r:id="rId1097"/>
                </p:custDataLst>
              </p:nvPr>
            </p:nvSpPr>
            <p:spPr bwMode="gray">
              <a:xfrm>
                <a:off x="7852086" y="3428937"/>
                <a:ext cx="47072" cy="69377"/>
              </a:xfrm>
              <a:custGeom>
                <a:avLst/>
                <a:gdLst>
                  <a:gd name="T0" fmla="*/ 2147483647 w 36"/>
                  <a:gd name="T1" fmla="*/ 0 h 53"/>
                  <a:gd name="T2" fmla="*/ 2147483647 w 36"/>
                  <a:gd name="T3" fmla="*/ 0 h 53"/>
                  <a:gd name="T4" fmla="*/ 2147483647 w 36"/>
                  <a:gd name="T5" fmla="*/ 0 h 53"/>
                  <a:gd name="T6" fmla="*/ 2147483647 w 36"/>
                  <a:gd name="T7" fmla="*/ 0 h 53"/>
                  <a:gd name="T8" fmla="*/ 2147483647 w 36"/>
                  <a:gd name="T9" fmla="*/ 2147483647 h 53"/>
                  <a:gd name="T10" fmla="*/ 2147483647 w 36"/>
                  <a:gd name="T11" fmla="*/ 2147483647 h 53"/>
                  <a:gd name="T12" fmla="*/ 2147483647 w 36"/>
                  <a:gd name="T13" fmla="*/ 2147483647 h 53"/>
                  <a:gd name="T14" fmla="*/ 2147483647 w 36"/>
                  <a:gd name="T15" fmla="*/ 2147483647 h 53"/>
                  <a:gd name="T16" fmla="*/ 2147483647 w 36"/>
                  <a:gd name="T17" fmla="*/ 2147483647 h 53"/>
                  <a:gd name="T18" fmla="*/ 2147483647 w 36"/>
                  <a:gd name="T19" fmla="*/ 2147483647 h 53"/>
                  <a:gd name="T20" fmla="*/ 2147483647 w 36"/>
                  <a:gd name="T21" fmla="*/ 2147483647 h 53"/>
                  <a:gd name="T22" fmla="*/ 0 w 36"/>
                  <a:gd name="T23" fmla="*/ 2147483647 h 53"/>
                  <a:gd name="T24" fmla="*/ 2147483647 w 36"/>
                  <a:gd name="T25" fmla="*/ 2147483647 h 53"/>
                  <a:gd name="T26" fmla="*/ 2147483647 w 36"/>
                  <a:gd name="T27" fmla="*/ 2147483647 h 53"/>
                  <a:gd name="T28" fmla="*/ 2147483647 w 36"/>
                  <a:gd name="T29" fmla="*/ 2147483647 h 53"/>
                  <a:gd name="T30" fmla="*/ 0 w 36"/>
                  <a:gd name="T31" fmla="*/ 2147483647 h 53"/>
                  <a:gd name="T32" fmla="*/ 0 w 36"/>
                  <a:gd name="T33" fmla="*/ 2147483647 h 53"/>
                  <a:gd name="T34" fmla="*/ 2147483647 w 36"/>
                  <a:gd name="T35" fmla="*/ 2147483647 h 53"/>
                  <a:gd name="T36" fmla="*/ 2147483647 w 36"/>
                  <a:gd name="T37" fmla="*/ 2147483647 h 53"/>
                  <a:gd name="T38" fmla="*/ 2147483647 w 36"/>
                  <a:gd name="T39" fmla="*/ 2147483647 h 53"/>
                  <a:gd name="T40" fmla="*/ 2147483647 w 36"/>
                  <a:gd name="T41" fmla="*/ 2147483647 h 53"/>
                  <a:gd name="T42" fmla="*/ 2147483647 w 36"/>
                  <a:gd name="T43" fmla="*/ 2147483647 h 53"/>
                  <a:gd name="T44" fmla="*/ 2147483647 w 36"/>
                  <a:gd name="T45" fmla="*/ 2147483647 h 53"/>
                  <a:gd name="T46" fmla="*/ 2147483647 w 36"/>
                  <a:gd name="T47" fmla="*/ 2147483647 h 53"/>
                  <a:gd name="T48" fmla="*/ 2147483647 w 36"/>
                  <a:gd name="T49" fmla="*/ 2147483647 h 53"/>
                  <a:gd name="T50" fmla="*/ 2147483647 w 36"/>
                  <a:gd name="T51" fmla="*/ 2147483647 h 53"/>
                  <a:gd name="T52" fmla="*/ 2147483647 w 36"/>
                  <a:gd name="T53" fmla="*/ 2147483647 h 53"/>
                  <a:gd name="T54" fmla="*/ 2147483647 w 36"/>
                  <a:gd name="T55" fmla="*/ 2147483647 h 53"/>
                  <a:gd name="T56" fmla="*/ 2147483647 w 36"/>
                  <a:gd name="T57" fmla="*/ 2147483647 h 53"/>
                  <a:gd name="T58" fmla="*/ 2147483647 w 36"/>
                  <a:gd name="T59" fmla="*/ 2147483647 h 53"/>
                  <a:gd name="T60" fmla="*/ 2147483647 w 36"/>
                  <a:gd name="T61" fmla="*/ 2147483647 h 53"/>
                  <a:gd name="T62" fmla="*/ 2147483647 w 36"/>
                  <a:gd name="T63" fmla="*/ 2147483647 h 53"/>
                  <a:gd name="T64" fmla="*/ 2147483647 w 36"/>
                  <a:gd name="T65" fmla="*/ 2147483647 h 53"/>
                  <a:gd name="T66" fmla="*/ 2147483647 w 36"/>
                  <a:gd name="T67" fmla="*/ 2147483647 h 53"/>
                  <a:gd name="T68" fmla="*/ 2147483647 w 36"/>
                  <a:gd name="T69" fmla="*/ 2147483647 h 53"/>
                  <a:gd name="T70" fmla="*/ 2147483647 w 36"/>
                  <a:gd name="T71" fmla="*/ 2147483647 h 53"/>
                  <a:gd name="T72" fmla="*/ 2147483647 w 36"/>
                  <a:gd name="T73" fmla="*/ 2147483647 h 53"/>
                  <a:gd name="T74" fmla="*/ 2147483647 w 36"/>
                  <a:gd name="T75" fmla="*/ 2147483647 h 53"/>
                  <a:gd name="T76" fmla="*/ 2147483647 w 36"/>
                  <a:gd name="T77" fmla="*/ 2147483647 h 53"/>
                  <a:gd name="T78" fmla="*/ 2147483647 w 36"/>
                  <a:gd name="T79" fmla="*/ 2147483647 h 53"/>
                  <a:gd name="T80" fmla="*/ 2147483647 w 36"/>
                  <a:gd name="T81" fmla="*/ 2147483647 h 53"/>
                  <a:gd name="T82" fmla="*/ 2147483647 w 36"/>
                  <a:gd name="T83" fmla="*/ 2147483647 h 53"/>
                  <a:gd name="T84" fmla="*/ 2147483647 w 36"/>
                  <a:gd name="T85" fmla="*/ 2147483647 h 53"/>
                  <a:gd name="T86" fmla="*/ 2147483647 w 36"/>
                  <a:gd name="T87" fmla="*/ 2147483647 h 53"/>
                  <a:gd name="T88" fmla="*/ 2147483647 w 36"/>
                  <a:gd name="T89" fmla="*/ 2147483647 h 53"/>
                  <a:gd name="T90" fmla="*/ 2147483647 w 36"/>
                  <a:gd name="T91" fmla="*/ 2147483647 h 53"/>
                  <a:gd name="T92" fmla="*/ 2147483647 w 36"/>
                  <a:gd name="T93" fmla="*/ 2147483647 h 53"/>
                  <a:gd name="T94" fmla="*/ 2147483647 w 36"/>
                  <a:gd name="T95" fmla="*/ 2147483647 h 53"/>
                  <a:gd name="T96" fmla="*/ 2147483647 w 36"/>
                  <a:gd name="T97" fmla="*/ 2147483647 h 53"/>
                  <a:gd name="T98" fmla="*/ 2147483647 w 36"/>
                  <a:gd name="T99" fmla="*/ 2147483647 h 53"/>
                  <a:gd name="T100" fmla="*/ 2147483647 w 36"/>
                  <a:gd name="T101" fmla="*/ 2147483647 h 53"/>
                  <a:gd name="T102" fmla="*/ 2147483647 w 36"/>
                  <a:gd name="T103" fmla="*/ 2147483647 h 53"/>
                  <a:gd name="T104" fmla="*/ 2147483647 w 36"/>
                  <a:gd name="T105" fmla="*/ 2147483647 h 53"/>
                  <a:gd name="T106" fmla="*/ 2147483647 w 36"/>
                  <a:gd name="T107" fmla="*/ 2147483647 h 53"/>
                  <a:gd name="T108" fmla="*/ 2147483647 w 36"/>
                  <a:gd name="T109" fmla="*/ 2147483647 h 53"/>
                  <a:gd name="T110" fmla="*/ 2147483647 w 36"/>
                  <a:gd name="T111" fmla="*/ 2147483647 h 53"/>
                  <a:gd name="T112" fmla="*/ 2147483647 w 36"/>
                  <a:gd name="T113" fmla="*/ 2147483647 h 53"/>
                  <a:gd name="T114" fmla="*/ 2147483647 w 36"/>
                  <a:gd name="T115" fmla="*/ 2147483647 h 53"/>
                  <a:gd name="T116" fmla="*/ 2147483647 w 36"/>
                  <a:gd name="T117" fmla="*/ 0 h 53"/>
                  <a:gd name="T118" fmla="*/ 2147483647 w 36"/>
                  <a:gd name="T119" fmla="*/ 0 h 5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6"/>
                  <a:gd name="T181" fmla="*/ 0 h 53"/>
                  <a:gd name="T182" fmla="*/ 36 w 36"/>
                  <a:gd name="T183" fmla="*/ 53 h 5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6" h="53">
                    <a:moveTo>
                      <a:pt x="17" y="0"/>
                    </a:moveTo>
                    <a:lnTo>
                      <a:pt x="20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4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0" y="17"/>
                    </a:lnTo>
                    <a:lnTo>
                      <a:pt x="0" y="25"/>
                    </a:lnTo>
                    <a:lnTo>
                      <a:pt x="3" y="22"/>
                    </a:lnTo>
                    <a:lnTo>
                      <a:pt x="6" y="22"/>
                    </a:lnTo>
                    <a:lnTo>
                      <a:pt x="8" y="25"/>
                    </a:lnTo>
                    <a:lnTo>
                      <a:pt x="11" y="22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14" y="22"/>
                    </a:lnTo>
                    <a:lnTo>
                      <a:pt x="14" y="25"/>
                    </a:lnTo>
                    <a:lnTo>
                      <a:pt x="14" y="28"/>
                    </a:lnTo>
                    <a:lnTo>
                      <a:pt x="11" y="33"/>
                    </a:lnTo>
                    <a:lnTo>
                      <a:pt x="8" y="36"/>
                    </a:lnTo>
                    <a:lnTo>
                      <a:pt x="8" y="44"/>
                    </a:lnTo>
                    <a:lnTo>
                      <a:pt x="8" y="47"/>
                    </a:lnTo>
                    <a:lnTo>
                      <a:pt x="11" y="50"/>
                    </a:lnTo>
                    <a:lnTo>
                      <a:pt x="14" y="50"/>
                    </a:lnTo>
                    <a:lnTo>
                      <a:pt x="14" y="47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7" y="42"/>
                    </a:lnTo>
                    <a:lnTo>
                      <a:pt x="17" y="44"/>
                    </a:lnTo>
                    <a:lnTo>
                      <a:pt x="17" y="53"/>
                    </a:lnTo>
                    <a:lnTo>
                      <a:pt x="20" y="53"/>
                    </a:lnTo>
                    <a:lnTo>
                      <a:pt x="22" y="50"/>
                    </a:lnTo>
                    <a:lnTo>
                      <a:pt x="22" y="47"/>
                    </a:lnTo>
                    <a:lnTo>
                      <a:pt x="22" y="44"/>
                    </a:lnTo>
                    <a:lnTo>
                      <a:pt x="25" y="47"/>
                    </a:lnTo>
                    <a:lnTo>
                      <a:pt x="36" y="19"/>
                    </a:lnTo>
                    <a:lnTo>
                      <a:pt x="36" y="17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31" y="11"/>
                    </a:lnTo>
                    <a:lnTo>
                      <a:pt x="31" y="8"/>
                    </a:lnTo>
                    <a:lnTo>
                      <a:pt x="31" y="5"/>
                    </a:lnTo>
                    <a:lnTo>
                      <a:pt x="28" y="5"/>
                    </a:lnTo>
                    <a:lnTo>
                      <a:pt x="22" y="5"/>
                    </a:lnTo>
                    <a:lnTo>
                      <a:pt x="20" y="3"/>
                    </a:lnTo>
                    <a:lnTo>
                      <a:pt x="2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8" name="Freeform 801"/>
              <p:cNvSpPr>
                <a:spLocks noChangeAspect="1"/>
              </p:cNvSpPr>
              <p:nvPr>
                <p:custDataLst>
                  <p:tags r:id="rId1098"/>
                </p:custDataLst>
              </p:nvPr>
            </p:nvSpPr>
            <p:spPr bwMode="gray">
              <a:xfrm>
                <a:off x="7859679" y="3465202"/>
                <a:ext cx="3037" cy="6307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0 h 5"/>
                  <a:gd name="T4" fmla="*/ 0 w 2"/>
                  <a:gd name="T5" fmla="*/ 2147483647 h 5"/>
                  <a:gd name="T6" fmla="*/ 0 w 2"/>
                  <a:gd name="T7" fmla="*/ 2147483647 h 5"/>
                  <a:gd name="T8" fmla="*/ 2147483647 w 2"/>
                  <a:gd name="T9" fmla="*/ 0 h 5"/>
                  <a:gd name="T10" fmla="*/ 0 w 2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5"/>
                  <a:gd name="T20" fmla="*/ 2 w 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9" name="Freeform 802"/>
              <p:cNvSpPr>
                <a:spLocks noChangeAspect="1"/>
              </p:cNvSpPr>
              <p:nvPr>
                <p:custDataLst>
                  <p:tags r:id="rId1099"/>
                </p:custDataLst>
              </p:nvPr>
            </p:nvSpPr>
            <p:spPr bwMode="gray">
              <a:xfrm>
                <a:off x="7877899" y="3504619"/>
                <a:ext cx="4555" cy="11038"/>
              </a:xfrm>
              <a:custGeom>
                <a:avLst/>
                <a:gdLst>
                  <a:gd name="T0" fmla="*/ 2147483647 w 2"/>
                  <a:gd name="T1" fmla="*/ 2147483647 h 9"/>
                  <a:gd name="T2" fmla="*/ 2147483647 w 2"/>
                  <a:gd name="T3" fmla="*/ 0 h 9"/>
                  <a:gd name="T4" fmla="*/ 0 w 2"/>
                  <a:gd name="T5" fmla="*/ 2147483647 h 9"/>
                  <a:gd name="T6" fmla="*/ 0 w 2"/>
                  <a:gd name="T7" fmla="*/ 2147483647 h 9"/>
                  <a:gd name="T8" fmla="*/ 2147483647 w 2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9"/>
                  <a:gd name="T17" fmla="*/ 2 w 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9">
                    <a:moveTo>
                      <a:pt x="2" y="3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0" name="Freeform 803"/>
              <p:cNvSpPr>
                <a:spLocks noChangeAspect="1"/>
              </p:cNvSpPr>
              <p:nvPr>
                <p:custDataLst>
                  <p:tags r:id="rId1100"/>
                </p:custDataLst>
              </p:nvPr>
            </p:nvSpPr>
            <p:spPr bwMode="gray">
              <a:xfrm>
                <a:off x="7877899" y="3504619"/>
                <a:ext cx="4555" cy="11038"/>
              </a:xfrm>
              <a:custGeom>
                <a:avLst/>
                <a:gdLst>
                  <a:gd name="T0" fmla="*/ 2147483647 w 2"/>
                  <a:gd name="T1" fmla="*/ 2147483647 h 9"/>
                  <a:gd name="T2" fmla="*/ 2147483647 w 2"/>
                  <a:gd name="T3" fmla="*/ 0 h 9"/>
                  <a:gd name="T4" fmla="*/ 0 w 2"/>
                  <a:gd name="T5" fmla="*/ 2147483647 h 9"/>
                  <a:gd name="T6" fmla="*/ 0 w 2"/>
                  <a:gd name="T7" fmla="*/ 2147483647 h 9"/>
                  <a:gd name="T8" fmla="*/ 2147483647 w 2"/>
                  <a:gd name="T9" fmla="*/ 214748364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9"/>
                  <a:gd name="T17" fmla="*/ 2 w 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9">
                    <a:moveTo>
                      <a:pt x="2" y="3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Freeform 804"/>
              <p:cNvSpPr>
                <a:spLocks noChangeAspect="1"/>
              </p:cNvSpPr>
              <p:nvPr>
                <p:custDataLst>
                  <p:tags r:id="rId1101"/>
                </p:custDataLst>
              </p:nvPr>
            </p:nvSpPr>
            <p:spPr bwMode="gray">
              <a:xfrm>
                <a:off x="7865753" y="3512505"/>
                <a:ext cx="6074" cy="6307"/>
              </a:xfrm>
              <a:custGeom>
                <a:avLst/>
                <a:gdLst>
                  <a:gd name="T0" fmla="*/ 2147483647 w 3"/>
                  <a:gd name="T1" fmla="*/ 0 h 5"/>
                  <a:gd name="T2" fmla="*/ 0 w 3"/>
                  <a:gd name="T3" fmla="*/ 0 h 5"/>
                  <a:gd name="T4" fmla="*/ 0 w 3"/>
                  <a:gd name="T5" fmla="*/ 2147483647 h 5"/>
                  <a:gd name="T6" fmla="*/ 0 w 3"/>
                  <a:gd name="T7" fmla="*/ 2147483647 h 5"/>
                  <a:gd name="T8" fmla="*/ 2147483647 w 3"/>
                  <a:gd name="T9" fmla="*/ 2147483647 h 5"/>
                  <a:gd name="T10" fmla="*/ 2147483647 w 3"/>
                  <a:gd name="T11" fmla="*/ 2147483647 h 5"/>
                  <a:gd name="T12" fmla="*/ 2147483647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2" name="Freeform 805"/>
              <p:cNvSpPr>
                <a:spLocks noChangeAspect="1"/>
              </p:cNvSpPr>
              <p:nvPr>
                <p:custDataLst>
                  <p:tags r:id="rId1102"/>
                </p:custDataLst>
              </p:nvPr>
            </p:nvSpPr>
            <p:spPr bwMode="gray">
              <a:xfrm>
                <a:off x="7865753" y="3512505"/>
                <a:ext cx="6074" cy="6307"/>
              </a:xfrm>
              <a:custGeom>
                <a:avLst/>
                <a:gdLst>
                  <a:gd name="T0" fmla="*/ 2147483647 w 3"/>
                  <a:gd name="T1" fmla="*/ 0 h 5"/>
                  <a:gd name="T2" fmla="*/ 0 w 3"/>
                  <a:gd name="T3" fmla="*/ 0 h 5"/>
                  <a:gd name="T4" fmla="*/ 0 w 3"/>
                  <a:gd name="T5" fmla="*/ 2147483647 h 5"/>
                  <a:gd name="T6" fmla="*/ 0 w 3"/>
                  <a:gd name="T7" fmla="*/ 2147483647 h 5"/>
                  <a:gd name="T8" fmla="*/ 2147483647 w 3"/>
                  <a:gd name="T9" fmla="*/ 2147483647 h 5"/>
                  <a:gd name="T10" fmla="*/ 2147483647 w 3"/>
                  <a:gd name="T11" fmla="*/ 2147483647 h 5"/>
                  <a:gd name="T12" fmla="*/ 2147483647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Rectangle 806"/>
              <p:cNvSpPr>
                <a:spLocks noChangeAspect="1" noChangeArrowheads="1"/>
              </p:cNvSpPr>
              <p:nvPr>
                <p:custDataLst>
                  <p:tags r:id="rId1103"/>
                </p:custDataLst>
              </p:nvPr>
            </p:nvSpPr>
            <p:spPr bwMode="gray">
              <a:xfrm>
                <a:off x="7830827" y="3458897"/>
                <a:ext cx="3037" cy="315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Rectangle 807"/>
              <p:cNvSpPr>
                <a:spLocks noChangeAspect="1" noChangeArrowheads="1"/>
              </p:cNvSpPr>
              <p:nvPr>
                <p:custDataLst>
                  <p:tags r:id="rId1104"/>
                </p:custDataLst>
              </p:nvPr>
            </p:nvSpPr>
            <p:spPr bwMode="gray">
              <a:xfrm>
                <a:off x="7830827" y="3458897"/>
                <a:ext cx="3037" cy="315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Freeform 808"/>
              <p:cNvSpPr>
                <a:spLocks noChangeAspect="1"/>
              </p:cNvSpPr>
              <p:nvPr>
                <p:custDataLst>
                  <p:tags r:id="rId1105"/>
                </p:custDataLst>
              </p:nvPr>
            </p:nvSpPr>
            <p:spPr bwMode="gray">
              <a:xfrm>
                <a:off x="7838422" y="3451010"/>
                <a:ext cx="4555" cy="3154"/>
              </a:xfrm>
              <a:custGeom>
                <a:avLst/>
                <a:gdLst>
                  <a:gd name="T0" fmla="*/ 2147483647 w 3"/>
                  <a:gd name="T1" fmla="*/ 0 h 2"/>
                  <a:gd name="T2" fmla="*/ 2147483647 w 3"/>
                  <a:gd name="T3" fmla="*/ 0 h 2"/>
                  <a:gd name="T4" fmla="*/ 2147483647 w 3"/>
                  <a:gd name="T5" fmla="*/ 0 h 2"/>
                  <a:gd name="T6" fmla="*/ 0 w 3"/>
                  <a:gd name="T7" fmla="*/ 2147483647 h 2"/>
                  <a:gd name="T8" fmla="*/ 0 w 3"/>
                  <a:gd name="T9" fmla="*/ 2147483647 h 2"/>
                  <a:gd name="T10" fmla="*/ 2147483647 w 3"/>
                  <a:gd name="T11" fmla="*/ 2147483647 h 2"/>
                  <a:gd name="T12" fmla="*/ 2147483647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Freeform 809"/>
              <p:cNvSpPr>
                <a:spLocks noChangeAspect="1"/>
              </p:cNvSpPr>
              <p:nvPr>
                <p:custDataLst>
                  <p:tags r:id="rId1106"/>
                </p:custDataLst>
              </p:nvPr>
            </p:nvSpPr>
            <p:spPr bwMode="gray">
              <a:xfrm>
                <a:off x="7838422" y="3451010"/>
                <a:ext cx="4555" cy="3154"/>
              </a:xfrm>
              <a:custGeom>
                <a:avLst/>
                <a:gdLst>
                  <a:gd name="T0" fmla="*/ 2147483647 w 3"/>
                  <a:gd name="T1" fmla="*/ 0 h 2"/>
                  <a:gd name="T2" fmla="*/ 2147483647 w 3"/>
                  <a:gd name="T3" fmla="*/ 0 h 2"/>
                  <a:gd name="T4" fmla="*/ 2147483647 w 3"/>
                  <a:gd name="T5" fmla="*/ 0 h 2"/>
                  <a:gd name="T6" fmla="*/ 0 w 3"/>
                  <a:gd name="T7" fmla="*/ 2147483647 h 2"/>
                  <a:gd name="T8" fmla="*/ 0 w 3"/>
                  <a:gd name="T9" fmla="*/ 2147483647 h 2"/>
                  <a:gd name="T10" fmla="*/ 2147483647 w 3"/>
                  <a:gd name="T11" fmla="*/ 2147483647 h 2"/>
                  <a:gd name="T12" fmla="*/ 2147483647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Rectangle 810"/>
              <p:cNvSpPr>
                <a:spLocks noChangeAspect="1" noChangeArrowheads="1"/>
              </p:cNvSpPr>
              <p:nvPr>
                <p:custDataLst>
                  <p:tags r:id="rId1107"/>
                </p:custDataLst>
              </p:nvPr>
            </p:nvSpPr>
            <p:spPr bwMode="gray">
              <a:xfrm>
                <a:off x="7852086" y="3433667"/>
                <a:ext cx="1519" cy="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Rectangle 811"/>
              <p:cNvSpPr>
                <a:spLocks noChangeAspect="1" noChangeArrowheads="1"/>
              </p:cNvSpPr>
              <p:nvPr>
                <p:custDataLst>
                  <p:tags r:id="rId1108"/>
                </p:custDataLst>
              </p:nvPr>
            </p:nvSpPr>
            <p:spPr bwMode="gray">
              <a:xfrm>
                <a:off x="7852086" y="3433667"/>
                <a:ext cx="1519" cy="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Freeform 812"/>
              <p:cNvSpPr>
                <a:spLocks noChangeAspect="1"/>
              </p:cNvSpPr>
              <p:nvPr>
                <p:custDataLst>
                  <p:tags r:id="rId1109"/>
                </p:custDataLst>
              </p:nvPr>
            </p:nvSpPr>
            <p:spPr bwMode="gray">
              <a:xfrm>
                <a:off x="7657723" y="3626028"/>
                <a:ext cx="36444" cy="75684"/>
              </a:xfrm>
              <a:custGeom>
                <a:avLst/>
                <a:gdLst>
                  <a:gd name="T0" fmla="*/ 40734342 w 28"/>
                  <a:gd name="T1" fmla="*/ 0 h 58"/>
                  <a:gd name="T2" fmla="*/ 40734342 w 28"/>
                  <a:gd name="T3" fmla="*/ 5177659 h 58"/>
                  <a:gd name="T4" fmla="*/ 46288787 w 28"/>
                  <a:gd name="T5" fmla="*/ 5177659 h 58"/>
                  <a:gd name="T6" fmla="*/ 46288787 w 28"/>
                  <a:gd name="T7" fmla="*/ 5177659 h 58"/>
                  <a:gd name="T8" fmla="*/ 51843221 w 28"/>
                  <a:gd name="T9" fmla="*/ 5177659 h 58"/>
                  <a:gd name="T10" fmla="*/ 51843221 w 28"/>
                  <a:gd name="T11" fmla="*/ 10356631 h 58"/>
                  <a:gd name="T12" fmla="*/ 46288787 w 28"/>
                  <a:gd name="T13" fmla="*/ 18986938 h 58"/>
                  <a:gd name="T14" fmla="*/ 51843221 w 28"/>
                  <a:gd name="T15" fmla="*/ 24164600 h 58"/>
                  <a:gd name="T16" fmla="*/ 20367171 w 28"/>
                  <a:gd name="T17" fmla="*/ 100111049 h 58"/>
                  <a:gd name="T18" fmla="*/ 20367171 w 28"/>
                  <a:gd name="T19" fmla="*/ 96658402 h 58"/>
                  <a:gd name="T20" fmla="*/ 14812737 w 28"/>
                  <a:gd name="T21" fmla="*/ 86303087 h 58"/>
                  <a:gd name="T22" fmla="*/ 9258300 w 28"/>
                  <a:gd name="T23" fmla="*/ 81124096 h 58"/>
                  <a:gd name="T24" fmla="*/ 5554436 w 28"/>
                  <a:gd name="T25" fmla="*/ 77672762 h 58"/>
                  <a:gd name="T26" fmla="*/ 0 w 28"/>
                  <a:gd name="T27" fmla="*/ 53508172 h 58"/>
                  <a:gd name="T28" fmla="*/ 0 w 28"/>
                  <a:gd name="T29" fmla="*/ 48329201 h 58"/>
                  <a:gd name="T30" fmla="*/ 25921611 w 28"/>
                  <a:gd name="T31" fmla="*/ 10356631 h 58"/>
                  <a:gd name="T32" fmla="*/ 35179908 w 28"/>
                  <a:gd name="T33" fmla="*/ 5177659 h 58"/>
                  <a:gd name="T34" fmla="*/ 35179908 w 28"/>
                  <a:gd name="T35" fmla="*/ 5177659 h 58"/>
                  <a:gd name="T36" fmla="*/ 40734342 w 28"/>
                  <a:gd name="T37" fmla="*/ 0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8"/>
                  <a:gd name="T58" fmla="*/ 0 h 58"/>
                  <a:gd name="T59" fmla="*/ 28 w 28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8" h="58">
                    <a:moveTo>
                      <a:pt x="22" y="0"/>
                    </a:moveTo>
                    <a:lnTo>
                      <a:pt x="22" y="3"/>
                    </a:lnTo>
                    <a:lnTo>
                      <a:pt x="25" y="3"/>
                    </a:lnTo>
                    <a:lnTo>
                      <a:pt x="28" y="3"/>
                    </a:lnTo>
                    <a:lnTo>
                      <a:pt x="28" y="6"/>
                    </a:lnTo>
                    <a:lnTo>
                      <a:pt x="25" y="11"/>
                    </a:lnTo>
                    <a:lnTo>
                      <a:pt x="28" y="14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8" y="50"/>
                    </a:lnTo>
                    <a:lnTo>
                      <a:pt x="5" y="47"/>
                    </a:lnTo>
                    <a:lnTo>
                      <a:pt x="3" y="45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14" y="6"/>
                    </a:lnTo>
                    <a:lnTo>
                      <a:pt x="19" y="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Freeform 813"/>
              <p:cNvSpPr>
                <a:spLocks noChangeAspect="1"/>
              </p:cNvSpPr>
              <p:nvPr>
                <p:custDataLst>
                  <p:tags r:id="rId1110"/>
                </p:custDataLst>
              </p:nvPr>
            </p:nvSpPr>
            <p:spPr bwMode="gray">
              <a:xfrm>
                <a:off x="7729091" y="3648103"/>
                <a:ext cx="4555" cy="3154"/>
              </a:xfrm>
              <a:custGeom>
                <a:avLst/>
                <a:gdLst>
                  <a:gd name="T0" fmla="*/ 0 w 3"/>
                  <a:gd name="T1" fmla="*/ 0 h 2"/>
                  <a:gd name="T2" fmla="*/ 7562057 w 3"/>
                  <a:gd name="T3" fmla="*/ 0 h 2"/>
                  <a:gd name="T4" fmla="*/ 7562057 w 3"/>
                  <a:gd name="T5" fmla="*/ 0 h 2"/>
                  <a:gd name="T6" fmla="*/ 7562057 w 3"/>
                  <a:gd name="T7" fmla="*/ 0 h 2"/>
                  <a:gd name="T8" fmla="*/ 7562057 w 3"/>
                  <a:gd name="T9" fmla="*/ 5040312 h 2"/>
                  <a:gd name="T10" fmla="*/ 0 w 3"/>
                  <a:gd name="T11" fmla="*/ 5040312 h 2"/>
                  <a:gd name="T12" fmla="*/ 0 w 3"/>
                  <a:gd name="T13" fmla="*/ 0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Freeform 814"/>
              <p:cNvSpPr>
                <a:spLocks noChangeAspect="1"/>
              </p:cNvSpPr>
              <p:nvPr>
                <p:custDataLst>
                  <p:tags r:id="rId1111"/>
                </p:custDataLst>
              </p:nvPr>
            </p:nvSpPr>
            <p:spPr bwMode="gray">
              <a:xfrm>
                <a:off x="7729091" y="3648103"/>
                <a:ext cx="4555" cy="3154"/>
              </a:xfrm>
              <a:custGeom>
                <a:avLst/>
                <a:gdLst>
                  <a:gd name="T0" fmla="*/ 0 w 3"/>
                  <a:gd name="T1" fmla="*/ 0 h 2"/>
                  <a:gd name="T2" fmla="*/ 7562057 w 3"/>
                  <a:gd name="T3" fmla="*/ 0 h 2"/>
                  <a:gd name="T4" fmla="*/ 7562057 w 3"/>
                  <a:gd name="T5" fmla="*/ 0 h 2"/>
                  <a:gd name="T6" fmla="*/ 7562057 w 3"/>
                  <a:gd name="T7" fmla="*/ 0 h 2"/>
                  <a:gd name="T8" fmla="*/ 7562057 w 3"/>
                  <a:gd name="T9" fmla="*/ 5040312 h 2"/>
                  <a:gd name="T10" fmla="*/ 0 w 3"/>
                  <a:gd name="T11" fmla="*/ 5040312 h 2"/>
                  <a:gd name="T12" fmla="*/ 0 w 3"/>
                  <a:gd name="T13" fmla="*/ 0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Freeform 815"/>
              <p:cNvSpPr>
                <a:spLocks noChangeAspect="1"/>
              </p:cNvSpPr>
              <p:nvPr>
                <p:custDataLst>
                  <p:tags r:id="rId1112"/>
                </p:custDataLst>
              </p:nvPr>
            </p:nvSpPr>
            <p:spPr bwMode="gray">
              <a:xfrm>
                <a:off x="7735165" y="3644949"/>
                <a:ext cx="6074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13440833 w 3"/>
                  <a:gd name="T5" fmla="*/ 0 h 3"/>
                  <a:gd name="T6" fmla="*/ 13440833 w 3"/>
                  <a:gd name="T7" fmla="*/ 0 h 3"/>
                  <a:gd name="T8" fmla="*/ 13440833 w 3"/>
                  <a:gd name="T9" fmla="*/ 0 h 3"/>
                  <a:gd name="T10" fmla="*/ 13440833 w 3"/>
                  <a:gd name="T11" fmla="*/ 3360208 h 3"/>
                  <a:gd name="T12" fmla="*/ 13440833 w 3"/>
                  <a:gd name="T13" fmla="*/ 3360208 h 3"/>
                  <a:gd name="T14" fmla="*/ 0 w 3"/>
                  <a:gd name="T15" fmla="*/ 3360208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Freeform 816"/>
              <p:cNvSpPr>
                <a:spLocks noChangeAspect="1"/>
              </p:cNvSpPr>
              <p:nvPr>
                <p:custDataLst>
                  <p:tags r:id="rId1113"/>
                </p:custDataLst>
              </p:nvPr>
            </p:nvSpPr>
            <p:spPr bwMode="gray">
              <a:xfrm>
                <a:off x="7735165" y="3644949"/>
                <a:ext cx="6074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13440833 w 3"/>
                  <a:gd name="T5" fmla="*/ 0 h 3"/>
                  <a:gd name="T6" fmla="*/ 13440833 w 3"/>
                  <a:gd name="T7" fmla="*/ 0 h 3"/>
                  <a:gd name="T8" fmla="*/ 13440833 w 3"/>
                  <a:gd name="T9" fmla="*/ 0 h 3"/>
                  <a:gd name="T10" fmla="*/ 13440833 w 3"/>
                  <a:gd name="T11" fmla="*/ 3360208 h 3"/>
                  <a:gd name="T12" fmla="*/ 13440833 w 3"/>
                  <a:gd name="T13" fmla="*/ 3360208 h 3"/>
                  <a:gd name="T14" fmla="*/ 0 w 3"/>
                  <a:gd name="T15" fmla="*/ 3360208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4" name="Freeform 817"/>
              <p:cNvSpPr>
                <a:spLocks noChangeAspect="1"/>
              </p:cNvSpPr>
              <p:nvPr>
                <p:custDataLst>
                  <p:tags r:id="rId1114"/>
                </p:custDataLst>
              </p:nvPr>
            </p:nvSpPr>
            <p:spPr bwMode="gray">
              <a:xfrm>
                <a:off x="7809569" y="3594495"/>
                <a:ext cx="10630" cy="14190"/>
              </a:xfrm>
              <a:custGeom>
                <a:avLst/>
                <a:gdLst>
                  <a:gd name="T0" fmla="*/ 3858642 w 8"/>
                  <a:gd name="T1" fmla="*/ 8434525 h 11"/>
                  <a:gd name="T2" fmla="*/ 9646603 w 8"/>
                  <a:gd name="T3" fmla="*/ 5060195 h 11"/>
                  <a:gd name="T4" fmla="*/ 9646603 w 8"/>
                  <a:gd name="T5" fmla="*/ 5060195 h 11"/>
                  <a:gd name="T6" fmla="*/ 9646603 w 8"/>
                  <a:gd name="T7" fmla="*/ 5060195 h 11"/>
                  <a:gd name="T8" fmla="*/ 15434566 w 8"/>
                  <a:gd name="T9" fmla="*/ 0 h 11"/>
                  <a:gd name="T10" fmla="*/ 15434566 w 8"/>
                  <a:gd name="T11" fmla="*/ 0 h 11"/>
                  <a:gd name="T12" fmla="*/ 15434566 w 8"/>
                  <a:gd name="T13" fmla="*/ 0 h 11"/>
                  <a:gd name="T14" fmla="*/ 15434566 w 8"/>
                  <a:gd name="T15" fmla="*/ 5060195 h 11"/>
                  <a:gd name="T16" fmla="*/ 9646603 w 8"/>
                  <a:gd name="T17" fmla="*/ 8434525 h 11"/>
                  <a:gd name="T18" fmla="*/ 9646603 w 8"/>
                  <a:gd name="T19" fmla="*/ 13496020 h 11"/>
                  <a:gd name="T20" fmla="*/ 9646603 w 8"/>
                  <a:gd name="T21" fmla="*/ 13496020 h 11"/>
                  <a:gd name="T22" fmla="*/ 3858642 w 8"/>
                  <a:gd name="T23" fmla="*/ 13496020 h 11"/>
                  <a:gd name="T24" fmla="*/ 3858642 w 8"/>
                  <a:gd name="T25" fmla="*/ 18556214 h 11"/>
                  <a:gd name="T26" fmla="*/ 3858642 w 8"/>
                  <a:gd name="T27" fmla="*/ 18556214 h 11"/>
                  <a:gd name="T28" fmla="*/ 0 w 8"/>
                  <a:gd name="T29" fmla="*/ 13496020 h 11"/>
                  <a:gd name="T30" fmla="*/ 3858642 w 8"/>
                  <a:gd name="T31" fmla="*/ 8434525 h 11"/>
                  <a:gd name="T32" fmla="*/ 3858642 w 8"/>
                  <a:gd name="T33" fmla="*/ 8434525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11"/>
                  <a:gd name="T53" fmla="*/ 8 w 8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11">
                    <a:moveTo>
                      <a:pt x="2" y="5"/>
                    </a:moveTo>
                    <a:lnTo>
                      <a:pt x="5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5" name="Freeform 818"/>
              <p:cNvSpPr>
                <a:spLocks noChangeAspect="1"/>
              </p:cNvSpPr>
              <p:nvPr>
                <p:custDataLst>
                  <p:tags r:id="rId1115"/>
                </p:custDataLst>
              </p:nvPr>
            </p:nvSpPr>
            <p:spPr bwMode="gray">
              <a:xfrm>
                <a:off x="7809569" y="3594495"/>
                <a:ext cx="10630" cy="14190"/>
              </a:xfrm>
              <a:custGeom>
                <a:avLst/>
                <a:gdLst>
                  <a:gd name="T0" fmla="*/ 3858642 w 8"/>
                  <a:gd name="T1" fmla="*/ 8434525 h 11"/>
                  <a:gd name="T2" fmla="*/ 9646603 w 8"/>
                  <a:gd name="T3" fmla="*/ 5060195 h 11"/>
                  <a:gd name="T4" fmla="*/ 9646603 w 8"/>
                  <a:gd name="T5" fmla="*/ 5060195 h 11"/>
                  <a:gd name="T6" fmla="*/ 9646603 w 8"/>
                  <a:gd name="T7" fmla="*/ 5060195 h 11"/>
                  <a:gd name="T8" fmla="*/ 15434566 w 8"/>
                  <a:gd name="T9" fmla="*/ 0 h 11"/>
                  <a:gd name="T10" fmla="*/ 15434566 w 8"/>
                  <a:gd name="T11" fmla="*/ 0 h 11"/>
                  <a:gd name="T12" fmla="*/ 15434566 w 8"/>
                  <a:gd name="T13" fmla="*/ 0 h 11"/>
                  <a:gd name="T14" fmla="*/ 15434566 w 8"/>
                  <a:gd name="T15" fmla="*/ 5060195 h 11"/>
                  <a:gd name="T16" fmla="*/ 9646603 w 8"/>
                  <a:gd name="T17" fmla="*/ 8434525 h 11"/>
                  <a:gd name="T18" fmla="*/ 9646603 w 8"/>
                  <a:gd name="T19" fmla="*/ 13496020 h 11"/>
                  <a:gd name="T20" fmla="*/ 9646603 w 8"/>
                  <a:gd name="T21" fmla="*/ 13496020 h 11"/>
                  <a:gd name="T22" fmla="*/ 3858642 w 8"/>
                  <a:gd name="T23" fmla="*/ 13496020 h 11"/>
                  <a:gd name="T24" fmla="*/ 3858642 w 8"/>
                  <a:gd name="T25" fmla="*/ 18556214 h 11"/>
                  <a:gd name="T26" fmla="*/ 3858642 w 8"/>
                  <a:gd name="T27" fmla="*/ 18556214 h 11"/>
                  <a:gd name="T28" fmla="*/ 0 w 8"/>
                  <a:gd name="T29" fmla="*/ 13496020 h 11"/>
                  <a:gd name="T30" fmla="*/ 3858642 w 8"/>
                  <a:gd name="T31" fmla="*/ 8434525 h 11"/>
                  <a:gd name="T32" fmla="*/ 3858642 w 8"/>
                  <a:gd name="T33" fmla="*/ 8434525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11"/>
                  <a:gd name="T53" fmla="*/ 8 w 8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11">
                    <a:moveTo>
                      <a:pt x="2" y="5"/>
                    </a:moveTo>
                    <a:lnTo>
                      <a:pt x="5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8"/>
                    </a:lnTo>
                    <a:lnTo>
                      <a:pt x="2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6" name="Freeform 819"/>
              <p:cNvSpPr>
                <a:spLocks noChangeAspect="1"/>
              </p:cNvSpPr>
              <p:nvPr>
                <p:custDataLst>
                  <p:tags r:id="rId1116"/>
                </p:custDataLst>
              </p:nvPr>
            </p:nvSpPr>
            <p:spPr bwMode="gray">
              <a:xfrm>
                <a:off x="7833863" y="3569266"/>
                <a:ext cx="4557" cy="3154"/>
              </a:xfrm>
              <a:custGeom>
                <a:avLst/>
                <a:gdLst>
                  <a:gd name="T0" fmla="*/ 2147483647 w 3"/>
                  <a:gd name="T1" fmla="*/ 2147483647 h 3"/>
                  <a:gd name="T2" fmla="*/ 2147483647 w 3"/>
                  <a:gd name="T3" fmla="*/ 2147483647 h 3"/>
                  <a:gd name="T4" fmla="*/ 0 w 3"/>
                  <a:gd name="T5" fmla="*/ 2147483647 h 3"/>
                  <a:gd name="T6" fmla="*/ 0 w 3"/>
                  <a:gd name="T7" fmla="*/ 2147483647 h 3"/>
                  <a:gd name="T8" fmla="*/ 0 w 3"/>
                  <a:gd name="T9" fmla="*/ 0 h 3"/>
                  <a:gd name="T10" fmla="*/ 0 w 3"/>
                  <a:gd name="T11" fmla="*/ 0 h 3"/>
                  <a:gd name="T12" fmla="*/ 0 w 3"/>
                  <a:gd name="T13" fmla="*/ 2147483647 h 3"/>
                  <a:gd name="T14" fmla="*/ 2147483647 w 3"/>
                  <a:gd name="T15" fmla="*/ 214748364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7" name="Freeform 820"/>
              <p:cNvSpPr>
                <a:spLocks noChangeAspect="1"/>
              </p:cNvSpPr>
              <p:nvPr>
                <p:custDataLst>
                  <p:tags r:id="rId1117"/>
                </p:custDataLst>
              </p:nvPr>
            </p:nvSpPr>
            <p:spPr bwMode="gray">
              <a:xfrm>
                <a:off x="7833863" y="3569266"/>
                <a:ext cx="4557" cy="3154"/>
              </a:xfrm>
              <a:custGeom>
                <a:avLst/>
                <a:gdLst>
                  <a:gd name="T0" fmla="*/ 2147483647 w 3"/>
                  <a:gd name="T1" fmla="*/ 2147483647 h 3"/>
                  <a:gd name="T2" fmla="*/ 2147483647 w 3"/>
                  <a:gd name="T3" fmla="*/ 2147483647 h 3"/>
                  <a:gd name="T4" fmla="*/ 0 w 3"/>
                  <a:gd name="T5" fmla="*/ 2147483647 h 3"/>
                  <a:gd name="T6" fmla="*/ 0 w 3"/>
                  <a:gd name="T7" fmla="*/ 2147483647 h 3"/>
                  <a:gd name="T8" fmla="*/ 0 w 3"/>
                  <a:gd name="T9" fmla="*/ 0 h 3"/>
                  <a:gd name="T10" fmla="*/ 0 w 3"/>
                  <a:gd name="T11" fmla="*/ 0 h 3"/>
                  <a:gd name="T12" fmla="*/ 0 w 3"/>
                  <a:gd name="T13" fmla="*/ 2147483647 h 3"/>
                  <a:gd name="T14" fmla="*/ 2147483647 w 3"/>
                  <a:gd name="T15" fmla="*/ 2147483647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8" name="Freeform 821"/>
              <p:cNvSpPr>
                <a:spLocks noChangeAspect="1"/>
              </p:cNvSpPr>
              <p:nvPr>
                <p:custDataLst>
                  <p:tags r:id="rId1118"/>
                </p:custDataLst>
              </p:nvPr>
            </p:nvSpPr>
            <p:spPr bwMode="gray">
              <a:xfrm>
                <a:off x="7842976" y="3553499"/>
                <a:ext cx="6074" cy="9460"/>
              </a:xfrm>
              <a:custGeom>
                <a:avLst/>
                <a:gdLst>
                  <a:gd name="T0" fmla="*/ 2147483647 w 5"/>
                  <a:gd name="T1" fmla="*/ 2147483647 h 6"/>
                  <a:gd name="T2" fmla="*/ 2147483647 w 5"/>
                  <a:gd name="T3" fmla="*/ 0 h 6"/>
                  <a:gd name="T4" fmla="*/ 2147483647 w 5"/>
                  <a:gd name="T5" fmla="*/ 0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0 w 5"/>
                  <a:gd name="T17" fmla="*/ 2147483647 h 6"/>
                  <a:gd name="T18" fmla="*/ 0 w 5"/>
                  <a:gd name="T19" fmla="*/ 2147483647 h 6"/>
                  <a:gd name="T20" fmla="*/ 2147483647 w 5"/>
                  <a:gd name="T21" fmla="*/ 2147483647 h 6"/>
                  <a:gd name="T22" fmla="*/ 2147483647 w 5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3" y="3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 822"/>
              <p:cNvSpPr>
                <a:spLocks noChangeAspect="1"/>
              </p:cNvSpPr>
              <p:nvPr>
                <p:custDataLst>
                  <p:tags r:id="rId1119"/>
                </p:custDataLst>
              </p:nvPr>
            </p:nvSpPr>
            <p:spPr bwMode="gray">
              <a:xfrm>
                <a:off x="7842976" y="3553499"/>
                <a:ext cx="6074" cy="9460"/>
              </a:xfrm>
              <a:custGeom>
                <a:avLst/>
                <a:gdLst>
                  <a:gd name="T0" fmla="*/ 2147483647 w 5"/>
                  <a:gd name="T1" fmla="*/ 2147483647 h 6"/>
                  <a:gd name="T2" fmla="*/ 2147483647 w 5"/>
                  <a:gd name="T3" fmla="*/ 0 h 6"/>
                  <a:gd name="T4" fmla="*/ 2147483647 w 5"/>
                  <a:gd name="T5" fmla="*/ 0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0 w 5"/>
                  <a:gd name="T17" fmla="*/ 2147483647 h 6"/>
                  <a:gd name="T18" fmla="*/ 0 w 5"/>
                  <a:gd name="T19" fmla="*/ 2147483647 h 6"/>
                  <a:gd name="T20" fmla="*/ 2147483647 w 5"/>
                  <a:gd name="T21" fmla="*/ 2147483647 h 6"/>
                  <a:gd name="T22" fmla="*/ 2147483647 w 5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3" y="3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0" name="Freeform 823"/>
              <p:cNvSpPr>
                <a:spLocks noChangeAspect="1"/>
              </p:cNvSpPr>
              <p:nvPr>
                <p:custDataLst>
                  <p:tags r:id="rId1120"/>
                </p:custDataLst>
              </p:nvPr>
            </p:nvSpPr>
            <p:spPr bwMode="gray">
              <a:xfrm>
                <a:off x="7760978" y="3637067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0 w 3"/>
                  <a:gd name="T7" fmla="*/ 0 h 3"/>
                  <a:gd name="T8" fmla="*/ 7558882 w 3"/>
                  <a:gd name="T9" fmla="*/ 7562057 h 3"/>
                  <a:gd name="T10" fmla="*/ 7558882 w 3"/>
                  <a:gd name="T11" fmla="*/ 7562057 h 3"/>
                  <a:gd name="T12" fmla="*/ 0 w 3"/>
                  <a:gd name="T13" fmla="*/ 7562057 h 3"/>
                  <a:gd name="T14" fmla="*/ 0 w 3"/>
                  <a:gd name="T15" fmla="*/ 7562057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1" name="Freeform 824"/>
              <p:cNvSpPr>
                <a:spLocks noChangeAspect="1"/>
              </p:cNvSpPr>
              <p:nvPr>
                <p:custDataLst>
                  <p:tags r:id="rId1121"/>
                </p:custDataLst>
              </p:nvPr>
            </p:nvSpPr>
            <p:spPr bwMode="gray">
              <a:xfrm>
                <a:off x="7760978" y="3637067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0 h 3"/>
                  <a:gd name="T6" fmla="*/ 0 w 3"/>
                  <a:gd name="T7" fmla="*/ 0 h 3"/>
                  <a:gd name="T8" fmla="*/ 7558882 w 3"/>
                  <a:gd name="T9" fmla="*/ 7562057 h 3"/>
                  <a:gd name="T10" fmla="*/ 7558882 w 3"/>
                  <a:gd name="T11" fmla="*/ 7562057 h 3"/>
                  <a:gd name="T12" fmla="*/ 0 w 3"/>
                  <a:gd name="T13" fmla="*/ 7562057 h 3"/>
                  <a:gd name="T14" fmla="*/ 0 w 3"/>
                  <a:gd name="T15" fmla="*/ 7562057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2" name="Freeform 839"/>
              <p:cNvSpPr>
                <a:spLocks noChangeAspect="1"/>
              </p:cNvSpPr>
              <p:nvPr>
                <p:custDataLst>
                  <p:tags r:id="rId1122"/>
                </p:custDataLst>
              </p:nvPr>
            </p:nvSpPr>
            <p:spPr bwMode="gray">
              <a:xfrm>
                <a:off x="7530172" y="3692252"/>
                <a:ext cx="3037" cy="1577"/>
              </a:xfrm>
              <a:custGeom>
                <a:avLst/>
                <a:gdLst>
                  <a:gd name="T0" fmla="*/ 2147483647 w 3"/>
                  <a:gd name="T1" fmla="*/ 0 h 3"/>
                  <a:gd name="T2" fmla="*/ 2147483647 w 3"/>
                  <a:gd name="T3" fmla="*/ 792789565 h 3"/>
                  <a:gd name="T4" fmla="*/ 0 w 3"/>
                  <a:gd name="T5" fmla="*/ 792789565 h 3"/>
                  <a:gd name="T6" fmla="*/ 0 w 3"/>
                  <a:gd name="T7" fmla="*/ 792789565 h 3"/>
                  <a:gd name="T8" fmla="*/ 0 w 3"/>
                  <a:gd name="T9" fmla="*/ 792789565 h 3"/>
                  <a:gd name="T10" fmla="*/ 0 w 3"/>
                  <a:gd name="T11" fmla="*/ 792789565 h 3"/>
                  <a:gd name="T12" fmla="*/ 0 w 3"/>
                  <a:gd name="T13" fmla="*/ 792789565 h 3"/>
                  <a:gd name="T14" fmla="*/ 0 w 3"/>
                  <a:gd name="T15" fmla="*/ 792789565 h 3"/>
                  <a:gd name="T16" fmla="*/ 2147483647 w 3"/>
                  <a:gd name="T17" fmla="*/ 792789565 h 3"/>
                  <a:gd name="T18" fmla="*/ 2147483647 w 3"/>
                  <a:gd name="T19" fmla="*/ 792789565 h 3"/>
                  <a:gd name="T20" fmla="*/ 2147483647 w 3"/>
                  <a:gd name="T21" fmla="*/ 792789565 h 3"/>
                  <a:gd name="T22" fmla="*/ 2147483647 w 3"/>
                  <a:gd name="T23" fmla="*/ 792789565 h 3"/>
                  <a:gd name="T24" fmla="*/ 2147483647 w 3"/>
                  <a:gd name="T25" fmla="*/ 792789565 h 3"/>
                  <a:gd name="T26" fmla="*/ 2147483647 w 3"/>
                  <a:gd name="T27" fmla="*/ 792789565 h 3"/>
                  <a:gd name="T28" fmla="*/ 2147483647 w 3"/>
                  <a:gd name="T29" fmla="*/ 792789565 h 3"/>
                  <a:gd name="T30" fmla="*/ 2147483647 w 3"/>
                  <a:gd name="T31" fmla="*/ 0 h 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"/>
                  <a:gd name="T49" fmla="*/ 0 h 3"/>
                  <a:gd name="T50" fmla="*/ 3 w 3"/>
                  <a:gd name="T51" fmla="*/ 3 h 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" h="3">
                    <a:moveTo>
                      <a:pt x="3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3" name="Freeform 840"/>
              <p:cNvSpPr>
                <a:spLocks noChangeAspect="1"/>
              </p:cNvSpPr>
              <p:nvPr>
                <p:custDataLst>
                  <p:tags r:id="rId1123"/>
                </p:custDataLst>
              </p:nvPr>
            </p:nvSpPr>
            <p:spPr bwMode="gray">
              <a:xfrm>
                <a:off x="7530172" y="3692252"/>
                <a:ext cx="3037" cy="1577"/>
              </a:xfrm>
              <a:custGeom>
                <a:avLst/>
                <a:gdLst>
                  <a:gd name="T0" fmla="*/ 2147483647 w 3"/>
                  <a:gd name="T1" fmla="*/ 0 h 3"/>
                  <a:gd name="T2" fmla="*/ 2147483647 w 3"/>
                  <a:gd name="T3" fmla="*/ 792789565 h 3"/>
                  <a:gd name="T4" fmla="*/ 0 w 3"/>
                  <a:gd name="T5" fmla="*/ 792789565 h 3"/>
                  <a:gd name="T6" fmla="*/ 0 w 3"/>
                  <a:gd name="T7" fmla="*/ 792789565 h 3"/>
                  <a:gd name="T8" fmla="*/ 0 w 3"/>
                  <a:gd name="T9" fmla="*/ 792789565 h 3"/>
                  <a:gd name="T10" fmla="*/ 0 w 3"/>
                  <a:gd name="T11" fmla="*/ 792789565 h 3"/>
                  <a:gd name="T12" fmla="*/ 0 w 3"/>
                  <a:gd name="T13" fmla="*/ 792789565 h 3"/>
                  <a:gd name="T14" fmla="*/ 0 w 3"/>
                  <a:gd name="T15" fmla="*/ 792789565 h 3"/>
                  <a:gd name="T16" fmla="*/ 2147483647 w 3"/>
                  <a:gd name="T17" fmla="*/ 792789565 h 3"/>
                  <a:gd name="T18" fmla="*/ 2147483647 w 3"/>
                  <a:gd name="T19" fmla="*/ 792789565 h 3"/>
                  <a:gd name="T20" fmla="*/ 2147483647 w 3"/>
                  <a:gd name="T21" fmla="*/ 792789565 h 3"/>
                  <a:gd name="T22" fmla="*/ 2147483647 w 3"/>
                  <a:gd name="T23" fmla="*/ 792789565 h 3"/>
                  <a:gd name="T24" fmla="*/ 2147483647 w 3"/>
                  <a:gd name="T25" fmla="*/ 792789565 h 3"/>
                  <a:gd name="T26" fmla="*/ 2147483647 w 3"/>
                  <a:gd name="T27" fmla="*/ 792789565 h 3"/>
                  <a:gd name="T28" fmla="*/ 2147483647 w 3"/>
                  <a:gd name="T29" fmla="*/ 792789565 h 3"/>
                  <a:gd name="T30" fmla="*/ 2147483647 w 3"/>
                  <a:gd name="T31" fmla="*/ 0 h 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"/>
                  <a:gd name="T49" fmla="*/ 0 h 3"/>
                  <a:gd name="T50" fmla="*/ 3 w 3"/>
                  <a:gd name="T51" fmla="*/ 3 h 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" h="3">
                    <a:moveTo>
                      <a:pt x="3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4" name="Freeform 841"/>
              <p:cNvSpPr>
                <a:spLocks noChangeAspect="1"/>
              </p:cNvSpPr>
              <p:nvPr>
                <p:custDataLst>
                  <p:tags r:id="rId1124"/>
                </p:custDataLst>
              </p:nvPr>
            </p:nvSpPr>
            <p:spPr bwMode="gray">
              <a:xfrm>
                <a:off x="7536247" y="3693828"/>
                <a:ext cx="3037" cy="1577"/>
              </a:xfrm>
              <a:custGeom>
                <a:avLst/>
                <a:gdLst>
                  <a:gd name="T0" fmla="*/ 0 w 2833"/>
                  <a:gd name="T1" fmla="*/ 0 h 1416"/>
                  <a:gd name="T2" fmla="*/ 0 w 2833"/>
                  <a:gd name="T3" fmla="*/ 0 h 1416"/>
                  <a:gd name="T4" fmla="*/ 0 w 2833"/>
                  <a:gd name="T5" fmla="*/ 0 h 1416"/>
                  <a:gd name="T6" fmla="*/ 0 w 2833"/>
                  <a:gd name="T7" fmla="*/ 0 h 1416"/>
                  <a:gd name="T8" fmla="*/ 0 w 2833"/>
                  <a:gd name="T9" fmla="*/ 0 h 1416"/>
                  <a:gd name="T10" fmla="*/ 0 w 2833"/>
                  <a:gd name="T11" fmla="*/ 0 h 1416"/>
                  <a:gd name="T12" fmla="*/ 0 w 2833"/>
                  <a:gd name="T13" fmla="*/ 0 h 1416"/>
                  <a:gd name="T14" fmla="*/ 0 w 2833"/>
                  <a:gd name="T15" fmla="*/ 0 h 1416"/>
                  <a:gd name="T16" fmla="*/ 0 w 2833"/>
                  <a:gd name="T17" fmla="*/ 0 h 14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33"/>
                  <a:gd name="T28" fmla="*/ 0 h 1416"/>
                  <a:gd name="T29" fmla="*/ 2833 w 2833"/>
                  <a:gd name="T30" fmla="*/ 1416 h 14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33" h="1416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5" name="Freeform 842"/>
              <p:cNvSpPr>
                <a:spLocks noChangeAspect="1"/>
              </p:cNvSpPr>
              <p:nvPr>
                <p:custDataLst>
                  <p:tags r:id="rId1125"/>
                </p:custDataLst>
              </p:nvPr>
            </p:nvSpPr>
            <p:spPr bwMode="gray">
              <a:xfrm>
                <a:off x="7536247" y="3693828"/>
                <a:ext cx="3037" cy="1577"/>
              </a:xfrm>
              <a:custGeom>
                <a:avLst/>
                <a:gdLst>
                  <a:gd name="T0" fmla="*/ 0 w 2833"/>
                  <a:gd name="T1" fmla="*/ 0 h 1416"/>
                  <a:gd name="T2" fmla="*/ 0 w 2833"/>
                  <a:gd name="T3" fmla="*/ 0 h 1416"/>
                  <a:gd name="T4" fmla="*/ 0 w 2833"/>
                  <a:gd name="T5" fmla="*/ 0 h 1416"/>
                  <a:gd name="T6" fmla="*/ 0 w 2833"/>
                  <a:gd name="T7" fmla="*/ 0 h 1416"/>
                  <a:gd name="T8" fmla="*/ 0 w 2833"/>
                  <a:gd name="T9" fmla="*/ 0 h 1416"/>
                  <a:gd name="T10" fmla="*/ 0 w 2833"/>
                  <a:gd name="T11" fmla="*/ 0 h 1416"/>
                  <a:gd name="T12" fmla="*/ 0 w 2833"/>
                  <a:gd name="T13" fmla="*/ 0 h 1416"/>
                  <a:gd name="T14" fmla="*/ 0 w 2833"/>
                  <a:gd name="T15" fmla="*/ 0 h 1416"/>
                  <a:gd name="T16" fmla="*/ 0 w 2833"/>
                  <a:gd name="T17" fmla="*/ 0 h 14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33"/>
                  <a:gd name="T28" fmla="*/ 0 h 1416"/>
                  <a:gd name="T29" fmla="*/ 2833 w 2833"/>
                  <a:gd name="T30" fmla="*/ 1416 h 14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33" h="1416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6" name="Freeform 844"/>
              <p:cNvSpPr>
                <a:spLocks noChangeAspect="1"/>
              </p:cNvSpPr>
              <p:nvPr>
                <p:custDataLst>
                  <p:tags r:id="rId1126"/>
                </p:custDataLst>
              </p:nvPr>
            </p:nvSpPr>
            <p:spPr bwMode="gray">
              <a:xfrm>
                <a:off x="7425399" y="3737978"/>
                <a:ext cx="45554" cy="44148"/>
              </a:xfrm>
              <a:custGeom>
                <a:avLst/>
                <a:gdLst>
                  <a:gd name="T0" fmla="*/ 2147483647 w 36"/>
                  <a:gd name="T1" fmla="*/ 2147483647 h 34"/>
                  <a:gd name="T2" fmla="*/ 2147483647 w 36"/>
                  <a:gd name="T3" fmla="*/ 2147483647 h 34"/>
                  <a:gd name="T4" fmla="*/ 2147483647 w 36"/>
                  <a:gd name="T5" fmla="*/ 0 h 34"/>
                  <a:gd name="T6" fmla="*/ 2147483647 w 36"/>
                  <a:gd name="T7" fmla="*/ 2147483647 h 34"/>
                  <a:gd name="T8" fmla="*/ 2147483647 w 36"/>
                  <a:gd name="T9" fmla="*/ 2147483647 h 34"/>
                  <a:gd name="T10" fmla="*/ 2147483647 w 36"/>
                  <a:gd name="T11" fmla="*/ 2147483647 h 34"/>
                  <a:gd name="T12" fmla="*/ 2147483647 w 36"/>
                  <a:gd name="T13" fmla="*/ 2147483647 h 34"/>
                  <a:gd name="T14" fmla="*/ 2147483647 w 36"/>
                  <a:gd name="T15" fmla="*/ 2147483647 h 34"/>
                  <a:gd name="T16" fmla="*/ 2147483647 w 36"/>
                  <a:gd name="T17" fmla="*/ 2147483647 h 34"/>
                  <a:gd name="T18" fmla="*/ 2147483647 w 36"/>
                  <a:gd name="T19" fmla="*/ 2147483647 h 34"/>
                  <a:gd name="T20" fmla="*/ 2147483647 w 36"/>
                  <a:gd name="T21" fmla="*/ 2147483647 h 34"/>
                  <a:gd name="T22" fmla="*/ 2147483647 w 36"/>
                  <a:gd name="T23" fmla="*/ 2147483647 h 34"/>
                  <a:gd name="T24" fmla="*/ 2147483647 w 36"/>
                  <a:gd name="T25" fmla="*/ 2147483647 h 34"/>
                  <a:gd name="T26" fmla="*/ 2147483647 w 36"/>
                  <a:gd name="T27" fmla="*/ 2147483647 h 34"/>
                  <a:gd name="T28" fmla="*/ 0 w 36"/>
                  <a:gd name="T29" fmla="*/ 2147483647 h 34"/>
                  <a:gd name="T30" fmla="*/ 0 w 36"/>
                  <a:gd name="T31" fmla="*/ 2147483647 h 34"/>
                  <a:gd name="T32" fmla="*/ 2147483647 w 36"/>
                  <a:gd name="T33" fmla="*/ 2147483647 h 34"/>
                  <a:gd name="T34" fmla="*/ 2147483647 w 36"/>
                  <a:gd name="T35" fmla="*/ 2147483647 h 34"/>
                  <a:gd name="T36" fmla="*/ 2147483647 w 36"/>
                  <a:gd name="T37" fmla="*/ 2147483647 h 34"/>
                  <a:gd name="T38" fmla="*/ 2147483647 w 36"/>
                  <a:gd name="T39" fmla="*/ 2147483647 h 34"/>
                  <a:gd name="T40" fmla="*/ 2147483647 w 36"/>
                  <a:gd name="T41" fmla="*/ 2147483647 h 34"/>
                  <a:gd name="T42" fmla="*/ 2147483647 w 36"/>
                  <a:gd name="T43" fmla="*/ 2147483647 h 3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6"/>
                  <a:gd name="T67" fmla="*/ 0 h 34"/>
                  <a:gd name="T68" fmla="*/ 36 w 36"/>
                  <a:gd name="T69" fmla="*/ 34 h 3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6" h="34">
                    <a:moveTo>
                      <a:pt x="27" y="3"/>
                    </a:moveTo>
                    <a:lnTo>
                      <a:pt x="27" y="3"/>
                    </a:lnTo>
                    <a:lnTo>
                      <a:pt x="30" y="0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6" y="9"/>
                    </a:lnTo>
                    <a:lnTo>
                      <a:pt x="33" y="11"/>
                    </a:lnTo>
                    <a:lnTo>
                      <a:pt x="27" y="23"/>
                    </a:lnTo>
                    <a:lnTo>
                      <a:pt x="22" y="28"/>
                    </a:lnTo>
                    <a:lnTo>
                      <a:pt x="19" y="31"/>
                    </a:lnTo>
                    <a:lnTo>
                      <a:pt x="16" y="34"/>
                    </a:lnTo>
                    <a:lnTo>
                      <a:pt x="13" y="34"/>
                    </a:lnTo>
                    <a:lnTo>
                      <a:pt x="13" y="31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0" y="14"/>
                    </a:lnTo>
                    <a:lnTo>
                      <a:pt x="8" y="9"/>
                    </a:lnTo>
                    <a:lnTo>
                      <a:pt x="8" y="6"/>
                    </a:lnTo>
                    <a:lnTo>
                      <a:pt x="13" y="3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7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7" name="Freeform 857"/>
              <p:cNvSpPr>
                <a:spLocks noChangeAspect="1"/>
              </p:cNvSpPr>
              <p:nvPr>
                <p:custDataLst>
                  <p:tags r:id="rId1127"/>
                </p:custDataLst>
              </p:nvPr>
            </p:nvSpPr>
            <p:spPr bwMode="gray">
              <a:xfrm>
                <a:off x="6713244" y="2881809"/>
                <a:ext cx="1245134" cy="856169"/>
              </a:xfrm>
              <a:custGeom>
                <a:avLst/>
                <a:gdLst>
                  <a:gd name="T0" fmla="*/ 626 w 955"/>
                  <a:gd name="T1" fmla="*/ 626 h 665"/>
                  <a:gd name="T2" fmla="*/ 607 w 955"/>
                  <a:gd name="T3" fmla="*/ 637 h 665"/>
                  <a:gd name="T4" fmla="*/ 573 w 955"/>
                  <a:gd name="T5" fmla="*/ 660 h 665"/>
                  <a:gd name="T6" fmla="*/ 543 w 955"/>
                  <a:gd name="T7" fmla="*/ 643 h 665"/>
                  <a:gd name="T8" fmla="*/ 504 w 955"/>
                  <a:gd name="T9" fmla="*/ 621 h 665"/>
                  <a:gd name="T10" fmla="*/ 456 w 955"/>
                  <a:gd name="T11" fmla="*/ 626 h 665"/>
                  <a:gd name="T12" fmla="*/ 437 w 955"/>
                  <a:gd name="T13" fmla="*/ 646 h 665"/>
                  <a:gd name="T14" fmla="*/ 392 w 955"/>
                  <a:gd name="T15" fmla="*/ 604 h 665"/>
                  <a:gd name="T16" fmla="*/ 390 w 955"/>
                  <a:gd name="T17" fmla="*/ 540 h 665"/>
                  <a:gd name="T18" fmla="*/ 353 w 955"/>
                  <a:gd name="T19" fmla="*/ 526 h 665"/>
                  <a:gd name="T20" fmla="*/ 317 w 955"/>
                  <a:gd name="T21" fmla="*/ 515 h 665"/>
                  <a:gd name="T22" fmla="*/ 262 w 955"/>
                  <a:gd name="T23" fmla="*/ 529 h 665"/>
                  <a:gd name="T24" fmla="*/ 237 w 955"/>
                  <a:gd name="T25" fmla="*/ 537 h 665"/>
                  <a:gd name="T26" fmla="*/ 214 w 955"/>
                  <a:gd name="T27" fmla="*/ 537 h 665"/>
                  <a:gd name="T28" fmla="*/ 189 w 955"/>
                  <a:gd name="T29" fmla="*/ 532 h 665"/>
                  <a:gd name="T30" fmla="*/ 167 w 955"/>
                  <a:gd name="T31" fmla="*/ 520 h 665"/>
                  <a:gd name="T32" fmla="*/ 159 w 955"/>
                  <a:gd name="T33" fmla="*/ 512 h 665"/>
                  <a:gd name="T34" fmla="*/ 120 w 955"/>
                  <a:gd name="T35" fmla="*/ 493 h 665"/>
                  <a:gd name="T36" fmla="*/ 103 w 955"/>
                  <a:gd name="T37" fmla="*/ 487 h 665"/>
                  <a:gd name="T38" fmla="*/ 86 w 955"/>
                  <a:gd name="T39" fmla="*/ 479 h 665"/>
                  <a:gd name="T40" fmla="*/ 81 w 955"/>
                  <a:gd name="T41" fmla="*/ 462 h 665"/>
                  <a:gd name="T42" fmla="*/ 83 w 955"/>
                  <a:gd name="T43" fmla="*/ 454 h 665"/>
                  <a:gd name="T44" fmla="*/ 89 w 955"/>
                  <a:gd name="T45" fmla="*/ 440 h 665"/>
                  <a:gd name="T46" fmla="*/ 86 w 955"/>
                  <a:gd name="T47" fmla="*/ 426 h 665"/>
                  <a:gd name="T48" fmla="*/ 100 w 955"/>
                  <a:gd name="T49" fmla="*/ 409 h 665"/>
                  <a:gd name="T50" fmla="*/ 97 w 955"/>
                  <a:gd name="T51" fmla="*/ 395 h 665"/>
                  <a:gd name="T52" fmla="*/ 86 w 955"/>
                  <a:gd name="T53" fmla="*/ 387 h 665"/>
                  <a:gd name="T54" fmla="*/ 44 w 955"/>
                  <a:gd name="T55" fmla="*/ 390 h 665"/>
                  <a:gd name="T56" fmla="*/ 36 w 955"/>
                  <a:gd name="T57" fmla="*/ 381 h 665"/>
                  <a:gd name="T58" fmla="*/ 22 w 955"/>
                  <a:gd name="T59" fmla="*/ 367 h 665"/>
                  <a:gd name="T60" fmla="*/ 19 w 955"/>
                  <a:gd name="T61" fmla="*/ 362 h 665"/>
                  <a:gd name="T62" fmla="*/ 17 w 955"/>
                  <a:gd name="T63" fmla="*/ 300 h 665"/>
                  <a:gd name="T64" fmla="*/ 78 w 955"/>
                  <a:gd name="T65" fmla="*/ 275 h 665"/>
                  <a:gd name="T66" fmla="*/ 133 w 955"/>
                  <a:gd name="T67" fmla="*/ 186 h 665"/>
                  <a:gd name="T68" fmla="*/ 206 w 955"/>
                  <a:gd name="T69" fmla="*/ 120 h 665"/>
                  <a:gd name="T70" fmla="*/ 256 w 955"/>
                  <a:gd name="T71" fmla="*/ 139 h 665"/>
                  <a:gd name="T72" fmla="*/ 434 w 955"/>
                  <a:gd name="T73" fmla="*/ 253 h 665"/>
                  <a:gd name="T74" fmla="*/ 543 w 955"/>
                  <a:gd name="T75" fmla="*/ 256 h 665"/>
                  <a:gd name="T76" fmla="*/ 610 w 955"/>
                  <a:gd name="T77" fmla="*/ 206 h 665"/>
                  <a:gd name="T78" fmla="*/ 707 w 955"/>
                  <a:gd name="T79" fmla="*/ 147 h 665"/>
                  <a:gd name="T80" fmla="*/ 688 w 955"/>
                  <a:gd name="T81" fmla="*/ 97 h 665"/>
                  <a:gd name="T82" fmla="*/ 732 w 955"/>
                  <a:gd name="T83" fmla="*/ 25 h 665"/>
                  <a:gd name="T84" fmla="*/ 816 w 955"/>
                  <a:gd name="T85" fmla="*/ 25 h 665"/>
                  <a:gd name="T86" fmla="*/ 882 w 955"/>
                  <a:gd name="T87" fmla="*/ 111 h 665"/>
                  <a:gd name="T88" fmla="*/ 935 w 955"/>
                  <a:gd name="T89" fmla="*/ 131 h 665"/>
                  <a:gd name="T90" fmla="*/ 907 w 955"/>
                  <a:gd name="T91" fmla="*/ 197 h 665"/>
                  <a:gd name="T92" fmla="*/ 852 w 955"/>
                  <a:gd name="T93" fmla="*/ 267 h 665"/>
                  <a:gd name="T94" fmla="*/ 760 w 955"/>
                  <a:gd name="T95" fmla="*/ 320 h 665"/>
                  <a:gd name="T96" fmla="*/ 746 w 955"/>
                  <a:gd name="T97" fmla="*/ 317 h 665"/>
                  <a:gd name="T98" fmla="*/ 713 w 955"/>
                  <a:gd name="T99" fmla="*/ 320 h 665"/>
                  <a:gd name="T100" fmla="*/ 701 w 955"/>
                  <a:gd name="T101" fmla="*/ 353 h 665"/>
                  <a:gd name="T102" fmla="*/ 746 w 955"/>
                  <a:gd name="T103" fmla="*/ 359 h 665"/>
                  <a:gd name="T104" fmla="*/ 754 w 955"/>
                  <a:gd name="T105" fmla="*/ 367 h 665"/>
                  <a:gd name="T106" fmla="*/ 724 w 955"/>
                  <a:gd name="T107" fmla="*/ 384 h 665"/>
                  <a:gd name="T108" fmla="*/ 743 w 955"/>
                  <a:gd name="T109" fmla="*/ 456 h 665"/>
                  <a:gd name="T110" fmla="*/ 743 w 955"/>
                  <a:gd name="T111" fmla="*/ 473 h 665"/>
                  <a:gd name="T112" fmla="*/ 740 w 955"/>
                  <a:gd name="T113" fmla="*/ 493 h 665"/>
                  <a:gd name="T114" fmla="*/ 746 w 955"/>
                  <a:gd name="T115" fmla="*/ 512 h 665"/>
                  <a:gd name="T116" fmla="*/ 724 w 955"/>
                  <a:gd name="T117" fmla="*/ 554 h 665"/>
                  <a:gd name="T118" fmla="*/ 713 w 955"/>
                  <a:gd name="T119" fmla="*/ 573 h 665"/>
                  <a:gd name="T120" fmla="*/ 701 w 955"/>
                  <a:gd name="T121" fmla="*/ 590 h 665"/>
                  <a:gd name="T122" fmla="*/ 682 w 955"/>
                  <a:gd name="T123" fmla="*/ 607 h 665"/>
                  <a:gd name="T124" fmla="*/ 649 w 955"/>
                  <a:gd name="T125" fmla="*/ 624 h 6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55" h="665">
                    <a:moveTo>
                      <a:pt x="637" y="626"/>
                    </a:moveTo>
                    <a:lnTo>
                      <a:pt x="637" y="629"/>
                    </a:lnTo>
                    <a:lnTo>
                      <a:pt x="637" y="626"/>
                    </a:lnTo>
                    <a:lnTo>
                      <a:pt x="637" y="626"/>
                    </a:lnTo>
                    <a:lnTo>
                      <a:pt x="635" y="626"/>
                    </a:lnTo>
                    <a:lnTo>
                      <a:pt x="632" y="626"/>
                    </a:lnTo>
                    <a:lnTo>
                      <a:pt x="632" y="626"/>
                    </a:lnTo>
                    <a:lnTo>
                      <a:pt x="632" y="626"/>
                    </a:lnTo>
                    <a:lnTo>
                      <a:pt x="635" y="629"/>
                    </a:lnTo>
                    <a:lnTo>
                      <a:pt x="629" y="629"/>
                    </a:lnTo>
                    <a:lnTo>
                      <a:pt x="629" y="629"/>
                    </a:lnTo>
                    <a:lnTo>
                      <a:pt x="629" y="629"/>
                    </a:lnTo>
                    <a:lnTo>
                      <a:pt x="626" y="626"/>
                    </a:lnTo>
                    <a:lnTo>
                      <a:pt x="624" y="624"/>
                    </a:lnTo>
                    <a:lnTo>
                      <a:pt x="624" y="624"/>
                    </a:lnTo>
                    <a:lnTo>
                      <a:pt x="621" y="621"/>
                    </a:lnTo>
                    <a:lnTo>
                      <a:pt x="621" y="632"/>
                    </a:lnTo>
                    <a:lnTo>
                      <a:pt x="621" y="632"/>
                    </a:lnTo>
                    <a:lnTo>
                      <a:pt x="621" y="632"/>
                    </a:lnTo>
                    <a:lnTo>
                      <a:pt x="615" y="626"/>
                    </a:lnTo>
                    <a:lnTo>
                      <a:pt x="615" y="626"/>
                    </a:lnTo>
                    <a:lnTo>
                      <a:pt x="612" y="632"/>
                    </a:lnTo>
                    <a:lnTo>
                      <a:pt x="612" y="637"/>
                    </a:lnTo>
                    <a:lnTo>
                      <a:pt x="612" y="637"/>
                    </a:lnTo>
                    <a:lnTo>
                      <a:pt x="610" y="637"/>
                    </a:lnTo>
                    <a:lnTo>
                      <a:pt x="607" y="637"/>
                    </a:lnTo>
                    <a:lnTo>
                      <a:pt x="604" y="640"/>
                    </a:lnTo>
                    <a:lnTo>
                      <a:pt x="601" y="640"/>
                    </a:lnTo>
                    <a:lnTo>
                      <a:pt x="598" y="640"/>
                    </a:lnTo>
                    <a:lnTo>
                      <a:pt x="598" y="640"/>
                    </a:lnTo>
                    <a:lnTo>
                      <a:pt x="596" y="640"/>
                    </a:lnTo>
                    <a:lnTo>
                      <a:pt x="593" y="643"/>
                    </a:lnTo>
                    <a:lnTo>
                      <a:pt x="585" y="643"/>
                    </a:lnTo>
                    <a:lnTo>
                      <a:pt x="582" y="643"/>
                    </a:lnTo>
                    <a:lnTo>
                      <a:pt x="582" y="646"/>
                    </a:lnTo>
                    <a:lnTo>
                      <a:pt x="576" y="646"/>
                    </a:lnTo>
                    <a:lnTo>
                      <a:pt x="573" y="646"/>
                    </a:lnTo>
                    <a:lnTo>
                      <a:pt x="571" y="654"/>
                    </a:lnTo>
                    <a:lnTo>
                      <a:pt x="573" y="660"/>
                    </a:lnTo>
                    <a:lnTo>
                      <a:pt x="573" y="662"/>
                    </a:lnTo>
                    <a:lnTo>
                      <a:pt x="568" y="665"/>
                    </a:lnTo>
                    <a:lnTo>
                      <a:pt x="565" y="662"/>
                    </a:lnTo>
                    <a:lnTo>
                      <a:pt x="559" y="651"/>
                    </a:lnTo>
                    <a:lnTo>
                      <a:pt x="562" y="646"/>
                    </a:lnTo>
                    <a:lnTo>
                      <a:pt x="562" y="643"/>
                    </a:lnTo>
                    <a:lnTo>
                      <a:pt x="557" y="646"/>
                    </a:lnTo>
                    <a:lnTo>
                      <a:pt x="554" y="646"/>
                    </a:lnTo>
                    <a:lnTo>
                      <a:pt x="551" y="643"/>
                    </a:lnTo>
                    <a:lnTo>
                      <a:pt x="551" y="643"/>
                    </a:lnTo>
                    <a:lnTo>
                      <a:pt x="543" y="640"/>
                    </a:lnTo>
                    <a:lnTo>
                      <a:pt x="543" y="640"/>
                    </a:lnTo>
                    <a:lnTo>
                      <a:pt x="543" y="643"/>
                    </a:lnTo>
                    <a:lnTo>
                      <a:pt x="540" y="643"/>
                    </a:lnTo>
                    <a:lnTo>
                      <a:pt x="540" y="646"/>
                    </a:lnTo>
                    <a:lnTo>
                      <a:pt x="537" y="643"/>
                    </a:lnTo>
                    <a:lnTo>
                      <a:pt x="534" y="646"/>
                    </a:lnTo>
                    <a:lnTo>
                      <a:pt x="532" y="643"/>
                    </a:lnTo>
                    <a:lnTo>
                      <a:pt x="523" y="643"/>
                    </a:lnTo>
                    <a:lnTo>
                      <a:pt x="523" y="640"/>
                    </a:lnTo>
                    <a:lnTo>
                      <a:pt x="515" y="637"/>
                    </a:lnTo>
                    <a:lnTo>
                      <a:pt x="515" y="635"/>
                    </a:lnTo>
                    <a:lnTo>
                      <a:pt x="512" y="629"/>
                    </a:lnTo>
                    <a:lnTo>
                      <a:pt x="515" y="626"/>
                    </a:lnTo>
                    <a:lnTo>
                      <a:pt x="512" y="624"/>
                    </a:lnTo>
                    <a:lnTo>
                      <a:pt x="504" y="621"/>
                    </a:lnTo>
                    <a:lnTo>
                      <a:pt x="493" y="615"/>
                    </a:lnTo>
                    <a:lnTo>
                      <a:pt x="490" y="615"/>
                    </a:lnTo>
                    <a:lnTo>
                      <a:pt x="484" y="621"/>
                    </a:lnTo>
                    <a:lnTo>
                      <a:pt x="479" y="624"/>
                    </a:lnTo>
                    <a:lnTo>
                      <a:pt x="476" y="624"/>
                    </a:lnTo>
                    <a:lnTo>
                      <a:pt x="473" y="626"/>
                    </a:lnTo>
                    <a:lnTo>
                      <a:pt x="470" y="626"/>
                    </a:lnTo>
                    <a:lnTo>
                      <a:pt x="470" y="624"/>
                    </a:lnTo>
                    <a:lnTo>
                      <a:pt x="465" y="626"/>
                    </a:lnTo>
                    <a:lnTo>
                      <a:pt x="465" y="624"/>
                    </a:lnTo>
                    <a:lnTo>
                      <a:pt x="462" y="624"/>
                    </a:lnTo>
                    <a:lnTo>
                      <a:pt x="459" y="626"/>
                    </a:lnTo>
                    <a:lnTo>
                      <a:pt x="456" y="626"/>
                    </a:lnTo>
                    <a:lnTo>
                      <a:pt x="454" y="626"/>
                    </a:lnTo>
                    <a:lnTo>
                      <a:pt x="451" y="624"/>
                    </a:lnTo>
                    <a:lnTo>
                      <a:pt x="451" y="624"/>
                    </a:lnTo>
                    <a:lnTo>
                      <a:pt x="448" y="624"/>
                    </a:lnTo>
                    <a:lnTo>
                      <a:pt x="445" y="629"/>
                    </a:lnTo>
                    <a:lnTo>
                      <a:pt x="445" y="629"/>
                    </a:lnTo>
                    <a:lnTo>
                      <a:pt x="443" y="629"/>
                    </a:lnTo>
                    <a:lnTo>
                      <a:pt x="443" y="626"/>
                    </a:lnTo>
                    <a:lnTo>
                      <a:pt x="437" y="626"/>
                    </a:lnTo>
                    <a:lnTo>
                      <a:pt x="437" y="629"/>
                    </a:lnTo>
                    <a:lnTo>
                      <a:pt x="437" y="637"/>
                    </a:lnTo>
                    <a:lnTo>
                      <a:pt x="437" y="643"/>
                    </a:lnTo>
                    <a:lnTo>
                      <a:pt x="437" y="646"/>
                    </a:lnTo>
                    <a:lnTo>
                      <a:pt x="437" y="646"/>
                    </a:lnTo>
                    <a:lnTo>
                      <a:pt x="431" y="649"/>
                    </a:lnTo>
                    <a:lnTo>
                      <a:pt x="429" y="640"/>
                    </a:lnTo>
                    <a:lnTo>
                      <a:pt x="426" y="640"/>
                    </a:lnTo>
                    <a:lnTo>
                      <a:pt x="420" y="643"/>
                    </a:lnTo>
                    <a:lnTo>
                      <a:pt x="415" y="643"/>
                    </a:lnTo>
                    <a:lnTo>
                      <a:pt x="409" y="637"/>
                    </a:lnTo>
                    <a:lnTo>
                      <a:pt x="409" y="635"/>
                    </a:lnTo>
                    <a:lnTo>
                      <a:pt x="401" y="632"/>
                    </a:lnTo>
                    <a:lnTo>
                      <a:pt x="404" y="618"/>
                    </a:lnTo>
                    <a:lnTo>
                      <a:pt x="395" y="615"/>
                    </a:lnTo>
                    <a:lnTo>
                      <a:pt x="395" y="607"/>
                    </a:lnTo>
                    <a:lnTo>
                      <a:pt x="392" y="604"/>
                    </a:lnTo>
                    <a:lnTo>
                      <a:pt x="392" y="601"/>
                    </a:lnTo>
                    <a:lnTo>
                      <a:pt x="381" y="601"/>
                    </a:lnTo>
                    <a:lnTo>
                      <a:pt x="376" y="607"/>
                    </a:lnTo>
                    <a:lnTo>
                      <a:pt x="373" y="607"/>
                    </a:lnTo>
                    <a:lnTo>
                      <a:pt x="376" y="601"/>
                    </a:lnTo>
                    <a:lnTo>
                      <a:pt x="376" y="598"/>
                    </a:lnTo>
                    <a:lnTo>
                      <a:pt x="376" y="593"/>
                    </a:lnTo>
                    <a:lnTo>
                      <a:pt x="379" y="585"/>
                    </a:lnTo>
                    <a:lnTo>
                      <a:pt x="381" y="582"/>
                    </a:lnTo>
                    <a:lnTo>
                      <a:pt x="381" y="579"/>
                    </a:lnTo>
                    <a:lnTo>
                      <a:pt x="384" y="579"/>
                    </a:lnTo>
                    <a:lnTo>
                      <a:pt x="390" y="568"/>
                    </a:lnTo>
                    <a:lnTo>
                      <a:pt x="390" y="540"/>
                    </a:lnTo>
                    <a:lnTo>
                      <a:pt x="384" y="540"/>
                    </a:lnTo>
                    <a:lnTo>
                      <a:pt x="381" y="540"/>
                    </a:lnTo>
                    <a:lnTo>
                      <a:pt x="381" y="534"/>
                    </a:lnTo>
                    <a:lnTo>
                      <a:pt x="379" y="529"/>
                    </a:lnTo>
                    <a:lnTo>
                      <a:pt x="376" y="529"/>
                    </a:lnTo>
                    <a:lnTo>
                      <a:pt x="373" y="529"/>
                    </a:lnTo>
                    <a:lnTo>
                      <a:pt x="373" y="529"/>
                    </a:lnTo>
                    <a:lnTo>
                      <a:pt x="370" y="532"/>
                    </a:lnTo>
                    <a:lnTo>
                      <a:pt x="367" y="526"/>
                    </a:lnTo>
                    <a:lnTo>
                      <a:pt x="365" y="526"/>
                    </a:lnTo>
                    <a:lnTo>
                      <a:pt x="362" y="526"/>
                    </a:lnTo>
                    <a:lnTo>
                      <a:pt x="359" y="526"/>
                    </a:lnTo>
                    <a:lnTo>
                      <a:pt x="353" y="526"/>
                    </a:lnTo>
                    <a:lnTo>
                      <a:pt x="356" y="518"/>
                    </a:lnTo>
                    <a:lnTo>
                      <a:pt x="351" y="515"/>
                    </a:lnTo>
                    <a:lnTo>
                      <a:pt x="351" y="512"/>
                    </a:lnTo>
                    <a:lnTo>
                      <a:pt x="351" y="509"/>
                    </a:lnTo>
                    <a:lnTo>
                      <a:pt x="348" y="507"/>
                    </a:lnTo>
                    <a:lnTo>
                      <a:pt x="345" y="507"/>
                    </a:lnTo>
                    <a:lnTo>
                      <a:pt x="340" y="509"/>
                    </a:lnTo>
                    <a:lnTo>
                      <a:pt x="337" y="512"/>
                    </a:lnTo>
                    <a:lnTo>
                      <a:pt x="328" y="512"/>
                    </a:lnTo>
                    <a:lnTo>
                      <a:pt x="326" y="509"/>
                    </a:lnTo>
                    <a:lnTo>
                      <a:pt x="326" y="509"/>
                    </a:lnTo>
                    <a:lnTo>
                      <a:pt x="320" y="512"/>
                    </a:lnTo>
                    <a:lnTo>
                      <a:pt x="317" y="515"/>
                    </a:lnTo>
                    <a:lnTo>
                      <a:pt x="312" y="520"/>
                    </a:lnTo>
                    <a:lnTo>
                      <a:pt x="309" y="523"/>
                    </a:lnTo>
                    <a:lnTo>
                      <a:pt x="303" y="529"/>
                    </a:lnTo>
                    <a:lnTo>
                      <a:pt x="281" y="537"/>
                    </a:lnTo>
                    <a:lnTo>
                      <a:pt x="281" y="537"/>
                    </a:lnTo>
                    <a:lnTo>
                      <a:pt x="281" y="537"/>
                    </a:lnTo>
                    <a:lnTo>
                      <a:pt x="278" y="534"/>
                    </a:lnTo>
                    <a:lnTo>
                      <a:pt x="278" y="534"/>
                    </a:lnTo>
                    <a:lnTo>
                      <a:pt x="275" y="532"/>
                    </a:lnTo>
                    <a:lnTo>
                      <a:pt x="273" y="534"/>
                    </a:lnTo>
                    <a:lnTo>
                      <a:pt x="262" y="532"/>
                    </a:lnTo>
                    <a:lnTo>
                      <a:pt x="262" y="532"/>
                    </a:lnTo>
                    <a:lnTo>
                      <a:pt x="262" y="529"/>
                    </a:lnTo>
                    <a:lnTo>
                      <a:pt x="259" y="529"/>
                    </a:lnTo>
                    <a:lnTo>
                      <a:pt x="259" y="529"/>
                    </a:lnTo>
                    <a:lnTo>
                      <a:pt x="253" y="529"/>
                    </a:lnTo>
                    <a:lnTo>
                      <a:pt x="250" y="529"/>
                    </a:lnTo>
                    <a:lnTo>
                      <a:pt x="248" y="532"/>
                    </a:lnTo>
                    <a:lnTo>
                      <a:pt x="245" y="537"/>
                    </a:lnTo>
                    <a:lnTo>
                      <a:pt x="239" y="543"/>
                    </a:lnTo>
                    <a:lnTo>
                      <a:pt x="239" y="546"/>
                    </a:lnTo>
                    <a:lnTo>
                      <a:pt x="237" y="546"/>
                    </a:lnTo>
                    <a:lnTo>
                      <a:pt x="237" y="546"/>
                    </a:lnTo>
                    <a:lnTo>
                      <a:pt x="234" y="543"/>
                    </a:lnTo>
                    <a:lnTo>
                      <a:pt x="234" y="543"/>
                    </a:lnTo>
                    <a:lnTo>
                      <a:pt x="237" y="537"/>
                    </a:lnTo>
                    <a:lnTo>
                      <a:pt x="237" y="534"/>
                    </a:lnTo>
                    <a:lnTo>
                      <a:pt x="234" y="532"/>
                    </a:lnTo>
                    <a:lnTo>
                      <a:pt x="234" y="532"/>
                    </a:lnTo>
                    <a:lnTo>
                      <a:pt x="231" y="532"/>
                    </a:lnTo>
                    <a:lnTo>
                      <a:pt x="228" y="534"/>
                    </a:lnTo>
                    <a:lnTo>
                      <a:pt x="228" y="534"/>
                    </a:lnTo>
                    <a:lnTo>
                      <a:pt x="225" y="534"/>
                    </a:lnTo>
                    <a:lnTo>
                      <a:pt x="225" y="534"/>
                    </a:lnTo>
                    <a:lnTo>
                      <a:pt x="223" y="534"/>
                    </a:lnTo>
                    <a:lnTo>
                      <a:pt x="223" y="534"/>
                    </a:lnTo>
                    <a:lnTo>
                      <a:pt x="220" y="537"/>
                    </a:lnTo>
                    <a:lnTo>
                      <a:pt x="214" y="537"/>
                    </a:lnTo>
                    <a:lnTo>
                      <a:pt x="214" y="537"/>
                    </a:lnTo>
                    <a:lnTo>
                      <a:pt x="211" y="537"/>
                    </a:lnTo>
                    <a:lnTo>
                      <a:pt x="206" y="534"/>
                    </a:lnTo>
                    <a:lnTo>
                      <a:pt x="206" y="534"/>
                    </a:lnTo>
                    <a:lnTo>
                      <a:pt x="203" y="532"/>
                    </a:lnTo>
                    <a:lnTo>
                      <a:pt x="200" y="534"/>
                    </a:lnTo>
                    <a:lnTo>
                      <a:pt x="200" y="534"/>
                    </a:lnTo>
                    <a:lnTo>
                      <a:pt x="200" y="534"/>
                    </a:lnTo>
                    <a:lnTo>
                      <a:pt x="198" y="534"/>
                    </a:lnTo>
                    <a:lnTo>
                      <a:pt x="195" y="534"/>
                    </a:lnTo>
                    <a:lnTo>
                      <a:pt x="195" y="534"/>
                    </a:lnTo>
                    <a:lnTo>
                      <a:pt x="192" y="534"/>
                    </a:lnTo>
                    <a:lnTo>
                      <a:pt x="192" y="534"/>
                    </a:lnTo>
                    <a:lnTo>
                      <a:pt x="189" y="532"/>
                    </a:lnTo>
                    <a:lnTo>
                      <a:pt x="189" y="532"/>
                    </a:lnTo>
                    <a:lnTo>
                      <a:pt x="186" y="529"/>
                    </a:lnTo>
                    <a:lnTo>
                      <a:pt x="186" y="529"/>
                    </a:lnTo>
                    <a:lnTo>
                      <a:pt x="184" y="529"/>
                    </a:lnTo>
                    <a:lnTo>
                      <a:pt x="178" y="529"/>
                    </a:lnTo>
                    <a:lnTo>
                      <a:pt x="178" y="526"/>
                    </a:lnTo>
                    <a:lnTo>
                      <a:pt x="178" y="523"/>
                    </a:lnTo>
                    <a:lnTo>
                      <a:pt x="178" y="520"/>
                    </a:lnTo>
                    <a:lnTo>
                      <a:pt x="178" y="523"/>
                    </a:lnTo>
                    <a:lnTo>
                      <a:pt x="172" y="523"/>
                    </a:lnTo>
                    <a:lnTo>
                      <a:pt x="172" y="520"/>
                    </a:lnTo>
                    <a:lnTo>
                      <a:pt x="170" y="523"/>
                    </a:lnTo>
                    <a:lnTo>
                      <a:pt x="167" y="520"/>
                    </a:lnTo>
                    <a:lnTo>
                      <a:pt x="167" y="520"/>
                    </a:lnTo>
                    <a:lnTo>
                      <a:pt x="167" y="520"/>
                    </a:lnTo>
                    <a:lnTo>
                      <a:pt x="164" y="518"/>
                    </a:lnTo>
                    <a:lnTo>
                      <a:pt x="164" y="520"/>
                    </a:lnTo>
                    <a:lnTo>
                      <a:pt x="164" y="518"/>
                    </a:lnTo>
                    <a:lnTo>
                      <a:pt x="164" y="515"/>
                    </a:lnTo>
                    <a:lnTo>
                      <a:pt x="164" y="512"/>
                    </a:lnTo>
                    <a:lnTo>
                      <a:pt x="164" y="512"/>
                    </a:lnTo>
                    <a:lnTo>
                      <a:pt x="164" y="512"/>
                    </a:lnTo>
                    <a:lnTo>
                      <a:pt x="161" y="509"/>
                    </a:lnTo>
                    <a:lnTo>
                      <a:pt x="161" y="509"/>
                    </a:lnTo>
                    <a:lnTo>
                      <a:pt x="159" y="509"/>
                    </a:lnTo>
                    <a:lnTo>
                      <a:pt x="159" y="512"/>
                    </a:lnTo>
                    <a:lnTo>
                      <a:pt x="159" y="512"/>
                    </a:lnTo>
                    <a:lnTo>
                      <a:pt x="159" y="512"/>
                    </a:lnTo>
                    <a:lnTo>
                      <a:pt x="156" y="512"/>
                    </a:lnTo>
                    <a:lnTo>
                      <a:pt x="156" y="515"/>
                    </a:lnTo>
                    <a:lnTo>
                      <a:pt x="153" y="515"/>
                    </a:lnTo>
                    <a:lnTo>
                      <a:pt x="153" y="512"/>
                    </a:lnTo>
                    <a:lnTo>
                      <a:pt x="150" y="507"/>
                    </a:lnTo>
                    <a:lnTo>
                      <a:pt x="147" y="504"/>
                    </a:lnTo>
                    <a:lnTo>
                      <a:pt x="142" y="501"/>
                    </a:lnTo>
                    <a:lnTo>
                      <a:pt x="139" y="495"/>
                    </a:lnTo>
                    <a:lnTo>
                      <a:pt x="125" y="493"/>
                    </a:lnTo>
                    <a:lnTo>
                      <a:pt x="125" y="493"/>
                    </a:lnTo>
                    <a:lnTo>
                      <a:pt x="120" y="493"/>
                    </a:lnTo>
                    <a:lnTo>
                      <a:pt x="120" y="493"/>
                    </a:lnTo>
                    <a:lnTo>
                      <a:pt x="120" y="495"/>
                    </a:lnTo>
                    <a:lnTo>
                      <a:pt x="120" y="495"/>
                    </a:lnTo>
                    <a:lnTo>
                      <a:pt x="120" y="495"/>
                    </a:lnTo>
                    <a:lnTo>
                      <a:pt x="120" y="498"/>
                    </a:lnTo>
                    <a:lnTo>
                      <a:pt x="117" y="495"/>
                    </a:lnTo>
                    <a:lnTo>
                      <a:pt x="117" y="493"/>
                    </a:lnTo>
                    <a:lnTo>
                      <a:pt x="114" y="493"/>
                    </a:lnTo>
                    <a:lnTo>
                      <a:pt x="108" y="493"/>
                    </a:lnTo>
                    <a:lnTo>
                      <a:pt x="108" y="490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3" y="487"/>
                    </a:lnTo>
                    <a:lnTo>
                      <a:pt x="100" y="484"/>
                    </a:lnTo>
                    <a:lnTo>
                      <a:pt x="97" y="484"/>
                    </a:lnTo>
                    <a:lnTo>
                      <a:pt x="97" y="484"/>
                    </a:lnTo>
                    <a:lnTo>
                      <a:pt x="97" y="481"/>
                    </a:lnTo>
                    <a:lnTo>
                      <a:pt x="97" y="481"/>
                    </a:lnTo>
                    <a:lnTo>
                      <a:pt x="97" y="481"/>
                    </a:lnTo>
                    <a:lnTo>
                      <a:pt x="95" y="481"/>
                    </a:lnTo>
                    <a:lnTo>
                      <a:pt x="92" y="481"/>
                    </a:lnTo>
                    <a:lnTo>
                      <a:pt x="92" y="481"/>
                    </a:lnTo>
                    <a:lnTo>
                      <a:pt x="92" y="479"/>
                    </a:lnTo>
                    <a:lnTo>
                      <a:pt x="92" y="479"/>
                    </a:lnTo>
                    <a:lnTo>
                      <a:pt x="89" y="479"/>
                    </a:lnTo>
                    <a:lnTo>
                      <a:pt x="86" y="479"/>
                    </a:lnTo>
                    <a:lnTo>
                      <a:pt x="83" y="481"/>
                    </a:lnTo>
                    <a:lnTo>
                      <a:pt x="83" y="481"/>
                    </a:lnTo>
                    <a:lnTo>
                      <a:pt x="83" y="479"/>
                    </a:lnTo>
                    <a:lnTo>
                      <a:pt x="83" y="476"/>
                    </a:lnTo>
                    <a:lnTo>
                      <a:pt x="81" y="476"/>
                    </a:lnTo>
                    <a:lnTo>
                      <a:pt x="81" y="473"/>
                    </a:lnTo>
                    <a:lnTo>
                      <a:pt x="81" y="473"/>
                    </a:lnTo>
                    <a:lnTo>
                      <a:pt x="78" y="473"/>
                    </a:lnTo>
                    <a:lnTo>
                      <a:pt x="78" y="470"/>
                    </a:lnTo>
                    <a:lnTo>
                      <a:pt x="81" y="468"/>
                    </a:lnTo>
                    <a:lnTo>
                      <a:pt x="78" y="468"/>
                    </a:lnTo>
                    <a:lnTo>
                      <a:pt x="78" y="465"/>
                    </a:lnTo>
                    <a:lnTo>
                      <a:pt x="81" y="462"/>
                    </a:lnTo>
                    <a:lnTo>
                      <a:pt x="75" y="456"/>
                    </a:lnTo>
                    <a:lnTo>
                      <a:pt x="75" y="454"/>
                    </a:lnTo>
                    <a:lnTo>
                      <a:pt x="75" y="451"/>
                    </a:lnTo>
                    <a:lnTo>
                      <a:pt x="75" y="451"/>
                    </a:lnTo>
                    <a:lnTo>
                      <a:pt x="78" y="451"/>
                    </a:lnTo>
                    <a:lnTo>
                      <a:pt x="78" y="451"/>
                    </a:lnTo>
                    <a:lnTo>
                      <a:pt x="78" y="451"/>
                    </a:lnTo>
                    <a:lnTo>
                      <a:pt x="81" y="451"/>
                    </a:lnTo>
                    <a:lnTo>
                      <a:pt x="81" y="454"/>
                    </a:lnTo>
                    <a:lnTo>
                      <a:pt x="81" y="454"/>
                    </a:lnTo>
                    <a:lnTo>
                      <a:pt x="83" y="454"/>
                    </a:lnTo>
                    <a:lnTo>
                      <a:pt x="83" y="454"/>
                    </a:lnTo>
                    <a:lnTo>
                      <a:pt x="83" y="454"/>
                    </a:lnTo>
                    <a:lnTo>
                      <a:pt x="86" y="454"/>
                    </a:lnTo>
                    <a:lnTo>
                      <a:pt x="86" y="454"/>
                    </a:lnTo>
                    <a:lnTo>
                      <a:pt x="86" y="451"/>
                    </a:lnTo>
                    <a:lnTo>
                      <a:pt x="89" y="451"/>
                    </a:lnTo>
                    <a:lnTo>
                      <a:pt x="89" y="451"/>
                    </a:lnTo>
                    <a:lnTo>
                      <a:pt x="89" y="451"/>
                    </a:lnTo>
                    <a:lnTo>
                      <a:pt x="89" y="451"/>
                    </a:lnTo>
                    <a:lnTo>
                      <a:pt x="92" y="448"/>
                    </a:lnTo>
                    <a:lnTo>
                      <a:pt x="92" y="448"/>
                    </a:lnTo>
                    <a:lnTo>
                      <a:pt x="89" y="443"/>
                    </a:lnTo>
                    <a:lnTo>
                      <a:pt x="89" y="443"/>
                    </a:lnTo>
                    <a:lnTo>
                      <a:pt x="89" y="443"/>
                    </a:lnTo>
                    <a:lnTo>
                      <a:pt x="89" y="440"/>
                    </a:lnTo>
                    <a:lnTo>
                      <a:pt x="86" y="440"/>
                    </a:lnTo>
                    <a:lnTo>
                      <a:pt x="86" y="440"/>
                    </a:lnTo>
                    <a:lnTo>
                      <a:pt x="86" y="440"/>
                    </a:lnTo>
                    <a:lnTo>
                      <a:pt x="83" y="437"/>
                    </a:lnTo>
                    <a:lnTo>
                      <a:pt x="83" y="431"/>
                    </a:lnTo>
                    <a:lnTo>
                      <a:pt x="83" y="431"/>
                    </a:lnTo>
                    <a:lnTo>
                      <a:pt x="83" y="431"/>
                    </a:lnTo>
                    <a:lnTo>
                      <a:pt x="83" y="429"/>
                    </a:lnTo>
                    <a:lnTo>
                      <a:pt x="83" y="429"/>
                    </a:lnTo>
                    <a:lnTo>
                      <a:pt x="81" y="426"/>
                    </a:lnTo>
                    <a:lnTo>
                      <a:pt x="83" y="426"/>
                    </a:lnTo>
                    <a:lnTo>
                      <a:pt x="83" y="426"/>
                    </a:lnTo>
                    <a:lnTo>
                      <a:pt x="86" y="426"/>
                    </a:lnTo>
                    <a:lnTo>
                      <a:pt x="86" y="423"/>
                    </a:lnTo>
                    <a:lnTo>
                      <a:pt x="89" y="426"/>
                    </a:lnTo>
                    <a:lnTo>
                      <a:pt x="89" y="423"/>
                    </a:lnTo>
                    <a:lnTo>
                      <a:pt x="92" y="420"/>
                    </a:lnTo>
                    <a:lnTo>
                      <a:pt x="92" y="417"/>
                    </a:lnTo>
                    <a:lnTo>
                      <a:pt x="95" y="417"/>
                    </a:lnTo>
                    <a:lnTo>
                      <a:pt x="95" y="415"/>
                    </a:lnTo>
                    <a:lnTo>
                      <a:pt x="95" y="415"/>
                    </a:lnTo>
                    <a:lnTo>
                      <a:pt x="95" y="415"/>
                    </a:lnTo>
                    <a:lnTo>
                      <a:pt x="97" y="415"/>
                    </a:lnTo>
                    <a:lnTo>
                      <a:pt x="97" y="412"/>
                    </a:lnTo>
                    <a:lnTo>
                      <a:pt x="100" y="409"/>
                    </a:lnTo>
                    <a:lnTo>
                      <a:pt x="100" y="409"/>
                    </a:lnTo>
                    <a:lnTo>
                      <a:pt x="100" y="406"/>
                    </a:lnTo>
                    <a:lnTo>
                      <a:pt x="103" y="401"/>
                    </a:lnTo>
                    <a:lnTo>
                      <a:pt x="103" y="401"/>
                    </a:lnTo>
                    <a:lnTo>
                      <a:pt x="103" y="398"/>
                    </a:lnTo>
                    <a:lnTo>
                      <a:pt x="106" y="398"/>
                    </a:lnTo>
                    <a:lnTo>
                      <a:pt x="106" y="395"/>
                    </a:lnTo>
                    <a:lnTo>
                      <a:pt x="103" y="395"/>
                    </a:lnTo>
                    <a:lnTo>
                      <a:pt x="103" y="395"/>
                    </a:lnTo>
                    <a:lnTo>
                      <a:pt x="100" y="398"/>
                    </a:lnTo>
                    <a:lnTo>
                      <a:pt x="100" y="398"/>
                    </a:lnTo>
                    <a:lnTo>
                      <a:pt x="100" y="395"/>
                    </a:lnTo>
                    <a:lnTo>
                      <a:pt x="97" y="392"/>
                    </a:lnTo>
                    <a:lnTo>
                      <a:pt x="97" y="395"/>
                    </a:lnTo>
                    <a:lnTo>
                      <a:pt x="95" y="395"/>
                    </a:lnTo>
                    <a:lnTo>
                      <a:pt x="95" y="392"/>
                    </a:lnTo>
                    <a:lnTo>
                      <a:pt x="95" y="392"/>
                    </a:lnTo>
                    <a:lnTo>
                      <a:pt x="95" y="392"/>
                    </a:lnTo>
                    <a:lnTo>
                      <a:pt x="95" y="390"/>
                    </a:lnTo>
                    <a:lnTo>
                      <a:pt x="92" y="390"/>
                    </a:lnTo>
                    <a:lnTo>
                      <a:pt x="92" y="390"/>
                    </a:lnTo>
                    <a:lnTo>
                      <a:pt x="92" y="390"/>
                    </a:lnTo>
                    <a:lnTo>
                      <a:pt x="89" y="390"/>
                    </a:lnTo>
                    <a:lnTo>
                      <a:pt x="89" y="387"/>
                    </a:lnTo>
                    <a:lnTo>
                      <a:pt x="89" y="387"/>
                    </a:lnTo>
                    <a:lnTo>
                      <a:pt x="86" y="387"/>
                    </a:lnTo>
                    <a:lnTo>
                      <a:pt x="86" y="387"/>
                    </a:lnTo>
                    <a:lnTo>
                      <a:pt x="83" y="387"/>
                    </a:lnTo>
                    <a:lnTo>
                      <a:pt x="83" y="387"/>
                    </a:lnTo>
                    <a:lnTo>
                      <a:pt x="78" y="390"/>
                    </a:lnTo>
                    <a:lnTo>
                      <a:pt x="72" y="392"/>
                    </a:lnTo>
                    <a:lnTo>
                      <a:pt x="69" y="395"/>
                    </a:lnTo>
                    <a:lnTo>
                      <a:pt x="69" y="395"/>
                    </a:lnTo>
                    <a:lnTo>
                      <a:pt x="67" y="398"/>
                    </a:lnTo>
                    <a:lnTo>
                      <a:pt x="64" y="395"/>
                    </a:lnTo>
                    <a:lnTo>
                      <a:pt x="64" y="398"/>
                    </a:lnTo>
                    <a:lnTo>
                      <a:pt x="58" y="395"/>
                    </a:lnTo>
                    <a:lnTo>
                      <a:pt x="58" y="395"/>
                    </a:lnTo>
                    <a:lnTo>
                      <a:pt x="56" y="395"/>
                    </a:lnTo>
                    <a:lnTo>
                      <a:pt x="44" y="390"/>
                    </a:lnTo>
                    <a:lnTo>
                      <a:pt x="44" y="390"/>
                    </a:lnTo>
                    <a:lnTo>
                      <a:pt x="44" y="387"/>
                    </a:lnTo>
                    <a:lnTo>
                      <a:pt x="44" y="387"/>
                    </a:lnTo>
                    <a:lnTo>
                      <a:pt x="42" y="390"/>
                    </a:lnTo>
                    <a:lnTo>
                      <a:pt x="42" y="390"/>
                    </a:lnTo>
                    <a:lnTo>
                      <a:pt x="39" y="390"/>
                    </a:lnTo>
                    <a:lnTo>
                      <a:pt x="39" y="390"/>
                    </a:lnTo>
                    <a:lnTo>
                      <a:pt x="36" y="387"/>
                    </a:lnTo>
                    <a:lnTo>
                      <a:pt x="36" y="387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6" y="381"/>
                    </a:lnTo>
                    <a:lnTo>
                      <a:pt x="36" y="381"/>
                    </a:lnTo>
                    <a:lnTo>
                      <a:pt x="36" y="381"/>
                    </a:lnTo>
                    <a:lnTo>
                      <a:pt x="36" y="376"/>
                    </a:lnTo>
                    <a:lnTo>
                      <a:pt x="36" y="376"/>
                    </a:lnTo>
                    <a:lnTo>
                      <a:pt x="30" y="370"/>
                    </a:lnTo>
                    <a:lnTo>
                      <a:pt x="30" y="370"/>
                    </a:lnTo>
                    <a:lnTo>
                      <a:pt x="28" y="373"/>
                    </a:lnTo>
                    <a:lnTo>
                      <a:pt x="28" y="373"/>
                    </a:lnTo>
                    <a:lnTo>
                      <a:pt x="28" y="370"/>
                    </a:lnTo>
                    <a:lnTo>
                      <a:pt x="28" y="367"/>
                    </a:lnTo>
                    <a:lnTo>
                      <a:pt x="25" y="367"/>
                    </a:lnTo>
                    <a:lnTo>
                      <a:pt x="22" y="367"/>
                    </a:lnTo>
                    <a:lnTo>
                      <a:pt x="22" y="367"/>
                    </a:lnTo>
                    <a:lnTo>
                      <a:pt x="19" y="367"/>
                    </a:lnTo>
                    <a:lnTo>
                      <a:pt x="14" y="367"/>
                    </a:lnTo>
                    <a:lnTo>
                      <a:pt x="17" y="367"/>
                    </a:lnTo>
                    <a:lnTo>
                      <a:pt x="14" y="365"/>
                    </a:lnTo>
                    <a:lnTo>
                      <a:pt x="14" y="365"/>
                    </a:lnTo>
                    <a:lnTo>
                      <a:pt x="14" y="365"/>
                    </a:lnTo>
                    <a:lnTo>
                      <a:pt x="14" y="362"/>
                    </a:lnTo>
                    <a:lnTo>
                      <a:pt x="17" y="362"/>
                    </a:lnTo>
                    <a:lnTo>
                      <a:pt x="17" y="362"/>
                    </a:lnTo>
                    <a:lnTo>
                      <a:pt x="19" y="362"/>
                    </a:lnTo>
                    <a:lnTo>
                      <a:pt x="17" y="362"/>
                    </a:lnTo>
                    <a:lnTo>
                      <a:pt x="19" y="362"/>
                    </a:lnTo>
                    <a:lnTo>
                      <a:pt x="19" y="362"/>
                    </a:lnTo>
                    <a:lnTo>
                      <a:pt x="19" y="353"/>
                    </a:lnTo>
                    <a:lnTo>
                      <a:pt x="17" y="345"/>
                    </a:lnTo>
                    <a:lnTo>
                      <a:pt x="17" y="339"/>
                    </a:lnTo>
                    <a:lnTo>
                      <a:pt x="17" y="337"/>
                    </a:lnTo>
                    <a:lnTo>
                      <a:pt x="11" y="337"/>
                    </a:lnTo>
                    <a:lnTo>
                      <a:pt x="5" y="337"/>
                    </a:lnTo>
                    <a:lnTo>
                      <a:pt x="3" y="337"/>
                    </a:lnTo>
                    <a:lnTo>
                      <a:pt x="0" y="326"/>
                    </a:lnTo>
                    <a:lnTo>
                      <a:pt x="3" y="314"/>
                    </a:lnTo>
                    <a:lnTo>
                      <a:pt x="3" y="312"/>
                    </a:lnTo>
                    <a:lnTo>
                      <a:pt x="5" y="306"/>
                    </a:lnTo>
                    <a:lnTo>
                      <a:pt x="14" y="303"/>
                    </a:lnTo>
                    <a:lnTo>
                      <a:pt x="17" y="300"/>
                    </a:lnTo>
                    <a:lnTo>
                      <a:pt x="17" y="300"/>
                    </a:lnTo>
                    <a:lnTo>
                      <a:pt x="19" y="298"/>
                    </a:lnTo>
                    <a:lnTo>
                      <a:pt x="22" y="298"/>
                    </a:lnTo>
                    <a:lnTo>
                      <a:pt x="25" y="298"/>
                    </a:lnTo>
                    <a:lnTo>
                      <a:pt x="30" y="298"/>
                    </a:lnTo>
                    <a:lnTo>
                      <a:pt x="30" y="300"/>
                    </a:lnTo>
                    <a:lnTo>
                      <a:pt x="42" y="300"/>
                    </a:lnTo>
                    <a:lnTo>
                      <a:pt x="44" y="298"/>
                    </a:lnTo>
                    <a:lnTo>
                      <a:pt x="47" y="292"/>
                    </a:lnTo>
                    <a:lnTo>
                      <a:pt x="50" y="289"/>
                    </a:lnTo>
                    <a:lnTo>
                      <a:pt x="72" y="284"/>
                    </a:lnTo>
                    <a:lnTo>
                      <a:pt x="72" y="281"/>
                    </a:lnTo>
                    <a:lnTo>
                      <a:pt x="78" y="275"/>
                    </a:lnTo>
                    <a:lnTo>
                      <a:pt x="100" y="267"/>
                    </a:lnTo>
                    <a:lnTo>
                      <a:pt x="103" y="262"/>
                    </a:lnTo>
                    <a:lnTo>
                      <a:pt x="103" y="250"/>
                    </a:lnTo>
                    <a:lnTo>
                      <a:pt x="106" y="248"/>
                    </a:lnTo>
                    <a:lnTo>
                      <a:pt x="106" y="245"/>
                    </a:lnTo>
                    <a:lnTo>
                      <a:pt x="108" y="242"/>
                    </a:lnTo>
                    <a:lnTo>
                      <a:pt x="103" y="211"/>
                    </a:lnTo>
                    <a:lnTo>
                      <a:pt x="100" y="206"/>
                    </a:lnTo>
                    <a:lnTo>
                      <a:pt x="97" y="206"/>
                    </a:lnTo>
                    <a:lnTo>
                      <a:pt x="100" y="203"/>
                    </a:lnTo>
                    <a:lnTo>
                      <a:pt x="133" y="197"/>
                    </a:lnTo>
                    <a:lnTo>
                      <a:pt x="136" y="195"/>
                    </a:lnTo>
                    <a:lnTo>
                      <a:pt x="133" y="186"/>
                    </a:lnTo>
                    <a:lnTo>
                      <a:pt x="145" y="153"/>
                    </a:lnTo>
                    <a:lnTo>
                      <a:pt x="153" y="153"/>
                    </a:lnTo>
                    <a:lnTo>
                      <a:pt x="153" y="156"/>
                    </a:lnTo>
                    <a:lnTo>
                      <a:pt x="159" y="156"/>
                    </a:lnTo>
                    <a:lnTo>
                      <a:pt x="170" y="156"/>
                    </a:lnTo>
                    <a:lnTo>
                      <a:pt x="175" y="161"/>
                    </a:lnTo>
                    <a:lnTo>
                      <a:pt x="178" y="158"/>
                    </a:lnTo>
                    <a:lnTo>
                      <a:pt x="186" y="156"/>
                    </a:lnTo>
                    <a:lnTo>
                      <a:pt x="186" y="131"/>
                    </a:lnTo>
                    <a:lnTo>
                      <a:pt x="189" y="125"/>
                    </a:lnTo>
                    <a:lnTo>
                      <a:pt x="195" y="125"/>
                    </a:lnTo>
                    <a:lnTo>
                      <a:pt x="200" y="125"/>
                    </a:lnTo>
                    <a:lnTo>
                      <a:pt x="206" y="120"/>
                    </a:lnTo>
                    <a:lnTo>
                      <a:pt x="209" y="114"/>
                    </a:lnTo>
                    <a:lnTo>
                      <a:pt x="214" y="117"/>
                    </a:lnTo>
                    <a:lnTo>
                      <a:pt x="220" y="111"/>
                    </a:lnTo>
                    <a:lnTo>
                      <a:pt x="220" y="111"/>
                    </a:lnTo>
                    <a:lnTo>
                      <a:pt x="220" y="111"/>
                    </a:lnTo>
                    <a:lnTo>
                      <a:pt x="225" y="122"/>
                    </a:lnTo>
                    <a:lnTo>
                      <a:pt x="234" y="131"/>
                    </a:lnTo>
                    <a:lnTo>
                      <a:pt x="237" y="136"/>
                    </a:lnTo>
                    <a:lnTo>
                      <a:pt x="239" y="139"/>
                    </a:lnTo>
                    <a:lnTo>
                      <a:pt x="242" y="136"/>
                    </a:lnTo>
                    <a:lnTo>
                      <a:pt x="248" y="136"/>
                    </a:lnTo>
                    <a:lnTo>
                      <a:pt x="250" y="139"/>
                    </a:lnTo>
                    <a:lnTo>
                      <a:pt x="256" y="139"/>
                    </a:lnTo>
                    <a:lnTo>
                      <a:pt x="267" y="167"/>
                    </a:lnTo>
                    <a:lnTo>
                      <a:pt x="267" y="186"/>
                    </a:lnTo>
                    <a:lnTo>
                      <a:pt x="264" y="192"/>
                    </a:lnTo>
                    <a:lnTo>
                      <a:pt x="264" y="195"/>
                    </a:lnTo>
                    <a:lnTo>
                      <a:pt x="267" y="197"/>
                    </a:lnTo>
                    <a:lnTo>
                      <a:pt x="292" y="203"/>
                    </a:lnTo>
                    <a:lnTo>
                      <a:pt x="301" y="200"/>
                    </a:lnTo>
                    <a:lnTo>
                      <a:pt x="334" y="217"/>
                    </a:lnTo>
                    <a:lnTo>
                      <a:pt x="337" y="217"/>
                    </a:lnTo>
                    <a:lnTo>
                      <a:pt x="362" y="250"/>
                    </a:lnTo>
                    <a:lnTo>
                      <a:pt x="365" y="250"/>
                    </a:lnTo>
                    <a:lnTo>
                      <a:pt x="417" y="248"/>
                    </a:lnTo>
                    <a:lnTo>
                      <a:pt x="434" y="253"/>
                    </a:lnTo>
                    <a:lnTo>
                      <a:pt x="443" y="259"/>
                    </a:lnTo>
                    <a:lnTo>
                      <a:pt x="470" y="270"/>
                    </a:lnTo>
                    <a:lnTo>
                      <a:pt x="476" y="270"/>
                    </a:lnTo>
                    <a:lnTo>
                      <a:pt x="479" y="270"/>
                    </a:lnTo>
                    <a:lnTo>
                      <a:pt x="482" y="273"/>
                    </a:lnTo>
                    <a:lnTo>
                      <a:pt x="484" y="275"/>
                    </a:lnTo>
                    <a:lnTo>
                      <a:pt x="487" y="275"/>
                    </a:lnTo>
                    <a:lnTo>
                      <a:pt x="493" y="270"/>
                    </a:lnTo>
                    <a:lnTo>
                      <a:pt x="509" y="264"/>
                    </a:lnTo>
                    <a:lnTo>
                      <a:pt x="512" y="262"/>
                    </a:lnTo>
                    <a:lnTo>
                      <a:pt x="529" y="256"/>
                    </a:lnTo>
                    <a:lnTo>
                      <a:pt x="537" y="259"/>
                    </a:lnTo>
                    <a:lnTo>
                      <a:pt x="543" y="256"/>
                    </a:lnTo>
                    <a:lnTo>
                      <a:pt x="551" y="259"/>
                    </a:lnTo>
                    <a:lnTo>
                      <a:pt x="551" y="259"/>
                    </a:lnTo>
                    <a:lnTo>
                      <a:pt x="559" y="256"/>
                    </a:lnTo>
                    <a:lnTo>
                      <a:pt x="576" y="248"/>
                    </a:lnTo>
                    <a:lnTo>
                      <a:pt x="579" y="242"/>
                    </a:lnTo>
                    <a:lnTo>
                      <a:pt x="596" y="228"/>
                    </a:lnTo>
                    <a:lnTo>
                      <a:pt x="596" y="225"/>
                    </a:lnTo>
                    <a:lnTo>
                      <a:pt x="590" y="217"/>
                    </a:lnTo>
                    <a:lnTo>
                      <a:pt x="590" y="214"/>
                    </a:lnTo>
                    <a:lnTo>
                      <a:pt x="596" y="203"/>
                    </a:lnTo>
                    <a:lnTo>
                      <a:pt x="604" y="200"/>
                    </a:lnTo>
                    <a:lnTo>
                      <a:pt x="607" y="203"/>
                    </a:lnTo>
                    <a:lnTo>
                      <a:pt x="610" y="206"/>
                    </a:lnTo>
                    <a:lnTo>
                      <a:pt x="621" y="206"/>
                    </a:lnTo>
                    <a:lnTo>
                      <a:pt x="629" y="203"/>
                    </a:lnTo>
                    <a:lnTo>
                      <a:pt x="640" y="189"/>
                    </a:lnTo>
                    <a:lnTo>
                      <a:pt x="646" y="189"/>
                    </a:lnTo>
                    <a:lnTo>
                      <a:pt x="654" y="186"/>
                    </a:lnTo>
                    <a:lnTo>
                      <a:pt x="674" y="167"/>
                    </a:lnTo>
                    <a:lnTo>
                      <a:pt x="701" y="164"/>
                    </a:lnTo>
                    <a:lnTo>
                      <a:pt x="710" y="164"/>
                    </a:lnTo>
                    <a:lnTo>
                      <a:pt x="713" y="164"/>
                    </a:lnTo>
                    <a:lnTo>
                      <a:pt x="713" y="161"/>
                    </a:lnTo>
                    <a:lnTo>
                      <a:pt x="710" y="158"/>
                    </a:lnTo>
                    <a:lnTo>
                      <a:pt x="710" y="150"/>
                    </a:lnTo>
                    <a:lnTo>
                      <a:pt x="707" y="147"/>
                    </a:lnTo>
                    <a:lnTo>
                      <a:pt x="696" y="136"/>
                    </a:lnTo>
                    <a:lnTo>
                      <a:pt x="693" y="133"/>
                    </a:lnTo>
                    <a:lnTo>
                      <a:pt x="682" y="142"/>
                    </a:lnTo>
                    <a:lnTo>
                      <a:pt x="668" y="145"/>
                    </a:lnTo>
                    <a:lnTo>
                      <a:pt x="654" y="142"/>
                    </a:lnTo>
                    <a:lnTo>
                      <a:pt x="654" y="139"/>
                    </a:lnTo>
                    <a:lnTo>
                      <a:pt x="651" y="125"/>
                    </a:lnTo>
                    <a:lnTo>
                      <a:pt x="654" y="120"/>
                    </a:lnTo>
                    <a:lnTo>
                      <a:pt x="654" y="106"/>
                    </a:lnTo>
                    <a:lnTo>
                      <a:pt x="662" y="92"/>
                    </a:lnTo>
                    <a:lnTo>
                      <a:pt x="665" y="89"/>
                    </a:lnTo>
                    <a:lnTo>
                      <a:pt x="665" y="86"/>
                    </a:lnTo>
                    <a:lnTo>
                      <a:pt x="688" y="97"/>
                    </a:lnTo>
                    <a:lnTo>
                      <a:pt x="693" y="97"/>
                    </a:lnTo>
                    <a:lnTo>
                      <a:pt x="710" y="83"/>
                    </a:lnTo>
                    <a:lnTo>
                      <a:pt x="710" y="83"/>
                    </a:lnTo>
                    <a:lnTo>
                      <a:pt x="710" y="78"/>
                    </a:lnTo>
                    <a:lnTo>
                      <a:pt x="710" y="75"/>
                    </a:lnTo>
                    <a:lnTo>
                      <a:pt x="715" y="69"/>
                    </a:lnTo>
                    <a:lnTo>
                      <a:pt x="721" y="50"/>
                    </a:lnTo>
                    <a:lnTo>
                      <a:pt x="727" y="47"/>
                    </a:lnTo>
                    <a:lnTo>
                      <a:pt x="732" y="39"/>
                    </a:lnTo>
                    <a:lnTo>
                      <a:pt x="732" y="36"/>
                    </a:lnTo>
                    <a:lnTo>
                      <a:pt x="732" y="33"/>
                    </a:lnTo>
                    <a:lnTo>
                      <a:pt x="732" y="25"/>
                    </a:lnTo>
                    <a:lnTo>
                      <a:pt x="732" y="25"/>
                    </a:lnTo>
                    <a:lnTo>
                      <a:pt x="721" y="28"/>
                    </a:lnTo>
                    <a:lnTo>
                      <a:pt x="721" y="25"/>
                    </a:lnTo>
                    <a:lnTo>
                      <a:pt x="724" y="22"/>
                    </a:lnTo>
                    <a:lnTo>
                      <a:pt x="729" y="14"/>
                    </a:lnTo>
                    <a:lnTo>
                      <a:pt x="732" y="11"/>
                    </a:lnTo>
                    <a:lnTo>
                      <a:pt x="735" y="8"/>
                    </a:lnTo>
                    <a:lnTo>
                      <a:pt x="779" y="0"/>
                    </a:lnTo>
                    <a:lnTo>
                      <a:pt x="791" y="11"/>
                    </a:lnTo>
                    <a:lnTo>
                      <a:pt x="796" y="11"/>
                    </a:lnTo>
                    <a:lnTo>
                      <a:pt x="802" y="11"/>
                    </a:lnTo>
                    <a:lnTo>
                      <a:pt x="810" y="14"/>
                    </a:lnTo>
                    <a:lnTo>
                      <a:pt x="816" y="22"/>
                    </a:lnTo>
                    <a:lnTo>
                      <a:pt x="816" y="25"/>
                    </a:lnTo>
                    <a:lnTo>
                      <a:pt x="821" y="30"/>
                    </a:lnTo>
                    <a:lnTo>
                      <a:pt x="821" y="30"/>
                    </a:lnTo>
                    <a:lnTo>
                      <a:pt x="821" y="30"/>
                    </a:lnTo>
                    <a:lnTo>
                      <a:pt x="838" y="83"/>
                    </a:lnTo>
                    <a:lnTo>
                      <a:pt x="838" y="83"/>
                    </a:lnTo>
                    <a:lnTo>
                      <a:pt x="838" y="83"/>
                    </a:lnTo>
                    <a:lnTo>
                      <a:pt x="838" y="94"/>
                    </a:lnTo>
                    <a:lnTo>
                      <a:pt x="843" y="97"/>
                    </a:lnTo>
                    <a:lnTo>
                      <a:pt x="849" y="100"/>
                    </a:lnTo>
                    <a:lnTo>
                      <a:pt x="855" y="97"/>
                    </a:lnTo>
                    <a:lnTo>
                      <a:pt x="871" y="103"/>
                    </a:lnTo>
                    <a:lnTo>
                      <a:pt x="880" y="111"/>
                    </a:lnTo>
                    <a:lnTo>
                      <a:pt x="882" y="111"/>
                    </a:lnTo>
                    <a:lnTo>
                      <a:pt x="888" y="114"/>
                    </a:lnTo>
                    <a:lnTo>
                      <a:pt x="888" y="114"/>
                    </a:lnTo>
                    <a:lnTo>
                      <a:pt x="888" y="117"/>
                    </a:lnTo>
                    <a:lnTo>
                      <a:pt x="888" y="117"/>
                    </a:lnTo>
                    <a:lnTo>
                      <a:pt x="888" y="120"/>
                    </a:lnTo>
                    <a:lnTo>
                      <a:pt x="891" y="122"/>
                    </a:lnTo>
                    <a:lnTo>
                      <a:pt x="891" y="133"/>
                    </a:lnTo>
                    <a:lnTo>
                      <a:pt x="896" y="142"/>
                    </a:lnTo>
                    <a:lnTo>
                      <a:pt x="902" y="142"/>
                    </a:lnTo>
                    <a:lnTo>
                      <a:pt x="907" y="142"/>
                    </a:lnTo>
                    <a:lnTo>
                      <a:pt x="910" y="142"/>
                    </a:lnTo>
                    <a:lnTo>
                      <a:pt x="930" y="131"/>
                    </a:lnTo>
                    <a:lnTo>
                      <a:pt x="935" y="131"/>
                    </a:lnTo>
                    <a:lnTo>
                      <a:pt x="955" y="122"/>
                    </a:lnTo>
                    <a:lnTo>
                      <a:pt x="955" y="125"/>
                    </a:lnTo>
                    <a:lnTo>
                      <a:pt x="952" y="128"/>
                    </a:lnTo>
                    <a:lnTo>
                      <a:pt x="952" y="133"/>
                    </a:lnTo>
                    <a:lnTo>
                      <a:pt x="952" y="139"/>
                    </a:lnTo>
                    <a:lnTo>
                      <a:pt x="952" y="145"/>
                    </a:lnTo>
                    <a:lnTo>
                      <a:pt x="944" y="150"/>
                    </a:lnTo>
                    <a:lnTo>
                      <a:pt x="938" y="178"/>
                    </a:lnTo>
                    <a:lnTo>
                      <a:pt x="930" y="195"/>
                    </a:lnTo>
                    <a:lnTo>
                      <a:pt x="927" y="200"/>
                    </a:lnTo>
                    <a:lnTo>
                      <a:pt x="924" y="203"/>
                    </a:lnTo>
                    <a:lnTo>
                      <a:pt x="921" y="200"/>
                    </a:lnTo>
                    <a:lnTo>
                      <a:pt x="907" y="197"/>
                    </a:lnTo>
                    <a:lnTo>
                      <a:pt x="894" y="209"/>
                    </a:lnTo>
                    <a:lnTo>
                      <a:pt x="896" y="214"/>
                    </a:lnTo>
                    <a:lnTo>
                      <a:pt x="899" y="236"/>
                    </a:lnTo>
                    <a:lnTo>
                      <a:pt x="894" y="245"/>
                    </a:lnTo>
                    <a:lnTo>
                      <a:pt x="888" y="250"/>
                    </a:lnTo>
                    <a:lnTo>
                      <a:pt x="888" y="253"/>
                    </a:lnTo>
                    <a:lnTo>
                      <a:pt x="885" y="253"/>
                    </a:lnTo>
                    <a:lnTo>
                      <a:pt x="882" y="250"/>
                    </a:lnTo>
                    <a:lnTo>
                      <a:pt x="880" y="248"/>
                    </a:lnTo>
                    <a:lnTo>
                      <a:pt x="877" y="250"/>
                    </a:lnTo>
                    <a:lnTo>
                      <a:pt x="871" y="259"/>
                    </a:lnTo>
                    <a:lnTo>
                      <a:pt x="863" y="267"/>
                    </a:lnTo>
                    <a:lnTo>
                      <a:pt x="852" y="267"/>
                    </a:lnTo>
                    <a:lnTo>
                      <a:pt x="849" y="270"/>
                    </a:lnTo>
                    <a:lnTo>
                      <a:pt x="852" y="278"/>
                    </a:lnTo>
                    <a:lnTo>
                      <a:pt x="841" y="281"/>
                    </a:lnTo>
                    <a:lnTo>
                      <a:pt x="835" y="278"/>
                    </a:lnTo>
                    <a:lnTo>
                      <a:pt x="830" y="275"/>
                    </a:lnTo>
                    <a:lnTo>
                      <a:pt x="804" y="298"/>
                    </a:lnTo>
                    <a:lnTo>
                      <a:pt x="799" y="300"/>
                    </a:lnTo>
                    <a:lnTo>
                      <a:pt x="791" y="309"/>
                    </a:lnTo>
                    <a:lnTo>
                      <a:pt x="791" y="312"/>
                    </a:lnTo>
                    <a:lnTo>
                      <a:pt x="777" y="314"/>
                    </a:lnTo>
                    <a:lnTo>
                      <a:pt x="777" y="312"/>
                    </a:lnTo>
                    <a:lnTo>
                      <a:pt x="771" y="317"/>
                    </a:lnTo>
                    <a:lnTo>
                      <a:pt x="760" y="320"/>
                    </a:lnTo>
                    <a:lnTo>
                      <a:pt x="757" y="323"/>
                    </a:lnTo>
                    <a:lnTo>
                      <a:pt x="754" y="326"/>
                    </a:lnTo>
                    <a:lnTo>
                      <a:pt x="752" y="328"/>
                    </a:lnTo>
                    <a:lnTo>
                      <a:pt x="749" y="328"/>
                    </a:lnTo>
                    <a:lnTo>
                      <a:pt x="749" y="331"/>
                    </a:lnTo>
                    <a:lnTo>
                      <a:pt x="743" y="334"/>
                    </a:lnTo>
                    <a:lnTo>
                      <a:pt x="740" y="331"/>
                    </a:lnTo>
                    <a:lnTo>
                      <a:pt x="743" y="328"/>
                    </a:lnTo>
                    <a:lnTo>
                      <a:pt x="749" y="328"/>
                    </a:lnTo>
                    <a:lnTo>
                      <a:pt x="749" y="323"/>
                    </a:lnTo>
                    <a:lnTo>
                      <a:pt x="746" y="320"/>
                    </a:lnTo>
                    <a:lnTo>
                      <a:pt x="743" y="317"/>
                    </a:lnTo>
                    <a:lnTo>
                      <a:pt x="746" y="317"/>
                    </a:lnTo>
                    <a:lnTo>
                      <a:pt x="746" y="314"/>
                    </a:lnTo>
                    <a:lnTo>
                      <a:pt x="749" y="312"/>
                    </a:lnTo>
                    <a:lnTo>
                      <a:pt x="757" y="298"/>
                    </a:lnTo>
                    <a:lnTo>
                      <a:pt x="757" y="298"/>
                    </a:lnTo>
                    <a:lnTo>
                      <a:pt x="754" y="292"/>
                    </a:lnTo>
                    <a:lnTo>
                      <a:pt x="752" y="289"/>
                    </a:lnTo>
                    <a:lnTo>
                      <a:pt x="752" y="287"/>
                    </a:lnTo>
                    <a:lnTo>
                      <a:pt x="749" y="289"/>
                    </a:lnTo>
                    <a:lnTo>
                      <a:pt x="743" y="289"/>
                    </a:lnTo>
                    <a:lnTo>
                      <a:pt x="740" y="289"/>
                    </a:lnTo>
                    <a:lnTo>
                      <a:pt x="729" y="306"/>
                    </a:lnTo>
                    <a:lnTo>
                      <a:pt x="715" y="312"/>
                    </a:lnTo>
                    <a:lnTo>
                      <a:pt x="713" y="320"/>
                    </a:lnTo>
                    <a:lnTo>
                      <a:pt x="710" y="323"/>
                    </a:lnTo>
                    <a:lnTo>
                      <a:pt x="707" y="326"/>
                    </a:lnTo>
                    <a:lnTo>
                      <a:pt x="696" y="326"/>
                    </a:lnTo>
                    <a:lnTo>
                      <a:pt x="696" y="326"/>
                    </a:lnTo>
                    <a:lnTo>
                      <a:pt x="690" y="326"/>
                    </a:lnTo>
                    <a:lnTo>
                      <a:pt x="688" y="328"/>
                    </a:lnTo>
                    <a:lnTo>
                      <a:pt x="685" y="339"/>
                    </a:lnTo>
                    <a:lnTo>
                      <a:pt x="693" y="345"/>
                    </a:lnTo>
                    <a:lnTo>
                      <a:pt x="696" y="348"/>
                    </a:lnTo>
                    <a:lnTo>
                      <a:pt x="696" y="348"/>
                    </a:lnTo>
                    <a:lnTo>
                      <a:pt x="699" y="351"/>
                    </a:lnTo>
                    <a:lnTo>
                      <a:pt x="701" y="351"/>
                    </a:lnTo>
                    <a:lnTo>
                      <a:pt x="701" y="353"/>
                    </a:lnTo>
                    <a:lnTo>
                      <a:pt x="704" y="356"/>
                    </a:lnTo>
                    <a:lnTo>
                      <a:pt x="704" y="359"/>
                    </a:lnTo>
                    <a:lnTo>
                      <a:pt x="707" y="365"/>
                    </a:lnTo>
                    <a:lnTo>
                      <a:pt x="715" y="367"/>
                    </a:lnTo>
                    <a:lnTo>
                      <a:pt x="718" y="365"/>
                    </a:lnTo>
                    <a:lnTo>
                      <a:pt x="724" y="362"/>
                    </a:lnTo>
                    <a:lnTo>
                      <a:pt x="727" y="359"/>
                    </a:lnTo>
                    <a:lnTo>
                      <a:pt x="729" y="356"/>
                    </a:lnTo>
                    <a:lnTo>
                      <a:pt x="735" y="353"/>
                    </a:lnTo>
                    <a:lnTo>
                      <a:pt x="738" y="353"/>
                    </a:lnTo>
                    <a:lnTo>
                      <a:pt x="743" y="356"/>
                    </a:lnTo>
                    <a:lnTo>
                      <a:pt x="746" y="356"/>
                    </a:lnTo>
                    <a:lnTo>
                      <a:pt x="746" y="359"/>
                    </a:lnTo>
                    <a:lnTo>
                      <a:pt x="752" y="359"/>
                    </a:lnTo>
                    <a:lnTo>
                      <a:pt x="754" y="359"/>
                    </a:lnTo>
                    <a:lnTo>
                      <a:pt x="760" y="359"/>
                    </a:lnTo>
                    <a:lnTo>
                      <a:pt x="763" y="359"/>
                    </a:lnTo>
                    <a:lnTo>
                      <a:pt x="763" y="362"/>
                    </a:lnTo>
                    <a:lnTo>
                      <a:pt x="763" y="365"/>
                    </a:lnTo>
                    <a:lnTo>
                      <a:pt x="763" y="367"/>
                    </a:lnTo>
                    <a:lnTo>
                      <a:pt x="763" y="367"/>
                    </a:lnTo>
                    <a:lnTo>
                      <a:pt x="760" y="373"/>
                    </a:lnTo>
                    <a:lnTo>
                      <a:pt x="757" y="370"/>
                    </a:lnTo>
                    <a:lnTo>
                      <a:pt x="757" y="367"/>
                    </a:lnTo>
                    <a:lnTo>
                      <a:pt x="754" y="370"/>
                    </a:lnTo>
                    <a:lnTo>
                      <a:pt x="754" y="367"/>
                    </a:lnTo>
                    <a:lnTo>
                      <a:pt x="752" y="370"/>
                    </a:lnTo>
                    <a:lnTo>
                      <a:pt x="749" y="373"/>
                    </a:lnTo>
                    <a:lnTo>
                      <a:pt x="743" y="373"/>
                    </a:lnTo>
                    <a:lnTo>
                      <a:pt x="740" y="376"/>
                    </a:lnTo>
                    <a:lnTo>
                      <a:pt x="735" y="376"/>
                    </a:lnTo>
                    <a:lnTo>
                      <a:pt x="738" y="378"/>
                    </a:lnTo>
                    <a:lnTo>
                      <a:pt x="735" y="378"/>
                    </a:lnTo>
                    <a:lnTo>
                      <a:pt x="735" y="381"/>
                    </a:lnTo>
                    <a:lnTo>
                      <a:pt x="732" y="387"/>
                    </a:lnTo>
                    <a:lnTo>
                      <a:pt x="729" y="387"/>
                    </a:lnTo>
                    <a:lnTo>
                      <a:pt x="729" y="384"/>
                    </a:lnTo>
                    <a:lnTo>
                      <a:pt x="727" y="384"/>
                    </a:lnTo>
                    <a:lnTo>
                      <a:pt x="724" y="384"/>
                    </a:lnTo>
                    <a:lnTo>
                      <a:pt x="727" y="387"/>
                    </a:lnTo>
                    <a:lnTo>
                      <a:pt x="724" y="392"/>
                    </a:lnTo>
                    <a:lnTo>
                      <a:pt x="718" y="395"/>
                    </a:lnTo>
                    <a:lnTo>
                      <a:pt x="710" y="409"/>
                    </a:lnTo>
                    <a:lnTo>
                      <a:pt x="710" y="412"/>
                    </a:lnTo>
                    <a:lnTo>
                      <a:pt x="727" y="420"/>
                    </a:lnTo>
                    <a:lnTo>
                      <a:pt x="729" y="423"/>
                    </a:lnTo>
                    <a:lnTo>
                      <a:pt x="729" y="426"/>
                    </a:lnTo>
                    <a:lnTo>
                      <a:pt x="732" y="429"/>
                    </a:lnTo>
                    <a:lnTo>
                      <a:pt x="738" y="448"/>
                    </a:lnTo>
                    <a:lnTo>
                      <a:pt x="740" y="454"/>
                    </a:lnTo>
                    <a:lnTo>
                      <a:pt x="743" y="454"/>
                    </a:lnTo>
                    <a:lnTo>
                      <a:pt x="743" y="456"/>
                    </a:lnTo>
                    <a:lnTo>
                      <a:pt x="752" y="468"/>
                    </a:lnTo>
                    <a:lnTo>
                      <a:pt x="752" y="468"/>
                    </a:lnTo>
                    <a:lnTo>
                      <a:pt x="743" y="465"/>
                    </a:lnTo>
                    <a:lnTo>
                      <a:pt x="740" y="465"/>
                    </a:lnTo>
                    <a:lnTo>
                      <a:pt x="732" y="462"/>
                    </a:lnTo>
                    <a:lnTo>
                      <a:pt x="724" y="462"/>
                    </a:lnTo>
                    <a:lnTo>
                      <a:pt x="724" y="465"/>
                    </a:lnTo>
                    <a:lnTo>
                      <a:pt x="732" y="462"/>
                    </a:lnTo>
                    <a:lnTo>
                      <a:pt x="732" y="465"/>
                    </a:lnTo>
                    <a:lnTo>
                      <a:pt x="735" y="465"/>
                    </a:lnTo>
                    <a:lnTo>
                      <a:pt x="738" y="468"/>
                    </a:lnTo>
                    <a:lnTo>
                      <a:pt x="740" y="468"/>
                    </a:lnTo>
                    <a:lnTo>
                      <a:pt x="743" y="473"/>
                    </a:lnTo>
                    <a:lnTo>
                      <a:pt x="749" y="473"/>
                    </a:lnTo>
                    <a:lnTo>
                      <a:pt x="752" y="481"/>
                    </a:lnTo>
                    <a:lnTo>
                      <a:pt x="752" y="481"/>
                    </a:lnTo>
                    <a:lnTo>
                      <a:pt x="749" y="481"/>
                    </a:lnTo>
                    <a:lnTo>
                      <a:pt x="746" y="484"/>
                    </a:lnTo>
                    <a:lnTo>
                      <a:pt x="740" y="487"/>
                    </a:lnTo>
                    <a:lnTo>
                      <a:pt x="738" y="490"/>
                    </a:lnTo>
                    <a:lnTo>
                      <a:pt x="735" y="493"/>
                    </a:lnTo>
                    <a:lnTo>
                      <a:pt x="729" y="493"/>
                    </a:lnTo>
                    <a:lnTo>
                      <a:pt x="724" y="493"/>
                    </a:lnTo>
                    <a:lnTo>
                      <a:pt x="729" y="493"/>
                    </a:lnTo>
                    <a:lnTo>
                      <a:pt x="735" y="495"/>
                    </a:lnTo>
                    <a:lnTo>
                      <a:pt x="740" y="493"/>
                    </a:lnTo>
                    <a:lnTo>
                      <a:pt x="743" y="493"/>
                    </a:lnTo>
                    <a:lnTo>
                      <a:pt x="746" y="495"/>
                    </a:lnTo>
                    <a:lnTo>
                      <a:pt x="746" y="498"/>
                    </a:lnTo>
                    <a:lnTo>
                      <a:pt x="752" y="498"/>
                    </a:lnTo>
                    <a:lnTo>
                      <a:pt x="752" y="498"/>
                    </a:lnTo>
                    <a:lnTo>
                      <a:pt x="754" y="501"/>
                    </a:lnTo>
                    <a:lnTo>
                      <a:pt x="746" y="507"/>
                    </a:lnTo>
                    <a:lnTo>
                      <a:pt x="746" y="507"/>
                    </a:lnTo>
                    <a:lnTo>
                      <a:pt x="752" y="504"/>
                    </a:lnTo>
                    <a:lnTo>
                      <a:pt x="752" y="512"/>
                    </a:lnTo>
                    <a:lnTo>
                      <a:pt x="752" y="512"/>
                    </a:lnTo>
                    <a:lnTo>
                      <a:pt x="749" y="512"/>
                    </a:lnTo>
                    <a:lnTo>
                      <a:pt x="746" y="512"/>
                    </a:lnTo>
                    <a:lnTo>
                      <a:pt x="746" y="512"/>
                    </a:lnTo>
                    <a:lnTo>
                      <a:pt x="746" y="518"/>
                    </a:lnTo>
                    <a:lnTo>
                      <a:pt x="746" y="520"/>
                    </a:lnTo>
                    <a:lnTo>
                      <a:pt x="746" y="520"/>
                    </a:lnTo>
                    <a:lnTo>
                      <a:pt x="746" y="526"/>
                    </a:lnTo>
                    <a:lnTo>
                      <a:pt x="743" y="532"/>
                    </a:lnTo>
                    <a:lnTo>
                      <a:pt x="743" y="529"/>
                    </a:lnTo>
                    <a:lnTo>
                      <a:pt x="740" y="529"/>
                    </a:lnTo>
                    <a:lnTo>
                      <a:pt x="740" y="529"/>
                    </a:lnTo>
                    <a:lnTo>
                      <a:pt x="732" y="543"/>
                    </a:lnTo>
                    <a:lnTo>
                      <a:pt x="729" y="543"/>
                    </a:lnTo>
                    <a:lnTo>
                      <a:pt x="727" y="548"/>
                    </a:lnTo>
                    <a:lnTo>
                      <a:pt x="724" y="554"/>
                    </a:lnTo>
                    <a:lnTo>
                      <a:pt x="724" y="557"/>
                    </a:lnTo>
                    <a:lnTo>
                      <a:pt x="721" y="559"/>
                    </a:lnTo>
                    <a:lnTo>
                      <a:pt x="721" y="559"/>
                    </a:lnTo>
                    <a:lnTo>
                      <a:pt x="721" y="554"/>
                    </a:lnTo>
                    <a:lnTo>
                      <a:pt x="718" y="554"/>
                    </a:lnTo>
                    <a:lnTo>
                      <a:pt x="715" y="557"/>
                    </a:lnTo>
                    <a:lnTo>
                      <a:pt x="718" y="562"/>
                    </a:lnTo>
                    <a:lnTo>
                      <a:pt x="718" y="562"/>
                    </a:lnTo>
                    <a:lnTo>
                      <a:pt x="715" y="568"/>
                    </a:lnTo>
                    <a:lnTo>
                      <a:pt x="715" y="568"/>
                    </a:lnTo>
                    <a:lnTo>
                      <a:pt x="715" y="571"/>
                    </a:lnTo>
                    <a:lnTo>
                      <a:pt x="715" y="573"/>
                    </a:lnTo>
                    <a:lnTo>
                      <a:pt x="713" y="573"/>
                    </a:lnTo>
                    <a:lnTo>
                      <a:pt x="713" y="573"/>
                    </a:lnTo>
                    <a:lnTo>
                      <a:pt x="715" y="576"/>
                    </a:lnTo>
                    <a:lnTo>
                      <a:pt x="713" y="579"/>
                    </a:lnTo>
                    <a:lnTo>
                      <a:pt x="713" y="576"/>
                    </a:lnTo>
                    <a:lnTo>
                      <a:pt x="710" y="576"/>
                    </a:lnTo>
                    <a:lnTo>
                      <a:pt x="710" y="579"/>
                    </a:lnTo>
                    <a:lnTo>
                      <a:pt x="710" y="582"/>
                    </a:lnTo>
                    <a:lnTo>
                      <a:pt x="710" y="582"/>
                    </a:lnTo>
                    <a:lnTo>
                      <a:pt x="707" y="582"/>
                    </a:lnTo>
                    <a:lnTo>
                      <a:pt x="707" y="582"/>
                    </a:lnTo>
                    <a:lnTo>
                      <a:pt x="704" y="587"/>
                    </a:lnTo>
                    <a:lnTo>
                      <a:pt x="701" y="587"/>
                    </a:lnTo>
                    <a:lnTo>
                      <a:pt x="701" y="590"/>
                    </a:lnTo>
                    <a:lnTo>
                      <a:pt x="701" y="593"/>
                    </a:lnTo>
                    <a:lnTo>
                      <a:pt x="696" y="593"/>
                    </a:lnTo>
                    <a:lnTo>
                      <a:pt x="693" y="593"/>
                    </a:lnTo>
                    <a:lnTo>
                      <a:pt x="690" y="593"/>
                    </a:lnTo>
                    <a:lnTo>
                      <a:pt x="690" y="596"/>
                    </a:lnTo>
                    <a:lnTo>
                      <a:pt x="693" y="596"/>
                    </a:lnTo>
                    <a:lnTo>
                      <a:pt x="690" y="598"/>
                    </a:lnTo>
                    <a:lnTo>
                      <a:pt x="688" y="604"/>
                    </a:lnTo>
                    <a:lnTo>
                      <a:pt x="685" y="604"/>
                    </a:lnTo>
                    <a:lnTo>
                      <a:pt x="685" y="607"/>
                    </a:lnTo>
                    <a:lnTo>
                      <a:pt x="685" y="604"/>
                    </a:lnTo>
                    <a:lnTo>
                      <a:pt x="682" y="604"/>
                    </a:lnTo>
                    <a:lnTo>
                      <a:pt x="682" y="607"/>
                    </a:lnTo>
                    <a:lnTo>
                      <a:pt x="682" y="607"/>
                    </a:lnTo>
                    <a:lnTo>
                      <a:pt x="679" y="607"/>
                    </a:lnTo>
                    <a:lnTo>
                      <a:pt x="676" y="610"/>
                    </a:lnTo>
                    <a:lnTo>
                      <a:pt x="676" y="610"/>
                    </a:lnTo>
                    <a:lnTo>
                      <a:pt x="674" y="610"/>
                    </a:lnTo>
                    <a:lnTo>
                      <a:pt x="668" y="618"/>
                    </a:lnTo>
                    <a:lnTo>
                      <a:pt x="657" y="624"/>
                    </a:lnTo>
                    <a:lnTo>
                      <a:pt x="654" y="621"/>
                    </a:lnTo>
                    <a:lnTo>
                      <a:pt x="654" y="624"/>
                    </a:lnTo>
                    <a:lnTo>
                      <a:pt x="654" y="624"/>
                    </a:lnTo>
                    <a:lnTo>
                      <a:pt x="651" y="624"/>
                    </a:lnTo>
                    <a:lnTo>
                      <a:pt x="649" y="624"/>
                    </a:lnTo>
                    <a:lnTo>
                      <a:pt x="649" y="624"/>
                    </a:lnTo>
                    <a:lnTo>
                      <a:pt x="646" y="621"/>
                    </a:lnTo>
                    <a:lnTo>
                      <a:pt x="646" y="624"/>
                    </a:lnTo>
                    <a:lnTo>
                      <a:pt x="643" y="626"/>
                    </a:lnTo>
                    <a:lnTo>
                      <a:pt x="640" y="626"/>
                    </a:lnTo>
                    <a:lnTo>
                      <a:pt x="640" y="624"/>
                    </a:lnTo>
                    <a:lnTo>
                      <a:pt x="640" y="624"/>
                    </a:lnTo>
                    <a:lnTo>
                      <a:pt x="637" y="624"/>
                    </a:lnTo>
                    <a:lnTo>
                      <a:pt x="637" y="626"/>
                    </a:lnTo>
                    <a:lnTo>
                      <a:pt x="637" y="62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8" name="Freeform 875"/>
              <p:cNvSpPr>
                <a:spLocks noChangeAspect="1"/>
              </p:cNvSpPr>
              <p:nvPr>
                <p:custDataLst>
                  <p:tags r:id="rId1128"/>
                </p:custDataLst>
              </p:nvPr>
            </p:nvSpPr>
            <p:spPr bwMode="gray">
              <a:xfrm>
                <a:off x="7214333" y="3985524"/>
                <a:ext cx="3037" cy="6307"/>
              </a:xfrm>
              <a:custGeom>
                <a:avLst/>
                <a:gdLst>
                  <a:gd name="T0" fmla="*/ 0 w 3"/>
                  <a:gd name="T1" fmla="*/ 2147483647 h 6"/>
                  <a:gd name="T2" fmla="*/ 0 w 3"/>
                  <a:gd name="T3" fmla="*/ 2147483647 h 6"/>
                  <a:gd name="T4" fmla="*/ 0 w 3"/>
                  <a:gd name="T5" fmla="*/ 2147483647 h 6"/>
                  <a:gd name="T6" fmla="*/ 0 w 3"/>
                  <a:gd name="T7" fmla="*/ 2147483647 h 6"/>
                  <a:gd name="T8" fmla="*/ 2147483647 w 3"/>
                  <a:gd name="T9" fmla="*/ 2147483647 h 6"/>
                  <a:gd name="T10" fmla="*/ 2147483647 w 3"/>
                  <a:gd name="T11" fmla="*/ 2147483647 h 6"/>
                  <a:gd name="T12" fmla="*/ 2147483647 w 3"/>
                  <a:gd name="T13" fmla="*/ 0 h 6"/>
                  <a:gd name="T14" fmla="*/ 0 w 3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9" name="Freeform 876"/>
              <p:cNvSpPr>
                <a:spLocks noChangeAspect="1"/>
              </p:cNvSpPr>
              <p:nvPr>
                <p:custDataLst>
                  <p:tags r:id="rId1129"/>
                </p:custDataLst>
              </p:nvPr>
            </p:nvSpPr>
            <p:spPr bwMode="gray">
              <a:xfrm>
                <a:off x="7214333" y="3985524"/>
                <a:ext cx="3037" cy="6307"/>
              </a:xfrm>
              <a:custGeom>
                <a:avLst/>
                <a:gdLst>
                  <a:gd name="T0" fmla="*/ 0 w 3"/>
                  <a:gd name="T1" fmla="*/ 2147483647 h 6"/>
                  <a:gd name="T2" fmla="*/ 0 w 3"/>
                  <a:gd name="T3" fmla="*/ 2147483647 h 6"/>
                  <a:gd name="T4" fmla="*/ 0 w 3"/>
                  <a:gd name="T5" fmla="*/ 2147483647 h 6"/>
                  <a:gd name="T6" fmla="*/ 0 w 3"/>
                  <a:gd name="T7" fmla="*/ 2147483647 h 6"/>
                  <a:gd name="T8" fmla="*/ 2147483647 w 3"/>
                  <a:gd name="T9" fmla="*/ 2147483647 h 6"/>
                  <a:gd name="T10" fmla="*/ 2147483647 w 3"/>
                  <a:gd name="T11" fmla="*/ 2147483647 h 6"/>
                  <a:gd name="T12" fmla="*/ 2147483647 w 3"/>
                  <a:gd name="T13" fmla="*/ 0 h 6"/>
                  <a:gd name="T14" fmla="*/ 0 w 3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0" name="Freeform 877"/>
              <p:cNvSpPr>
                <a:spLocks noChangeAspect="1"/>
              </p:cNvSpPr>
              <p:nvPr>
                <p:custDataLst>
                  <p:tags r:id="rId1130"/>
                </p:custDataLst>
              </p:nvPr>
            </p:nvSpPr>
            <p:spPr bwMode="gray">
              <a:xfrm>
                <a:off x="7199150" y="3726940"/>
                <a:ext cx="159438" cy="307464"/>
              </a:xfrm>
              <a:custGeom>
                <a:avLst/>
                <a:gdLst>
                  <a:gd name="T0" fmla="*/ 2147483647 w 122"/>
                  <a:gd name="T1" fmla="*/ 2147483647 h 239"/>
                  <a:gd name="T2" fmla="*/ 2147483647 w 122"/>
                  <a:gd name="T3" fmla="*/ 2147483647 h 239"/>
                  <a:gd name="T4" fmla="*/ 0 w 122"/>
                  <a:gd name="T5" fmla="*/ 2147483647 h 239"/>
                  <a:gd name="T6" fmla="*/ 2147483647 w 122"/>
                  <a:gd name="T7" fmla="*/ 2147483647 h 239"/>
                  <a:gd name="T8" fmla="*/ 2147483647 w 122"/>
                  <a:gd name="T9" fmla="*/ 2147483647 h 239"/>
                  <a:gd name="T10" fmla="*/ 2147483647 w 122"/>
                  <a:gd name="T11" fmla="*/ 2147483647 h 239"/>
                  <a:gd name="T12" fmla="*/ 2147483647 w 122"/>
                  <a:gd name="T13" fmla="*/ 2147483647 h 239"/>
                  <a:gd name="T14" fmla="*/ 2147483647 w 122"/>
                  <a:gd name="T15" fmla="*/ 2147483647 h 239"/>
                  <a:gd name="T16" fmla="*/ 2147483647 w 122"/>
                  <a:gd name="T17" fmla="*/ 2147483647 h 239"/>
                  <a:gd name="T18" fmla="*/ 2147483647 w 122"/>
                  <a:gd name="T19" fmla="*/ 2147483647 h 239"/>
                  <a:gd name="T20" fmla="*/ 2147483647 w 122"/>
                  <a:gd name="T21" fmla="*/ 2147483647 h 239"/>
                  <a:gd name="T22" fmla="*/ 2147483647 w 122"/>
                  <a:gd name="T23" fmla="*/ 2147483647 h 239"/>
                  <a:gd name="T24" fmla="*/ 2147483647 w 122"/>
                  <a:gd name="T25" fmla="*/ 2147483647 h 239"/>
                  <a:gd name="T26" fmla="*/ 2147483647 w 122"/>
                  <a:gd name="T27" fmla="*/ 2147483647 h 239"/>
                  <a:gd name="T28" fmla="*/ 2147483647 w 122"/>
                  <a:gd name="T29" fmla="*/ 2147483647 h 239"/>
                  <a:gd name="T30" fmla="*/ 2147483647 w 122"/>
                  <a:gd name="T31" fmla="*/ 2147483647 h 239"/>
                  <a:gd name="T32" fmla="*/ 2147483647 w 122"/>
                  <a:gd name="T33" fmla="*/ 2147483647 h 239"/>
                  <a:gd name="T34" fmla="*/ 2147483647 w 122"/>
                  <a:gd name="T35" fmla="*/ 2147483647 h 239"/>
                  <a:gd name="T36" fmla="*/ 2147483647 w 122"/>
                  <a:gd name="T37" fmla="*/ 2147483647 h 239"/>
                  <a:gd name="T38" fmla="*/ 2147483647 w 122"/>
                  <a:gd name="T39" fmla="*/ 2147483647 h 239"/>
                  <a:gd name="T40" fmla="*/ 2147483647 w 122"/>
                  <a:gd name="T41" fmla="*/ 2147483647 h 239"/>
                  <a:gd name="T42" fmla="*/ 2147483647 w 122"/>
                  <a:gd name="T43" fmla="*/ 2147483647 h 239"/>
                  <a:gd name="T44" fmla="*/ 2147483647 w 122"/>
                  <a:gd name="T45" fmla="*/ 2147483647 h 239"/>
                  <a:gd name="T46" fmla="*/ 2147483647 w 122"/>
                  <a:gd name="T47" fmla="*/ 2147483647 h 239"/>
                  <a:gd name="T48" fmla="*/ 2147483647 w 122"/>
                  <a:gd name="T49" fmla="*/ 2147483647 h 239"/>
                  <a:gd name="T50" fmla="*/ 2147483647 w 122"/>
                  <a:gd name="T51" fmla="*/ 2147483647 h 239"/>
                  <a:gd name="T52" fmla="*/ 2147483647 w 122"/>
                  <a:gd name="T53" fmla="*/ 2147483647 h 239"/>
                  <a:gd name="T54" fmla="*/ 2147483647 w 122"/>
                  <a:gd name="T55" fmla="*/ 2147483647 h 239"/>
                  <a:gd name="T56" fmla="*/ 2147483647 w 122"/>
                  <a:gd name="T57" fmla="*/ 2147483647 h 239"/>
                  <a:gd name="T58" fmla="*/ 2147483647 w 122"/>
                  <a:gd name="T59" fmla="*/ 2147483647 h 239"/>
                  <a:gd name="T60" fmla="*/ 2147483647 w 122"/>
                  <a:gd name="T61" fmla="*/ 2147483647 h 239"/>
                  <a:gd name="T62" fmla="*/ 2147483647 w 122"/>
                  <a:gd name="T63" fmla="*/ 2147483647 h 239"/>
                  <a:gd name="T64" fmla="*/ 2147483647 w 122"/>
                  <a:gd name="T65" fmla="*/ 2147483647 h 239"/>
                  <a:gd name="T66" fmla="*/ 2147483647 w 122"/>
                  <a:gd name="T67" fmla="*/ 2147483647 h 239"/>
                  <a:gd name="T68" fmla="*/ 2147483647 w 122"/>
                  <a:gd name="T69" fmla="*/ 2147483647 h 239"/>
                  <a:gd name="T70" fmla="*/ 2147483647 w 122"/>
                  <a:gd name="T71" fmla="*/ 2147483647 h 239"/>
                  <a:gd name="T72" fmla="*/ 2147483647 w 122"/>
                  <a:gd name="T73" fmla="*/ 2147483647 h 239"/>
                  <a:gd name="T74" fmla="*/ 2147483647 w 122"/>
                  <a:gd name="T75" fmla="*/ 2147483647 h 239"/>
                  <a:gd name="T76" fmla="*/ 2147483647 w 122"/>
                  <a:gd name="T77" fmla="*/ 2147483647 h 239"/>
                  <a:gd name="T78" fmla="*/ 2147483647 w 122"/>
                  <a:gd name="T79" fmla="*/ 2147483647 h 239"/>
                  <a:gd name="T80" fmla="*/ 2147483647 w 122"/>
                  <a:gd name="T81" fmla="*/ 2147483647 h 239"/>
                  <a:gd name="T82" fmla="*/ 2147483647 w 122"/>
                  <a:gd name="T83" fmla="*/ 2147483647 h 239"/>
                  <a:gd name="T84" fmla="*/ 2147483647 w 122"/>
                  <a:gd name="T85" fmla="*/ 2147483647 h 239"/>
                  <a:gd name="T86" fmla="*/ 2147483647 w 122"/>
                  <a:gd name="T87" fmla="*/ 2147483647 h 239"/>
                  <a:gd name="T88" fmla="*/ 2147483647 w 122"/>
                  <a:gd name="T89" fmla="*/ 2147483647 h 239"/>
                  <a:gd name="T90" fmla="*/ 2147483647 w 122"/>
                  <a:gd name="T91" fmla="*/ 2147483647 h 239"/>
                  <a:gd name="T92" fmla="*/ 2147483647 w 122"/>
                  <a:gd name="T93" fmla="*/ 2147483647 h 23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2"/>
                  <a:gd name="T142" fmla="*/ 0 h 239"/>
                  <a:gd name="T143" fmla="*/ 122 w 122"/>
                  <a:gd name="T144" fmla="*/ 239 h 23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2" h="239">
                    <a:moveTo>
                      <a:pt x="42" y="0"/>
                    </a:moveTo>
                    <a:lnTo>
                      <a:pt x="39" y="0"/>
                    </a:lnTo>
                    <a:lnTo>
                      <a:pt x="36" y="5"/>
                    </a:lnTo>
                    <a:lnTo>
                      <a:pt x="33" y="8"/>
                    </a:lnTo>
                    <a:lnTo>
                      <a:pt x="19" y="17"/>
                    </a:lnTo>
                    <a:lnTo>
                      <a:pt x="8" y="19"/>
                    </a:lnTo>
                    <a:lnTo>
                      <a:pt x="3" y="33"/>
                    </a:lnTo>
                    <a:lnTo>
                      <a:pt x="3" y="36"/>
                    </a:lnTo>
                    <a:lnTo>
                      <a:pt x="0" y="39"/>
                    </a:lnTo>
                    <a:lnTo>
                      <a:pt x="6" y="53"/>
                    </a:lnTo>
                    <a:lnTo>
                      <a:pt x="11" y="56"/>
                    </a:lnTo>
                    <a:lnTo>
                      <a:pt x="14" y="58"/>
                    </a:lnTo>
                    <a:lnTo>
                      <a:pt x="17" y="72"/>
                    </a:lnTo>
                    <a:lnTo>
                      <a:pt x="19" y="72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4" y="83"/>
                    </a:lnTo>
                    <a:lnTo>
                      <a:pt x="14" y="86"/>
                    </a:lnTo>
                    <a:lnTo>
                      <a:pt x="11" y="89"/>
                    </a:lnTo>
                    <a:lnTo>
                      <a:pt x="11" y="92"/>
                    </a:lnTo>
                    <a:lnTo>
                      <a:pt x="11" y="95"/>
                    </a:lnTo>
                    <a:lnTo>
                      <a:pt x="11" y="100"/>
                    </a:lnTo>
                    <a:lnTo>
                      <a:pt x="22" y="109"/>
                    </a:lnTo>
                    <a:lnTo>
                      <a:pt x="25" y="128"/>
                    </a:lnTo>
                    <a:lnTo>
                      <a:pt x="28" y="128"/>
                    </a:lnTo>
                    <a:lnTo>
                      <a:pt x="33" y="142"/>
                    </a:lnTo>
                    <a:lnTo>
                      <a:pt x="31" y="145"/>
                    </a:lnTo>
                    <a:lnTo>
                      <a:pt x="28" y="153"/>
                    </a:lnTo>
                    <a:lnTo>
                      <a:pt x="22" y="156"/>
                    </a:lnTo>
                    <a:lnTo>
                      <a:pt x="11" y="198"/>
                    </a:lnTo>
                    <a:lnTo>
                      <a:pt x="11" y="200"/>
                    </a:lnTo>
                    <a:lnTo>
                      <a:pt x="17" y="200"/>
                    </a:lnTo>
                    <a:lnTo>
                      <a:pt x="22" y="206"/>
                    </a:lnTo>
                    <a:lnTo>
                      <a:pt x="25" y="206"/>
                    </a:lnTo>
                    <a:lnTo>
                      <a:pt x="33" y="217"/>
                    </a:lnTo>
                    <a:lnTo>
                      <a:pt x="33" y="220"/>
                    </a:lnTo>
                    <a:lnTo>
                      <a:pt x="42" y="228"/>
                    </a:lnTo>
                    <a:lnTo>
                      <a:pt x="42" y="223"/>
                    </a:lnTo>
                    <a:lnTo>
                      <a:pt x="44" y="223"/>
                    </a:lnTo>
                    <a:lnTo>
                      <a:pt x="47" y="225"/>
                    </a:lnTo>
                    <a:lnTo>
                      <a:pt x="53" y="228"/>
                    </a:lnTo>
                    <a:lnTo>
                      <a:pt x="56" y="231"/>
                    </a:lnTo>
                    <a:lnTo>
                      <a:pt x="56" y="237"/>
                    </a:lnTo>
                    <a:lnTo>
                      <a:pt x="58" y="239"/>
                    </a:lnTo>
                    <a:lnTo>
                      <a:pt x="64" y="237"/>
                    </a:lnTo>
                    <a:lnTo>
                      <a:pt x="67" y="237"/>
                    </a:lnTo>
                    <a:lnTo>
                      <a:pt x="70" y="237"/>
                    </a:lnTo>
                    <a:lnTo>
                      <a:pt x="72" y="231"/>
                    </a:lnTo>
                    <a:lnTo>
                      <a:pt x="61" y="220"/>
                    </a:lnTo>
                    <a:lnTo>
                      <a:pt x="53" y="220"/>
                    </a:lnTo>
                    <a:lnTo>
                      <a:pt x="47" y="214"/>
                    </a:lnTo>
                    <a:lnTo>
                      <a:pt x="44" y="200"/>
                    </a:lnTo>
                    <a:lnTo>
                      <a:pt x="39" y="195"/>
                    </a:lnTo>
                    <a:lnTo>
                      <a:pt x="39" y="186"/>
                    </a:lnTo>
                    <a:lnTo>
                      <a:pt x="36" y="184"/>
                    </a:lnTo>
                    <a:lnTo>
                      <a:pt x="33" y="184"/>
                    </a:lnTo>
                    <a:lnTo>
                      <a:pt x="31" y="186"/>
                    </a:lnTo>
                    <a:lnTo>
                      <a:pt x="28" y="184"/>
                    </a:lnTo>
                    <a:lnTo>
                      <a:pt x="25" y="170"/>
                    </a:lnTo>
                    <a:lnTo>
                      <a:pt x="28" y="164"/>
                    </a:lnTo>
                    <a:lnTo>
                      <a:pt x="28" y="161"/>
                    </a:lnTo>
                    <a:lnTo>
                      <a:pt x="31" y="156"/>
                    </a:lnTo>
                    <a:lnTo>
                      <a:pt x="31" y="153"/>
                    </a:lnTo>
                    <a:lnTo>
                      <a:pt x="36" y="139"/>
                    </a:lnTo>
                    <a:lnTo>
                      <a:pt x="39" y="125"/>
                    </a:lnTo>
                    <a:lnTo>
                      <a:pt x="39" y="117"/>
                    </a:lnTo>
                    <a:lnTo>
                      <a:pt x="42" y="117"/>
                    </a:lnTo>
                    <a:lnTo>
                      <a:pt x="47" y="117"/>
                    </a:lnTo>
                    <a:lnTo>
                      <a:pt x="53" y="117"/>
                    </a:lnTo>
                    <a:lnTo>
                      <a:pt x="53" y="120"/>
                    </a:lnTo>
                    <a:lnTo>
                      <a:pt x="53" y="128"/>
                    </a:lnTo>
                    <a:lnTo>
                      <a:pt x="53" y="131"/>
                    </a:lnTo>
                    <a:lnTo>
                      <a:pt x="67" y="131"/>
                    </a:lnTo>
                    <a:lnTo>
                      <a:pt x="75" y="136"/>
                    </a:lnTo>
                    <a:lnTo>
                      <a:pt x="78" y="139"/>
                    </a:lnTo>
                    <a:lnTo>
                      <a:pt x="81" y="139"/>
                    </a:lnTo>
                    <a:lnTo>
                      <a:pt x="81" y="145"/>
                    </a:lnTo>
                    <a:lnTo>
                      <a:pt x="83" y="147"/>
                    </a:lnTo>
                    <a:lnTo>
                      <a:pt x="83" y="145"/>
                    </a:lnTo>
                    <a:lnTo>
                      <a:pt x="83" y="142"/>
                    </a:lnTo>
                    <a:lnTo>
                      <a:pt x="81" y="134"/>
                    </a:lnTo>
                    <a:lnTo>
                      <a:pt x="75" y="131"/>
                    </a:lnTo>
                    <a:lnTo>
                      <a:pt x="72" y="122"/>
                    </a:lnTo>
                    <a:lnTo>
                      <a:pt x="75" y="117"/>
                    </a:lnTo>
                    <a:lnTo>
                      <a:pt x="78" y="111"/>
                    </a:lnTo>
                    <a:lnTo>
                      <a:pt x="81" y="111"/>
                    </a:lnTo>
                    <a:lnTo>
                      <a:pt x="86" y="103"/>
                    </a:lnTo>
                    <a:lnTo>
                      <a:pt x="89" y="103"/>
                    </a:lnTo>
                    <a:lnTo>
                      <a:pt x="114" y="103"/>
                    </a:lnTo>
                    <a:lnTo>
                      <a:pt x="117" y="106"/>
                    </a:lnTo>
                    <a:lnTo>
                      <a:pt x="120" y="106"/>
                    </a:lnTo>
                    <a:lnTo>
                      <a:pt x="120" y="103"/>
                    </a:lnTo>
                    <a:lnTo>
                      <a:pt x="122" y="100"/>
                    </a:lnTo>
                    <a:lnTo>
                      <a:pt x="122" y="89"/>
                    </a:lnTo>
                    <a:lnTo>
                      <a:pt x="122" y="86"/>
                    </a:lnTo>
                    <a:lnTo>
                      <a:pt x="122" y="83"/>
                    </a:lnTo>
                    <a:lnTo>
                      <a:pt x="122" y="81"/>
                    </a:lnTo>
                    <a:lnTo>
                      <a:pt x="120" y="78"/>
                    </a:lnTo>
                    <a:lnTo>
                      <a:pt x="120" y="75"/>
                    </a:lnTo>
                    <a:lnTo>
                      <a:pt x="117" y="75"/>
                    </a:lnTo>
                    <a:lnTo>
                      <a:pt x="114" y="75"/>
                    </a:lnTo>
                    <a:lnTo>
                      <a:pt x="111" y="72"/>
                    </a:lnTo>
                    <a:lnTo>
                      <a:pt x="111" y="70"/>
                    </a:lnTo>
                    <a:lnTo>
                      <a:pt x="111" y="58"/>
                    </a:lnTo>
                    <a:lnTo>
                      <a:pt x="109" y="50"/>
                    </a:lnTo>
                    <a:lnTo>
                      <a:pt x="106" y="50"/>
                    </a:lnTo>
                    <a:lnTo>
                      <a:pt x="106" y="47"/>
                    </a:lnTo>
                    <a:lnTo>
                      <a:pt x="100" y="44"/>
                    </a:lnTo>
                    <a:lnTo>
                      <a:pt x="97" y="39"/>
                    </a:lnTo>
                    <a:lnTo>
                      <a:pt x="86" y="39"/>
                    </a:lnTo>
                    <a:lnTo>
                      <a:pt x="86" y="42"/>
                    </a:lnTo>
                    <a:lnTo>
                      <a:pt x="83" y="44"/>
                    </a:lnTo>
                    <a:lnTo>
                      <a:pt x="78" y="47"/>
                    </a:lnTo>
                    <a:lnTo>
                      <a:pt x="75" y="47"/>
                    </a:lnTo>
                    <a:lnTo>
                      <a:pt x="72" y="44"/>
                    </a:lnTo>
                    <a:lnTo>
                      <a:pt x="72" y="42"/>
                    </a:lnTo>
                    <a:lnTo>
                      <a:pt x="70" y="42"/>
                    </a:lnTo>
                    <a:lnTo>
                      <a:pt x="64" y="42"/>
                    </a:lnTo>
                    <a:lnTo>
                      <a:pt x="58" y="47"/>
                    </a:lnTo>
                    <a:lnTo>
                      <a:pt x="56" y="47"/>
                    </a:lnTo>
                    <a:lnTo>
                      <a:pt x="56" y="50"/>
                    </a:lnTo>
                    <a:lnTo>
                      <a:pt x="53" y="53"/>
                    </a:lnTo>
                    <a:lnTo>
                      <a:pt x="53" y="50"/>
                    </a:lnTo>
                    <a:lnTo>
                      <a:pt x="53" y="47"/>
                    </a:lnTo>
                    <a:lnTo>
                      <a:pt x="56" y="28"/>
                    </a:lnTo>
                    <a:lnTo>
                      <a:pt x="56" y="22"/>
                    </a:lnTo>
                    <a:lnTo>
                      <a:pt x="56" y="19"/>
                    </a:lnTo>
                    <a:lnTo>
                      <a:pt x="56" y="17"/>
                    </a:lnTo>
                    <a:lnTo>
                      <a:pt x="47" y="17"/>
                    </a:lnTo>
                    <a:lnTo>
                      <a:pt x="47" y="8"/>
                    </a:lnTo>
                    <a:lnTo>
                      <a:pt x="42" y="3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1" name="Freeform 1014"/>
              <p:cNvSpPr>
                <a:spLocks noChangeAspect="1"/>
              </p:cNvSpPr>
              <p:nvPr>
                <p:custDataLst>
                  <p:tags r:id="rId1131"/>
                </p:custDataLst>
              </p:nvPr>
            </p:nvSpPr>
            <p:spPr bwMode="gray">
              <a:xfrm>
                <a:off x="7735165" y="4333983"/>
                <a:ext cx="10628" cy="6307"/>
              </a:xfrm>
              <a:custGeom>
                <a:avLst/>
                <a:gdLst>
                  <a:gd name="T0" fmla="*/ 0 w 8"/>
                  <a:gd name="T1" fmla="*/ 2147483647 h 6"/>
                  <a:gd name="T2" fmla="*/ 2147483647 w 8"/>
                  <a:gd name="T3" fmla="*/ 0 h 6"/>
                  <a:gd name="T4" fmla="*/ 2147483647 w 8"/>
                  <a:gd name="T5" fmla="*/ 0 h 6"/>
                  <a:gd name="T6" fmla="*/ 2147483647 w 8"/>
                  <a:gd name="T7" fmla="*/ 0 h 6"/>
                  <a:gd name="T8" fmla="*/ 2147483647 w 8"/>
                  <a:gd name="T9" fmla="*/ 2147483647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2147483647 w 8"/>
                  <a:gd name="T15" fmla="*/ 2147483647 h 6"/>
                  <a:gd name="T16" fmla="*/ 2147483647 w 8"/>
                  <a:gd name="T17" fmla="*/ 2147483647 h 6"/>
                  <a:gd name="T18" fmla="*/ 2147483647 w 8"/>
                  <a:gd name="T19" fmla="*/ 2147483647 h 6"/>
                  <a:gd name="T20" fmla="*/ 2147483647 w 8"/>
                  <a:gd name="T21" fmla="*/ 2147483647 h 6"/>
                  <a:gd name="T22" fmla="*/ 2147483647 w 8"/>
                  <a:gd name="T23" fmla="*/ 2147483647 h 6"/>
                  <a:gd name="T24" fmla="*/ 2147483647 w 8"/>
                  <a:gd name="T25" fmla="*/ 2147483647 h 6"/>
                  <a:gd name="T26" fmla="*/ 2147483647 w 8"/>
                  <a:gd name="T27" fmla="*/ 2147483647 h 6"/>
                  <a:gd name="T28" fmla="*/ 2147483647 w 8"/>
                  <a:gd name="T29" fmla="*/ 2147483647 h 6"/>
                  <a:gd name="T30" fmla="*/ 2147483647 w 8"/>
                  <a:gd name="T31" fmla="*/ 2147483647 h 6"/>
                  <a:gd name="T32" fmla="*/ 2147483647 w 8"/>
                  <a:gd name="T33" fmla="*/ 2147483647 h 6"/>
                  <a:gd name="T34" fmla="*/ 2147483647 w 8"/>
                  <a:gd name="T35" fmla="*/ 2147483647 h 6"/>
                  <a:gd name="T36" fmla="*/ 2147483647 w 8"/>
                  <a:gd name="T37" fmla="*/ 2147483647 h 6"/>
                  <a:gd name="T38" fmla="*/ 2147483647 w 8"/>
                  <a:gd name="T39" fmla="*/ 2147483647 h 6"/>
                  <a:gd name="T40" fmla="*/ 2147483647 w 8"/>
                  <a:gd name="T41" fmla="*/ 2147483647 h 6"/>
                  <a:gd name="T42" fmla="*/ 2147483647 w 8"/>
                  <a:gd name="T43" fmla="*/ 2147483647 h 6"/>
                  <a:gd name="T44" fmla="*/ 2147483647 w 8"/>
                  <a:gd name="T45" fmla="*/ 2147483647 h 6"/>
                  <a:gd name="T46" fmla="*/ 2147483647 w 8"/>
                  <a:gd name="T47" fmla="*/ 2147483647 h 6"/>
                  <a:gd name="T48" fmla="*/ 2147483647 w 8"/>
                  <a:gd name="T49" fmla="*/ 2147483647 h 6"/>
                  <a:gd name="T50" fmla="*/ 2147483647 w 8"/>
                  <a:gd name="T51" fmla="*/ 2147483647 h 6"/>
                  <a:gd name="T52" fmla="*/ 2147483647 w 8"/>
                  <a:gd name="T53" fmla="*/ 2147483647 h 6"/>
                  <a:gd name="T54" fmla="*/ 2147483647 w 8"/>
                  <a:gd name="T55" fmla="*/ 2147483647 h 6"/>
                  <a:gd name="T56" fmla="*/ 2147483647 w 8"/>
                  <a:gd name="T57" fmla="*/ 2147483647 h 6"/>
                  <a:gd name="T58" fmla="*/ 2147483647 w 8"/>
                  <a:gd name="T59" fmla="*/ 2147483647 h 6"/>
                  <a:gd name="T60" fmla="*/ 2147483647 w 8"/>
                  <a:gd name="T61" fmla="*/ 2147483647 h 6"/>
                  <a:gd name="T62" fmla="*/ 2147483647 w 8"/>
                  <a:gd name="T63" fmla="*/ 2147483647 h 6"/>
                  <a:gd name="T64" fmla="*/ 2147483647 w 8"/>
                  <a:gd name="T65" fmla="*/ 2147483647 h 6"/>
                  <a:gd name="T66" fmla="*/ 2147483647 w 8"/>
                  <a:gd name="T67" fmla="*/ 2147483647 h 6"/>
                  <a:gd name="T68" fmla="*/ 2147483647 w 8"/>
                  <a:gd name="T69" fmla="*/ 2147483647 h 6"/>
                  <a:gd name="T70" fmla="*/ 2147483647 w 8"/>
                  <a:gd name="T71" fmla="*/ 2147483647 h 6"/>
                  <a:gd name="T72" fmla="*/ 2147483647 w 8"/>
                  <a:gd name="T73" fmla="*/ 2147483647 h 6"/>
                  <a:gd name="T74" fmla="*/ 2147483647 w 8"/>
                  <a:gd name="T75" fmla="*/ 2147483647 h 6"/>
                  <a:gd name="T76" fmla="*/ 2147483647 w 8"/>
                  <a:gd name="T77" fmla="*/ 2147483647 h 6"/>
                  <a:gd name="T78" fmla="*/ 2147483647 w 8"/>
                  <a:gd name="T79" fmla="*/ 2147483647 h 6"/>
                  <a:gd name="T80" fmla="*/ 2147483647 w 8"/>
                  <a:gd name="T81" fmla="*/ 2147483647 h 6"/>
                  <a:gd name="T82" fmla="*/ 2147483647 w 8"/>
                  <a:gd name="T83" fmla="*/ 2147483647 h 6"/>
                  <a:gd name="T84" fmla="*/ 2147483647 w 8"/>
                  <a:gd name="T85" fmla="*/ 2147483647 h 6"/>
                  <a:gd name="T86" fmla="*/ 2147483647 w 8"/>
                  <a:gd name="T87" fmla="*/ 2147483647 h 6"/>
                  <a:gd name="T88" fmla="*/ 2147483647 w 8"/>
                  <a:gd name="T89" fmla="*/ 2147483647 h 6"/>
                  <a:gd name="T90" fmla="*/ 2147483647 w 8"/>
                  <a:gd name="T91" fmla="*/ 2147483647 h 6"/>
                  <a:gd name="T92" fmla="*/ 2147483647 w 8"/>
                  <a:gd name="T93" fmla="*/ 2147483647 h 6"/>
                  <a:gd name="T94" fmla="*/ 2147483647 w 8"/>
                  <a:gd name="T95" fmla="*/ 2147483647 h 6"/>
                  <a:gd name="T96" fmla="*/ 2147483647 w 8"/>
                  <a:gd name="T97" fmla="*/ 2147483647 h 6"/>
                  <a:gd name="T98" fmla="*/ 2147483647 w 8"/>
                  <a:gd name="T99" fmla="*/ 2147483647 h 6"/>
                  <a:gd name="T100" fmla="*/ 2147483647 w 8"/>
                  <a:gd name="T101" fmla="*/ 2147483647 h 6"/>
                  <a:gd name="T102" fmla="*/ 2147483647 w 8"/>
                  <a:gd name="T103" fmla="*/ 2147483647 h 6"/>
                  <a:gd name="T104" fmla="*/ 2147483647 w 8"/>
                  <a:gd name="T105" fmla="*/ 2147483647 h 6"/>
                  <a:gd name="T106" fmla="*/ 0 w 8"/>
                  <a:gd name="T107" fmla="*/ 2147483647 h 6"/>
                  <a:gd name="T108" fmla="*/ 0 w 8"/>
                  <a:gd name="T109" fmla="*/ 2147483647 h 6"/>
                  <a:gd name="T110" fmla="*/ 0 w 8"/>
                  <a:gd name="T111" fmla="*/ 2147483647 h 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8"/>
                  <a:gd name="T169" fmla="*/ 0 h 6"/>
                  <a:gd name="T170" fmla="*/ 8 w 8"/>
                  <a:gd name="T171" fmla="*/ 6 h 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8" h="6">
                    <a:moveTo>
                      <a:pt x="0" y="3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2" name="Freeform 1015"/>
              <p:cNvSpPr>
                <a:spLocks noChangeAspect="1"/>
              </p:cNvSpPr>
              <p:nvPr>
                <p:custDataLst>
                  <p:tags r:id="rId1132"/>
                </p:custDataLst>
              </p:nvPr>
            </p:nvSpPr>
            <p:spPr bwMode="gray">
              <a:xfrm>
                <a:off x="7735165" y="4333983"/>
                <a:ext cx="10628" cy="6307"/>
              </a:xfrm>
              <a:custGeom>
                <a:avLst/>
                <a:gdLst>
                  <a:gd name="T0" fmla="*/ 0 w 8"/>
                  <a:gd name="T1" fmla="*/ 2147483647 h 6"/>
                  <a:gd name="T2" fmla="*/ 2147483647 w 8"/>
                  <a:gd name="T3" fmla="*/ 0 h 6"/>
                  <a:gd name="T4" fmla="*/ 2147483647 w 8"/>
                  <a:gd name="T5" fmla="*/ 0 h 6"/>
                  <a:gd name="T6" fmla="*/ 2147483647 w 8"/>
                  <a:gd name="T7" fmla="*/ 0 h 6"/>
                  <a:gd name="T8" fmla="*/ 2147483647 w 8"/>
                  <a:gd name="T9" fmla="*/ 2147483647 h 6"/>
                  <a:gd name="T10" fmla="*/ 2147483647 w 8"/>
                  <a:gd name="T11" fmla="*/ 2147483647 h 6"/>
                  <a:gd name="T12" fmla="*/ 2147483647 w 8"/>
                  <a:gd name="T13" fmla="*/ 2147483647 h 6"/>
                  <a:gd name="T14" fmla="*/ 2147483647 w 8"/>
                  <a:gd name="T15" fmla="*/ 2147483647 h 6"/>
                  <a:gd name="T16" fmla="*/ 2147483647 w 8"/>
                  <a:gd name="T17" fmla="*/ 2147483647 h 6"/>
                  <a:gd name="T18" fmla="*/ 2147483647 w 8"/>
                  <a:gd name="T19" fmla="*/ 2147483647 h 6"/>
                  <a:gd name="T20" fmla="*/ 2147483647 w 8"/>
                  <a:gd name="T21" fmla="*/ 2147483647 h 6"/>
                  <a:gd name="T22" fmla="*/ 2147483647 w 8"/>
                  <a:gd name="T23" fmla="*/ 2147483647 h 6"/>
                  <a:gd name="T24" fmla="*/ 2147483647 w 8"/>
                  <a:gd name="T25" fmla="*/ 2147483647 h 6"/>
                  <a:gd name="T26" fmla="*/ 2147483647 w 8"/>
                  <a:gd name="T27" fmla="*/ 2147483647 h 6"/>
                  <a:gd name="T28" fmla="*/ 2147483647 w 8"/>
                  <a:gd name="T29" fmla="*/ 2147483647 h 6"/>
                  <a:gd name="T30" fmla="*/ 2147483647 w 8"/>
                  <a:gd name="T31" fmla="*/ 2147483647 h 6"/>
                  <a:gd name="T32" fmla="*/ 2147483647 w 8"/>
                  <a:gd name="T33" fmla="*/ 2147483647 h 6"/>
                  <a:gd name="T34" fmla="*/ 2147483647 w 8"/>
                  <a:gd name="T35" fmla="*/ 2147483647 h 6"/>
                  <a:gd name="T36" fmla="*/ 2147483647 w 8"/>
                  <a:gd name="T37" fmla="*/ 2147483647 h 6"/>
                  <a:gd name="T38" fmla="*/ 2147483647 w 8"/>
                  <a:gd name="T39" fmla="*/ 2147483647 h 6"/>
                  <a:gd name="T40" fmla="*/ 2147483647 w 8"/>
                  <a:gd name="T41" fmla="*/ 2147483647 h 6"/>
                  <a:gd name="T42" fmla="*/ 2147483647 w 8"/>
                  <a:gd name="T43" fmla="*/ 2147483647 h 6"/>
                  <a:gd name="T44" fmla="*/ 2147483647 w 8"/>
                  <a:gd name="T45" fmla="*/ 2147483647 h 6"/>
                  <a:gd name="T46" fmla="*/ 2147483647 w 8"/>
                  <a:gd name="T47" fmla="*/ 2147483647 h 6"/>
                  <a:gd name="T48" fmla="*/ 2147483647 w 8"/>
                  <a:gd name="T49" fmla="*/ 2147483647 h 6"/>
                  <a:gd name="T50" fmla="*/ 2147483647 w 8"/>
                  <a:gd name="T51" fmla="*/ 2147483647 h 6"/>
                  <a:gd name="T52" fmla="*/ 2147483647 w 8"/>
                  <a:gd name="T53" fmla="*/ 2147483647 h 6"/>
                  <a:gd name="T54" fmla="*/ 2147483647 w 8"/>
                  <a:gd name="T55" fmla="*/ 2147483647 h 6"/>
                  <a:gd name="T56" fmla="*/ 2147483647 w 8"/>
                  <a:gd name="T57" fmla="*/ 2147483647 h 6"/>
                  <a:gd name="T58" fmla="*/ 2147483647 w 8"/>
                  <a:gd name="T59" fmla="*/ 2147483647 h 6"/>
                  <a:gd name="T60" fmla="*/ 2147483647 w 8"/>
                  <a:gd name="T61" fmla="*/ 2147483647 h 6"/>
                  <a:gd name="T62" fmla="*/ 2147483647 w 8"/>
                  <a:gd name="T63" fmla="*/ 2147483647 h 6"/>
                  <a:gd name="T64" fmla="*/ 2147483647 w 8"/>
                  <a:gd name="T65" fmla="*/ 2147483647 h 6"/>
                  <a:gd name="T66" fmla="*/ 2147483647 w 8"/>
                  <a:gd name="T67" fmla="*/ 2147483647 h 6"/>
                  <a:gd name="T68" fmla="*/ 2147483647 w 8"/>
                  <a:gd name="T69" fmla="*/ 2147483647 h 6"/>
                  <a:gd name="T70" fmla="*/ 2147483647 w 8"/>
                  <a:gd name="T71" fmla="*/ 2147483647 h 6"/>
                  <a:gd name="T72" fmla="*/ 2147483647 w 8"/>
                  <a:gd name="T73" fmla="*/ 2147483647 h 6"/>
                  <a:gd name="T74" fmla="*/ 2147483647 w 8"/>
                  <a:gd name="T75" fmla="*/ 2147483647 h 6"/>
                  <a:gd name="T76" fmla="*/ 2147483647 w 8"/>
                  <a:gd name="T77" fmla="*/ 2147483647 h 6"/>
                  <a:gd name="T78" fmla="*/ 2147483647 w 8"/>
                  <a:gd name="T79" fmla="*/ 2147483647 h 6"/>
                  <a:gd name="T80" fmla="*/ 2147483647 w 8"/>
                  <a:gd name="T81" fmla="*/ 2147483647 h 6"/>
                  <a:gd name="T82" fmla="*/ 2147483647 w 8"/>
                  <a:gd name="T83" fmla="*/ 2147483647 h 6"/>
                  <a:gd name="T84" fmla="*/ 2147483647 w 8"/>
                  <a:gd name="T85" fmla="*/ 2147483647 h 6"/>
                  <a:gd name="T86" fmla="*/ 2147483647 w 8"/>
                  <a:gd name="T87" fmla="*/ 2147483647 h 6"/>
                  <a:gd name="T88" fmla="*/ 2147483647 w 8"/>
                  <a:gd name="T89" fmla="*/ 2147483647 h 6"/>
                  <a:gd name="T90" fmla="*/ 2147483647 w 8"/>
                  <a:gd name="T91" fmla="*/ 2147483647 h 6"/>
                  <a:gd name="T92" fmla="*/ 2147483647 w 8"/>
                  <a:gd name="T93" fmla="*/ 2147483647 h 6"/>
                  <a:gd name="T94" fmla="*/ 2147483647 w 8"/>
                  <a:gd name="T95" fmla="*/ 2147483647 h 6"/>
                  <a:gd name="T96" fmla="*/ 2147483647 w 8"/>
                  <a:gd name="T97" fmla="*/ 2147483647 h 6"/>
                  <a:gd name="T98" fmla="*/ 2147483647 w 8"/>
                  <a:gd name="T99" fmla="*/ 2147483647 h 6"/>
                  <a:gd name="T100" fmla="*/ 2147483647 w 8"/>
                  <a:gd name="T101" fmla="*/ 2147483647 h 6"/>
                  <a:gd name="T102" fmla="*/ 2147483647 w 8"/>
                  <a:gd name="T103" fmla="*/ 2147483647 h 6"/>
                  <a:gd name="T104" fmla="*/ 2147483647 w 8"/>
                  <a:gd name="T105" fmla="*/ 2147483647 h 6"/>
                  <a:gd name="T106" fmla="*/ 0 w 8"/>
                  <a:gd name="T107" fmla="*/ 2147483647 h 6"/>
                  <a:gd name="T108" fmla="*/ 0 w 8"/>
                  <a:gd name="T109" fmla="*/ 2147483647 h 6"/>
                  <a:gd name="T110" fmla="*/ 0 w 8"/>
                  <a:gd name="T111" fmla="*/ 2147483647 h 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8"/>
                  <a:gd name="T169" fmla="*/ 0 h 6"/>
                  <a:gd name="T170" fmla="*/ 8 w 8"/>
                  <a:gd name="T171" fmla="*/ 6 h 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8" h="6">
                    <a:moveTo>
                      <a:pt x="0" y="3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3" name="Freeform 1016"/>
              <p:cNvSpPr>
                <a:spLocks noChangeAspect="1"/>
              </p:cNvSpPr>
              <p:nvPr>
                <p:custDataLst>
                  <p:tags r:id="rId1133"/>
                </p:custDataLst>
              </p:nvPr>
            </p:nvSpPr>
            <p:spPr bwMode="gray">
              <a:xfrm>
                <a:off x="7754905" y="4318216"/>
                <a:ext cx="45554" cy="22075"/>
              </a:xfrm>
              <a:custGeom>
                <a:avLst/>
                <a:gdLst>
                  <a:gd name="T0" fmla="*/ 2147483647 w 36"/>
                  <a:gd name="T1" fmla="*/ 2147483647 h 17"/>
                  <a:gd name="T2" fmla="*/ 2147483647 w 36"/>
                  <a:gd name="T3" fmla="*/ 2147483647 h 17"/>
                  <a:gd name="T4" fmla="*/ 2147483647 w 36"/>
                  <a:gd name="T5" fmla="*/ 2147483647 h 17"/>
                  <a:gd name="T6" fmla="*/ 2147483647 w 36"/>
                  <a:gd name="T7" fmla="*/ 2147483647 h 17"/>
                  <a:gd name="T8" fmla="*/ 2147483647 w 36"/>
                  <a:gd name="T9" fmla="*/ 2147483647 h 17"/>
                  <a:gd name="T10" fmla="*/ 2147483647 w 36"/>
                  <a:gd name="T11" fmla="*/ 2147483647 h 17"/>
                  <a:gd name="T12" fmla="*/ 2147483647 w 36"/>
                  <a:gd name="T13" fmla="*/ 2147483647 h 17"/>
                  <a:gd name="T14" fmla="*/ 2147483647 w 36"/>
                  <a:gd name="T15" fmla="*/ 2147483647 h 17"/>
                  <a:gd name="T16" fmla="*/ 2147483647 w 36"/>
                  <a:gd name="T17" fmla="*/ 2147483647 h 17"/>
                  <a:gd name="T18" fmla="*/ 2147483647 w 36"/>
                  <a:gd name="T19" fmla="*/ 2147483647 h 17"/>
                  <a:gd name="T20" fmla="*/ 0 w 36"/>
                  <a:gd name="T21" fmla="*/ 2147483647 h 17"/>
                  <a:gd name="T22" fmla="*/ 0 w 36"/>
                  <a:gd name="T23" fmla="*/ 2147483647 h 17"/>
                  <a:gd name="T24" fmla="*/ 0 w 36"/>
                  <a:gd name="T25" fmla="*/ 2147483647 h 17"/>
                  <a:gd name="T26" fmla="*/ 0 w 36"/>
                  <a:gd name="T27" fmla="*/ 2147483647 h 17"/>
                  <a:gd name="T28" fmla="*/ 0 w 36"/>
                  <a:gd name="T29" fmla="*/ 2147483647 h 17"/>
                  <a:gd name="T30" fmla="*/ 0 w 36"/>
                  <a:gd name="T31" fmla="*/ 2147483647 h 17"/>
                  <a:gd name="T32" fmla="*/ 0 w 36"/>
                  <a:gd name="T33" fmla="*/ 2147483647 h 17"/>
                  <a:gd name="T34" fmla="*/ 2147483647 w 36"/>
                  <a:gd name="T35" fmla="*/ 2147483647 h 17"/>
                  <a:gd name="T36" fmla="*/ 2147483647 w 36"/>
                  <a:gd name="T37" fmla="*/ 2147483647 h 17"/>
                  <a:gd name="T38" fmla="*/ 2147483647 w 36"/>
                  <a:gd name="T39" fmla="*/ 2147483647 h 17"/>
                  <a:gd name="T40" fmla="*/ 2147483647 w 36"/>
                  <a:gd name="T41" fmla="*/ 2147483647 h 17"/>
                  <a:gd name="T42" fmla="*/ 2147483647 w 36"/>
                  <a:gd name="T43" fmla="*/ 2147483647 h 17"/>
                  <a:gd name="T44" fmla="*/ 2147483647 w 36"/>
                  <a:gd name="T45" fmla="*/ 2147483647 h 17"/>
                  <a:gd name="T46" fmla="*/ 2147483647 w 36"/>
                  <a:gd name="T47" fmla="*/ 2147483647 h 17"/>
                  <a:gd name="T48" fmla="*/ 2147483647 w 36"/>
                  <a:gd name="T49" fmla="*/ 2147483647 h 17"/>
                  <a:gd name="T50" fmla="*/ 2147483647 w 36"/>
                  <a:gd name="T51" fmla="*/ 2147483647 h 17"/>
                  <a:gd name="T52" fmla="*/ 2147483647 w 36"/>
                  <a:gd name="T53" fmla="*/ 2147483647 h 17"/>
                  <a:gd name="T54" fmla="*/ 2147483647 w 36"/>
                  <a:gd name="T55" fmla="*/ 2147483647 h 17"/>
                  <a:gd name="T56" fmla="*/ 2147483647 w 36"/>
                  <a:gd name="T57" fmla="*/ 2147483647 h 17"/>
                  <a:gd name="T58" fmla="*/ 2147483647 w 36"/>
                  <a:gd name="T59" fmla="*/ 2147483647 h 17"/>
                  <a:gd name="T60" fmla="*/ 2147483647 w 36"/>
                  <a:gd name="T61" fmla="*/ 2147483647 h 17"/>
                  <a:gd name="T62" fmla="*/ 2147483647 w 36"/>
                  <a:gd name="T63" fmla="*/ 2147483647 h 17"/>
                  <a:gd name="T64" fmla="*/ 2147483647 w 36"/>
                  <a:gd name="T65" fmla="*/ 2147483647 h 17"/>
                  <a:gd name="T66" fmla="*/ 2147483647 w 36"/>
                  <a:gd name="T67" fmla="*/ 2147483647 h 17"/>
                  <a:gd name="T68" fmla="*/ 2147483647 w 36"/>
                  <a:gd name="T69" fmla="*/ 2147483647 h 17"/>
                  <a:gd name="T70" fmla="*/ 2147483647 w 36"/>
                  <a:gd name="T71" fmla="*/ 2147483647 h 17"/>
                  <a:gd name="T72" fmla="*/ 2147483647 w 36"/>
                  <a:gd name="T73" fmla="*/ 2147483647 h 17"/>
                  <a:gd name="T74" fmla="*/ 2147483647 w 36"/>
                  <a:gd name="T75" fmla="*/ 2147483647 h 17"/>
                  <a:gd name="T76" fmla="*/ 2147483647 w 36"/>
                  <a:gd name="T77" fmla="*/ 2147483647 h 17"/>
                  <a:gd name="T78" fmla="*/ 2147483647 w 36"/>
                  <a:gd name="T79" fmla="*/ 2147483647 h 17"/>
                  <a:gd name="T80" fmla="*/ 2147483647 w 36"/>
                  <a:gd name="T81" fmla="*/ 2147483647 h 17"/>
                  <a:gd name="T82" fmla="*/ 2147483647 w 36"/>
                  <a:gd name="T83" fmla="*/ 2147483647 h 17"/>
                  <a:gd name="T84" fmla="*/ 2147483647 w 36"/>
                  <a:gd name="T85" fmla="*/ 2147483647 h 17"/>
                  <a:gd name="T86" fmla="*/ 2147483647 w 36"/>
                  <a:gd name="T87" fmla="*/ 2147483647 h 17"/>
                  <a:gd name="T88" fmla="*/ 2147483647 w 36"/>
                  <a:gd name="T89" fmla="*/ 2147483647 h 17"/>
                  <a:gd name="T90" fmla="*/ 2147483647 w 36"/>
                  <a:gd name="T91" fmla="*/ 2147483647 h 17"/>
                  <a:gd name="T92" fmla="*/ 0 w 36"/>
                  <a:gd name="T93" fmla="*/ 2147483647 h 17"/>
                  <a:gd name="T94" fmla="*/ 0 w 36"/>
                  <a:gd name="T95" fmla="*/ 2147483647 h 17"/>
                  <a:gd name="T96" fmla="*/ 0 w 36"/>
                  <a:gd name="T97" fmla="*/ 2147483647 h 17"/>
                  <a:gd name="T98" fmla="*/ 0 w 36"/>
                  <a:gd name="T99" fmla="*/ 2147483647 h 17"/>
                  <a:gd name="T100" fmla="*/ 0 w 36"/>
                  <a:gd name="T101" fmla="*/ 2147483647 h 17"/>
                  <a:gd name="T102" fmla="*/ 0 w 36"/>
                  <a:gd name="T103" fmla="*/ 2147483647 h 17"/>
                  <a:gd name="T104" fmla="*/ 0 w 36"/>
                  <a:gd name="T105" fmla="*/ 2147483647 h 17"/>
                  <a:gd name="T106" fmla="*/ 2147483647 w 36"/>
                  <a:gd name="T107" fmla="*/ 2147483647 h 17"/>
                  <a:gd name="T108" fmla="*/ 2147483647 w 36"/>
                  <a:gd name="T109" fmla="*/ 2147483647 h 17"/>
                  <a:gd name="T110" fmla="*/ 2147483647 w 36"/>
                  <a:gd name="T111" fmla="*/ 0 h 17"/>
                  <a:gd name="T112" fmla="*/ 2147483647 w 36"/>
                  <a:gd name="T113" fmla="*/ 0 h 17"/>
                  <a:gd name="T114" fmla="*/ 2147483647 w 36"/>
                  <a:gd name="T115" fmla="*/ 0 h 17"/>
                  <a:gd name="T116" fmla="*/ 2147483647 w 36"/>
                  <a:gd name="T117" fmla="*/ 0 h 17"/>
                  <a:gd name="T118" fmla="*/ 2147483647 w 36"/>
                  <a:gd name="T119" fmla="*/ 0 h 17"/>
                  <a:gd name="T120" fmla="*/ 2147483647 w 36"/>
                  <a:gd name="T121" fmla="*/ 2147483647 h 17"/>
                  <a:gd name="T122" fmla="*/ 2147483647 w 36"/>
                  <a:gd name="T123" fmla="*/ 2147483647 h 17"/>
                  <a:gd name="T124" fmla="*/ 2147483647 w 36"/>
                  <a:gd name="T125" fmla="*/ 2147483647 h 1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6"/>
                  <a:gd name="T190" fmla="*/ 0 h 17"/>
                  <a:gd name="T191" fmla="*/ 36 w 36"/>
                  <a:gd name="T192" fmla="*/ 17 h 1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6" h="17">
                    <a:moveTo>
                      <a:pt x="3" y="17"/>
                    </a:moveTo>
                    <a:lnTo>
                      <a:pt x="3" y="17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3" y="3"/>
                    </a:lnTo>
                    <a:lnTo>
                      <a:pt x="14" y="3"/>
                    </a:lnTo>
                    <a:lnTo>
                      <a:pt x="17" y="0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3" y="6"/>
                    </a:lnTo>
                    <a:lnTo>
                      <a:pt x="5" y="17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4" name="Freeform 1030"/>
              <p:cNvSpPr>
                <a:spLocks noChangeAspect="1"/>
              </p:cNvSpPr>
              <p:nvPr>
                <p:custDataLst>
                  <p:tags r:id="rId1134"/>
                </p:custDataLst>
              </p:nvPr>
            </p:nvSpPr>
            <p:spPr bwMode="gray">
              <a:xfrm>
                <a:off x="7057933" y="3684368"/>
                <a:ext cx="4555" cy="9460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2147483647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2147483647 w 3"/>
                  <a:gd name="T11" fmla="*/ 0 h 8"/>
                  <a:gd name="T12" fmla="*/ 0 w 3"/>
                  <a:gd name="T13" fmla="*/ 0 h 8"/>
                  <a:gd name="T14" fmla="*/ 0 w 3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8"/>
                  <a:gd name="T26" fmla="*/ 3 w 3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8">
                    <a:moveTo>
                      <a:pt x="0" y="0"/>
                    </a:moveTo>
                    <a:lnTo>
                      <a:pt x="0" y="5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5" name="Freeform 1031"/>
              <p:cNvSpPr>
                <a:spLocks noChangeAspect="1"/>
              </p:cNvSpPr>
              <p:nvPr>
                <p:custDataLst>
                  <p:tags r:id="rId1135"/>
                </p:custDataLst>
              </p:nvPr>
            </p:nvSpPr>
            <p:spPr bwMode="gray">
              <a:xfrm>
                <a:off x="7057933" y="3684368"/>
                <a:ext cx="4555" cy="9460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2147483647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2147483647 w 3"/>
                  <a:gd name="T11" fmla="*/ 0 h 8"/>
                  <a:gd name="T12" fmla="*/ 0 w 3"/>
                  <a:gd name="T13" fmla="*/ 0 h 8"/>
                  <a:gd name="T14" fmla="*/ 0 w 3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8"/>
                  <a:gd name="T26" fmla="*/ 3 w 3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8">
                    <a:moveTo>
                      <a:pt x="0" y="0"/>
                    </a:moveTo>
                    <a:lnTo>
                      <a:pt x="0" y="5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6" name="Freeform 1032"/>
              <p:cNvSpPr>
                <a:spLocks noChangeAspect="1"/>
              </p:cNvSpPr>
              <p:nvPr>
                <p:custDataLst>
                  <p:tags r:id="rId1136"/>
                </p:custDataLst>
              </p:nvPr>
            </p:nvSpPr>
            <p:spPr bwMode="gray">
              <a:xfrm>
                <a:off x="8546020" y="4562613"/>
                <a:ext cx="60739" cy="47302"/>
              </a:xfrm>
              <a:custGeom>
                <a:avLst/>
                <a:gdLst>
                  <a:gd name="T0" fmla="*/ 2147483647 w 47"/>
                  <a:gd name="T1" fmla="*/ 2147483647 h 36"/>
                  <a:gd name="T2" fmla="*/ 2147483647 w 47"/>
                  <a:gd name="T3" fmla="*/ 2147483647 h 36"/>
                  <a:gd name="T4" fmla="*/ 2147483647 w 47"/>
                  <a:gd name="T5" fmla="*/ 2147483647 h 36"/>
                  <a:gd name="T6" fmla="*/ 2147483647 w 47"/>
                  <a:gd name="T7" fmla="*/ 2147483647 h 36"/>
                  <a:gd name="T8" fmla="*/ 2147483647 w 47"/>
                  <a:gd name="T9" fmla="*/ 2147483647 h 36"/>
                  <a:gd name="T10" fmla="*/ 2147483647 w 47"/>
                  <a:gd name="T11" fmla="*/ 2147483647 h 36"/>
                  <a:gd name="T12" fmla="*/ 2147483647 w 47"/>
                  <a:gd name="T13" fmla="*/ 2147483647 h 36"/>
                  <a:gd name="T14" fmla="*/ 0 w 47"/>
                  <a:gd name="T15" fmla="*/ 0 h 36"/>
                  <a:gd name="T16" fmla="*/ 2147483647 w 47"/>
                  <a:gd name="T17" fmla="*/ 0 h 36"/>
                  <a:gd name="T18" fmla="*/ 2147483647 w 47"/>
                  <a:gd name="T19" fmla="*/ 0 h 36"/>
                  <a:gd name="T20" fmla="*/ 2147483647 w 47"/>
                  <a:gd name="T21" fmla="*/ 0 h 36"/>
                  <a:gd name="T22" fmla="*/ 2147483647 w 47"/>
                  <a:gd name="T23" fmla="*/ 2147483647 h 36"/>
                  <a:gd name="T24" fmla="*/ 2147483647 w 47"/>
                  <a:gd name="T25" fmla="*/ 2147483647 h 36"/>
                  <a:gd name="T26" fmla="*/ 2147483647 w 47"/>
                  <a:gd name="T27" fmla="*/ 2147483647 h 36"/>
                  <a:gd name="T28" fmla="*/ 2147483647 w 47"/>
                  <a:gd name="T29" fmla="*/ 2147483647 h 36"/>
                  <a:gd name="T30" fmla="*/ 2147483647 w 47"/>
                  <a:gd name="T31" fmla="*/ 2147483647 h 36"/>
                  <a:gd name="T32" fmla="*/ 2147483647 w 47"/>
                  <a:gd name="T33" fmla="*/ 2147483647 h 36"/>
                  <a:gd name="T34" fmla="*/ 2147483647 w 47"/>
                  <a:gd name="T35" fmla="*/ 2147483647 h 36"/>
                  <a:gd name="T36" fmla="*/ 2147483647 w 47"/>
                  <a:gd name="T37" fmla="*/ 2147483647 h 36"/>
                  <a:gd name="T38" fmla="*/ 2147483647 w 47"/>
                  <a:gd name="T39" fmla="*/ 2147483647 h 36"/>
                  <a:gd name="T40" fmla="*/ 2147483647 w 47"/>
                  <a:gd name="T41" fmla="*/ 2147483647 h 36"/>
                  <a:gd name="T42" fmla="*/ 2147483647 w 47"/>
                  <a:gd name="T43" fmla="*/ 2147483647 h 36"/>
                  <a:gd name="T44" fmla="*/ 2147483647 w 47"/>
                  <a:gd name="T45" fmla="*/ 2147483647 h 36"/>
                  <a:gd name="T46" fmla="*/ 2147483647 w 47"/>
                  <a:gd name="T47" fmla="*/ 2147483647 h 36"/>
                  <a:gd name="T48" fmla="*/ 2147483647 w 47"/>
                  <a:gd name="T49" fmla="*/ 2147483647 h 36"/>
                  <a:gd name="T50" fmla="*/ 2147483647 w 47"/>
                  <a:gd name="T51" fmla="*/ 2147483647 h 36"/>
                  <a:gd name="T52" fmla="*/ 2147483647 w 47"/>
                  <a:gd name="T53" fmla="*/ 2147483647 h 36"/>
                  <a:gd name="T54" fmla="*/ 2147483647 w 47"/>
                  <a:gd name="T55" fmla="*/ 2147483647 h 36"/>
                  <a:gd name="T56" fmla="*/ 2147483647 w 47"/>
                  <a:gd name="T57" fmla="*/ 2147483647 h 36"/>
                  <a:gd name="T58" fmla="*/ 2147483647 w 47"/>
                  <a:gd name="T59" fmla="*/ 2147483647 h 36"/>
                  <a:gd name="T60" fmla="*/ 2147483647 w 47"/>
                  <a:gd name="T61" fmla="*/ 2147483647 h 36"/>
                  <a:gd name="T62" fmla="*/ 2147483647 w 47"/>
                  <a:gd name="T63" fmla="*/ 2147483647 h 36"/>
                  <a:gd name="T64" fmla="*/ 2147483647 w 47"/>
                  <a:gd name="T65" fmla="*/ 2147483647 h 36"/>
                  <a:gd name="T66" fmla="*/ 2147483647 w 47"/>
                  <a:gd name="T67" fmla="*/ 2147483647 h 36"/>
                  <a:gd name="T68" fmla="*/ 2147483647 w 47"/>
                  <a:gd name="T69" fmla="*/ 2147483647 h 36"/>
                  <a:gd name="T70" fmla="*/ 2147483647 w 47"/>
                  <a:gd name="T71" fmla="*/ 2147483647 h 36"/>
                  <a:gd name="T72" fmla="*/ 2147483647 w 47"/>
                  <a:gd name="T73" fmla="*/ 2147483647 h 36"/>
                  <a:gd name="T74" fmla="*/ 2147483647 w 47"/>
                  <a:gd name="T75" fmla="*/ 2147483647 h 36"/>
                  <a:gd name="T76" fmla="*/ 2147483647 w 47"/>
                  <a:gd name="T77" fmla="*/ 2147483647 h 36"/>
                  <a:gd name="T78" fmla="*/ 2147483647 w 47"/>
                  <a:gd name="T79" fmla="*/ 2147483647 h 36"/>
                  <a:gd name="T80" fmla="*/ 2147483647 w 47"/>
                  <a:gd name="T81" fmla="*/ 2147483647 h 36"/>
                  <a:gd name="T82" fmla="*/ 2147483647 w 47"/>
                  <a:gd name="T83" fmla="*/ 2147483647 h 36"/>
                  <a:gd name="T84" fmla="*/ 2147483647 w 47"/>
                  <a:gd name="T85" fmla="*/ 2147483647 h 36"/>
                  <a:gd name="T86" fmla="*/ 2147483647 w 47"/>
                  <a:gd name="T87" fmla="*/ 2147483647 h 36"/>
                  <a:gd name="T88" fmla="*/ 2147483647 w 47"/>
                  <a:gd name="T89" fmla="*/ 2147483647 h 36"/>
                  <a:gd name="T90" fmla="*/ 2147483647 w 47"/>
                  <a:gd name="T91" fmla="*/ 2147483647 h 36"/>
                  <a:gd name="T92" fmla="*/ 2147483647 w 47"/>
                  <a:gd name="T93" fmla="*/ 2147483647 h 36"/>
                  <a:gd name="T94" fmla="*/ 2147483647 w 47"/>
                  <a:gd name="T95" fmla="*/ 2147483647 h 36"/>
                  <a:gd name="T96" fmla="*/ 2147483647 w 47"/>
                  <a:gd name="T97" fmla="*/ 2147483647 h 36"/>
                  <a:gd name="T98" fmla="*/ 2147483647 w 47"/>
                  <a:gd name="T99" fmla="*/ 2147483647 h 36"/>
                  <a:gd name="T100" fmla="*/ 2147483647 w 47"/>
                  <a:gd name="T101" fmla="*/ 2147483647 h 36"/>
                  <a:gd name="T102" fmla="*/ 2147483647 w 47"/>
                  <a:gd name="T103" fmla="*/ 2147483647 h 36"/>
                  <a:gd name="T104" fmla="*/ 2147483647 w 47"/>
                  <a:gd name="T105" fmla="*/ 2147483647 h 36"/>
                  <a:gd name="T106" fmla="*/ 2147483647 w 47"/>
                  <a:gd name="T107" fmla="*/ 2147483647 h 36"/>
                  <a:gd name="T108" fmla="*/ 2147483647 w 47"/>
                  <a:gd name="T109" fmla="*/ 2147483647 h 36"/>
                  <a:gd name="T110" fmla="*/ 2147483647 w 47"/>
                  <a:gd name="T111" fmla="*/ 2147483647 h 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7"/>
                  <a:gd name="T169" fmla="*/ 0 h 36"/>
                  <a:gd name="T170" fmla="*/ 47 w 47"/>
                  <a:gd name="T171" fmla="*/ 36 h 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7" h="36">
                    <a:moveTo>
                      <a:pt x="17" y="19"/>
                    </a:moveTo>
                    <a:lnTo>
                      <a:pt x="11" y="16"/>
                    </a:lnTo>
                    <a:lnTo>
                      <a:pt x="8" y="11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7" y="8"/>
                    </a:lnTo>
                    <a:lnTo>
                      <a:pt x="19" y="11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5" y="16"/>
                    </a:lnTo>
                    <a:lnTo>
                      <a:pt x="25" y="19"/>
                    </a:lnTo>
                    <a:lnTo>
                      <a:pt x="28" y="19"/>
                    </a:lnTo>
                    <a:lnTo>
                      <a:pt x="30" y="22"/>
                    </a:lnTo>
                    <a:lnTo>
                      <a:pt x="33" y="22"/>
                    </a:lnTo>
                    <a:lnTo>
                      <a:pt x="36" y="25"/>
                    </a:lnTo>
                    <a:lnTo>
                      <a:pt x="42" y="28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47" y="33"/>
                    </a:lnTo>
                    <a:lnTo>
                      <a:pt x="47" y="36"/>
                    </a:lnTo>
                    <a:lnTo>
                      <a:pt x="44" y="36"/>
                    </a:lnTo>
                    <a:lnTo>
                      <a:pt x="42" y="33"/>
                    </a:lnTo>
                    <a:lnTo>
                      <a:pt x="39" y="33"/>
                    </a:lnTo>
                    <a:lnTo>
                      <a:pt x="36" y="33"/>
                    </a:lnTo>
                    <a:lnTo>
                      <a:pt x="33" y="33"/>
                    </a:lnTo>
                    <a:lnTo>
                      <a:pt x="33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25"/>
                    </a:lnTo>
                    <a:lnTo>
                      <a:pt x="25" y="25"/>
                    </a:lnTo>
                    <a:lnTo>
                      <a:pt x="22" y="25"/>
                    </a:lnTo>
                    <a:lnTo>
                      <a:pt x="19" y="22"/>
                    </a:lnTo>
                    <a:lnTo>
                      <a:pt x="17" y="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7" name="Freeform 1033"/>
              <p:cNvSpPr>
                <a:spLocks noChangeAspect="1"/>
              </p:cNvSpPr>
              <p:nvPr>
                <p:custDataLst>
                  <p:tags r:id="rId1137"/>
                </p:custDataLst>
              </p:nvPr>
            </p:nvSpPr>
            <p:spPr bwMode="gray">
              <a:xfrm>
                <a:off x="8611315" y="4572072"/>
                <a:ext cx="3037" cy="11037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0 h 8"/>
                  <a:gd name="T4" fmla="*/ 0 w 3"/>
                  <a:gd name="T5" fmla="*/ 0 h 8"/>
                  <a:gd name="T6" fmla="*/ 2147483647 w 3"/>
                  <a:gd name="T7" fmla="*/ 0 h 8"/>
                  <a:gd name="T8" fmla="*/ 2147483647 w 3"/>
                  <a:gd name="T9" fmla="*/ 2147483647 h 8"/>
                  <a:gd name="T10" fmla="*/ 2147483647 w 3"/>
                  <a:gd name="T11" fmla="*/ 2147483647 h 8"/>
                  <a:gd name="T12" fmla="*/ 2147483647 w 3"/>
                  <a:gd name="T13" fmla="*/ 2147483647 h 8"/>
                  <a:gd name="T14" fmla="*/ 2147483647 w 3"/>
                  <a:gd name="T15" fmla="*/ 2147483647 h 8"/>
                  <a:gd name="T16" fmla="*/ 2147483647 w 3"/>
                  <a:gd name="T17" fmla="*/ 2147483647 h 8"/>
                  <a:gd name="T18" fmla="*/ 2147483647 w 3"/>
                  <a:gd name="T19" fmla="*/ 2147483647 h 8"/>
                  <a:gd name="T20" fmla="*/ 0 w 3"/>
                  <a:gd name="T21" fmla="*/ 2147483647 h 8"/>
                  <a:gd name="T22" fmla="*/ 0 w 3"/>
                  <a:gd name="T23" fmla="*/ 2147483647 h 8"/>
                  <a:gd name="T24" fmla="*/ 0 w 3"/>
                  <a:gd name="T25" fmla="*/ 2147483647 h 8"/>
                  <a:gd name="T26" fmla="*/ 0 w 3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"/>
                  <a:gd name="T43" fmla="*/ 0 h 8"/>
                  <a:gd name="T44" fmla="*/ 3 w 3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8" name="Freeform 1034"/>
              <p:cNvSpPr>
                <a:spLocks noChangeAspect="1"/>
              </p:cNvSpPr>
              <p:nvPr>
                <p:custDataLst>
                  <p:tags r:id="rId1138"/>
                </p:custDataLst>
              </p:nvPr>
            </p:nvSpPr>
            <p:spPr bwMode="gray">
              <a:xfrm>
                <a:off x="8611315" y="4572072"/>
                <a:ext cx="3037" cy="11037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0 h 8"/>
                  <a:gd name="T4" fmla="*/ 0 w 3"/>
                  <a:gd name="T5" fmla="*/ 0 h 8"/>
                  <a:gd name="T6" fmla="*/ 2147483647 w 3"/>
                  <a:gd name="T7" fmla="*/ 0 h 8"/>
                  <a:gd name="T8" fmla="*/ 2147483647 w 3"/>
                  <a:gd name="T9" fmla="*/ 2147483647 h 8"/>
                  <a:gd name="T10" fmla="*/ 2147483647 w 3"/>
                  <a:gd name="T11" fmla="*/ 2147483647 h 8"/>
                  <a:gd name="T12" fmla="*/ 2147483647 w 3"/>
                  <a:gd name="T13" fmla="*/ 2147483647 h 8"/>
                  <a:gd name="T14" fmla="*/ 2147483647 w 3"/>
                  <a:gd name="T15" fmla="*/ 2147483647 h 8"/>
                  <a:gd name="T16" fmla="*/ 2147483647 w 3"/>
                  <a:gd name="T17" fmla="*/ 2147483647 h 8"/>
                  <a:gd name="T18" fmla="*/ 2147483647 w 3"/>
                  <a:gd name="T19" fmla="*/ 2147483647 h 8"/>
                  <a:gd name="T20" fmla="*/ 0 w 3"/>
                  <a:gd name="T21" fmla="*/ 2147483647 h 8"/>
                  <a:gd name="T22" fmla="*/ 0 w 3"/>
                  <a:gd name="T23" fmla="*/ 2147483647 h 8"/>
                  <a:gd name="T24" fmla="*/ 0 w 3"/>
                  <a:gd name="T25" fmla="*/ 2147483647 h 8"/>
                  <a:gd name="T26" fmla="*/ 0 w 3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"/>
                  <a:gd name="T43" fmla="*/ 0 h 8"/>
                  <a:gd name="T44" fmla="*/ 3 w 3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9" name="Freeform 1035"/>
              <p:cNvSpPr>
                <a:spLocks noChangeAspect="1"/>
              </p:cNvSpPr>
              <p:nvPr>
                <p:custDataLst>
                  <p:tags r:id="rId1139"/>
                </p:custDataLst>
              </p:nvPr>
            </p:nvSpPr>
            <p:spPr bwMode="gray">
              <a:xfrm>
                <a:off x="8620424" y="4587839"/>
                <a:ext cx="7593" cy="3154"/>
              </a:xfrm>
              <a:custGeom>
                <a:avLst/>
                <a:gdLst>
                  <a:gd name="T0" fmla="*/ 2147483647 w 6"/>
                  <a:gd name="T1" fmla="*/ 0 h 3"/>
                  <a:gd name="T2" fmla="*/ 0 w 6"/>
                  <a:gd name="T3" fmla="*/ 0 h 3"/>
                  <a:gd name="T4" fmla="*/ 2147483647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2147483647 h 3"/>
                  <a:gd name="T12" fmla="*/ 2147483647 w 6"/>
                  <a:gd name="T13" fmla="*/ 2147483647 h 3"/>
                  <a:gd name="T14" fmla="*/ 2147483647 w 6"/>
                  <a:gd name="T15" fmla="*/ 2147483647 h 3"/>
                  <a:gd name="T16" fmla="*/ 2147483647 w 6"/>
                  <a:gd name="T17" fmla="*/ 2147483647 h 3"/>
                  <a:gd name="T18" fmla="*/ 2147483647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0" name="Freeform 1036"/>
              <p:cNvSpPr>
                <a:spLocks noChangeAspect="1"/>
              </p:cNvSpPr>
              <p:nvPr>
                <p:custDataLst>
                  <p:tags r:id="rId1140"/>
                </p:custDataLst>
              </p:nvPr>
            </p:nvSpPr>
            <p:spPr bwMode="gray">
              <a:xfrm>
                <a:off x="8620424" y="4587839"/>
                <a:ext cx="7593" cy="3154"/>
              </a:xfrm>
              <a:custGeom>
                <a:avLst/>
                <a:gdLst>
                  <a:gd name="T0" fmla="*/ 2147483647 w 6"/>
                  <a:gd name="T1" fmla="*/ 0 h 3"/>
                  <a:gd name="T2" fmla="*/ 0 w 6"/>
                  <a:gd name="T3" fmla="*/ 0 h 3"/>
                  <a:gd name="T4" fmla="*/ 2147483647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2147483647 h 3"/>
                  <a:gd name="T12" fmla="*/ 2147483647 w 6"/>
                  <a:gd name="T13" fmla="*/ 2147483647 h 3"/>
                  <a:gd name="T14" fmla="*/ 2147483647 w 6"/>
                  <a:gd name="T15" fmla="*/ 2147483647 h 3"/>
                  <a:gd name="T16" fmla="*/ 2147483647 w 6"/>
                  <a:gd name="T17" fmla="*/ 2147483647 h 3"/>
                  <a:gd name="T18" fmla="*/ 2147483647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1" name="Freeform 1048"/>
              <p:cNvSpPr>
                <a:spLocks noChangeAspect="1"/>
              </p:cNvSpPr>
              <p:nvPr>
                <p:custDataLst>
                  <p:tags r:id="rId1141"/>
                </p:custDataLst>
              </p:nvPr>
            </p:nvSpPr>
            <p:spPr bwMode="gray">
              <a:xfrm>
                <a:off x="6843831" y="3515657"/>
                <a:ext cx="162475" cy="88297"/>
              </a:xfrm>
              <a:custGeom>
                <a:avLst/>
                <a:gdLst>
                  <a:gd name="T0" fmla="*/ 2147483647 w 125"/>
                  <a:gd name="T1" fmla="*/ 2147483647 h 69"/>
                  <a:gd name="T2" fmla="*/ 2147483647 w 125"/>
                  <a:gd name="T3" fmla="*/ 2147483647 h 69"/>
                  <a:gd name="T4" fmla="*/ 2147483647 w 125"/>
                  <a:gd name="T5" fmla="*/ 2147483647 h 69"/>
                  <a:gd name="T6" fmla="*/ 2147483647 w 125"/>
                  <a:gd name="T7" fmla="*/ 2147483647 h 69"/>
                  <a:gd name="T8" fmla="*/ 2147483647 w 125"/>
                  <a:gd name="T9" fmla="*/ 2147483647 h 69"/>
                  <a:gd name="T10" fmla="*/ 2147483647 w 125"/>
                  <a:gd name="T11" fmla="*/ 2147483647 h 69"/>
                  <a:gd name="T12" fmla="*/ 2147483647 w 125"/>
                  <a:gd name="T13" fmla="*/ 2147483647 h 69"/>
                  <a:gd name="T14" fmla="*/ 2147483647 w 125"/>
                  <a:gd name="T15" fmla="*/ 2147483647 h 69"/>
                  <a:gd name="T16" fmla="*/ 2147483647 w 125"/>
                  <a:gd name="T17" fmla="*/ 2147483647 h 69"/>
                  <a:gd name="T18" fmla="*/ 2147483647 w 125"/>
                  <a:gd name="T19" fmla="*/ 2147483647 h 69"/>
                  <a:gd name="T20" fmla="*/ 2147483647 w 125"/>
                  <a:gd name="T21" fmla="*/ 2147483647 h 69"/>
                  <a:gd name="T22" fmla="*/ 2147483647 w 125"/>
                  <a:gd name="T23" fmla="*/ 2147483647 h 69"/>
                  <a:gd name="T24" fmla="*/ 2147483647 w 125"/>
                  <a:gd name="T25" fmla="*/ 2147483647 h 69"/>
                  <a:gd name="T26" fmla="*/ 2147483647 w 125"/>
                  <a:gd name="T27" fmla="*/ 2147483647 h 69"/>
                  <a:gd name="T28" fmla="*/ 0 w 125"/>
                  <a:gd name="T29" fmla="*/ 2147483647 h 69"/>
                  <a:gd name="T30" fmla="*/ 2147483647 w 125"/>
                  <a:gd name="T31" fmla="*/ 2147483647 h 69"/>
                  <a:gd name="T32" fmla="*/ 2147483647 w 125"/>
                  <a:gd name="T33" fmla="*/ 2147483647 h 69"/>
                  <a:gd name="T34" fmla="*/ 2147483647 w 125"/>
                  <a:gd name="T35" fmla="*/ 2147483647 h 69"/>
                  <a:gd name="T36" fmla="*/ 2147483647 w 125"/>
                  <a:gd name="T37" fmla="*/ 2147483647 h 69"/>
                  <a:gd name="T38" fmla="*/ 2147483647 w 125"/>
                  <a:gd name="T39" fmla="*/ 2147483647 h 69"/>
                  <a:gd name="T40" fmla="*/ 2147483647 w 125"/>
                  <a:gd name="T41" fmla="*/ 2147483647 h 69"/>
                  <a:gd name="T42" fmla="*/ 2147483647 w 125"/>
                  <a:gd name="T43" fmla="*/ 2147483647 h 69"/>
                  <a:gd name="T44" fmla="*/ 2147483647 w 125"/>
                  <a:gd name="T45" fmla="*/ 2147483647 h 69"/>
                  <a:gd name="T46" fmla="*/ 2147483647 w 125"/>
                  <a:gd name="T47" fmla="*/ 0 h 69"/>
                  <a:gd name="T48" fmla="*/ 2147483647 w 125"/>
                  <a:gd name="T49" fmla="*/ 2147483647 h 69"/>
                  <a:gd name="T50" fmla="*/ 2147483647 w 125"/>
                  <a:gd name="T51" fmla="*/ 2147483647 h 69"/>
                  <a:gd name="T52" fmla="*/ 2147483647 w 125"/>
                  <a:gd name="T53" fmla="*/ 2147483647 h 69"/>
                  <a:gd name="T54" fmla="*/ 2147483647 w 125"/>
                  <a:gd name="T55" fmla="*/ 2147483647 h 69"/>
                  <a:gd name="T56" fmla="*/ 2147483647 w 125"/>
                  <a:gd name="T57" fmla="*/ 2147483647 h 69"/>
                  <a:gd name="T58" fmla="*/ 2147483647 w 125"/>
                  <a:gd name="T59" fmla="*/ 2147483647 h 69"/>
                  <a:gd name="T60" fmla="*/ 2147483647 w 125"/>
                  <a:gd name="T61" fmla="*/ 2147483647 h 69"/>
                  <a:gd name="T62" fmla="*/ 2147483647 w 125"/>
                  <a:gd name="T63" fmla="*/ 2147483647 h 69"/>
                  <a:gd name="T64" fmla="*/ 2147483647 w 125"/>
                  <a:gd name="T65" fmla="*/ 2147483647 h 69"/>
                  <a:gd name="T66" fmla="*/ 2147483647 w 125"/>
                  <a:gd name="T67" fmla="*/ 2147483647 h 69"/>
                  <a:gd name="T68" fmla="*/ 2147483647 w 125"/>
                  <a:gd name="T69" fmla="*/ 2147483647 h 69"/>
                  <a:gd name="T70" fmla="*/ 2147483647 w 125"/>
                  <a:gd name="T71" fmla="*/ 2147483647 h 69"/>
                  <a:gd name="T72" fmla="*/ 2147483647 w 125"/>
                  <a:gd name="T73" fmla="*/ 2147483647 h 69"/>
                  <a:gd name="T74" fmla="*/ 2147483647 w 125"/>
                  <a:gd name="T75" fmla="*/ 2147483647 h 69"/>
                  <a:gd name="T76" fmla="*/ 2147483647 w 125"/>
                  <a:gd name="T77" fmla="*/ 2147483647 h 69"/>
                  <a:gd name="T78" fmla="*/ 2147483647 w 125"/>
                  <a:gd name="T79" fmla="*/ 2147483647 h 69"/>
                  <a:gd name="T80" fmla="*/ 2147483647 w 125"/>
                  <a:gd name="T81" fmla="*/ 2147483647 h 69"/>
                  <a:gd name="T82" fmla="*/ 2147483647 w 125"/>
                  <a:gd name="T83" fmla="*/ 2147483647 h 69"/>
                  <a:gd name="T84" fmla="*/ 2147483647 w 125"/>
                  <a:gd name="T85" fmla="*/ 2147483647 h 6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25"/>
                  <a:gd name="T130" fmla="*/ 0 h 69"/>
                  <a:gd name="T131" fmla="*/ 125 w 125"/>
                  <a:gd name="T132" fmla="*/ 69 h 6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25" h="69">
                    <a:moveTo>
                      <a:pt x="125" y="41"/>
                    </a:moveTo>
                    <a:lnTo>
                      <a:pt x="123" y="44"/>
                    </a:lnTo>
                    <a:lnTo>
                      <a:pt x="123" y="55"/>
                    </a:lnTo>
                    <a:lnTo>
                      <a:pt x="123" y="58"/>
                    </a:lnTo>
                    <a:lnTo>
                      <a:pt x="125" y="61"/>
                    </a:lnTo>
                    <a:lnTo>
                      <a:pt x="125" y="64"/>
                    </a:lnTo>
                    <a:lnTo>
                      <a:pt x="123" y="66"/>
                    </a:lnTo>
                    <a:lnTo>
                      <a:pt x="123" y="69"/>
                    </a:lnTo>
                    <a:lnTo>
                      <a:pt x="120" y="66"/>
                    </a:lnTo>
                    <a:lnTo>
                      <a:pt x="117" y="69"/>
                    </a:lnTo>
                    <a:lnTo>
                      <a:pt x="111" y="69"/>
                    </a:lnTo>
                    <a:lnTo>
                      <a:pt x="109" y="69"/>
                    </a:lnTo>
                    <a:lnTo>
                      <a:pt x="106" y="66"/>
                    </a:lnTo>
                    <a:lnTo>
                      <a:pt x="89" y="64"/>
                    </a:lnTo>
                    <a:lnTo>
                      <a:pt x="86" y="64"/>
                    </a:lnTo>
                    <a:lnTo>
                      <a:pt x="75" y="61"/>
                    </a:lnTo>
                    <a:lnTo>
                      <a:pt x="70" y="58"/>
                    </a:lnTo>
                    <a:lnTo>
                      <a:pt x="67" y="53"/>
                    </a:lnTo>
                    <a:lnTo>
                      <a:pt x="59" y="53"/>
                    </a:lnTo>
                    <a:lnTo>
                      <a:pt x="53" y="50"/>
                    </a:lnTo>
                    <a:lnTo>
                      <a:pt x="50" y="53"/>
                    </a:lnTo>
                    <a:lnTo>
                      <a:pt x="42" y="50"/>
                    </a:lnTo>
                    <a:lnTo>
                      <a:pt x="39" y="47"/>
                    </a:lnTo>
                    <a:lnTo>
                      <a:pt x="33" y="47"/>
                    </a:lnTo>
                    <a:lnTo>
                      <a:pt x="33" y="44"/>
                    </a:lnTo>
                    <a:lnTo>
                      <a:pt x="28" y="44"/>
                    </a:lnTo>
                    <a:lnTo>
                      <a:pt x="25" y="44"/>
                    </a:lnTo>
                    <a:lnTo>
                      <a:pt x="22" y="41"/>
                    </a:lnTo>
                    <a:lnTo>
                      <a:pt x="20" y="36"/>
                    </a:lnTo>
                    <a:lnTo>
                      <a:pt x="14" y="33"/>
                    </a:lnTo>
                    <a:lnTo>
                      <a:pt x="11" y="33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6" y="27"/>
                    </a:lnTo>
                    <a:lnTo>
                      <a:pt x="3" y="27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3" y="19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0" y="5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6" y="2"/>
                    </a:lnTo>
                    <a:lnTo>
                      <a:pt x="39" y="2"/>
                    </a:lnTo>
                    <a:lnTo>
                      <a:pt x="42" y="8"/>
                    </a:lnTo>
                    <a:lnTo>
                      <a:pt x="47" y="11"/>
                    </a:lnTo>
                    <a:lnTo>
                      <a:pt x="50" y="14"/>
                    </a:lnTo>
                    <a:lnTo>
                      <a:pt x="53" y="19"/>
                    </a:lnTo>
                    <a:lnTo>
                      <a:pt x="53" y="22"/>
                    </a:lnTo>
                    <a:lnTo>
                      <a:pt x="56" y="22"/>
                    </a:lnTo>
                    <a:lnTo>
                      <a:pt x="56" y="19"/>
                    </a:lnTo>
                    <a:lnTo>
                      <a:pt x="59" y="19"/>
                    </a:lnTo>
                    <a:lnTo>
                      <a:pt x="59" y="16"/>
                    </a:lnTo>
                    <a:lnTo>
                      <a:pt x="61" y="16"/>
                    </a:lnTo>
                    <a:lnTo>
                      <a:pt x="64" y="19"/>
                    </a:lnTo>
                    <a:lnTo>
                      <a:pt x="64" y="22"/>
                    </a:lnTo>
                    <a:lnTo>
                      <a:pt x="64" y="25"/>
                    </a:lnTo>
                    <a:lnTo>
                      <a:pt x="64" y="27"/>
                    </a:lnTo>
                    <a:lnTo>
                      <a:pt x="64" y="25"/>
                    </a:lnTo>
                    <a:lnTo>
                      <a:pt x="67" y="27"/>
                    </a:lnTo>
                    <a:lnTo>
                      <a:pt x="70" y="30"/>
                    </a:lnTo>
                    <a:lnTo>
                      <a:pt x="72" y="27"/>
                    </a:lnTo>
                    <a:lnTo>
                      <a:pt x="72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78" y="27"/>
                    </a:lnTo>
                    <a:lnTo>
                      <a:pt x="78" y="30"/>
                    </a:lnTo>
                    <a:lnTo>
                      <a:pt x="78" y="33"/>
                    </a:lnTo>
                    <a:lnTo>
                      <a:pt x="78" y="36"/>
                    </a:lnTo>
                    <a:lnTo>
                      <a:pt x="84" y="36"/>
                    </a:lnTo>
                    <a:lnTo>
                      <a:pt x="86" y="36"/>
                    </a:lnTo>
                    <a:lnTo>
                      <a:pt x="89" y="39"/>
                    </a:lnTo>
                    <a:lnTo>
                      <a:pt x="89" y="41"/>
                    </a:lnTo>
                    <a:lnTo>
                      <a:pt x="92" y="41"/>
                    </a:lnTo>
                    <a:lnTo>
                      <a:pt x="95" y="41"/>
                    </a:lnTo>
                    <a:lnTo>
                      <a:pt x="98" y="41"/>
                    </a:lnTo>
                    <a:lnTo>
                      <a:pt x="100" y="41"/>
                    </a:lnTo>
                    <a:lnTo>
                      <a:pt x="103" y="39"/>
                    </a:lnTo>
                    <a:lnTo>
                      <a:pt x="106" y="41"/>
                    </a:lnTo>
                    <a:lnTo>
                      <a:pt x="111" y="44"/>
                    </a:lnTo>
                    <a:lnTo>
                      <a:pt x="114" y="44"/>
                    </a:lnTo>
                    <a:lnTo>
                      <a:pt x="120" y="44"/>
                    </a:lnTo>
                    <a:lnTo>
                      <a:pt x="123" y="41"/>
                    </a:lnTo>
                    <a:lnTo>
                      <a:pt x="125" y="4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2" name="Freeform 1049"/>
              <p:cNvSpPr>
                <a:spLocks noChangeAspect="1"/>
              </p:cNvSpPr>
              <p:nvPr>
                <p:custDataLst>
                  <p:tags r:id="rId1142"/>
                </p:custDataLst>
              </p:nvPr>
            </p:nvSpPr>
            <p:spPr bwMode="gray">
              <a:xfrm>
                <a:off x="7000232" y="3602376"/>
                <a:ext cx="97181" cy="119832"/>
              </a:xfrm>
              <a:custGeom>
                <a:avLst/>
                <a:gdLst>
                  <a:gd name="T0" fmla="*/ 2147483647 w 75"/>
                  <a:gd name="T1" fmla="*/ 2147483647 h 95"/>
                  <a:gd name="T2" fmla="*/ 2147483647 w 75"/>
                  <a:gd name="T3" fmla="*/ 2147483647 h 95"/>
                  <a:gd name="T4" fmla="*/ 2147483647 w 75"/>
                  <a:gd name="T5" fmla="*/ 2147483647 h 95"/>
                  <a:gd name="T6" fmla="*/ 2147483647 w 75"/>
                  <a:gd name="T7" fmla="*/ 2147483647 h 95"/>
                  <a:gd name="T8" fmla="*/ 2147483647 w 75"/>
                  <a:gd name="T9" fmla="*/ 2147483647 h 95"/>
                  <a:gd name="T10" fmla="*/ 2147483647 w 75"/>
                  <a:gd name="T11" fmla="*/ 2147483647 h 95"/>
                  <a:gd name="T12" fmla="*/ 2147483647 w 75"/>
                  <a:gd name="T13" fmla="*/ 2147483647 h 95"/>
                  <a:gd name="T14" fmla="*/ 2147483647 w 75"/>
                  <a:gd name="T15" fmla="*/ 2147483647 h 95"/>
                  <a:gd name="T16" fmla="*/ 2147483647 w 75"/>
                  <a:gd name="T17" fmla="*/ 2147483647 h 95"/>
                  <a:gd name="T18" fmla="*/ 2147483647 w 75"/>
                  <a:gd name="T19" fmla="*/ 2147483647 h 95"/>
                  <a:gd name="T20" fmla="*/ 2147483647 w 75"/>
                  <a:gd name="T21" fmla="*/ 2147483647 h 95"/>
                  <a:gd name="T22" fmla="*/ 2147483647 w 75"/>
                  <a:gd name="T23" fmla="*/ 2147483647 h 95"/>
                  <a:gd name="T24" fmla="*/ 2147483647 w 75"/>
                  <a:gd name="T25" fmla="*/ 2147483647 h 95"/>
                  <a:gd name="T26" fmla="*/ 2147483647 w 75"/>
                  <a:gd name="T27" fmla="*/ 2147483647 h 95"/>
                  <a:gd name="T28" fmla="*/ 2147483647 w 75"/>
                  <a:gd name="T29" fmla="*/ 2147483647 h 95"/>
                  <a:gd name="T30" fmla="*/ 2147483647 w 75"/>
                  <a:gd name="T31" fmla="*/ 2147483647 h 95"/>
                  <a:gd name="T32" fmla="*/ 2147483647 w 75"/>
                  <a:gd name="T33" fmla="*/ 2147483647 h 95"/>
                  <a:gd name="T34" fmla="*/ 2147483647 w 75"/>
                  <a:gd name="T35" fmla="*/ 2147483647 h 95"/>
                  <a:gd name="T36" fmla="*/ 2147483647 w 75"/>
                  <a:gd name="T37" fmla="*/ 2147483647 h 95"/>
                  <a:gd name="T38" fmla="*/ 2147483647 w 75"/>
                  <a:gd name="T39" fmla="*/ 2147483647 h 95"/>
                  <a:gd name="T40" fmla="*/ 2147483647 w 75"/>
                  <a:gd name="T41" fmla="*/ 2147483647 h 95"/>
                  <a:gd name="T42" fmla="*/ 2147483647 w 75"/>
                  <a:gd name="T43" fmla="*/ 2147483647 h 95"/>
                  <a:gd name="T44" fmla="*/ 2147483647 w 75"/>
                  <a:gd name="T45" fmla="*/ 2147483647 h 95"/>
                  <a:gd name="T46" fmla="*/ 2147483647 w 75"/>
                  <a:gd name="T47" fmla="*/ 2147483647 h 95"/>
                  <a:gd name="T48" fmla="*/ 2147483647 w 75"/>
                  <a:gd name="T49" fmla="*/ 2147483647 h 95"/>
                  <a:gd name="T50" fmla="*/ 2147483647 w 75"/>
                  <a:gd name="T51" fmla="*/ 2147483647 h 95"/>
                  <a:gd name="T52" fmla="*/ 2147483647 w 75"/>
                  <a:gd name="T53" fmla="*/ 2147483647 h 95"/>
                  <a:gd name="T54" fmla="*/ 2147483647 w 75"/>
                  <a:gd name="T55" fmla="*/ 2147483647 h 95"/>
                  <a:gd name="T56" fmla="*/ 2147483647 w 75"/>
                  <a:gd name="T57" fmla="*/ 2147483647 h 95"/>
                  <a:gd name="T58" fmla="*/ 2147483647 w 75"/>
                  <a:gd name="T59" fmla="*/ 0 h 95"/>
                  <a:gd name="T60" fmla="*/ 2147483647 w 75"/>
                  <a:gd name="T61" fmla="*/ 2147483647 h 95"/>
                  <a:gd name="T62" fmla="*/ 2147483647 w 75"/>
                  <a:gd name="T63" fmla="*/ 2147483647 h 95"/>
                  <a:gd name="T64" fmla="*/ 2147483647 w 75"/>
                  <a:gd name="T65" fmla="*/ 2147483647 h 95"/>
                  <a:gd name="T66" fmla="*/ 2147483647 w 75"/>
                  <a:gd name="T67" fmla="*/ 2147483647 h 95"/>
                  <a:gd name="T68" fmla="*/ 2147483647 w 75"/>
                  <a:gd name="T69" fmla="*/ 2147483647 h 95"/>
                  <a:gd name="T70" fmla="*/ 2147483647 w 75"/>
                  <a:gd name="T71" fmla="*/ 2147483647 h 95"/>
                  <a:gd name="T72" fmla="*/ 2147483647 w 75"/>
                  <a:gd name="T73" fmla="*/ 2147483647 h 95"/>
                  <a:gd name="T74" fmla="*/ 2147483647 w 75"/>
                  <a:gd name="T75" fmla="*/ 2147483647 h 95"/>
                  <a:gd name="T76" fmla="*/ 2147483647 w 75"/>
                  <a:gd name="T77" fmla="*/ 2147483647 h 95"/>
                  <a:gd name="T78" fmla="*/ 2147483647 w 75"/>
                  <a:gd name="T79" fmla="*/ 2147483647 h 95"/>
                  <a:gd name="T80" fmla="*/ 2147483647 w 75"/>
                  <a:gd name="T81" fmla="*/ 2147483647 h 95"/>
                  <a:gd name="T82" fmla="*/ 2147483647 w 75"/>
                  <a:gd name="T83" fmla="*/ 2147483647 h 95"/>
                  <a:gd name="T84" fmla="*/ 2147483647 w 75"/>
                  <a:gd name="T85" fmla="*/ 2147483647 h 95"/>
                  <a:gd name="T86" fmla="*/ 2147483647 w 75"/>
                  <a:gd name="T87" fmla="*/ 2147483647 h 95"/>
                  <a:gd name="T88" fmla="*/ 2147483647 w 75"/>
                  <a:gd name="T89" fmla="*/ 2147483647 h 95"/>
                  <a:gd name="T90" fmla="*/ 2147483647 w 75"/>
                  <a:gd name="T91" fmla="*/ 2147483647 h 95"/>
                  <a:gd name="T92" fmla="*/ 2147483647 w 75"/>
                  <a:gd name="T93" fmla="*/ 2147483647 h 9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5"/>
                  <a:gd name="T142" fmla="*/ 0 h 95"/>
                  <a:gd name="T143" fmla="*/ 75 w 75"/>
                  <a:gd name="T144" fmla="*/ 95 h 9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5" h="95">
                    <a:moveTo>
                      <a:pt x="69" y="95"/>
                    </a:moveTo>
                    <a:lnTo>
                      <a:pt x="69" y="95"/>
                    </a:lnTo>
                    <a:lnTo>
                      <a:pt x="64" y="73"/>
                    </a:lnTo>
                    <a:lnTo>
                      <a:pt x="58" y="65"/>
                    </a:lnTo>
                    <a:lnTo>
                      <a:pt x="50" y="65"/>
                    </a:lnTo>
                    <a:lnTo>
                      <a:pt x="47" y="65"/>
                    </a:lnTo>
                    <a:lnTo>
                      <a:pt x="47" y="62"/>
                    </a:lnTo>
                    <a:lnTo>
                      <a:pt x="44" y="62"/>
                    </a:lnTo>
                    <a:lnTo>
                      <a:pt x="44" y="65"/>
                    </a:lnTo>
                    <a:lnTo>
                      <a:pt x="42" y="67"/>
                    </a:lnTo>
                    <a:lnTo>
                      <a:pt x="44" y="73"/>
                    </a:lnTo>
                    <a:lnTo>
                      <a:pt x="39" y="81"/>
                    </a:lnTo>
                    <a:lnTo>
                      <a:pt x="36" y="78"/>
                    </a:lnTo>
                    <a:lnTo>
                      <a:pt x="33" y="76"/>
                    </a:lnTo>
                    <a:lnTo>
                      <a:pt x="33" y="78"/>
                    </a:lnTo>
                    <a:lnTo>
                      <a:pt x="30" y="78"/>
                    </a:lnTo>
                    <a:lnTo>
                      <a:pt x="28" y="81"/>
                    </a:lnTo>
                    <a:lnTo>
                      <a:pt x="28" y="78"/>
                    </a:lnTo>
                    <a:lnTo>
                      <a:pt x="28" y="81"/>
                    </a:lnTo>
                    <a:lnTo>
                      <a:pt x="25" y="81"/>
                    </a:lnTo>
                    <a:lnTo>
                      <a:pt x="22" y="81"/>
                    </a:lnTo>
                    <a:lnTo>
                      <a:pt x="19" y="84"/>
                    </a:lnTo>
                    <a:lnTo>
                      <a:pt x="17" y="84"/>
                    </a:lnTo>
                    <a:lnTo>
                      <a:pt x="17" y="78"/>
                    </a:lnTo>
                    <a:lnTo>
                      <a:pt x="14" y="73"/>
                    </a:lnTo>
                    <a:lnTo>
                      <a:pt x="14" y="70"/>
                    </a:lnTo>
                    <a:lnTo>
                      <a:pt x="14" y="67"/>
                    </a:lnTo>
                    <a:lnTo>
                      <a:pt x="11" y="65"/>
                    </a:lnTo>
                    <a:lnTo>
                      <a:pt x="11" y="62"/>
                    </a:lnTo>
                    <a:lnTo>
                      <a:pt x="14" y="62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37"/>
                    </a:lnTo>
                    <a:lnTo>
                      <a:pt x="8" y="34"/>
                    </a:lnTo>
                    <a:lnTo>
                      <a:pt x="3" y="31"/>
                    </a:lnTo>
                    <a:lnTo>
                      <a:pt x="0" y="28"/>
                    </a:lnTo>
                    <a:lnTo>
                      <a:pt x="3" y="28"/>
                    </a:lnTo>
                    <a:lnTo>
                      <a:pt x="3" y="26"/>
                    </a:lnTo>
                    <a:lnTo>
                      <a:pt x="5" y="26"/>
                    </a:lnTo>
                    <a:lnTo>
                      <a:pt x="5" y="23"/>
                    </a:lnTo>
                    <a:lnTo>
                      <a:pt x="8" y="23"/>
                    </a:lnTo>
                    <a:lnTo>
                      <a:pt x="14" y="23"/>
                    </a:lnTo>
                    <a:lnTo>
                      <a:pt x="14" y="20"/>
                    </a:lnTo>
                    <a:lnTo>
                      <a:pt x="11" y="17"/>
                    </a:lnTo>
                    <a:lnTo>
                      <a:pt x="8" y="17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3" y="12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4" y="6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9" y="6"/>
                    </a:lnTo>
                    <a:lnTo>
                      <a:pt x="19" y="9"/>
                    </a:lnTo>
                    <a:lnTo>
                      <a:pt x="22" y="9"/>
                    </a:lnTo>
                    <a:lnTo>
                      <a:pt x="25" y="9"/>
                    </a:lnTo>
                    <a:lnTo>
                      <a:pt x="28" y="6"/>
                    </a:lnTo>
                    <a:lnTo>
                      <a:pt x="30" y="17"/>
                    </a:lnTo>
                    <a:lnTo>
                      <a:pt x="30" y="20"/>
                    </a:lnTo>
                    <a:lnTo>
                      <a:pt x="33" y="20"/>
                    </a:lnTo>
                    <a:lnTo>
                      <a:pt x="47" y="23"/>
                    </a:lnTo>
                    <a:lnTo>
                      <a:pt x="58" y="23"/>
                    </a:lnTo>
                    <a:lnTo>
                      <a:pt x="69" y="26"/>
                    </a:lnTo>
                    <a:lnTo>
                      <a:pt x="67" y="28"/>
                    </a:lnTo>
                    <a:lnTo>
                      <a:pt x="64" y="31"/>
                    </a:lnTo>
                    <a:lnTo>
                      <a:pt x="58" y="37"/>
                    </a:lnTo>
                    <a:lnTo>
                      <a:pt x="53" y="42"/>
                    </a:lnTo>
                    <a:lnTo>
                      <a:pt x="50" y="45"/>
                    </a:lnTo>
                    <a:lnTo>
                      <a:pt x="53" y="53"/>
                    </a:lnTo>
                    <a:lnTo>
                      <a:pt x="55" y="56"/>
                    </a:lnTo>
                    <a:lnTo>
                      <a:pt x="58" y="59"/>
                    </a:lnTo>
                    <a:lnTo>
                      <a:pt x="64" y="51"/>
                    </a:lnTo>
                    <a:lnTo>
                      <a:pt x="67" y="48"/>
                    </a:lnTo>
                    <a:lnTo>
                      <a:pt x="75" y="78"/>
                    </a:lnTo>
                    <a:lnTo>
                      <a:pt x="75" y="87"/>
                    </a:lnTo>
                    <a:lnTo>
                      <a:pt x="72" y="87"/>
                    </a:lnTo>
                    <a:lnTo>
                      <a:pt x="69" y="87"/>
                    </a:lnTo>
                    <a:lnTo>
                      <a:pt x="69" y="9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3" name="Freeform 1061"/>
              <p:cNvSpPr>
                <a:spLocks noChangeAspect="1"/>
              </p:cNvSpPr>
              <p:nvPr>
                <p:custDataLst>
                  <p:tags r:id="rId1143"/>
                </p:custDataLst>
              </p:nvPr>
            </p:nvSpPr>
            <p:spPr bwMode="gray">
              <a:xfrm>
                <a:off x="7338845" y="4125852"/>
                <a:ext cx="6074" cy="6307"/>
              </a:xfrm>
              <a:custGeom>
                <a:avLst/>
                <a:gdLst>
                  <a:gd name="T0" fmla="*/ 2147483647 w 5"/>
                  <a:gd name="T1" fmla="*/ 0 h 6"/>
                  <a:gd name="T2" fmla="*/ 2147483647 w 5"/>
                  <a:gd name="T3" fmla="*/ 2147483647 h 6"/>
                  <a:gd name="T4" fmla="*/ 2147483647 w 5"/>
                  <a:gd name="T5" fmla="*/ 2147483647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0 w 5"/>
                  <a:gd name="T13" fmla="*/ 2147483647 h 6"/>
                  <a:gd name="T14" fmla="*/ 0 w 5"/>
                  <a:gd name="T15" fmla="*/ 0 h 6"/>
                  <a:gd name="T16" fmla="*/ 0 w 5"/>
                  <a:gd name="T17" fmla="*/ 0 h 6"/>
                  <a:gd name="T18" fmla="*/ 2147483647 w 5"/>
                  <a:gd name="T19" fmla="*/ 0 h 6"/>
                  <a:gd name="T20" fmla="*/ 2147483647 w 5"/>
                  <a:gd name="T21" fmla="*/ 0 h 6"/>
                  <a:gd name="T22" fmla="*/ 2147483647 w 5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5" y="0"/>
                    </a:moveTo>
                    <a:lnTo>
                      <a:pt x="5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4" name="Freeform 1062"/>
              <p:cNvSpPr>
                <a:spLocks noChangeAspect="1"/>
              </p:cNvSpPr>
              <p:nvPr>
                <p:custDataLst>
                  <p:tags r:id="rId1144"/>
                </p:custDataLst>
              </p:nvPr>
            </p:nvSpPr>
            <p:spPr bwMode="gray">
              <a:xfrm>
                <a:off x="7338845" y="4125852"/>
                <a:ext cx="6074" cy="6307"/>
              </a:xfrm>
              <a:custGeom>
                <a:avLst/>
                <a:gdLst>
                  <a:gd name="T0" fmla="*/ 2147483647 w 5"/>
                  <a:gd name="T1" fmla="*/ 0 h 6"/>
                  <a:gd name="T2" fmla="*/ 2147483647 w 5"/>
                  <a:gd name="T3" fmla="*/ 2147483647 h 6"/>
                  <a:gd name="T4" fmla="*/ 2147483647 w 5"/>
                  <a:gd name="T5" fmla="*/ 2147483647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0 w 5"/>
                  <a:gd name="T13" fmla="*/ 2147483647 h 6"/>
                  <a:gd name="T14" fmla="*/ 0 w 5"/>
                  <a:gd name="T15" fmla="*/ 0 h 6"/>
                  <a:gd name="T16" fmla="*/ 0 w 5"/>
                  <a:gd name="T17" fmla="*/ 0 h 6"/>
                  <a:gd name="T18" fmla="*/ 2147483647 w 5"/>
                  <a:gd name="T19" fmla="*/ 0 h 6"/>
                  <a:gd name="T20" fmla="*/ 2147483647 w 5"/>
                  <a:gd name="T21" fmla="*/ 0 h 6"/>
                  <a:gd name="T22" fmla="*/ 2147483647 w 5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5" y="0"/>
                    </a:moveTo>
                    <a:lnTo>
                      <a:pt x="5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5" name="Freeform 1063"/>
              <p:cNvSpPr>
                <a:spLocks noChangeAspect="1"/>
              </p:cNvSpPr>
              <p:nvPr>
                <p:custDataLst>
                  <p:tags r:id="rId1145"/>
                </p:custDataLst>
              </p:nvPr>
            </p:nvSpPr>
            <p:spPr bwMode="gray">
              <a:xfrm>
                <a:off x="7153595" y="4039134"/>
                <a:ext cx="220177" cy="228626"/>
              </a:xfrm>
              <a:custGeom>
                <a:avLst/>
                <a:gdLst>
                  <a:gd name="T0" fmla="*/ 2147483647 w 170"/>
                  <a:gd name="T1" fmla="*/ 0 h 178"/>
                  <a:gd name="T2" fmla="*/ 2147483647 w 170"/>
                  <a:gd name="T3" fmla="*/ 0 h 178"/>
                  <a:gd name="T4" fmla="*/ 2147483647 w 170"/>
                  <a:gd name="T5" fmla="*/ 2147483647 h 178"/>
                  <a:gd name="T6" fmla="*/ 2147483647 w 170"/>
                  <a:gd name="T7" fmla="*/ 2147483647 h 178"/>
                  <a:gd name="T8" fmla="*/ 2147483647 w 170"/>
                  <a:gd name="T9" fmla="*/ 2147483647 h 178"/>
                  <a:gd name="T10" fmla="*/ 2147483647 w 170"/>
                  <a:gd name="T11" fmla="*/ 2147483647 h 178"/>
                  <a:gd name="T12" fmla="*/ 2147483647 w 170"/>
                  <a:gd name="T13" fmla="*/ 2147483647 h 178"/>
                  <a:gd name="T14" fmla="*/ 2147483647 w 170"/>
                  <a:gd name="T15" fmla="*/ 2147483647 h 178"/>
                  <a:gd name="T16" fmla="*/ 2147483647 w 170"/>
                  <a:gd name="T17" fmla="*/ 2147483647 h 178"/>
                  <a:gd name="T18" fmla="*/ 2147483647 w 170"/>
                  <a:gd name="T19" fmla="*/ 2147483647 h 178"/>
                  <a:gd name="T20" fmla="*/ 2147483647 w 170"/>
                  <a:gd name="T21" fmla="*/ 2147483647 h 178"/>
                  <a:gd name="T22" fmla="*/ 2147483647 w 170"/>
                  <a:gd name="T23" fmla="*/ 2147483647 h 178"/>
                  <a:gd name="T24" fmla="*/ 2147483647 w 170"/>
                  <a:gd name="T25" fmla="*/ 2147483647 h 178"/>
                  <a:gd name="T26" fmla="*/ 2147483647 w 170"/>
                  <a:gd name="T27" fmla="*/ 2147483647 h 178"/>
                  <a:gd name="T28" fmla="*/ 2147483647 w 170"/>
                  <a:gd name="T29" fmla="*/ 2147483647 h 178"/>
                  <a:gd name="T30" fmla="*/ 2147483647 w 170"/>
                  <a:gd name="T31" fmla="*/ 2147483647 h 178"/>
                  <a:gd name="T32" fmla="*/ 2147483647 w 170"/>
                  <a:gd name="T33" fmla="*/ 2147483647 h 178"/>
                  <a:gd name="T34" fmla="*/ 2147483647 w 170"/>
                  <a:gd name="T35" fmla="*/ 2147483647 h 178"/>
                  <a:gd name="T36" fmla="*/ 2147483647 w 170"/>
                  <a:gd name="T37" fmla="*/ 2147483647 h 178"/>
                  <a:gd name="T38" fmla="*/ 2147483647 w 170"/>
                  <a:gd name="T39" fmla="*/ 2147483647 h 178"/>
                  <a:gd name="T40" fmla="*/ 2147483647 w 170"/>
                  <a:gd name="T41" fmla="*/ 2147483647 h 178"/>
                  <a:gd name="T42" fmla="*/ 2147483647 w 170"/>
                  <a:gd name="T43" fmla="*/ 2147483647 h 178"/>
                  <a:gd name="T44" fmla="*/ 2147483647 w 170"/>
                  <a:gd name="T45" fmla="*/ 2147483647 h 178"/>
                  <a:gd name="T46" fmla="*/ 2147483647 w 170"/>
                  <a:gd name="T47" fmla="*/ 2147483647 h 178"/>
                  <a:gd name="T48" fmla="*/ 2147483647 w 170"/>
                  <a:gd name="T49" fmla="*/ 2147483647 h 178"/>
                  <a:gd name="T50" fmla="*/ 2147483647 w 170"/>
                  <a:gd name="T51" fmla="*/ 2147483647 h 178"/>
                  <a:gd name="T52" fmla="*/ 2147483647 w 170"/>
                  <a:gd name="T53" fmla="*/ 2147483647 h 178"/>
                  <a:gd name="T54" fmla="*/ 2147483647 w 170"/>
                  <a:gd name="T55" fmla="*/ 2147483647 h 178"/>
                  <a:gd name="T56" fmla="*/ 2147483647 w 170"/>
                  <a:gd name="T57" fmla="*/ 2147483647 h 178"/>
                  <a:gd name="T58" fmla="*/ 2147483647 w 170"/>
                  <a:gd name="T59" fmla="*/ 2147483647 h 178"/>
                  <a:gd name="T60" fmla="*/ 2147483647 w 170"/>
                  <a:gd name="T61" fmla="*/ 2147483647 h 178"/>
                  <a:gd name="T62" fmla="*/ 2147483647 w 170"/>
                  <a:gd name="T63" fmla="*/ 2147483647 h 178"/>
                  <a:gd name="T64" fmla="*/ 2147483647 w 170"/>
                  <a:gd name="T65" fmla="*/ 2147483647 h 178"/>
                  <a:gd name="T66" fmla="*/ 2147483647 w 170"/>
                  <a:gd name="T67" fmla="*/ 2147483647 h 178"/>
                  <a:gd name="T68" fmla="*/ 2147483647 w 170"/>
                  <a:gd name="T69" fmla="*/ 2147483647 h 178"/>
                  <a:gd name="T70" fmla="*/ 2147483647 w 170"/>
                  <a:gd name="T71" fmla="*/ 2147483647 h 178"/>
                  <a:gd name="T72" fmla="*/ 2147483647 w 170"/>
                  <a:gd name="T73" fmla="*/ 2147483647 h 178"/>
                  <a:gd name="T74" fmla="*/ 2147483647 w 170"/>
                  <a:gd name="T75" fmla="*/ 2147483647 h 178"/>
                  <a:gd name="T76" fmla="*/ 2147483647 w 170"/>
                  <a:gd name="T77" fmla="*/ 2147483647 h 178"/>
                  <a:gd name="T78" fmla="*/ 2147483647 w 170"/>
                  <a:gd name="T79" fmla="*/ 2147483647 h 178"/>
                  <a:gd name="T80" fmla="*/ 2147483647 w 170"/>
                  <a:gd name="T81" fmla="*/ 2147483647 h 178"/>
                  <a:gd name="T82" fmla="*/ 2147483647 w 170"/>
                  <a:gd name="T83" fmla="*/ 2147483647 h 178"/>
                  <a:gd name="T84" fmla="*/ 2147483647 w 170"/>
                  <a:gd name="T85" fmla="*/ 2147483647 h 178"/>
                  <a:gd name="T86" fmla="*/ 2147483647 w 170"/>
                  <a:gd name="T87" fmla="*/ 2147483647 h 178"/>
                  <a:gd name="T88" fmla="*/ 2147483647 w 170"/>
                  <a:gd name="T89" fmla="*/ 2147483647 h 178"/>
                  <a:gd name="T90" fmla="*/ 2147483647 w 170"/>
                  <a:gd name="T91" fmla="*/ 2147483647 h 178"/>
                  <a:gd name="T92" fmla="*/ 2147483647 w 170"/>
                  <a:gd name="T93" fmla="*/ 2147483647 h 178"/>
                  <a:gd name="T94" fmla="*/ 2147483647 w 170"/>
                  <a:gd name="T95" fmla="*/ 2147483647 h 178"/>
                  <a:gd name="T96" fmla="*/ 2147483647 w 170"/>
                  <a:gd name="T97" fmla="*/ 2147483647 h 178"/>
                  <a:gd name="T98" fmla="*/ 2147483647 w 170"/>
                  <a:gd name="T99" fmla="*/ 2147483647 h 178"/>
                  <a:gd name="T100" fmla="*/ 2147483647 w 170"/>
                  <a:gd name="T101" fmla="*/ 2147483647 h 178"/>
                  <a:gd name="T102" fmla="*/ 2147483647 w 170"/>
                  <a:gd name="T103" fmla="*/ 2147483647 h 178"/>
                  <a:gd name="T104" fmla="*/ 2147483647 w 170"/>
                  <a:gd name="T105" fmla="*/ 2147483647 h 178"/>
                  <a:gd name="T106" fmla="*/ 2147483647 w 170"/>
                  <a:gd name="T107" fmla="*/ 2147483647 h 178"/>
                  <a:gd name="T108" fmla="*/ 2147483647 w 170"/>
                  <a:gd name="T109" fmla="*/ 2147483647 h 178"/>
                  <a:gd name="T110" fmla="*/ 2147483647 w 170"/>
                  <a:gd name="T111" fmla="*/ 2147483647 h 178"/>
                  <a:gd name="T112" fmla="*/ 2147483647 w 170"/>
                  <a:gd name="T113" fmla="*/ 2147483647 h 178"/>
                  <a:gd name="T114" fmla="*/ 2147483647 w 170"/>
                  <a:gd name="T115" fmla="*/ 2147483647 h 178"/>
                  <a:gd name="T116" fmla="*/ 2147483647 w 170"/>
                  <a:gd name="T117" fmla="*/ 2147483647 h 178"/>
                  <a:gd name="T118" fmla="*/ 2147483647 w 170"/>
                  <a:gd name="T119" fmla="*/ 2147483647 h 178"/>
                  <a:gd name="T120" fmla="*/ 2147483647 w 170"/>
                  <a:gd name="T121" fmla="*/ 0 h 17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0"/>
                  <a:gd name="T184" fmla="*/ 0 h 178"/>
                  <a:gd name="T185" fmla="*/ 170 w 170"/>
                  <a:gd name="T186" fmla="*/ 178 h 17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0" h="178">
                    <a:moveTo>
                      <a:pt x="0" y="0"/>
                    </a:moveTo>
                    <a:lnTo>
                      <a:pt x="3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4" y="3"/>
                    </a:lnTo>
                    <a:lnTo>
                      <a:pt x="16" y="3"/>
                    </a:lnTo>
                    <a:lnTo>
                      <a:pt x="19" y="6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9" y="6"/>
                    </a:lnTo>
                    <a:lnTo>
                      <a:pt x="42" y="9"/>
                    </a:lnTo>
                    <a:lnTo>
                      <a:pt x="44" y="11"/>
                    </a:lnTo>
                    <a:lnTo>
                      <a:pt x="44" y="14"/>
                    </a:lnTo>
                    <a:lnTo>
                      <a:pt x="47" y="17"/>
                    </a:lnTo>
                    <a:lnTo>
                      <a:pt x="50" y="22"/>
                    </a:lnTo>
                    <a:lnTo>
                      <a:pt x="55" y="28"/>
                    </a:lnTo>
                    <a:lnTo>
                      <a:pt x="67" y="34"/>
                    </a:lnTo>
                    <a:lnTo>
                      <a:pt x="75" y="42"/>
                    </a:lnTo>
                    <a:lnTo>
                      <a:pt x="75" y="45"/>
                    </a:lnTo>
                    <a:lnTo>
                      <a:pt x="78" y="45"/>
                    </a:lnTo>
                    <a:lnTo>
                      <a:pt x="80" y="48"/>
                    </a:lnTo>
                    <a:lnTo>
                      <a:pt x="86" y="53"/>
                    </a:lnTo>
                    <a:lnTo>
                      <a:pt x="89" y="53"/>
                    </a:lnTo>
                    <a:lnTo>
                      <a:pt x="89" y="50"/>
                    </a:lnTo>
                    <a:lnTo>
                      <a:pt x="92" y="50"/>
                    </a:lnTo>
                    <a:lnTo>
                      <a:pt x="94" y="53"/>
                    </a:lnTo>
                    <a:lnTo>
                      <a:pt x="97" y="59"/>
                    </a:lnTo>
                    <a:lnTo>
                      <a:pt x="100" y="61"/>
                    </a:lnTo>
                    <a:lnTo>
                      <a:pt x="103" y="61"/>
                    </a:lnTo>
                    <a:lnTo>
                      <a:pt x="106" y="64"/>
                    </a:lnTo>
                    <a:lnTo>
                      <a:pt x="108" y="67"/>
                    </a:lnTo>
                    <a:lnTo>
                      <a:pt x="111" y="67"/>
                    </a:lnTo>
                    <a:lnTo>
                      <a:pt x="111" y="64"/>
                    </a:lnTo>
                    <a:lnTo>
                      <a:pt x="111" y="67"/>
                    </a:lnTo>
                    <a:lnTo>
                      <a:pt x="114" y="67"/>
                    </a:lnTo>
                    <a:lnTo>
                      <a:pt x="114" y="70"/>
                    </a:lnTo>
                    <a:lnTo>
                      <a:pt x="119" y="70"/>
                    </a:lnTo>
                    <a:lnTo>
                      <a:pt x="122" y="70"/>
                    </a:lnTo>
                    <a:lnTo>
                      <a:pt x="122" y="73"/>
                    </a:lnTo>
                    <a:lnTo>
                      <a:pt x="122" y="75"/>
                    </a:lnTo>
                    <a:lnTo>
                      <a:pt x="122" y="78"/>
                    </a:lnTo>
                    <a:lnTo>
                      <a:pt x="119" y="81"/>
                    </a:lnTo>
                    <a:lnTo>
                      <a:pt x="119" y="84"/>
                    </a:lnTo>
                    <a:lnTo>
                      <a:pt x="128" y="78"/>
                    </a:lnTo>
                    <a:lnTo>
                      <a:pt x="131" y="78"/>
                    </a:lnTo>
                    <a:lnTo>
                      <a:pt x="131" y="81"/>
                    </a:lnTo>
                    <a:lnTo>
                      <a:pt x="133" y="84"/>
                    </a:lnTo>
                    <a:lnTo>
                      <a:pt x="133" y="86"/>
                    </a:lnTo>
                    <a:lnTo>
                      <a:pt x="131" y="89"/>
                    </a:lnTo>
                    <a:lnTo>
                      <a:pt x="133" y="89"/>
                    </a:lnTo>
                    <a:lnTo>
                      <a:pt x="131" y="92"/>
                    </a:lnTo>
                    <a:lnTo>
                      <a:pt x="131" y="95"/>
                    </a:lnTo>
                    <a:lnTo>
                      <a:pt x="128" y="98"/>
                    </a:lnTo>
                    <a:lnTo>
                      <a:pt x="131" y="98"/>
                    </a:lnTo>
                    <a:lnTo>
                      <a:pt x="136" y="103"/>
                    </a:lnTo>
                    <a:lnTo>
                      <a:pt x="136" y="100"/>
                    </a:lnTo>
                    <a:lnTo>
                      <a:pt x="139" y="103"/>
                    </a:lnTo>
                    <a:lnTo>
                      <a:pt x="142" y="103"/>
                    </a:lnTo>
                    <a:lnTo>
                      <a:pt x="147" y="114"/>
                    </a:lnTo>
                    <a:lnTo>
                      <a:pt x="145" y="114"/>
                    </a:lnTo>
                    <a:lnTo>
                      <a:pt x="147" y="114"/>
                    </a:lnTo>
                    <a:lnTo>
                      <a:pt x="150" y="117"/>
                    </a:lnTo>
                    <a:lnTo>
                      <a:pt x="153" y="120"/>
                    </a:lnTo>
                    <a:lnTo>
                      <a:pt x="150" y="123"/>
                    </a:lnTo>
                    <a:lnTo>
                      <a:pt x="158" y="123"/>
                    </a:lnTo>
                    <a:lnTo>
                      <a:pt x="164" y="123"/>
                    </a:lnTo>
                    <a:lnTo>
                      <a:pt x="167" y="131"/>
                    </a:lnTo>
                    <a:lnTo>
                      <a:pt x="170" y="131"/>
                    </a:lnTo>
                    <a:lnTo>
                      <a:pt x="170" y="134"/>
                    </a:lnTo>
                    <a:lnTo>
                      <a:pt x="167" y="145"/>
                    </a:lnTo>
                    <a:lnTo>
                      <a:pt x="167" y="148"/>
                    </a:lnTo>
                    <a:lnTo>
                      <a:pt x="164" y="176"/>
                    </a:lnTo>
                    <a:lnTo>
                      <a:pt x="158" y="173"/>
                    </a:lnTo>
                    <a:lnTo>
                      <a:pt x="156" y="176"/>
                    </a:lnTo>
                    <a:lnTo>
                      <a:pt x="150" y="173"/>
                    </a:lnTo>
                    <a:lnTo>
                      <a:pt x="147" y="173"/>
                    </a:lnTo>
                    <a:lnTo>
                      <a:pt x="150" y="176"/>
                    </a:lnTo>
                    <a:lnTo>
                      <a:pt x="147" y="178"/>
                    </a:lnTo>
                    <a:lnTo>
                      <a:pt x="133" y="164"/>
                    </a:lnTo>
                    <a:lnTo>
                      <a:pt x="131" y="162"/>
                    </a:lnTo>
                    <a:lnTo>
                      <a:pt x="117" y="151"/>
                    </a:lnTo>
                    <a:lnTo>
                      <a:pt x="114" y="151"/>
                    </a:lnTo>
                    <a:lnTo>
                      <a:pt x="111" y="148"/>
                    </a:lnTo>
                    <a:lnTo>
                      <a:pt x="111" y="145"/>
                    </a:lnTo>
                    <a:lnTo>
                      <a:pt x="108" y="142"/>
                    </a:lnTo>
                    <a:lnTo>
                      <a:pt x="106" y="139"/>
                    </a:lnTo>
                    <a:lnTo>
                      <a:pt x="89" y="120"/>
                    </a:lnTo>
                    <a:lnTo>
                      <a:pt x="89" y="114"/>
                    </a:lnTo>
                    <a:lnTo>
                      <a:pt x="83" y="103"/>
                    </a:lnTo>
                    <a:lnTo>
                      <a:pt x="80" y="100"/>
                    </a:lnTo>
                    <a:lnTo>
                      <a:pt x="75" y="92"/>
                    </a:lnTo>
                    <a:lnTo>
                      <a:pt x="72" y="86"/>
                    </a:lnTo>
                    <a:lnTo>
                      <a:pt x="67" y="84"/>
                    </a:lnTo>
                    <a:lnTo>
                      <a:pt x="64" y="81"/>
                    </a:lnTo>
                    <a:lnTo>
                      <a:pt x="55" y="64"/>
                    </a:lnTo>
                    <a:lnTo>
                      <a:pt x="55" y="61"/>
                    </a:lnTo>
                    <a:lnTo>
                      <a:pt x="53" y="56"/>
                    </a:lnTo>
                    <a:lnTo>
                      <a:pt x="44" y="50"/>
                    </a:lnTo>
                    <a:lnTo>
                      <a:pt x="39" y="50"/>
                    </a:lnTo>
                    <a:lnTo>
                      <a:pt x="39" y="42"/>
                    </a:lnTo>
                    <a:lnTo>
                      <a:pt x="36" y="42"/>
                    </a:lnTo>
                    <a:lnTo>
                      <a:pt x="30" y="34"/>
                    </a:lnTo>
                    <a:lnTo>
                      <a:pt x="25" y="28"/>
                    </a:lnTo>
                    <a:lnTo>
                      <a:pt x="22" y="28"/>
                    </a:lnTo>
                    <a:lnTo>
                      <a:pt x="3" y="6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6" name="Freeform 1064"/>
              <p:cNvSpPr>
                <a:spLocks noChangeAspect="1"/>
              </p:cNvSpPr>
              <p:nvPr>
                <p:custDataLst>
                  <p:tags r:id="rId1146"/>
                </p:custDataLst>
              </p:nvPr>
            </p:nvSpPr>
            <p:spPr bwMode="gray">
              <a:xfrm>
                <a:off x="7164225" y="4092742"/>
                <a:ext cx="13665" cy="11037"/>
              </a:xfrm>
              <a:custGeom>
                <a:avLst/>
                <a:gdLst>
                  <a:gd name="T0" fmla="*/ 0 w 11"/>
                  <a:gd name="T1" fmla="*/ 0 h 8"/>
                  <a:gd name="T2" fmla="*/ 0 w 11"/>
                  <a:gd name="T3" fmla="*/ 0 h 8"/>
                  <a:gd name="T4" fmla="*/ 2147483647 w 11"/>
                  <a:gd name="T5" fmla="*/ 0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0 w 11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8"/>
                  <a:gd name="T29" fmla="*/ 11 w 11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8" y="6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7" name="Freeform 1065"/>
              <p:cNvSpPr>
                <a:spLocks noChangeAspect="1"/>
              </p:cNvSpPr>
              <p:nvPr>
                <p:custDataLst>
                  <p:tags r:id="rId1147"/>
                </p:custDataLst>
              </p:nvPr>
            </p:nvSpPr>
            <p:spPr bwMode="gray">
              <a:xfrm>
                <a:off x="7164225" y="4092742"/>
                <a:ext cx="13665" cy="11037"/>
              </a:xfrm>
              <a:custGeom>
                <a:avLst/>
                <a:gdLst>
                  <a:gd name="T0" fmla="*/ 0 w 11"/>
                  <a:gd name="T1" fmla="*/ 0 h 8"/>
                  <a:gd name="T2" fmla="*/ 0 w 11"/>
                  <a:gd name="T3" fmla="*/ 0 h 8"/>
                  <a:gd name="T4" fmla="*/ 2147483647 w 11"/>
                  <a:gd name="T5" fmla="*/ 0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0 w 11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8"/>
                  <a:gd name="T29" fmla="*/ 11 w 11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8" y="6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8" name="Freeform 1066"/>
              <p:cNvSpPr>
                <a:spLocks noChangeAspect="1"/>
              </p:cNvSpPr>
              <p:nvPr>
                <p:custDataLst>
                  <p:tags r:id="rId1148"/>
                </p:custDataLst>
              </p:nvPr>
            </p:nvSpPr>
            <p:spPr bwMode="gray">
              <a:xfrm>
                <a:off x="7191557" y="4116392"/>
                <a:ext cx="18222" cy="22075"/>
              </a:xfrm>
              <a:custGeom>
                <a:avLst/>
                <a:gdLst>
                  <a:gd name="T0" fmla="*/ 0 w 14"/>
                  <a:gd name="T1" fmla="*/ 2147483647 h 17"/>
                  <a:gd name="T2" fmla="*/ 0 w 14"/>
                  <a:gd name="T3" fmla="*/ 2147483647 h 17"/>
                  <a:gd name="T4" fmla="*/ 2147483647 w 14"/>
                  <a:gd name="T5" fmla="*/ 0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2147483647 w 14"/>
                  <a:gd name="T11" fmla="*/ 2147483647 h 17"/>
                  <a:gd name="T12" fmla="*/ 2147483647 w 14"/>
                  <a:gd name="T13" fmla="*/ 2147483647 h 17"/>
                  <a:gd name="T14" fmla="*/ 0 w 14"/>
                  <a:gd name="T15" fmla="*/ 2147483647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17"/>
                  <a:gd name="T26" fmla="*/ 14 w 14"/>
                  <a:gd name="T27" fmla="*/ 17 h 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17">
                    <a:moveTo>
                      <a:pt x="0" y="3"/>
                    </a:moveTo>
                    <a:lnTo>
                      <a:pt x="0" y="3"/>
                    </a:lnTo>
                    <a:lnTo>
                      <a:pt x="6" y="0"/>
                    </a:lnTo>
                    <a:lnTo>
                      <a:pt x="12" y="9"/>
                    </a:lnTo>
                    <a:lnTo>
                      <a:pt x="14" y="14"/>
                    </a:lnTo>
                    <a:lnTo>
                      <a:pt x="1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9" name="Freeform 1067"/>
              <p:cNvSpPr>
                <a:spLocks noChangeAspect="1"/>
              </p:cNvSpPr>
              <p:nvPr>
                <p:custDataLst>
                  <p:tags r:id="rId1149"/>
                </p:custDataLst>
              </p:nvPr>
            </p:nvSpPr>
            <p:spPr bwMode="gray">
              <a:xfrm>
                <a:off x="7191557" y="4116392"/>
                <a:ext cx="18222" cy="22075"/>
              </a:xfrm>
              <a:custGeom>
                <a:avLst/>
                <a:gdLst>
                  <a:gd name="T0" fmla="*/ 0 w 14"/>
                  <a:gd name="T1" fmla="*/ 2147483647 h 17"/>
                  <a:gd name="T2" fmla="*/ 0 w 14"/>
                  <a:gd name="T3" fmla="*/ 2147483647 h 17"/>
                  <a:gd name="T4" fmla="*/ 2147483647 w 14"/>
                  <a:gd name="T5" fmla="*/ 0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2147483647 w 14"/>
                  <a:gd name="T11" fmla="*/ 2147483647 h 17"/>
                  <a:gd name="T12" fmla="*/ 2147483647 w 14"/>
                  <a:gd name="T13" fmla="*/ 2147483647 h 17"/>
                  <a:gd name="T14" fmla="*/ 0 w 14"/>
                  <a:gd name="T15" fmla="*/ 2147483647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17"/>
                  <a:gd name="T26" fmla="*/ 14 w 14"/>
                  <a:gd name="T27" fmla="*/ 17 h 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17">
                    <a:moveTo>
                      <a:pt x="0" y="3"/>
                    </a:moveTo>
                    <a:lnTo>
                      <a:pt x="0" y="3"/>
                    </a:lnTo>
                    <a:lnTo>
                      <a:pt x="6" y="0"/>
                    </a:lnTo>
                    <a:lnTo>
                      <a:pt x="12" y="9"/>
                    </a:lnTo>
                    <a:lnTo>
                      <a:pt x="14" y="14"/>
                    </a:lnTo>
                    <a:lnTo>
                      <a:pt x="12" y="17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0" name="Freeform 1068"/>
              <p:cNvSpPr>
                <a:spLocks noChangeAspect="1"/>
              </p:cNvSpPr>
              <p:nvPr>
                <p:custDataLst>
                  <p:tags r:id="rId1150"/>
                </p:custDataLst>
              </p:nvPr>
            </p:nvSpPr>
            <p:spPr bwMode="gray">
              <a:xfrm>
                <a:off x="7279627" y="4106935"/>
                <a:ext cx="7592" cy="7884"/>
              </a:xfrm>
              <a:custGeom>
                <a:avLst/>
                <a:gdLst>
                  <a:gd name="T0" fmla="*/ 2147483647 w 6"/>
                  <a:gd name="T1" fmla="*/ 2147483647 h 6"/>
                  <a:gd name="T2" fmla="*/ 2147483647 w 6"/>
                  <a:gd name="T3" fmla="*/ 2147483647 h 6"/>
                  <a:gd name="T4" fmla="*/ 2147483647 w 6"/>
                  <a:gd name="T5" fmla="*/ 2147483647 h 6"/>
                  <a:gd name="T6" fmla="*/ 0 w 6"/>
                  <a:gd name="T7" fmla="*/ 2147483647 h 6"/>
                  <a:gd name="T8" fmla="*/ 0 w 6"/>
                  <a:gd name="T9" fmla="*/ 0 h 6"/>
                  <a:gd name="T10" fmla="*/ 2147483647 w 6"/>
                  <a:gd name="T11" fmla="*/ 0 h 6"/>
                  <a:gd name="T12" fmla="*/ 2147483647 w 6"/>
                  <a:gd name="T13" fmla="*/ 0 h 6"/>
                  <a:gd name="T14" fmla="*/ 2147483647 w 6"/>
                  <a:gd name="T15" fmla="*/ 0 h 6"/>
                  <a:gd name="T16" fmla="*/ 2147483647 w 6"/>
                  <a:gd name="T17" fmla="*/ 2147483647 h 6"/>
                  <a:gd name="T18" fmla="*/ 2147483647 w 6"/>
                  <a:gd name="T19" fmla="*/ 2147483647 h 6"/>
                  <a:gd name="T20" fmla="*/ 2147483647 w 6"/>
                  <a:gd name="T21" fmla="*/ 2147483647 h 6"/>
                  <a:gd name="T22" fmla="*/ 2147483647 w 6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6"/>
                  <a:gd name="T38" fmla="*/ 6 w 6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6">
                    <a:moveTo>
                      <a:pt x="6" y="6"/>
                    </a:move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1" name="Freeform 1069"/>
              <p:cNvSpPr>
                <a:spLocks noChangeAspect="1"/>
              </p:cNvSpPr>
              <p:nvPr>
                <p:custDataLst>
                  <p:tags r:id="rId1151"/>
                </p:custDataLst>
              </p:nvPr>
            </p:nvSpPr>
            <p:spPr bwMode="gray">
              <a:xfrm>
                <a:off x="7279627" y="4106935"/>
                <a:ext cx="7592" cy="7884"/>
              </a:xfrm>
              <a:custGeom>
                <a:avLst/>
                <a:gdLst>
                  <a:gd name="T0" fmla="*/ 2147483647 w 6"/>
                  <a:gd name="T1" fmla="*/ 2147483647 h 6"/>
                  <a:gd name="T2" fmla="*/ 2147483647 w 6"/>
                  <a:gd name="T3" fmla="*/ 2147483647 h 6"/>
                  <a:gd name="T4" fmla="*/ 2147483647 w 6"/>
                  <a:gd name="T5" fmla="*/ 2147483647 h 6"/>
                  <a:gd name="T6" fmla="*/ 0 w 6"/>
                  <a:gd name="T7" fmla="*/ 2147483647 h 6"/>
                  <a:gd name="T8" fmla="*/ 0 w 6"/>
                  <a:gd name="T9" fmla="*/ 0 h 6"/>
                  <a:gd name="T10" fmla="*/ 2147483647 w 6"/>
                  <a:gd name="T11" fmla="*/ 0 h 6"/>
                  <a:gd name="T12" fmla="*/ 2147483647 w 6"/>
                  <a:gd name="T13" fmla="*/ 0 h 6"/>
                  <a:gd name="T14" fmla="*/ 2147483647 w 6"/>
                  <a:gd name="T15" fmla="*/ 0 h 6"/>
                  <a:gd name="T16" fmla="*/ 2147483647 w 6"/>
                  <a:gd name="T17" fmla="*/ 2147483647 h 6"/>
                  <a:gd name="T18" fmla="*/ 2147483647 w 6"/>
                  <a:gd name="T19" fmla="*/ 2147483647 h 6"/>
                  <a:gd name="T20" fmla="*/ 2147483647 w 6"/>
                  <a:gd name="T21" fmla="*/ 2147483647 h 6"/>
                  <a:gd name="T22" fmla="*/ 2147483647 w 6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6"/>
                  <a:gd name="T38" fmla="*/ 6 w 6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6">
                    <a:moveTo>
                      <a:pt x="6" y="6"/>
                    </a:move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6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2" name="Freeform 1070"/>
              <p:cNvSpPr>
                <a:spLocks noChangeAspect="1"/>
              </p:cNvSpPr>
              <p:nvPr>
                <p:custDataLst>
                  <p:tags r:id="rId1152"/>
                </p:custDataLst>
              </p:nvPr>
            </p:nvSpPr>
            <p:spPr bwMode="gray">
              <a:xfrm>
                <a:off x="7293293" y="4116392"/>
                <a:ext cx="9110" cy="473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2147483647 h 3"/>
                  <a:gd name="T12" fmla="*/ 2147483647 w 6"/>
                  <a:gd name="T13" fmla="*/ 2147483647 h 3"/>
                  <a:gd name="T14" fmla="*/ 2147483647 w 6"/>
                  <a:gd name="T15" fmla="*/ 2147483647 h 3"/>
                  <a:gd name="T16" fmla="*/ 0 w 6"/>
                  <a:gd name="T17" fmla="*/ 0 h 3"/>
                  <a:gd name="T18" fmla="*/ 0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3" name="Freeform 1071"/>
              <p:cNvSpPr>
                <a:spLocks noChangeAspect="1"/>
              </p:cNvSpPr>
              <p:nvPr>
                <p:custDataLst>
                  <p:tags r:id="rId1153"/>
                </p:custDataLst>
              </p:nvPr>
            </p:nvSpPr>
            <p:spPr bwMode="gray">
              <a:xfrm>
                <a:off x="7293293" y="4116392"/>
                <a:ext cx="9110" cy="473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2147483647 h 3"/>
                  <a:gd name="T12" fmla="*/ 2147483647 w 6"/>
                  <a:gd name="T13" fmla="*/ 2147483647 h 3"/>
                  <a:gd name="T14" fmla="*/ 2147483647 w 6"/>
                  <a:gd name="T15" fmla="*/ 2147483647 h 3"/>
                  <a:gd name="T16" fmla="*/ 0 w 6"/>
                  <a:gd name="T17" fmla="*/ 0 h 3"/>
                  <a:gd name="T18" fmla="*/ 0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4" name="Freeform 1072"/>
              <p:cNvSpPr>
                <a:spLocks noChangeAspect="1"/>
              </p:cNvSpPr>
              <p:nvPr>
                <p:custDataLst>
                  <p:tags r:id="rId1154"/>
                </p:custDataLst>
              </p:nvPr>
            </p:nvSpPr>
            <p:spPr bwMode="gray">
              <a:xfrm>
                <a:off x="7224963" y="4166851"/>
                <a:ext cx="12148" cy="18921"/>
              </a:xfrm>
              <a:custGeom>
                <a:avLst/>
                <a:gdLst>
                  <a:gd name="T0" fmla="*/ 0 w 9"/>
                  <a:gd name="T1" fmla="*/ 0 h 14"/>
                  <a:gd name="T2" fmla="*/ 2147483647 w 9"/>
                  <a:gd name="T3" fmla="*/ 0 h 14"/>
                  <a:gd name="T4" fmla="*/ 2147483647 w 9"/>
                  <a:gd name="T5" fmla="*/ 0 h 14"/>
                  <a:gd name="T6" fmla="*/ 2147483647 w 9"/>
                  <a:gd name="T7" fmla="*/ 2147483647 h 14"/>
                  <a:gd name="T8" fmla="*/ 2147483647 w 9"/>
                  <a:gd name="T9" fmla="*/ 2147483647 h 14"/>
                  <a:gd name="T10" fmla="*/ 2147483647 w 9"/>
                  <a:gd name="T11" fmla="*/ 2147483647 h 14"/>
                  <a:gd name="T12" fmla="*/ 2147483647 w 9"/>
                  <a:gd name="T13" fmla="*/ 2147483647 h 14"/>
                  <a:gd name="T14" fmla="*/ 2147483647 w 9"/>
                  <a:gd name="T15" fmla="*/ 2147483647 h 14"/>
                  <a:gd name="T16" fmla="*/ 2147483647 w 9"/>
                  <a:gd name="T17" fmla="*/ 2147483647 h 14"/>
                  <a:gd name="T18" fmla="*/ 0 w 9"/>
                  <a:gd name="T19" fmla="*/ 2147483647 h 14"/>
                  <a:gd name="T20" fmla="*/ 0 w 9"/>
                  <a:gd name="T21" fmla="*/ 2147483647 h 14"/>
                  <a:gd name="T22" fmla="*/ 0 w 9"/>
                  <a:gd name="T23" fmla="*/ 0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4"/>
                  <a:gd name="T38" fmla="*/ 9 w 9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4">
                    <a:moveTo>
                      <a:pt x="0" y="0"/>
                    </a:moveTo>
                    <a:lnTo>
                      <a:pt x="3" y="0"/>
                    </a:lnTo>
                    <a:lnTo>
                      <a:pt x="6" y="9"/>
                    </a:lnTo>
                    <a:lnTo>
                      <a:pt x="9" y="12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3" y="12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5" name="Freeform 1073"/>
              <p:cNvSpPr>
                <a:spLocks noChangeAspect="1"/>
              </p:cNvSpPr>
              <p:nvPr>
                <p:custDataLst>
                  <p:tags r:id="rId1155"/>
                </p:custDataLst>
              </p:nvPr>
            </p:nvSpPr>
            <p:spPr bwMode="gray">
              <a:xfrm>
                <a:off x="7224963" y="4166851"/>
                <a:ext cx="12148" cy="18921"/>
              </a:xfrm>
              <a:custGeom>
                <a:avLst/>
                <a:gdLst>
                  <a:gd name="T0" fmla="*/ 0 w 9"/>
                  <a:gd name="T1" fmla="*/ 0 h 14"/>
                  <a:gd name="T2" fmla="*/ 2147483647 w 9"/>
                  <a:gd name="T3" fmla="*/ 0 h 14"/>
                  <a:gd name="T4" fmla="*/ 2147483647 w 9"/>
                  <a:gd name="T5" fmla="*/ 0 h 14"/>
                  <a:gd name="T6" fmla="*/ 2147483647 w 9"/>
                  <a:gd name="T7" fmla="*/ 2147483647 h 14"/>
                  <a:gd name="T8" fmla="*/ 2147483647 w 9"/>
                  <a:gd name="T9" fmla="*/ 2147483647 h 14"/>
                  <a:gd name="T10" fmla="*/ 2147483647 w 9"/>
                  <a:gd name="T11" fmla="*/ 2147483647 h 14"/>
                  <a:gd name="T12" fmla="*/ 2147483647 w 9"/>
                  <a:gd name="T13" fmla="*/ 2147483647 h 14"/>
                  <a:gd name="T14" fmla="*/ 2147483647 w 9"/>
                  <a:gd name="T15" fmla="*/ 2147483647 h 14"/>
                  <a:gd name="T16" fmla="*/ 2147483647 w 9"/>
                  <a:gd name="T17" fmla="*/ 2147483647 h 14"/>
                  <a:gd name="T18" fmla="*/ 0 w 9"/>
                  <a:gd name="T19" fmla="*/ 2147483647 h 14"/>
                  <a:gd name="T20" fmla="*/ 0 w 9"/>
                  <a:gd name="T21" fmla="*/ 2147483647 h 14"/>
                  <a:gd name="T22" fmla="*/ 0 w 9"/>
                  <a:gd name="T23" fmla="*/ 0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4"/>
                  <a:gd name="T38" fmla="*/ 9 w 9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4">
                    <a:moveTo>
                      <a:pt x="0" y="0"/>
                    </a:moveTo>
                    <a:lnTo>
                      <a:pt x="3" y="0"/>
                    </a:lnTo>
                    <a:lnTo>
                      <a:pt x="6" y="9"/>
                    </a:lnTo>
                    <a:lnTo>
                      <a:pt x="9" y="12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3" y="12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6" name="Freeform 1074"/>
              <p:cNvSpPr>
                <a:spLocks noChangeAspect="1"/>
              </p:cNvSpPr>
              <p:nvPr>
                <p:custDataLst>
                  <p:tags r:id="rId1156"/>
                </p:custDataLst>
              </p:nvPr>
            </p:nvSpPr>
            <p:spPr bwMode="gray">
              <a:xfrm>
                <a:off x="7338845" y="4157389"/>
                <a:ext cx="6074" cy="3154"/>
              </a:xfrm>
              <a:custGeom>
                <a:avLst/>
                <a:gdLst>
                  <a:gd name="T0" fmla="*/ 0 w 5"/>
                  <a:gd name="T1" fmla="*/ 2147483647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2147483647 w 5"/>
                  <a:gd name="T15" fmla="*/ 2147483647 h 3"/>
                  <a:gd name="T16" fmla="*/ 0 w 5"/>
                  <a:gd name="T17" fmla="*/ 2147483647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7" name="Freeform 1075"/>
              <p:cNvSpPr>
                <a:spLocks noChangeAspect="1"/>
              </p:cNvSpPr>
              <p:nvPr>
                <p:custDataLst>
                  <p:tags r:id="rId1157"/>
                </p:custDataLst>
              </p:nvPr>
            </p:nvSpPr>
            <p:spPr bwMode="gray">
              <a:xfrm>
                <a:off x="7338845" y="4157389"/>
                <a:ext cx="6074" cy="3154"/>
              </a:xfrm>
              <a:custGeom>
                <a:avLst/>
                <a:gdLst>
                  <a:gd name="T0" fmla="*/ 0 w 5"/>
                  <a:gd name="T1" fmla="*/ 2147483647 h 3"/>
                  <a:gd name="T2" fmla="*/ 0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2147483647 w 5"/>
                  <a:gd name="T11" fmla="*/ 2147483647 h 3"/>
                  <a:gd name="T12" fmla="*/ 2147483647 w 5"/>
                  <a:gd name="T13" fmla="*/ 2147483647 h 3"/>
                  <a:gd name="T14" fmla="*/ 2147483647 w 5"/>
                  <a:gd name="T15" fmla="*/ 2147483647 h 3"/>
                  <a:gd name="T16" fmla="*/ 0 w 5"/>
                  <a:gd name="T17" fmla="*/ 2147483647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8" name="Freeform 1076"/>
              <p:cNvSpPr>
                <a:spLocks noChangeAspect="1"/>
              </p:cNvSpPr>
              <p:nvPr>
                <p:custDataLst>
                  <p:tags r:id="rId1158"/>
                </p:custDataLst>
              </p:nvPr>
            </p:nvSpPr>
            <p:spPr bwMode="gray">
              <a:xfrm>
                <a:off x="7355550" y="4177886"/>
                <a:ext cx="33406" cy="33111"/>
              </a:xfrm>
              <a:custGeom>
                <a:avLst/>
                <a:gdLst>
                  <a:gd name="T0" fmla="*/ 0 w 25"/>
                  <a:gd name="T1" fmla="*/ 2147483647 h 25"/>
                  <a:gd name="T2" fmla="*/ 2147483647 w 25"/>
                  <a:gd name="T3" fmla="*/ 2147483647 h 25"/>
                  <a:gd name="T4" fmla="*/ 2147483647 w 25"/>
                  <a:gd name="T5" fmla="*/ 0 h 25"/>
                  <a:gd name="T6" fmla="*/ 2147483647 w 25"/>
                  <a:gd name="T7" fmla="*/ 2147483647 h 25"/>
                  <a:gd name="T8" fmla="*/ 2147483647 w 25"/>
                  <a:gd name="T9" fmla="*/ 2147483647 h 25"/>
                  <a:gd name="T10" fmla="*/ 2147483647 w 25"/>
                  <a:gd name="T11" fmla="*/ 2147483647 h 25"/>
                  <a:gd name="T12" fmla="*/ 2147483647 w 25"/>
                  <a:gd name="T13" fmla="*/ 2147483647 h 25"/>
                  <a:gd name="T14" fmla="*/ 2147483647 w 25"/>
                  <a:gd name="T15" fmla="*/ 2147483647 h 25"/>
                  <a:gd name="T16" fmla="*/ 2147483647 w 25"/>
                  <a:gd name="T17" fmla="*/ 0 h 25"/>
                  <a:gd name="T18" fmla="*/ 2147483647 w 25"/>
                  <a:gd name="T19" fmla="*/ 0 h 25"/>
                  <a:gd name="T20" fmla="*/ 2147483647 w 25"/>
                  <a:gd name="T21" fmla="*/ 2147483647 h 25"/>
                  <a:gd name="T22" fmla="*/ 2147483647 w 25"/>
                  <a:gd name="T23" fmla="*/ 2147483647 h 25"/>
                  <a:gd name="T24" fmla="*/ 2147483647 w 25"/>
                  <a:gd name="T25" fmla="*/ 2147483647 h 25"/>
                  <a:gd name="T26" fmla="*/ 2147483647 w 25"/>
                  <a:gd name="T27" fmla="*/ 2147483647 h 25"/>
                  <a:gd name="T28" fmla="*/ 2147483647 w 25"/>
                  <a:gd name="T29" fmla="*/ 2147483647 h 25"/>
                  <a:gd name="T30" fmla="*/ 2147483647 w 25"/>
                  <a:gd name="T31" fmla="*/ 2147483647 h 25"/>
                  <a:gd name="T32" fmla="*/ 2147483647 w 25"/>
                  <a:gd name="T33" fmla="*/ 2147483647 h 25"/>
                  <a:gd name="T34" fmla="*/ 2147483647 w 25"/>
                  <a:gd name="T35" fmla="*/ 2147483647 h 25"/>
                  <a:gd name="T36" fmla="*/ 2147483647 w 25"/>
                  <a:gd name="T37" fmla="*/ 2147483647 h 25"/>
                  <a:gd name="T38" fmla="*/ 2147483647 w 25"/>
                  <a:gd name="T39" fmla="*/ 2147483647 h 25"/>
                  <a:gd name="T40" fmla="*/ 2147483647 w 25"/>
                  <a:gd name="T41" fmla="*/ 2147483647 h 25"/>
                  <a:gd name="T42" fmla="*/ 2147483647 w 25"/>
                  <a:gd name="T43" fmla="*/ 2147483647 h 25"/>
                  <a:gd name="T44" fmla="*/ 2147483647 w 25"/>
                  <a:gd name="T45" fmla="*/ 2147483647 h 25"/>
                  <a:gd name="T46" fmla="*/ 2147483647 w 25"/>
                  <a:gd name="T47" fmla="*/ 2147483647 h 25"/>
                  <a:gd name="T48" fmla="*/ 0 w 25"/>
                  <a:gd name="T49" fmla="*/ 2147483647 h 25"/>
                  <a:gd name="T50" fmla="*/ 0 w 25"/>
                  <a:gd name="T51" fmla="*/ 2147483647 h 2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5"/>
                  <a:gd name="T79" fmla="*/ 0 h 25"/>
                  <a:gd name="T80" fmla="*/ 25 w 25"/>
                  <a:gd name="T81" fmla="*/ 25 h 2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5" h="25">
                    <a:moveTo>
                      <a:pt x="0" y="5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11" y="0"/>
                    </a:lnTo>
                    <a:lnTo>
                      <a:pt x="16" y="14"/>
                    </a:lnTo>
                    <a:lnTo>
                      <a:pt x="19" y="16"/>
                    </a:lnTo>
                    <a:lnTo>
                      <a:pt x="25" y="16"/>
                    </a:lnTo>
                    <a:lnTo>
                      <a:pt x="22" y="22"/>
                    </a:lnTo>
                    <a:lnTo>
                      <a:pt x="22" y="25"/>
                    </a:lnTo>
                    <a:lnTo>
                      <a:pt x="19" y="22"/>
                    </a:lnTo>
                    <a:lnTo>
                      <a:pt x="14" y="22"/>
                    </a:lnTo>
                    <a:lnTo>
                      <a:pt x="14" y="19"/>
                    </a:lnTo>
                    <a:lnTo>
                      <a:pt x="11" y="16"/>
                    </a:lnTo>
                    <a:lnTo>
                      <a:pt x="8" y="11"/>
                    </a:lnTo>
                    <a:lnTo>
                      <a:pt x="5" y="8"/>
                    </a:lnTo>
                    <a:lnTo>
                      <a:pt x="0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9" name="Freeform 1077"/>
              <p:cNvSpPr>
                <a:spLocks noChangeAspect="1"/>
              </p:cNvSpPr>
              <p:nvPr>
                <p:custDataLst>
                  <p:tags r:id="rId1159"/>
                </p:custDataLst>
              </p:nvPr>
            </p:nvSpPr>
            <p:spPr bwMode="gray">
              <a:xfrm>
                <a:off x="7355550" y="4177886"/>
                <a:ext cx="33406" cy="33111"/>
              </a:xfrm>
              <a:custGeom>
                <a:avLst/>
                <a:gdLst>
                  <a:gd name="T0" fmla="*/ 0 w 25"/>
                  <a:gd name="T1" fmla="*/ 2147483647 h 25"/>
                  <a:gd name="T2" fmla="*/ 2147483647 w 25"/>
                  <a:gd name="T3" fmla="*/ 2147483647 h 25"/>
                  <a:gd name="T4" fmla="*/ 2147483647 w 25"/>
                  <a:gd name="T5" fmla="*/ 0 h 25"/>
                  <a:gd name="T6" fmla="*/ 2147483647 w 25"/>
                  <a:gd name="T7" fmla="*/ 2147483647 h 25"/>
                  <a:gd name="T8" fmla="*/ 2147483647 w 25"/>
                  <a:gd name="T9" fmla="*/ 2147483647 h 25"/>
                  <a:gd name="T10" fmla="*/ 2147483647 w 25"/>
                  <a:gd name="T11" fmla="*/ 2147483647 h 25"/>
                  <a:gd name="T12" fmla="*/ 2147483647 w 25"/>
                  <a:gd name="T13" fmla="*/ 2147483647 h 25"/>
                  <a:gd name="T14" fmla="*/ 2147483647 w 25"/>
                  <a:gd name="T15" fmla="*/ 2147483647 h 25"/>
                  <a:gd name="T16" fmla="*/ 2147483647 w 25"/>
                  <a:gd name="T17" fmla="*/ 0 h 25"/>
                  <a:gd name="T18" fmla="*/ 2147483647 w 25"/>
                  <a:gd name="T19" fmla="*/ 0 h 25"/>
                  <a:gd name="T20" fmla="*/ 2147483647 w 25"/>
                  <a:gd name="T21" fmla="*/ 2147483647 h 25"/>
                  <a:gd name="T22" fmla="*/ 2147483647 w 25"/>
                  <a:gd name="T23" fmla="*/ 2147483647 h 25"/>
                  <a:gd name="T24" fmla="*/ 2147483647 w 25"/>
                  <a:gd name="T25" fmla="*/ 2147483647 h 25"/>
                  <a:gd name="T26" fmla="*/ 2147483647 w 25"/>
                  <a:gd name="T27" fmla="*/ 2147483647 h 25"/>
                  <a:gd name="T28" fmla="*/ 2147483647 w 25"/>
                  <a:gd name="T29" fmla="*/ 2147483647 h 25"/>
                  <a:gd name="T30" fmla="*/ 2147483647 w 25"/>
                  <a:gd name="T31" fmla="*/ 2147483647 h 25"/>
                  <a:gd name="T32" fmla="*/ 2147483647 w 25"/>
                  <a:gd name="T33" fmla="*/ 2147483647 h 25"/>
                  <a:gd name="T34" fmla="*/ 2147483647 w 25"/>
                  <a:gd name="T35" fmla="*/ 2147483647 h 25"/>
                  <a:gd name="T36" fmla="*/ 2147483647 w 25"/>
                  <a:gd name="T37" fmla="*/ 2147483647 h 25"/>
                  <a:gd name="T38" fmla="*/ 2147483647 w 25"/>
                  <a:gd name="T39" fmla="*/ 2147483647 h 25"/>
                  <a:gd name="T40" fmla="*/ 2147483647 w 25"/>
                  <a:gd name="T41" fmla="*/ 2147483647 h 25"/>
                  <a:gd name="T42" fmla="*/ 2147483647 w 25"/>
                  <a:gd name="T43" fmla="*/ 2147483647 h 25"/>
                  <a:gd name="T44" fmla="*/ 2147483647 w 25"/>
                  <a:gd name="T45" fmla="*/ 2147483647 h 25"/>
                  <a:gd name="T46" fmla="*/ 2147483647 w 25"/>
                  <a:gd name="T47" fmla="*/ 2147483647 h 25"/>
                  <a:gd name="T48" fmla="*/ 0 w 25"/>
                  <a:gd name="T49" fmla="*/ 2147483647 h 25"/>
                  <a:gd name="T50" fmla="*/ 0 w 25"/>
                  <a:gd name="T51" fmla="*/ 2147483647 h 2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5"/>
                  <a:gd name="T79" fmla="*/ 0 h 25"/>
                  <a:gd name="T80" fmla="*/ 25 w 25"/>
                  <a:gd name="T81" fmla="*/ 25 h 2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5" h="25">
                    <a:moveTo>
                      <a:pt x="0" y="5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11" y="0"/>
                    </a:lnTo>
                    <a:lnTo>
                      <a:pt x="16" y="14"/>
                    </a:lnTo>
                    <a:lnTo>
                      <a:pt x="19" y="16"/>
                    </a:lnTo>
                    <a:lnTo>
                      <a:pt x="25" y="16"/>
                    </a:lnTo>
                    <a:lnTo>
                      <a:pt x="22" y="22"/>
                    </a:lnTo>
                    <a:lnTo>
                      <a:pt x="22" y="25"/>
                    </a:lnTo>
                    <a:lnTo>
                      <a:pt x="19" y="22"/>
                    </a:lnTo>
                    <a:lnTo>
                      <a:pt x="14" y="22"/>
                    </a:lnTo>
                    <a:lnTo>
                      <a:pt x="14" y="19"/>
                    </a:lnTo>
                    <a:lnTo>
                      <a:pt x="11" y="16"/>
                    </a:lnTo>
                    <a:lnTo>
                      <a:pt x="8" y="11"/>
                    </a:lnTo>
                    <a:lnTo>
                      <a:pt x="5" y="8"/>
                    </a:lnTo>
                    <a:lnTo>
                      <a:pt x="0" y="8"/>
                    </a:lnTo>
                    <a:lnTo>
                      <a:pt x="0" y="5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0" name="Freeform 1078"/>
              <p:cNvSpPr>
                <a:spLocks noChangeAspect="1"/>
              </p:cNvSpPr>
              <p:nvPr>
                <p:custDataLst>
                  <p:tags r:id="rId1160"/>
                </p:custDataLst>
              </p:nvPr>
            </p:nvSpPr>
            <p:spPr bwMode="gray">
              <a:xfrm>
                <a:off x="7404141" y="4199962"/>
                <a:ext cx="13665" cy="15767"/>
              </a:xfrm>
              <a:custGeom>
                <a:avLst/>
                <a:gdLst>
                  <a:gd name="T0" fmla="*/ 2147483647 w 11"/>
                  <a:gd name="T1" fmla="*/ 0 h 12"/>
                  <a:gd name="T2" fmla="*/ 2147483647 w 11"/>
                  <a:gd name="T3" fmla="*/ 0 h 12"/>
                  <a:gd name="T4" fmla="*/ 2147483647 w 11"/>
                  <a:gd name="T5" fmla="*/ 0 h 12"/>
                  <a:gd name="T6" fmla="*/ 2147483647 w 11"/>
                  <a:gd name="T7" fmla="*/ 2147483647 h 12"/>
                  <a:gd name="T8" fmla="*/ 2147483647 w 11"/>
                  <a:gd name="T9" fmla="*/ 2147483647 h 12"/>
                  <a:gd name="T10" fmla="*/ 2147483647 w 11"/>
                  <a:gd name="T11" fmla="*/ 2147483647 h 12"/>
                  <a:gd name="T12" fmla="*/ 2147483647 w 11"/>
                  <a:gd name="T13" fmla="*/ 2147483647 h 12"/>
                  <a:gd name="T14" fmla="*/ 2147483647 w 11"/>
                  <a:gd name="T15" fmla="*/ 2147483647 h 12"/>
                  <a:gd name="T16" fmla="*/ 2147483647 w 11"/>
                  <a:gd name="T17" fmla="*/ 2147483647 h 12"/>
                  <a:gd name="T18" fmla="*/ 2147483647 w 11"/>
                  <a:gd name="T19" fmla="*/ 2147483647 h 12"/>
                  <a:gd name="T20" fmla="*/ 2147483647 w 11"/>
                  <a:gd name="T21" fmla="*/ 2147483647 h 12"/>
                  <a:gd name="T22" fmla="*/ 2147483647 w 11"/>
                  <a:gd name="T23" fmla="*/ 2147483647 h 12"/>
                  <a:gd name="T24" fmla="*/ 2147483647 w 11"/>
                  <a:gd name="T25" fmla="*/ 2147483647 h 12"/>
                  <a:gd name="T26" fmla="*/ 0 w 11"/>
                  <a:gd name="T27" fmla="*/ 2147483647 h 12"/>
                  <a:gd name="T28" fmla="*/ 2147483647 w 11"/>
                  <a:gd name="T29" fmla="*/ 2147483647 h 12"/>
                  <a:gd name="T30" fmla="*/ 2147483647 w 11"/>
                  <a:gd name="T31" fmla="*/ 0 h 12"/>
                  <a:gd name="T32" fmla="*/ 2147483647 w 11"/>
                  <a:gd name="T33" fmla="*/ 0 h 1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1"/>
                  <a:gd name="T52" fmla="*/ 0 h 12"/>
                  <a:gd name="T53" fmla="*/ 11 w 11"/>
                  <a:gd name="T54" fmla="*/ 12 h 1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1" h="12">
                    <a:moveTo>
                      <a:pt x="3" y="0"/>
                    </a:moveTo>
                    <a:lnTo>
                      <a:pt x="3" y="0"/>
                    </a:lnTo>
                    <a:lnTo>
                      <a:pt x="5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8" y="12"/>
                    </a:lnTo>
                    <a:lnTo>
                      <a:pt x="8" y="9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1" name="Freeform 1079"/>
              <p:cNvSpPr>
                <a:spLocks noChangeAspect="1"/>
              </p:cNvSpPr>
              <p:nvPr>
                <p:custDataLst>
                  <p:tags r:id="rId1161"/>
                </p:custDataLst>
              </p:nvPr>
            </p:nvSpPr>
            <p:spPr bwMode="gray">
              <a:xfrm>
                <a:off x="7404141" y="4199962"/>
                <a:ext cx="13665" cy="15767"/>
              </a:xfrm>
              <a:custGeom>
                <a:avLst/>
                <a:gdLst>
                  <a:gd name="T0" fmla="*/ 2147483647 w 11"/>
                  <a:gd name="T1" fmla="*/ 0 h 12"/>
                  <a:gd name="T2" fmla="*/ 2147483647 w 11"/>
                  <a:gd name="T3" fmla="*/ 0 h 12"/>
                  <a:gd name="T4" fmla="*/ 2147483647 w 11"/>
                  <a:gd name="T5" fmla="*/ 0 h 12"/>
                  <a:gd name="T6" fmla="*/ 2147483647 w 11"/>
                  <a:gd name="T7" fmla="*/ 2147483647 h 12"/>
                  <a:gd name="T8" fmla="*/ 2147483647 w 11"/>
                  <a:gd name="T9" fmla="*/ 2147483647 h 12"/>
                  <a:gd name="T10" fmla="*/ 2147483647 w 11"/>
                  <a:gd name="T11" fmla="*/ 2147483647 h 12"/>
                  <a:gd name="T12" fmla="*/ 2147483647 w 11"/>
                  <a:gd name="T13" fmla="*/ 2147483647 h 12"/>
                  <a:gd name="T14" fmla="*/ 2147483647 w 11"/>
                  <a:gd name="T15" fmla="*/ 2147483647 h 12"/>
                  <a:gd name="T16" fmla="*/ 2147483647 w 11"/>
                  <a:gd name="T17" fmla="*/ 2147483647 h 12"/>
                  <a:gd name="T18" fmla="*/ 2147483647 w 11"/>
                  <a:gd name="T19" fmla="*/ 2147483647 h 12"/>
                  <a:gd name="T20" fmla="*/ 2147483647 w 11"/>
                  <a:gd name="T21" fmla="*/ 2147483647 h 12"/>
                  <a:gd name="T22" fmla="*/ 2147483647 w 11"/>
                  <a:gd name="T23" fmla="*/ 2147483647 h 12"/>
                  <a:gd name="T24" fmla="*/ 2147483647 w 11"/>
                  <a:gd name="T25" fmla="*/ 2147483647 h 12"/>
                  <a:gd name="T26" fmla="*/ 0 w 11"/>
                  <a:gd name="T27" fmla="*/ 2147483647 h 12"/>
                  <a:gd name="T28" fmla="*/ 2147483647 w 11"/>
                  <a:gd name="T29" fmla="*/ 2147483647 h 12"/>
                  <a:gd name="T30" fmla="*/ 2147483647 w 11"/>
                  <a:gd name="T31" fmla="*/ 0 h 12"/>
                  <a:gd name="T32" fmla="*/ 2147483647 w 11"/>
                  <a:gd name="T33" fmla="*/ 0 h 1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1"/>
                  <a:gd name="T52" fmla="*/ 0 h 12"/>
                  <a:gd name="T53" fmla="*/ 11 w 11"/>
                  <a:gd name="T54" fmla="*/ 12 h 1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1" h="12">
                    <a:moveTo>
                      <a:pt x="3" y="0"/>
                    </a:moveTo>
                    <a:lnTo>
                      <a:pt x="3" y="0"/>
                    </a:lnTo>
                    <a:lnTo>
                      <a:pt x="5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8" y="12"/>
                    </a:lnTo>
                    <a:lnTo>
                      <a:pt x="8" y="9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2" name="Freeform 1080"/>
              <p:cNvSpPr>
                <a:spLocks noChangeAspect="1"/>
              </p:cNvSpPr>
              <p:nvPr>
                <p:custDataLst>
                  <p:tags r:id="rId1162"/>
                </p:custDataLst>
              </p:nvPr>
            </p:nvSpPr>
            <p:spPr bwMode="gray">
              <a:xfrm>
                <a:off x="7355550" y="4267761"/>
                <a:ext cx="188288" cy="58340"/>
              </a:xfrm>
              <a:custGeom>
                <a:avLst/>
                <a:gdLst>
                  <a:gd name="T0" fmla="*/ 2147483647 w 144"/>
                  <a:gd name="T1" fmla="*/ 2147483647 h 45"/>
                  <a:gd name="T2" fmla="*/ 2147483647 w 144"/>
                  <a:gd name="T3" fmla="*/ 2147483647 h 45"/>
                  <a:gd name="T4" fmla="*/ 2147483647 w 144"/>
                  <a:gd name="T5" fmla="*/ 2147483647 h 45"/>
                  <a:gd name="T6" fmla="*/ 2147483647 w 144"/>
                  <a:gd name="T7" fmla="*/ 2147483647 h 45"/>
                  <a:gd name="T8" fmla="*/ 2147483647 w 144"/>
                  <a:gd name="T9" fmla="*/ 2147483647 h 45"/>
                  <a:gd name="T10" fmla="*/ 2147483647 w 144"/>
                  <a:gd name="T11" fmla="*/ 2147483647 h 45"/>
                  <a:gd name="T12" fmla="*/ 2147483647 w 144"/>
                  <a:gd name="T13" fmla="*/ 2147483647 h 45"/>
                  <a:gd name="T14" fmla="*/ 2147483647 w 144"/>
                  <a:gd name="T15" fmla="*/ 2147483647 h 45"/>
                  <a:gd name="T16" fmla="*/ 2147483647 w 144"/>
                  <a:gd name="T17" fmla="*/ 2147483647 h 45"/>
                  <a:gd name="T18" fmla="*/ 2147483647 w 144"/>
                  <a:gd name="T19" fmla="*/ 2147483647 h 45"/>
                  <a:gd name="T20" fmla="*/ 0 w 144"/>
                  <a:gd name="T21" fmla="*/ 2147483647 h 45"/>
                  <a:gd name="T22" fmla="*/ 2147483647 w 144"/>
                  <a:gd name="T23" fmla="*/ 2147483647 h 45"/>
                  <a:gd name="T24" fmla="*/ 2147483647 w 144"/>
                  <a:gd name="T25" fmla="*/ 2147483647 h 45"/>
                  <a:gd name="T26" fmla="*/ 2147483647 w 144"/>
                  <a:gd name="T27" fmla="*/ 2147483647 h 45"/>
                  <a:gd name="T28" fmla="*/ 2147483647 w 144"/>
                  <a:gd name="T29" fmla="*/ 0 h 45"/>
                  <a:gd name="T30" fmla="*/ 2147483647 w 144"/>
                  <a:gd name="T31" fmla="*/ 2147483647 h 45"/>
                  <a:gd name="T32" fmla="*/ 2147483647 w 144"/>
                  <a:gd name="T33" fmla="*/ 0 h 45"/>
                  <a:gd name="T34" fmla="*/ 2147483647 w 144"/>
                  <a:gd name="T35" fmla="*/ 2147483647 h 45"/>
                  <a:gd name="T36" fmla="*/ 2147483647 w 144"/>
                  <a:gd name="T37" fmla="*/ 2147483647 h 45"/>
                  <a:gd name="T38" fmla="*/ 2147483647 w 144"/>
                  <a:gd name="T39" fmla="*/ 2147483647 h 45"/>
                  <a:gd name="T40" fmla="*/ 2147483647 w 144"/>
                  <a:gd name="T41" fmla="*/ 2147483647 h 45"/>
                  <a:gd name="T42" fmla="*/ 2147483647 w 144"/>
                  <a:gd name="T43" fmla="*/ 2147483647 h 45"/>
                  <a:gd name="T44" fmla="*/ 2147483647 w 144"/>
                  <a:gd name="T45" fmla="*/ 2147483647 h 45"/>
                  <a:gd name="T46" fmla="*/ 2147483647 w 144"/>
                  <a:gd name="T47" fmla="*/ 2147483647 h 45"/>
                  <a:gd name="T48" fmla="*/ 2147483647 w 144"/>
                  <a:gd name="T49" fmla="*/ 2147483647 h 45"/>
                  <a:gd name="T50" fmla="*/ 2147483647 w 144"/>
                  <a:gd name="T51" fmla="*/ 2147483647 h 45"/>
                  <a:gd name="T52" fmla="*/ 2147483647 w 144"/>
                  <a:gd name="T53" fmla="*/ 2147483647 h 45"/>
                  <a:gd name="T54" fmla="*/ 2147483647 w 144"/>
                  <a:gd name="T55" fmla="*/ 2147483647 h 45"/>
                  <a:gd name="T56" fmla="*/ 2147483647 w 144"/>
                  <a:gd name="T57" fmla="*/ 2147483647 h 45"/>
                  <a:gd name="T58" fmla="*/ 2147483647 w 144"/>
                  <a:gd name="T59" fmla="*/ 2147483647 h 45"/>
                  <a:gd name="T60" fmla="*/ 2147483647 w 144"/>
                  <a:gd name="T61" fmla="*/ 2147483647 h 45"/>
                  <a:gd name="T62" fmla="*/ 2147483647 w 144"/>
                  <a:gd name="T63" fmla="*/ 2147483647 h 45"/>
                  <a:gd name="T64" fmla="*/ 2147483647 w 144"/>
                  <a:gd name="T65" fmla="*/ 2147483647 h 45"/>
                  <a:gd name="T66" fmla="*/ 2147483647 w 144"/>
                  <a:gd name="T67" fmla="*/ 2147483647 h 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4"/>
                  <a:gd name="T103" fmla="*/ 0 h 45"/>
                  <a:gd name="T104" fmla="*/ 144 w 144"/>
                  <a:gd name="T105" fmla="*/ 45 h 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4" h="45">
                    <a:moveTo>
                      <a:pt x="108" y="37"/>
                    </a:moveTo>
                    <a:lnTo>
                      <a:pt x="103" y="37"/>
                    </a:lnTo>
                    <a:lnTo>
                      <a:pt x="100" y="39"/>
                    </a:lnTo>
                    <a:lnTo>
                      <a:pt x="94" y="37"/>
                    </a:lnTo>
                    <a:lnTo>
                      <a:pt x="94" y="34"/>
                    </a:lnTo>
                    <a:lnTo>
                      <a:pt x="92" y="37"/>
                    </a:lnTo>
                    <a:lnTo>
                      <a:pt x="86" y="37"/>
                    </a:lnTo>
                    <a:lnTo>
                      <a:pt x="75" y="31"/>
                    </a:lnTo>
                    <a:lnTo>
                      <a:pt x="61" y="28"/>
                    </a:lnTo>
                    <a:lnTo>
                      <a:pt x="58" y="28"/>
                    </a:lnTo>
                    <a:lnTo>
                      <a:pt x="55" y="28"/>
                    </a:lnTo>
                    <a:lnTo>
                      <a:pt x="53" y="28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22" y="17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5" y="12"/>
                    </a:lnTo>
                    <a:lnTo>
                      <a:pt x="8" y="9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5" y="3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3" y="3"/>
                    </a:lnTo>
                    <a:lnTo>
                      <a:pt x="36" y="3"/>
                    </a:lnTo>
                    <a:lnTo>
                      <a:pt x="47" y="6"/>
                    </a:lnTo>
                    <a:lnTo>
                      <a:pt x="50" y="9"/>
                    </a:lnTo>
                    <a:lnTo>
                      <a:pt x="53" y="14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80" y="17"/>
                    </a:lnTo>
                    <a:lnTo>
                      <a:pt x="83" y="14"/>
                    </a:lnTo>
                    <a:lnTo>
                      <a:pt x="83" y="12"/>
                    </a:lnTo>
                    <a:lnTo>
                      <a:pt x="86" y="9"/>
                    </a:lnTo>
                    <a:lnTo>
                      <a:pt x="86" y="6"/>
                    </a:lnTo>
                    <a:lnTo>
                      <a:pt x="89" y="9"/>
                    </a:lnTo>
                    <a:lnTo>
                      <a:pt x="92" y="9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7" y="12"/>
                    </a:lnTo>
                    <a:lnTo>
                      <a:pt x="105" y="14"/>
                    </a:lnTo>
                    <a:lnTo>
                      <a:pt x="111" y="14"/>
                    </a:lnTo>
                    <a:lnTo>
                      <a:pt x="114" y="14"/>
                    </a:lnTo>
                    <a:lnTo>
                      <a:pt x="117" y="20"/>
                    </a:lnTo>
                    <a:lnTo>
                      <a:pt x="119" y="25"/>
                    </a:lnTo>
                    <a:lnTo>
                      <a:pt x="125" y="28"/>
                    </a:lnTo>
                    <a:lnTo>
                      <a:pt x="136" y="28"/>
                    </a:lnTo>
                    <a:lnTo>
                      <a:pt x="142" y="28"/>
                    </a:lnTo>
                    <a:lnTo>
                      <a:pt x="142" y="39"/>
                    </a:lnTo>
                    <a:lnTo>
                      <a:pt x="144" y="45"/>
                    </a:lnTo>
                    <a:lnTo>
                      <a:pt x="142" y="42"/>
                    </a:lnTo>
                    <a:lnTo>
                      <a:pt x="122" y="37"/>
                    </a:lnTo>
                    <a:lnTo>
                      <a:pt x="117" y="39"/>
                    </a:lnTo>
                    <a:lnTo>
                      <a:pt x="108" y="3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3" name="Freeform 1081"/>
              <p:cNvSpPr>
                <a:spLocks noChangeAspect="1"/>
              </p:cNvSpPr>
              <p:nvPr>
                <p:custDataLst>
                  <p:tags r:id="rId1163"/>
                </p:custDataLst>
              </p:nvPr>
            </p:nvSpPr>
            <p:spPr bwMode="gray">
              <a:xfrm>
                <a:off x="7575725" y="4215730"/>
                <a:ext cx="4557" cy="14190"/>
              </a:xfrm>
              <a:custGeom>
                <a:avLst/>
                <a:gdLst>
                  <a:gd name="T0" fmla="*/ 2147483647 w 3"/>
                  <a:gd name="T1" fmla="*/ 0 h 11"/>
                  <a:gd name="T2" fmla="*/ 2147483647 w 3"/>
                  <a:gd name="T3" fmla="*/ 0 h 11"/>
                  <a:gd name="T4" fmla="*/ 2147483647 w 3"/>
                  <a:gd name="T5" fmla="*/ 2147483647 h 11"/>
                  <a:gd name="T6" fmla="*/ 2147483647 w 3"/>
                  <a:gd name="T7" fmla="*/ 2147483647 h 11"/>
                  <a:gd name="T8" fmla="*/ 0 w 3"/>
                  <a:gd name="T9" fmla="*/ 2147483647 h 11"/>
                  <a:gd name="T10" fmla="*/ 0 w 3"/>
                  <a:gd name="T11" fmla="*/ 2147483647 h 11"/>
                  <a:gd name="T12" fmla="*/ 0 w 3"/>
                  <a:gd name="T13" fmla="*/ 2147483647 h 11"/>
                  <a:gd name="T14" fmla="*/ 2147483647 w 3"/>
                  <a:gd name="T15" fmla="*/ 0 h 11"/>
                  <a:gd name="T16" fmla="*/ 2147483647 w 3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11"/>
                  <a:gd name="T29" fmla="*/ 3 w 3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11">
                    <a:moveTo>
                      <a:pt x="3" y="0"/>
                    </a:moveTo>
                    <a:lnTo>
                      <a:pt x="3" y="0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4" name="Freeform 1082"/>
              <p:cNvSpPr>
                <a:spLocks noChangeAspect="1"/>
              </p:cNvSpPr>
              <p:nvPr>
                <p:custDataLst>
                  <p:tags r:id="rId1164"/>
                </p:custDataLst>
              </p:nvPr>
            </p:nvSpPr>
            <p:spPr bwMode="gray">
              <a:xfrm>
                <a:off x="7575725" y="4215730"/>
                <a:ext cx="4557" cy="14190"/>
              </a:xfrm>
              <a:custGeom>
                <a:avLst/>
                <a:gdLst>
                  <a:gd name="T0" fmla="*/ 2147483647 w 3"/>
                  <a:gd name="T1" fmla="*/ 0 h 11"/>
                  <a:gd name="T2" fmla="*/ 2147483647 w 3"/>
                  <a:gd name="T3" fmla="*/ 0 h 11"/>
                  <a:gd name="T4" fmla="*/ 2147483647 w 3"/>
                  <a:gd name="T5" fmla="*/ 2147483647 h 11"/>
                  <a:gd name="T6" fmla="*/ 2147483647 w 3"/>
                  <a:gd name="T7" fmla="*/ 2147483647 h 11"/>
                  <a:gd name="T8" fmla="*/ 0 w 3"/>
                  <a:gd name="T9" fmla="*/ 2147483647 h 11"/>
                  <a:gd name="T10" fmla="*/ 0 w 3"/>
                  <a:gd name="T11" fmla="*/ 2147483647 h 11"/>
                  <a:gd name="T12" fmla="*/ 0 w 3"/>
                  <a:gd name="T13" fmla="*/ 2147483647 h 11"/>
                  <a:gd name="T14" fmla="*/ 2147483647 w 3"/>
                  <a:gd name="T15" fmla="*/ 0 h 11"/>
                  <a:gd name="T16" fmla="*/ 2147483647 w 3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11"/>
                  <a:gd name="T29" fmla="*/ 3 w 3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11">
                    <a:moveTo>
                      <a:pt x="3" y="0"/>
                    </a:moveTo>
                    <a:lnTo>
                      <a:pt x="3" y="0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5" name="Freeform 1083"/>
              <p:cNvSpPr>
                <a:spLocks noChangeAspect="1"/>
              </p:cNvSpPr>
              <p:nvPr>
                <p:custDataLst>
                  <p:tags r:id="rId1165"/>
                </p:custDataLst>
              </p:nvPr>
            </p:nvSpPr>
            <p:spPr bwMode="gray">
              <a:xfrm>
                <a:off x="7773126" y="4300872"/>
                <a:ext cx="22777" cy="11037"/>
              </a:xfrm>
              <a:custGeom>
                <a:avLst/>
                <a:gdLst>
                  <a:gd name="T0" fmla="*/ 2147483647 w 17"/>
                  <a:gd name="T1" fmla="*/ 2147483647 h 9"/>
                  <a:gd name="T2" fmla="*/ 0 w 17"/>
                  <a:gd name="T3" fmla="*/ 2147483647 h 9"/>
                  <a:gd name="T4" fmla="*/ 0 w 17"/>
                  <a:gd name="T5" fmla="*/ 2147483647 h 9"/>
                  <a:gd name="T6" fmla="*/ 2147483647 w 17"/>
                  <a:gd name="T7" fmla="*/ 2147483647 h 9"/>
                  <a:gd name="T8" fmla="*/ 2147483647 w 17"/>
                  <a:gd name="T9" fmla="*/ 2147483647 h 9"/>
                  <a:gd name="T10" fmla="*/ 2147483647 w 17"/>
                  <a:gd name="T11" fmla="*/ 0 h 9"/>
                  <a:gd name="T12" fmla="*/ 2147483647 w 17"/>
                  <a:gd name="T13" fmla="*/ 0 h 9"/>
                  <a:gd name="T14" fmla="*/ 2147483647 w 17"/>
                  <a:gd name="T15" fmla="*/ 2147483647 h 9"/>
                  <a:gd name="T16" fmla="*/ 2147483647 w 17"/>
                  <a:gd name="T17" fmla="*/ 2147483647 h 9"/>
                  <a:gd name="T18" fmla="*/ 2147483647 w 17"/>
                  <a:gd name="T19" fmla="*/ 2147483647 h 9"/>
                  <a:gd name="T20" fmla="*/ 2147483647 w 17"/>
                  <a:gd name="T21" fmla="*/ 2147483647 h 9"/>
                  <a:gd name="T22" fmla="*/ 2147483647 w 17"/>
                  <a:gd name="T23" fmla="*/ 2147483647 h 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"/>
                  <a:gd name="T37" fmla="*/ 0 h 9"/>
                  <a:gd name="T38" fmla="*/ 17 w 17"/>
                  <a:gd name="T39" fmla="*/ 9 h 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" h="9">
                    <a:moveTo>
                      <a:pt x="3" y="9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8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1" y="6"/>
                    </a:lnTo>
                    <a:lnTo>
                      <a:pt x="5" y="6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6" name="Freeform 1084"/>
              <p:cNvSpPr>
                <a:spLocks noChangeAspect="1"/>
              </p:cNvSpPr>
              <p:nvPr>
                <p:custDataLst>
                  <p:tags r:id="rId1166"/>
                </p:custDataLst>
              </p:nvPr>
            </p:nvSpPr>
            <p:spPr bwMode="gray">
              <a:xfrm>
                <a:off x="7773126" y="4300872"/>
                <a:ext cx="22777" cy="11037"/>
              </a:xfrm>
              <a:custGeom>
                <a:avLst/>
                <a:gdLst>
                  <a:gd name="T0" fmla="*/ 2147483647 w 17"/>
                  <a:gd name="T1" fmla="*/ 2147483647 h 9"/>
                  <a:gd name="T2" fmla="*/ 0 w 17"/>
                  <a:gd name="T3" fmla="*/ 2147483647 h 9"/>
                  <a:gd name="T4" fmla="*/ 0 w 17"/>
                  <a:gd name="T5" fmla="*/ 2147483647 h 9"/>
                  <a:gd name="T6" fmla="*/ 2147483647 w 17"/>
                  <a:gd name="T7" fmla="*/ 2147483647 h 9"/>
                  <a:gd name="T8" fmla="*/ 2147483647 w 17"/>
                  <a:gd name="T9" fmla="*/ 2147483647 h 9"/>
                  <a:gd name="T10" fmla="*/ 2147483647 w 17"/>
                  <a:gd name="T11" fmla="*/ 0 h 9"/>
                  <a:gd name="T12" fmla="*/ 2147483647 w 17"/>
                  <a:gd name="T13" fmla="*/ 0 h 9"/>
                  <a:gd name="T14" fmla="*/ 2147483647 w 17"/>
                  <a:gd name="T15" fmla="*/ 2147483647 h 9"/>
                  <a:gd name="T16" fmla="*/ 2147483647 w 17"/>
                  <a:gd name="T17" fmla="*/ 2147483647 h 9"/>
                  <a:gd name="T18" fmla="*/ 2147483647 w 17"/>
                  <a:gd name="T19" fmla="*/ 2147483647 h 9"/>
                  <a:gd name="T20" fmla="*/ 2147483647 w 17"/>
                  <a:gd name="T21" fmla="*/ 2147483647 h 9"/>
                  <a:gd name="T22" fmla="*/ 2147483647 w 17"/>
                  <a:gd name="T23" fmla="*/ 2147483647 h 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"/>
                  <a:gd name="T37" fmla="*/ 0 h 9"/>
                  <a:gd name="T38" fmla="*/ 17 w 17"/>
                  <a:gd name="T39" fmla="*/ 9 h 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" h="9">
                    <a:moveTo>
                      <a:pt x="3" y="9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8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1" y="6"/>
                    </a:lnTo>
                    <a:lnTo>
                      <a:pt x="5" y="6"/>
                    </a:lnTo>
                    <a:lnTo>
                      <a:pt x="3" y="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7" name="Freeform 1085"/>
              <p:cNvSpPr>
                <a:spLocks noChangeAspect="1"/>
              </p:cNvSpPr>
              <p:nvPr>
                <p:custDataLst>
                  <p:tags r:id="rId1167"/>
                </p:custDataLst>
              </p:nvPr>
            </p:nvSpPr>
            <p:spPr bwMode="gray">
              <a:xfrm>
                <a:off x="7713906" y="4362366"/>
                <a:ext cx="12148" cy="6307"/>
              </a:xfrm>
              <a:custGeom>
                <a:avLst/>
                <a:gdLst>
                  <a:gd name="T0" fmla="*/ 0 w 9"/>
                  <a:gd name="T1" fmla="*/ 2147483647 h 5"/>
                  <a:gd name="T2" fmla="*/ 0 w 9"/>
                  <a:gd name="T3" fmla="*/ 2147483647 h 5"/>
                  <a:gd name="T4" fmla="*/ 2147483647 w 9"/>
                  <a:gd name="T5" fmla="*/ 2147483647 h 5"/>
                  <a:gd name="T6" fmla="*/ 2147483647 w 9"/>
                  <a:gd name="T7" fmla="*/ 0 h 5"/>
                  <a:gd name="T8" fmla="*/ 2147483647 w 9"/>
                  <a:gd name="T9" fmla="*/ 0 h 5"/>
                  <a:gd name="T10" fmla="*/ 2147483647 w 9"/>
                  <a:gd name="T11" fmla="*/ 2147483647 h 5"/>
                  <a:gd name="T12" fmla="*/ 2147483647 w 9"/>
                  <a:gd name="T13" fmla="*/ 2147483647 h 5"/>
                  <a:gd name="T14" fmla="*/ 0 w 9"/>
                  <a:gd name="T15" fmla="*/ 2147483647 h 5"/>
                  <a:gd name="T16" fmla="*/ 0 w 9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5"/>
                  <a:gd name="T29" fmla="*/ 9 w 9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5">
                    <a:moveTo>
                      <a:pt x="0" y="5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6" y="3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8" name="Freeform 1086"/>
              <p:cNvSpPr>
                <a:spLocks noChangeAspect="1"/>
              </p:cNvSpPr>
              <p:nvPr>
                <p:custDataLst>
                  <p:tags r:id="rId1168"/>
                </p:custDataLst>
              </p:nvPr>
            </p:nvSpPr>
            <p:spPr bwMode="gray">
              <a:xfrm>
                <a:off x="7713906" y="4362366"/>
                <a:ext cx="12148" cy="6307"/>
              </a:xfrm>
              <a:custGeom>
                <a:avLst/>
                <a:gdLst>
                  <a:gd name="T0" fmla="*/ 0 w 9"/>
                  <a:gd name="T1" fmla="*/ 2147483647 h 5"/>
                  <a:gd name="T2" fmla="*/ 0 w 9"/>
                  <a:gd name="T3" fmla="*/ 2147483647 h 5"/>
                  <a:gd name="T4" fmla="*/ 2147483647 w 9"/>
                  <a:gd name="T5" fmla="*/ 2147483647 h 5"/>
                  <a:gd name="T6" fmla="*/ 2147483647 w 9"/>
                  <a:gd name="T7" fmla="*/ 0 h 5"/>
                  <a:gd name="T8" fmla="*/ 2147483647 w 9"/>
                  <a:gd name="T9" fmla="*/ 0 h 5"/>
                  <a:gd name="T10" fmla="*/ 2147483647 w 9"/>
                  <a:gd name="T11" fmla="*/ 2147483647 h 5"/>
                  <a:gd name="T12" fmla="*/ 2147483647 w 9"/>
                  <a:gd name="T13" fmla="*/ 2147483647 h 5"/>
                  <a:gd name="T14" fmla="*/ 0 w 9"/>
                  <a:gd name="T15" fmla="*/ 2147483647 h 5"/>
                  <a:gd name="T16" fmla="*/ 0 w 9"/>
                  <a:gd name="T17" fmla="*/ 2147483647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5"/>
                  <a:gd name="T29" fmla="*/ 9 w 9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5">
                    <a:moveTo>
                      <a:pt x="0" y="5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6" y="3"/>
                    </a:lnTo>
                    <a:lnTo>
                      <a:pt x="3" y="5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9" name="Freeform 1087"/>
              <p:cNvSpPr>
                <a:spLocks noChangeAspect="1"/>
              </p:cNvSpPr>
              <p:nvPr>
                <p:custDataLst>
                  <p:tags r:id="rId1169"/>
                </p:custDataLst>
              </p:nvPr>
            </p:nvSpPr>
            <p:spPr bwMode="gray">
              <a:xfrm>
                <a:off x="7745792" y="4311909"/>
                <a:ext cx="13667" cy="6307"/>
              </a:xfrm>
              <a:custGeom>
                <a:avLst/>
                <a:gdLst>
                  <a:gd name="T0" fmla="*/ 2147483647 w 11"/>
                  <a:gd name="T1" fmla="*/ 2147483647 h 5"/>
                  <a:gd name="T2" fmla="*/ 2147483647 w 11"/>
                  <a:gd name="T3" fmla="*/ 2147483647 h 5"/>
                  <a:gd name="T4" fmla="*/ 2147483647 w 11"/>
                  <a:gd name="T5" fmla="*/ 2147483647 h 5"/>
                  <a:gd name="T6" fmla="*/ 2147483647 w 11"/>
                  <a:gd name="T7" fmla="*/ 0 h 5"/>
                  <a:gd name="T8" fmla="*/ 2147483647 w 11"/>
                  <a:gd name="T9" fmla="*/ 2147483647 h 5"/>
                  <a:gd name="T10" fmla="*/ 2147483647 w 11"/>
                  <a:gd name="T11" fmla="*/ 2147483647 h 5"/>
                  <a:gd name="T12" fmla="*/ 2147483647 w 11"/>
                  <a:gd name="T13" fmla="*/ 2147483647 h 5"/>
                  <a:gd name="T14" fmla="*/ 2147483647 w 11"/>
                  <a:gd name="T15" fmla="*/ 2147483647 h 5"/>
                  <a:gd name="T16" fmla="*/ 0 w 11"/>
                  <a:gd name="T17" fmla="*/ 2147483647 h 5"/>
                  <a:gd name="T18" fmla="*/ 2147483647 w 11"/>
                  <a:gd name="T19" fmla="*/ 2147483647 h 5"/>
                  <a:gd name="T20" fmla="*/ 2147483647 w 11"/>
                  <a:gd name="T21" fmla="*/ 2147483647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5"/>
                  <a:gd name="T35" fmla="*/ 11 w 11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5">
                    <a:moveTo>
                      <a:pt x="2" y="3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0" name="Freeform 1088"/>
              <p:cNvSpPr>
                <a:spLocks noChangeAspect="1"/>
              </p:cNvSpPr>
              <p:nvPr>
                <p:custDataLst>
                  <p:tags r:id="rId1170"/>
                </p:custDataLst>
              </p:nvPr>
            </p:nvSpPr>
            <p:spPr bwMode="gray">
              <a:xfrm>
                <a:off x="7745792" y="4311909"/>
                <a:ext cx="13667" cy="6307"/>
              </a:xfrm>
              <a:custGeom>
                <a:avLst/>
                <a:gdLst>
                  <a:gd name="T0" fmla="*/ 2147483647 w 11"/>
                  <a:gd name="T1" fmla="*/ 2147483647 h 5"/>
                  <a:gd name="T2" fmla="*/ 2147483647 w 11"/>
                  <a:gd name="T3" fmla="*/ 2147483647 h 5"/>
                  <a:gd name="T4" fmla="*/ 2147483647 w 11"/>
                  <a:gd name="T5" fmla="*/ 2147483647 h 5"/>
                  <a:gd name="T6" fmla="*/ 2147483647 w 11"/>
                  <a:gd name="T7" fmla="*/ 0 h 5"/>
                  <a:gd name="T8" fmla="*/ 2147483647 w 11"/>
                  <a:gd name="T9" fmla="*/ 2147483647 h 5"/>
                  <a:gd name="T10" fmla="*/ 2147483647 w 11"/>
                  <a:gd name="T11" fmla="*/ 2147483647 h 5"/>
                  <a:gd name="T12" fmla="*/ 2147483647 w 11"/>
                  <a:gd name="T13" fmla="*/ 2147483647 h 5"/>
                  <a:gd name="T14" fmla="*/ 2147483647 w 11"/>
                  <a:gd name="T15" fmla="*/ 2147483647 h 5"/>
                  <a:gd name="T16" fmla="*/ 0 w 11"/>
                  <a:gd name="T17" fmla="*/ 2147483647 h 5"/>
                  <a:gd name="T18" fmla="*/ 2147483647 w 11"/>
                  <a:gd name="T19" fmla="*/ 2147483647 h 5"/>
                  <a:gd name="T20" fmla="*/ 2147483647 w 11"/>
                  <a:gd name="T21" fmla="*/ 2147483647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5"/>
                  <a:gd name="T35" fmla="*/ 11 w 11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5">
                    <a:moveTo>
                      <a:pt x="2" y="3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1" name="Freeform 1089"/>
              <p:cNvSpPr>
                <a:spLocks noChangeAspect="1"/>
              </p:cNvSpPr>
              <p:nvPr>
                <p:custDataLst>
                  <p:tags r:id="rId1171"/>
                </p:custDataLst>
              </p:nvPr>
            </p:nvSpPr>
            <p:spPr bwMode="gray">
              <a:xfrm>
                <a:off x="7735164" y="4316640"/>
                <a:ext cx="6074" cy="4730"/>
              </a:xfrm>
              <a:custGeom>
                <a:avLst/>
                <a:gdLst>
                  <a:gd name="T0" fmla="*/ 0 w 3"/>
                  <a:gd name="T1" fmla="*/ 2056317484 h 5"/>
                  <a:gd name="T2" fmla="*/ 0 w 3"/>
                  <a:gd name="T3" fmla="*/ 2056317484 h 5"/>
                  <a:gd name="T4" fmla="*/ 2147483647 w 3"/>
                  <a:gd name="T5" fmla="*/ 0 h 5"/>
                  <a:gd name="T6" fmla="*/ 2147483647 w 3"/>
                  <a:gd name="T7" fmla="*/ 2056317484 h 5"/>
                  <a:gd name="T8" fmla="*/ 2147483647 w 3"/>
                  <a:gd name="T9" fmla="*/ 2147483647 h 5"/>
                  <a:gd name="T10" fmla="*/ 0 w 3"/>
                  <a:gd name="T11" fmla="*/ 2056317484 h 5"/>
                  <a:gd name="T12" fmla="*/ 0 w 3"/>
                  <a:gd name="T13" fmla="*/ 2056317484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2" name="Freeform 1090"/>
              <p:cNvSpPr>
                <a:spLocks noChangeAspect="1"/>
              </p:cNvSpPr>
              <p:nvPr>
                <p:custDataLst>
                  <p:tags r:id="rId1172"/>
                </p:custDataLst>
              </p:nvPr>
            </p:nvSpPr>
            <p:spPr bwMode="gray">
              <a:xfrm>
                <a:off x="7735164" y="4316640"/>
                <a:ext cx="6074" cy="4730"/>
              </a:xfrm>
              <a:custGeom>
                <a:avLst/>
                <a:gdLst>
                  <a:gd name="T0" fmla="*/ 0 w 3"/>
                  <a:gd name="T1" fmla="*/ 2056317484 h 5"/>
                  <a:gd name="T2" fmla="*/ 0 w 3"/>
                  <a:gd name="T3" fmla="*/ 2056317484 h 5"/>
                  <a:gd name="T4" fmla="*/ 2147483647 w 3"/>
                  <a:gd name="T5" fmla="*/ 0 h 5"/>
                  <a:gd name="T6" fmla="*/ 2147483647 w 3"/>
                  <a:gd name="T7" fmla="*/ 2056317484 h 5"/>
                  <a:gd name="T8" fmla="*/ 2147483647 w 3"/>
                  <a:gd name="T9" fmla="*/ 2147483647 h 5"/>
                  <a:gd name="T10" fmla="*/ 0 w 3"/>
                  <a:gd name="T11" fmla="*/ 2056317484 h 5"/>
                  <a:gd name="T12" fmla="*/ 0 w 3"/>
                  <a:gd name="T13" fmla="*/ 2056317484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3" name="Freeform 1091"/>
              <p:cNvSpPr>
                <a:spLocks noChangeAspect="1"/>
              </p:cNvSpPr>
              <p:nvPr>
                <p:custDataLst>
                  <p:tags r:id="rId1173"/>
                </p:custDataLst>
              </p:nvPr>
            </p:nvSpPr>
            <p:spPr bwMode="gray">
              <a:xfrm>
                <a:off x="7721498" y="4316640"/>
                <a:ext cx="12148" cy="4730"/>
              </a:xfrm>
              <a:custGeom>
                <a:avLst/>
                <a:gdLst>
                  <a:gd name="T0" fmla="*/ 0 w 8"/>
                  <a:gd name="T1" fmla="*/ 2147483647 h 5"/>
                  <a:gd name="T2" fmla="*/ 0 w 8"/>
                  <a:gd name="T3" fmla="*/ 0 h 5"/>
                  <a:gd name="T4" fmla="*/ 2147483647 w 8"/>
                  <a:gd name="T5" fmla="*/ 0 h 5"/>
                  <a:gd name="T6" fmla="*/ 2147483647 w 8"/>
                  <a:gd name="T7" fmla="*/ 0 h 5"/>
                  <a:gd name="T8" fmla="*/ 2147483647 w 8"/>
                  <a:gd name="T9" fmla="*/ 0 h 5"/>
                  <a:gd name="T10" fmla="*/ 2147483647 w 8"/>
                  <a:gd name="T11" fmla="*/ 0 h 5"/>
                  <a:gd name="T12" fmla="*/ 2147483647 w 8"/>
                  <a:gd name="T13" fmla="*/ 0 h 5"/>
                  <a:gd name="T14" fmla="*/ 2147483647 w 8"/>
                  <a:gd name="T15" fmla="*/ 0 h 5"/>
                  <a:gd name="T16" fmla="*/ 2147483647 w 8"/>
                  <a:gd name="T17" fmla="*/ 2056317484 h 5"/>
                  <a:gd name="T18" fmla="*/ 2147483647 w 8"/>
                  <a:gd name="T19" fmla="*/ 2147483647 h 5"/>
                  <a:gd name="T20" fmla="*/ 2147483647 w 8"/>
                  <a:gd name="T21" fmla="*/ 2147483647 h 5"/>
                  <a:gd name="T22" fmla="*/ 0 w 8"/>
                  <a:gd name="T23" fmla="*/ 2147483647 h 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5"/>
                  <a:gd name="T38" fmla="*/ 8 w 8"/>
                  <a:gd name="T39" fmla="*/ 5 h 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5">
                    <a:moveTo>
                      <a:pt x="0" y="5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4" name="Freeform 1092"/>
              <p:cNvSpPr>
                <a:spLocks noChangeAspect="1"/>
              </p:cNvSpPr>
              <p:nvPr>
                <p:custDataLst>
                  <p:tags r:id="rId1174"/>
                </p:custDataLst>
              </p:nvPr>
            </p:nvSpPr>
            <p:spPr bwMode="gray">
              <a:xfrm>
                <a:off x="7721498" y="4316640"/>
                <a:ext cx="12148" cy="4730"/>
              </a:xfrm>
              <a:custGeom>
                <a:avLst/>
                <a:gdLst>
                  <a:gd name="T0" fmla="*/ 0 w 8"/>
                  <a:gd name="T1" fmla="*/ 2147483647 h 5"/>
                  <a:gd name="T2" fmla="*/ 0 w 8"/>
                  <a:gd name="T3" fmla="*/ 0 h 5"/>
                  <a:gd name="T4" fmla="*/ 2147483647 w 8"/>
                  <a:gd name="T5" fmla="*/ 0 h 5"/>
                  <a:gd name="T6" fmla="*/ 2147483647 w 8"/>
                  <a:gd name="T7" fmla="*/ 0 h 5"/>
                  <a:gd name="T8" fmla="*/ 2147483647 w 8"/>
                  <a:gd name="T9" fmla="*/ 0 h 5"/>
                  <a:gd name="T10" fmla="*/ 2147483647 w 8"/>
                  <a:gd name="T11" fmla="*/ 0 h 5"/>
                  <a:gd name="T12" fmla="*/ 2147483647 w 8"/>
                  <a:gd name="T13" fmla="*/ 0 h 5"/>
                  <a:gd name="T14" fmla="*/ 2147483647 w 8"/>
                  <a:gd name="T15" fmla="*/ 0 h 5"/>
                  <a:gd name="T16" fmla="*/ 2147483647 w 8"/>
                  <a:gd name="T17" fmla="*/ 2056317484 h 5"/>
                  <a:gd name="T18" fmla="*/ 2147483647 w 8"/>
                  <a:gd name="T19" fmla="*/ 2147483647 h 5"/>
                  <a:gd name="T20" fmla="*/ 2147483647 w 8"/>
                  <a:gd name="T21" fmla="*/ 2147483647 h 5"/>
                  <a:gd name="T22" fmla="*/ 0 w 8"/>
                  <a:gd name="T23" fmla="*/ 2147483647 h 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5"/>
                  <a:gd name="T38" fmla="*/ 8 w 8"/>
                  <a:gd name="T39" fmla="*/ 5 h 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5">
                    <a:moveTo>
                      <a:pt x="0" y="5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5" name="Freeform 1093"/>
              <p:cNvSpPr>
                <a:spLocks noChangeAspect="1"/>
              </p:cNvSpPr>
              <p:nvPr>
                <p:custDataLst>
                  <p:tags r:id="rId1175"/>
                </p:custDataLst>
              </p:nvPr>
            </p:nvSpPr>
            <p:spPr bwMode="gray">
              <a:xfrm>
                <a:off x="7653168" y="4311909"/>
                <a:ext cx="60739" cy="17345"/>
              </a:xfrm>
              <a:custGeom>
                <a:avLst/>
                <a:gdLst>
                  <a:gd name="T0" fmla="*/ 0 w 47"/>
                  <a:gd name="T1" fmla="*/ 2147483647 h 14"/>
                  <a:gd name="T2" fmla="*/ 2147483647 w 47"/>
                  <a:gd name="T3" fmla="*/ 2147483647 h 14"/>
                  <a:gd name="T4" fmla="*/ 2147483647 w 47"/>
                  <a:gd name="T5" fmla="*/ 2147483647 h 14"/>
                  <a:gd name="T6" fmla="*/ 2147483647 w 47"/>
                  <a:gd name="T7" fmla="*/ 2147483647 h 14"/>
                  <a:gd name="T8" fmla="*/ 2147483647 w 47"/>
                  <a:gd name="T9" fmla="*/ 2147483647 h 14"/>
                  <a:gd name="T10" fmla="*/ 2147483647 w 47"/>
                  <a:gd name="T11" fmla="*/ 2147483647 h 14"/>
                  <a:gd name="T12" fmla="*/ 2147483647 w 47"/>
                  <a:gd name="T13" fmla="*/ 2147483647 h 14"/>
                  <a:gd name="T14" fmla="*/ 2147483647 w 47"/>
                  <a:gd name="T15" fmla="*/ 2147483647 h 14"/>
                  <a:gd name="T16" fmla="*/ 2147483647 w 47"/>
                  <a:gd name="T17" fmla="*/ 2147483647 h 14"/>
                  <a:gd name="T18" fmla="*/ 2147483647 w 47"/>
                  <a:gd name="T19" fmla="*/ 2147483647 h 14"/>
                  <a:gd name="T20" fmla="*/ 2147483647 w 47"/>
                  <a:gd name="T21" fmla="*/ 2147483647 h 14"/>
                  <a:gd name="T22" fmla="*/ 2147483647 w 47"/>
                  <a:gd name="T23" fmla="*/ 2147483647 h 14"/>
                  <a:gd name="T24" fmla="*/ 2147483647 w 47"/>
                  <a:gd name="T25" fmla="*/ 2147483647 h 14"/>
                  <a:gd name="T26" fmla="*/ 2147483647 w 47"/>
                  <a:gd name="T27" fmla="*/ 2147483647 h 14"/>
                  <a:gd name="T28" fmla="*/ 2147483647 w 47"/>
                  <a:gd name="T29" fmla="*/ 2147483647 h 14"/>
                  <a:gd name="T30" fmla="*/ 2147483647 w 47"/>
                  <a:gd name="T31" fmla="*/ 2147483647 h 14"/>
                  <a:gd name="T32" fmla="*/ 2147483647 w 47"/>
                  <a:gd name="T33" fmla="*/ 2147483647 h 14"/>
                  <a:gd name="T34" fmla="*/ 2147483647 w 47"/>
                  <a:gd name="T35" fmla="*/ 2147483647 h 14"/>
                  <a:gd name="T36" fmla="*/ 2147483647 w 47"/>
                  <a:gd name="T37" fmla="*/ 2147483647 h 14"/>
                  <a:gd name="T38" fmla="*/ 2147483647 w 47"/>
                  <a:gd name="T39" fmla="*/ 0 h 14"/>
                  <a:gd name="T40" fmla="*/ 2147483647 w 47"/>
                  <a:gd name="T41" fmla="*/ 0 h 14"/>
                  <a:gd name="T42" fmla="*/ 2147483647 w 47"/>
                  <a:gd name="T43" fmla="*/ 2147483647 h 14"/>
                  <a:gd name="T44" fmla="*/ 2147483647 w 47"/>
                  <a:gd name="T45" fmla="*/ 2147483647 h 14"/>
                  <a:gd name="T46" fmla="*/ 2147483647 w 47"/>
                  <a:gd name="T47" fmla="*/ 2147483647 h 14"/>
                  <a:gd name="T48" fmla="*/ 2147483647 w 47"/>
                  <a:gd name="T49" fmla="*/ 2147483647 h 14"/>
                  <a:gd name="T50" fmla="*/ 2147483647 w 47"/>
                  <a:gd name="T51" fmla="*/ 2147483647 h 14"/>
                  <a:gd name="T52" fmla="*/ 2147483647 w 47"/>
                  <a:gd name="T53" fmla="*/ 2147483647 h 14"/>
                  <a:gd name="T54" fmla="*/ 2147483647 w 47"/>
                  <a:gd name="T55" fmla="*/ 2147483647 h 14"/>
                  <a:gd name="T56" fmla="*/ 2147483647 w 47"/>
                  <a:gd name="T57" fmla="*/ 2147483647 h 14"/>
                  <a:gd name="T58" fmla="*/ 0 w 47"/>
                  <a:gd name="T59" fmla="*/ 2147483647 h 14"/>
                  <a:gd name="T60" fmla="*/ 0 w 47"/>
                  <a:gd name="T61" fmla="*/ 2147483647 h 14"/>
                  <a:gd name="T62" fmla="*/ 0 w 47"/>
                  <a:gd name="T63" fmla="*/ 2147483647 h 14"/>
                  <a:gd name="T64" fmla="*/ 0 w 47"/>
                  <a:gd name="T65" fmla="*/ 2147483647 h 14"/>
                  <a:gd name="T66" fmla="*/ 0 w 47"/>
                  <a:gd name="T67" fmla="*/ 2147483647 h 1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7"/>
                  <a:gd name="T103" fmla="*/ 0 h 14"/>
                  <a:gd name="T104" fmla="*/ 47 w 47"/>
                  <a:gd name="T105" fmla="*/ 14 h 1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7" h="14">
                    <a:moveTo>
                      <a:pt x="0" y="5"/>
                    </a:moveTo>
                    <a:lnTo>
                      <a:pt x="3" y="5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9" y="5"/>
                    </a:lnTo>
                    <a:lnTo>
                      <a:pt x="25" y="8"/>
                    </a:lnTo>
                    <a:lnTo>
                      <a:pt x="28" y="5"/>
                    </a:lnTo>
                    <a:lnTo>
                      <a:pt x="33" y="5"/>
                    </a:lnTo>
                    <a:lnTo>
                      <a:pt x="39" y="8"/>
                    </a:lnTo>
                    <a:lnTo>
                      <a:pt x="42" y="8"/>
                    </a:lnTo>
                    <a:lnTo>
                      <a:pt x="42" y="5"/>
                    </a:lnTo>
                    <a:lnTo>
                      <a:pt x="45" y="5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45" y="3"/>
                    </a:lnTo>
                    <a:lnTo>
                      <a:pt x="47" y="0"/>
                    </a:lnTo>
                    <a:lnTo>
                      <a:pt x="47" y="3"/>
                    </a:lnTo>
                    <a:lnTo>
                      <a:pt x="45" y="8"/>
                    </a:lnTo>
                    <a:lnTo>
                      <a:pt x="39" y="11"/>
                    </a:lnTo>
                    <a:lnTo>
                      <a:pt x="36" y="11"/>
                    </a:lnTo>
                    <a:lnTo>
                      <a:pt x="33" y="11"/>
                    </a:lnTo>
                    <a:lnTo>
                      <a:pt x="25" y="11"/>
                    </a:lnTo>
                    <a:lnTo>
                      <a:pt x="19" y="14"/>
                    </a:lnTo>
                    <a:lnTo>
                      <a:pt x="11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6" name="Freeform 1094"/>
              <p:cNvSpPr>
                <a:spLocks noChangeAspect="1"/>
              </p:cNvSpPr>
              <p:nvPr>
                <p:custDataLst>
                  <p:tags r:id="rId1176"/>
                </p:custDataLst>
              </p:nvPr>
            </p:nvSpPr>
            <p:spPr bwMode="gray">
              <a:xfrm>
                <a:off x="7634945" y="4335561"/>
                <a:ext cx="36444" cy="22075"/>
              </a:xfrm>
              <a:custGeom>
                <a:avLst/>
                <a:gdLst>
                  <a:gd name="T0" fmla="*/ 2147483647 w 28"/>
                  <a:gd name="T1" fmla="*/ 0 h 17"/>
                  <a:gd name="T2" fmla="*/ 2147483647 w 28"/>
                  <a:gd name="T3" fmla="*/ 2147483647 h 17"/>
                  <a:gd name="T4" fmla="*/ 2147483647 w 28"/>
                  <a:gd name="T5" fmla="*/ 2147483647 h 17"/>
                  <a:gd name="T6" fmla="*/ 2147483647 w 28"/>
                  <a:gd name="T7" fmla="*/ 2147483647 h 17"/>
                  <a:gd name="T8" fmla="*/ 2147483647 w 28"/>
                  <a:gd name="T9" fmla="*/ 2147483647 h 17"/>
                  <a:gd name="T10" fmla="*/ 2147483647 w 28"/>
                  <a:gd name="T11" fmla="*/ 2147483647 h 17"/>
                  <a:gd name="T12" fmla="*/ 2147483647 w 28"/>
                  <a:gd name="T13" fmla="*/ 2147483647 h 17"/>
                  <a:gd name="T14" fmla="*/ 2147483647 w 28"/>
                  <a:gd name="T15" fmla="*/ 2147483647 h 17"/>
                  <a:gd name="T16" fmla="*/ 2147483647 w 28"/>
                  <a:gd name="T17" fmla="*/ 2147483647 h 17"/>
                  <a:gd name="T18" fmla="*/ 2147483647 w 28"/>
                  <a:gd name="T19" fmla="*/ 2147483647 h 17"/>
                  <a:gd name="T20" fmla="*/ 2147483647 w 28"/>
                  <a:gd name="T21" fmla="*/ 2147483647 h 17"/>
                  <a:gd name="T22" fmla="*/ 2147483647 w 28"/>
                  <a:gd name="T23" fmla="*/ 2147483647 h 17"/>
                  <a:gd name="T24" fmla="*/ 2147483647 w 28"/>
                  <a:gd name="T25" fmla="*/ 2147483647 h 17"/>
                  <a:gd name="T26" fmla="*/ 0 w 28"/>
                  <a:gd name="T27" fmla="*/ 2147483647 h 17"/>
                  <a:gd name="T28" fmla="*/ 0 w 28"/>
                  <a:gd name="T29" fmla="*/ 2147483647 h 17"/>
                  <a:gd name="T30" fmla="*/ 2147483647 w 28"/>
                  <a:gd name="T31" fmla="*/ 0 h 17"/>
                  <a:gd name="T32" fmla="*/ 2147483647 w 28"/>
                  <a:gd name="T33" fmla="*/ 0 h 17"/>
                  <a:gd name="T34" fmla="*/ 2147483647 w 28"/>
                  <a:gd name="T35" fmla="*/ 0 h 1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8"/>
                  <a:gd name="T55" fmla="*/ 0 h 17"/>
                  <a:gd name="T56" fmla="*/ 28 w 28"/>
                  <a:gd name="T57" fmla="*/ 17 h 1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8" h="17">
                    <a:moveTo>
                      <a:pt x="14" y="0"/>
                    </a:moveTo>
                    <a:lnTo>
                      <a:pt x="17" y="3"/>
                    </a:lnTo>
                    <a:lnTo>
                      <a:pt x="20" y="3"/>
                    </a:lnTo>
                    <a:lnTo>
                      <a:pt x="25" y="6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25" y="17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1" y="9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7" name="Freeform 1095"/>
              <p:cNvSpPr>
                <a:spLocks noChangeAspect="1"/>
              </p:cNvSpPr>
              <p:nvPr>
                <p:custDataLst>
                  <p:tags r:id="rId1177"/>
                </p:custDataLst>
              </p:nvPr>
            </p:nvSpPr>
            <p:spPr bwMode="gray">
              <a:xfrm>
                <a:off x="7634945" y="4335561"/>
                <a:ext cx="36444" cy="22075"/>
              </a:xfrm>
              <a:custGeom>
                <a:avLst/>
                <a:gdLst>
                  <a:gd name="T0" fmla="*/ 2147483647 w 28"/>
                  <a:gd name="T1" fmla="*/ 0 h 17"/>
                  <a:gd name="T2" fmla="*/ 2147483647 w 28"/>
                  <a:gd name="T3" fmla="*/ 2147483647 h 17"/>
                  <a:gd name="T4" fmla="*/ 2147483647 w 28"/>
                  <a:gd name="T5" fmla="*/ 2147483647 h 17"/>
                  <a:gd name="T6" fmla="*/ 2147483647 w 28"/>
                  <a:gd name="T7" fmla="*/ 2147483647 h 17"/>
                  <a:gd name="T8" fmla="*/ 2147483647 w 28"/>
                  <a:gd name="T9" fmla="*/ 2147483647 h 17"/>
                  <a:gd name="T10" fmla="*/ 2147483647 w 28"/>
                  <a:gd name="T11" fmla="*/ 2147483647 h 17"/>
                  <a:gd name="T12" fmla="*/ 2147483647 w 28"/>
                  <a:gd name="T13" fmla="*/ 2147483647 h 17"/>
                  <a:gd name="T14" fmla="*/ 2147483647 w 28"/>
                  <a:gd name="T15" fmla="*/ 2147483647 h 17"/>
                  <a:gd name="T16" fmla="*/ 2147483647 w 28"/>
                  <a:gd name="T17" fmla="*/ 2147483647 h 17"/>
                  <a:gd name="T18" fmla="*/ 2147483647 w 28"/>
                  <a:gd name="T19" fmla="*/ 2147483647 h 17"/>
                  <a:gd name="T20" fmla="*/ 2147483647 w 28"/>
                  <a:gd name="T21" fmla="*/ 2147483647 h 17"/>
                  <a:gd name="T22" fmla="*/ 2147483647 w 28"/>
                  <a:gd name="T23" fmla="*/ 2147483647 h 17"/>
                  <a:gd name="T24" fmla="*/ 2147483647 w 28"/>
                  <a:gd name="T25" fmla="*/ 2147483647 h 17"/>
                  <a:gd name="T26" fmla="*/ 0 w 28"/>
                  <a:gd name="T27" fmla="*/ 2147483647 h 17"/>
                  <a:gd name="T28" fmla="*/ 0 w 28"/>
                  <a:gd name="T29" fmla="*/ 2147483647 h 17"/>
                  <a:gd name="T30" fmla="*/ 2147483647 w 28"/>
                  <a:gd name="T31" fmla="*/ 0 h 17"/>
                  <a:gd name="T32" fmla="*/ 2147483647 w 28"/>
                  <a:gd name="T33" fmla="*/ 0 h 17"/>
                  <a:gd name="T34" fmla="*/ 2147483647 w 28"/>
                  <a:gd name="T35" fmla="*/ 0 h 1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8"/>
                  <a:gd name="T55" fmla="*/ 0 h 17"/>
                  <a:gd name="T56" fmla="*/ 28 w 28"/>
                  <a:gd name="T57" fmla="*/ 17 h 1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8" h="17">
                    <a:moveTo>
                      <a:pt x="14" y="0"/>
                    </a:moveTo>
                    <a:lnTo>
                      <a:pt x="17" y="3"/>
                    </a:lnTo>
                    <a:lnTo>
                      <a:pt x="20" y="3"/>
                    </a:lnTo>
                    <a:lnTo>
                      <a:pt x="25" y="6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25" y="17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1" y="9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6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8" name="Freeform 1096"/>
              <p:cNvSpPr>
                <a:spLocks noChangeAspect="1"/>
              </p:cNvSpPr>
              <p:nvPr>
                <p:custDataLst>
                  <p:tags r:id="rId1178"/>
                </p:custDataLst>
              </p:nvPr>
            </p:nvSpPr>
            <p:spPr bwMode="gray">
              <a:xfrm>
                <a:off x="7592429" y="4311909"/>
                <a:ext cx="45554" cy="22075"/>
              </a:xfrm>
              <a:custGeom>
                <a:avLst/>
                <a:gdLst>
                  <a:gd name="T0" fmla="*/ 2147483647 w 36"/>
                  <a:gd name="T1" fmla="*/ 2147483647 h 16"/>
                  <a:gd name="T2" fmla="*/ 2147483647 w 36"/>
                  <a:gd name="T3" fmla="*/ 2147483647 h 16"/>
                  <a:gd name="T4" fmla="*/ 2147483647 w 36"/>
                  <a:gd name="T5" fmla="*/ 2147483647 h 16"/>
                  <a:gd name="T6" fmla="*/ 2147483647 w 36"/>
                  <a:gd name="T7" fmla="*/ 2147483647 h 16"/>
                  <a:gd name="T8" fmla="*/ 2147483647 w 36"/>
                  <a:gd name="T9" fmla="*/ 2147483647 h 16"/>
                  <a:gd name="T10" fmla="*/ 2147483647 w 36"/>
                  <a:gd name="T11" fmla="*/ 2147483647 h 16"/>
                  <a:gd name="T12" fmla="*/ 2147483647 w 36"/>
                  <a:gd name="T13" fmla="*/ 2147483647 h 16"/>
                  <a:gd name="T14" fmla="*/ 2147483647 w 36"/>
                  <a:gd name="T15" fmla="*/ 2147483647 h 16"/>
                  <a:gd name="T16" fmla="*/ 2147483647 w 36"/>
                  <a:gd name="T17" fmla="*/ 2147483647 h 16"/>
                  <a:gd name="T18" fmla="*/ 2147483647 w 36"/>
                  <a:gd name="T19" fmla="*/ 0 h 16"/>
                  <a:gd name="T20" fmla="*/ 2147483647 w 36"/>
                  <a:gd name="T21" fmla="*/ 0 h 16"/>
                  <a:gd name="T22" fmla="*/ 2147483647 w 36"/>
                  <a:gd name="T23" fmla="*/ 2147483647 h 16"/>
                  <a:gd name="T24" fmla="*/ 2147483647 w 36"/>
                  <a:gd name="T25" fmla="*/ 2147483647 h 16"/>
                  <a:gd name="T26" fmla="*/ 2147483647 w 36"/>
                  <a:gd name="T27" fmla="*/ 2147483647 h 16"/>
                  <a:gd name="T28" fmla="*/ 2147483647 w 36"/>
                  <a:gd name="T29" fmla="*/ 2147483647 h 16"/>
                  <a:gd name="T30" fmla="*/ 2147483647 w 36"/>
                  <a:gd name="T31" fmla="*/ 2147483647 h 16"/>
                  <a:gd name="T32" fmla="*/ 2147483647 w 36"/>
                  <a:gd name="T33" fmla="*/ 2147483647 h 16"/>
                  <a:gd name="T34" fmla="*/ 2147483647 w 36"/>
                  <a:gd name="T35" fmla="*/ 2147483647 h 16"/>
                  <a:gd name="T36" fmla="*/ 2147483647 w 36"/>
                  <a:gd name="T37" fmla="*/ 2147483647 h 16"/>
                  <a:gd name="T38" fmla="*/ 2147483647 w 36"/>
                  <a:gd name="T39" fmla="*/ 2147483647 h 16"/>
                  <a:gd name="T40" fmla="*/ 2147483647 w 36"/>
                  <a:gd name="T41" fmla="*/ 2147483647 h 16"/>
                  <a:gd name="T42" fmla="*/ 2147483647 w 36"/>
                  <a:gd name="T43" fmla="*/ 2147483647 h 16"/>
                  <a:gd name="T44" fmla="*/ 2147483647 w 36"/>
                  <a:gd name="T45" fmla="*/ 2147483647 h 16"/>
                  <a:gd name="T46" fmla="*/ 2147483647 w 36"/>
                  <a:gd name="T47" fmla="*/ 2147483647 h 16"/>
                  <a:gd name="T48" fmla="*/ 2147483647 w 36"/>
                  <a:gd name="T49" fmla="*/ 2147483647 h 16"/>
                  <a:gd name="T50" fmla="*/ 2147483647 w 36"/>
                  <a:gd name="T51" fmla="*/ 2147483647 h 16"/>
                  <a:gd name="T52" fmla="*/ 2147483647 w 36"/>
                  <a:gd name="T53" fmla="*/ 2147483647 h 16"/>
                  <a:gd name="T54" fmla="*/ 2147483647 w 36"/>
                  <a:gd name="T55" fmla="*/ 2147483647 h 16"/>
                  <a:gd name="T56" fmla="*/ 2147483647 w 36"/>
                  <a:gd name="T57" fmla="*/ 2147483647 h 16"/>
                  <a:gd name="T58" fmla="*/ 0 w 36"/>
                  <a:gd name="T59" fmla="*/ 2147483647 h 16"/>
                  <a:gd name="T60" fmla="*/ 0 w 36"/>
                  <a:gd name="T61" fmla="*/ 2147483647 h 16"/>
                  <a:gd name="T62" fmla="*/ 0 w 36"/>
                  <a:gd name="T63" fmla="*/ 2147483647 h 16"/>
                  <a:gd name="T64" fmla="*/ 2147483647 w 36"/>
                  <a:gd name="T65" fmla="*/ 2147483647 h 16"/>
                  <a:gd name="T66" fmla="*/ 2147483647 w 36"/>
                  <a:gd name="T67" fmla="*/ 2147483647 h 1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6"/>
                  <a:gd name="T103" fmla="*/ 0 h 16"/>
                  <a:gd name="T104" fmla="*/ 36 w 36"/>
                  <a:gd name="T105" fmla="*/ 16 h 1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6" h="16">
                    <a:moveTo>
                      <a:pt x="2" y="5"/>
                    </a:moveTo>
                    <a:lnTo>
                      <a:pt x="5" y="5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22" y="8"/>
                    </a:lnTo>
                    <a:lnTo>
                      <a:pt x="19" y="8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27" y="3"/>
                    </a:lnTo>
                    <a:lnTo>
                      <a:pt x="27" y="5"/>
                    </a:lnTo>
                    <a:lnTo>
                      <a:pt x="30" y="3"/>
                    </a:lnTo>
                    <a:lnTo>
                      <a:pt x="36" y="5"/>
                    </a:lnTo>
                    <a:lnTo>
                      <a:pt x="36" y="8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0" y="11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5" y="16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9" name="Freeform 1097"/>
              <p:cNvSpPr>
                <a:spLocks noChangeAspect="1"/>
              </p:cNvSpPr>
              <p:nvPr>
                <p:custDataLst>
                  <p:tags r:id="rId1179"/>
                </p:custDataLst>
              </p:nvPr>
            </p:nvSpPr>
            <p:spPr bwMode="gray">
              <a:xfrm>
                <a:off x="7572689" y="4316640"/>
                <a:ext cx="15185" cy="12614"/>
              </a:xfrm>
              <a:custGeom>
                <a:avLst/>
                <a:gdLst>
                  <a:gd name="T0" fmla="*/ 2147483647 w 11"/>
                  <a:gd name="T1" fmla="*/ 2147483647 h 11"/>
                  <a:gd name="T2" fmla="*/ 2147483647 w 11"/>
                  <a:gd name="T3" fmla="*/ 0 h 11"/>
                  <a:gd name="T4" fmla="*/ 2147483647 w 11"/>
                  <a:gd name="T5" fmla="*/ 0 h 11"/>
                  <a:gd name="T6" fmla="*/ 2147483647 w 11"/>
                  <a:gd name="T7" fmla="*/ 0 h 11"/>
                  <a:gd name="T8" fmla="*/ 2147483647 w 11"/>
                  <a:gd name="T9" fmla="*/ 2147483647 h 11"/>
                  <a:gd name="T10" fmla="*/ 2147483647 w 11"/>
                  <a:gd name="T11" fmla="*/ 2147483647 h 11"/>
                  <a:gd name="T12" fmla="*/ 2147483647 w 11"/>
                  <a:gd name="T13" fmla="*/ 2147483647 h 11"/>
                  <a:gd name="T14" fmla="*/ 2147483647 w 11"/>
                  <a:gd name="T15" fmla="*/ 2147483647 h 11"/>
                  <a:gd name="T16" fmla="*/ 2147483647 w 11"/>
                  <a:gd name="T17" fmla="*/ 2147483647 h 11"/>
                  <a:gd name="T18" fmla="*/ 0 w 11"/>
                  <a:gd name="T19" fmla="*/ 2147483647 h 11"/>
                  <a:gd name="T20" fmla="*/ 0 w 11"/>
                  <a:gd name="T21" fmla="*/ 2147483647 h 11"/>
                  <a:gd name="T22" fmla="*/ 0 w 11"/>
                  <a:gd name="T23" fmla="*/ 2147483647 h 11"/>
                  <a:gd name="T24" fmla="*/ 2147483647 w 11"/>
                  <a:gd name="T25" fmla="*/ 2147483647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"/>
                  <a:gd name="T40" fmla="*/ 0 h 11"/>
                  <a:gd name="T41" fmla="*/ 11 w 11"/>
                  <a:gd name="T42" fmla="*/ 11 h 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" h="11">
                    <a:moveTo>
                      <a:pt x="2" y="2"/>
                    </a:moveTo>
                    <a:lnTo>
                      <a:pt x="5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11" y="11"/>
                    </a:lnTo>
                    <a:lnTo>
                      <a:pt x="8" y="11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0" name="Freeform 1098"/>
              <p:cNvSpPr>
                <a:spLocks noChangeAspect="1"/>
              </p:cNvSpPr>
              <p:nvPr>
                <p:custDataLst>
                  <p:tags r:id="rId1180"/>
                </p:custDataLst>
              </p:nvPr>
            </p:nvSpPr>
            <p:spPr bwMode="gray">
              <a:xfrm>
                <a:off x="7543838" y="4311909"/>
                <a:ext cx="22777" cy="14192"/>
              </a:xfrm>
              <a:custGeom>
                <a:avLst/>
                <a:gdLst>
                  <a:gd name="T0" fmla="*/ 2147483647 w 17"/>
                  <a:gd name="T1" fmla="*/ 0 h 11"/>
                  <a:gd name="T2" fmla="*/ 2147483647 w 17"/>
                  <a:gd name="T3" fmla="*/ 0 h 11"/>
                  <a:gd name="T4" fmla="*/ 2147483647 w 17"/>
                  <a:gd name="T5" fmla="*/ 0 h 11"/>
                  <a:gd name="T6" fmla="*/ 2147483647 w 17"/>
                  <a:gd name="T7" fmla="*/ 0 h 11"/>
                  <a:gd name="T8" fmla="*/ 2147483647 w 17"/>
                  <a:gd name="T9" fmla="*/ 2147483647 h 11"/>
                  <a:gd name="T10" fmla="*/ 2147483647 w 17"/>
                  <a:gd name="T11" fmla="*/ 2147483647 h 11"/>
                  <a:gd name="T12" fmla="*/ 2147483647 w 17"/>
                  <a:gd name="T13" fmla="*/ 2147483647 h 11"/>
                  <a:gd name="T14" fmla="*/ 2147483647 w 17"/>
                  <a:gd name="T15" fmla="*/ 2147483647 h 11"/>
                  <a:gd name="T16" fmla="*/ 2147483647 w 17"/>
                  <a:gd name="T17" fmla="*/ 2147483647 h 11"/>
                  <a:gd name="T18" fmla="*/ 2147483647 w 17"/>
                  <a:gd name="T19" fmla="*/ 2147483647 h 11"/>
                  <a:gd name="T20" fmla="*/ 2147483647 w 17"/>
                  <a:gd name="T21" fmla="*/ 2147483647 h 11"/>
                  <a:gd name="T22" fmla="*/ 2147483647 w 17"/>
                  <a:gd name="T23" fmla="*/ 2147483647 h 11"/>
                  <a:gd name="T24" fmla="*/ 2147483647 w 17"/>
                  <a:gd name="T25" fmla="*/ 2147483647 h 11"/>
                  <a:gd name="T26" fmla="*/ 0 w 17"/>
                  <a:gd name="T27" fmla="*/ 2147483647 h 11"/>
                  <a:gd name="T28" fmla="*/ 0 w 17"/>
                  <a:gd name="T29" fmla="*/ 0 h 11"/>
                  <a:gd name="T30" fmla="*/ 0 w 17"/>
                  <a:gd name="T31" fmla="*/ 0 h 11"/>
                  <a:gd name="T32" fmla="*/ 2147483647 w 17"/>
                  <a:gd name="T33" fmla="*/ 0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7"/>
                  <a:gd name="T52" fmla="*/ 0 h 11"/>
                  <a:gd name="T53" fmla="*/ 17 w 17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7" h="11">
                    <a:moveTo>
                      <a:pt x="9" y="0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2" y="11"/>
                    </a:lnTo>
                    <a:lnTo>
                      <a:pt x="9" y="8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1" name="Freeform 1099"/>
              <p:cNvSpPr>
                <a:spLocks noChangeAspect="1"/>
              </p:cNvSpPr>
              <p:nvPr>
                <p:custDataLst>
                  <p:tags r:id="rId1181"/>
                </p:custDataLst>
              </p:nvPr>
            </p:nvSpPr>
            <p:spPr bwMode="gray">
              <a:xfrm>
                <a:off x="7543838" y="4311909"/>
                <a:ext cx="22777" cy="14192"/>
              </a:xfrm>
              <a:custGeom>
                <a:avLst/>
                <a:gdLst>
                  <a:gd name="T0" fmla="*/ 2147483647 w 17"/>
                  <a:gd name="T1" fmla="*/ 0 h 11"/>
                  <a:gd name="T2" fmla="*/ 2147483647 w 17"/>
                  <a:gd name="T3" fmla="*/ 0 h 11"/>
                  <a:gd name="T4" fmla="*/ 2147483647 w 17"/>
                  <a:gd name="T5" fmla="*/ 0 h 11"/>
                  <a:gd name="T6" fmla="*/ 2147483647 w 17"/>
                  <a:gd name="T7" fmla="*/ 0 h 11"/>
                  <a:gd name="T8" fmla="*/ 2147483647 w 17"/>
                  <a:gd name="T9" fmla="*/ 2147483647 h 11"/>
                  <a:gd name="T10" fmla="*/ 2147483647 w 17"/>
                  <a:gd name="T11" fmla="*/ 2147483647 h 11"/>
                  <a:gd name="T12" fmla="*/ 2147483647 w 17"/>
                  <a:gd name="T13" fmla="*/ 2147483647 h 11"/>
                  <a:gd name="T14" fmla="*/ 2147483647 w 17"/>
                  <a:gd name="T15" fmla="*/ 2147483647 h 11"/>
                  <a:gd name="T16" fmla="*/ 2147483647 w 17"/>
                  <a:gd name="T17" fmla="*/ 2147483647 h 11"/>
                  <a:gd name="T18" fmla="*/ 2147483647 w 17"/>
                  <a:gd name="T19" fmla="*/ 2147483647 h 11"/>
                  <a:gd name="T20" fmla="*/ 2147483647 w 17"/>
                  <a:gd name="T21" fmla="*/ 2147483647 h 11"/>
                  <a:gd name="T22" fmla="*/ 2147483647 w 17"/>
                  <a:gd name="T23" fmla="*/ 2147483647 h 11"/>
                  <a:gd name="T24" fmla="*/ 2147483647 w 17"/>
                  <a:gd name="T25" fmla="*/ 2147483647 h 11"/>
                  <a:gd name="T26" fmla="*/ 0 w 17"/>
                  <a:gd name="T27" fmla="*/ 2147483647 h 11"/>
                  <a:gd name="T28" fmla="*/ 0 w 17"/>
                  <a:gd name="T29" fmla="*/ 0 h 11"/>
                  <a:gd name="T30" fmla="*/ 0 w 17"/>
                  <a:gd name="T31" fmla="*/ 0 h 11"/>
                  <a:gd name="T32" fmla="*/ 2147483647 w 17"/>
                  <a:gd name="T33" fmla="*/ 0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7"/>
                  <a:gd name="T52" fmla="*/ 0 h 11"/>
                  <a:gd name="T53" fmla="*/ 17 w 17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7" h="11">
                    <a:moveTo>
                      <a:pt x="9" y="0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2" y="11"/>
                    </a:lnTo>
                    <a:lnTo>
                      <a:pt x="9" y="8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9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2" name="Freeform 1100"/>
              <p:cNvSpPr>
                <a:spLocks noChangeAspect="1"/>
              </p:cNvSpPr>
              <p:nvPr>
                <p:custDataLst>
                  <p:tags r:id="rId1182"/>
                </p:custDataLst>
              </p:nvPr>
            </p:nvSpPr>
            <p:spPr bwMode="gray">
              <a:xfrm>
                <a:off x="7507396" y="4285106"/>
                <a:ext cx="25813" cy="9460"/>
              </a:xfrm>
              <a:custGeom>
                <a:avLst/>
                <a:gdLst>
                  <a:gd name="T0" fmla="*/ 0 w 19"/>
                  <a:gd name="T1" fmla="*/ 2147483647 h 6"/>
                  <a:gd name="T2" fmla="*/ 2147483647 w 19"/>
                  <a:gd name="T3" fmla="*/ 2147483647 h 6"/>
                  <a:gd name="T4" fmla="*/ 2147483647 w 19"/>
                  <a:gd name="T5" fmla="*/ 0 h 6"/>
                  <a:gd name="T6" fmla="*/ 2147483647 w 19"/>
                  <a:gd name="T7" fmla="*/ 0 h 6"/>
                  <a:gd name="T8" fmla="*/ 2147483647 w 19"/>
                  <a:gd name="T9" fmla="*/ 2147483647 h 6"/>
                  <a:gd name="T10" fmla="*/ 2147483647 w 19"/>
                  <a:gd name="T11" fmla="*/ 2147483647 h 6"/>
                  <a:gd name="T12" fmla="*/ 2147483647 w 19"/>
                  <a:gd name="T13" fmla="*/ 2147483647 h 6"/>
                  <a:gd name="T14" fmla="*/ 0 w 19"/>
                  <a:gd name="T15" fmla="*/ 2147483647 h 6"/>
                  <a:gd name="T16" fmla="*/ 0 w 19"/>
                  <a:gd name="T17" fmla="*/ 2147483647 h 6"/>
                  <a:gd name="T18" fmla="*/ 0 w 19"/>
                  <a:gd name="T19" fmla="*/ 214748364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"/>
                  <a:gd name="T31" fmla="*/ 0 h 6"/>
                  <a:gd name="T32" fmla="*/ 19 w 19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" h="6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1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3" name="Freeform 1101"/>
              <p:cNvSpPr>
                <a:spLocks noChangeAspect="1"/>
              </p:cNvSpPr>
              <p:nvPr>
                <p:custDataLst>
                  <p:tags r:id="rId1183"/>
                </p:custDataLst>
              </p:nvPr>
            </p:nvSpPr>
            <p:spPr bwMode="gray">
              <a:xfrm>
                <a:off x="7507396" y="4285106"/>
                <a:ext cx="25813" cy="9460"/>
              </a:xfrm>
              <a:custGeom>
                <a:avLst/>
                <a:gdLst>
                  <a:gd name="T0" fmla="*/ 0 w 19"/>
                  <a:gd name="T1" fmla="*/ 2147483647 h 6"/>
                  <a:gd name="T2" fmla="*/ 2147483647 w 19"/>
                  <a:gd name="T3" fmla="*/ 2147483647 h 6"/>
                  <a:gd name="T4" fmla="*/ 2147483647 w 19"/>
                  <a:gd name="T5" fmla="*/ 0 h 6"/>
                  <a:gd name="T6" fmla="*/ 2147483647 w 19"/>
                  <a:gd name="T7" fmla="*/ 0 h 6"/>
                  <a:gd name="T8" fmla="*/ 2147483647 w 19"/>
                  <a:gd name="T9" fmla="*/ 2147483647 h 6"/>
                  <a:gd name="T10" fmla="*/ 2147483647 w 19"/>
                  <a:gd name="T11" fmla="*/ 2147483647 h 6"/>
                  <a:gd name="T12" fmla="*/ 2147483647 w 19"/>
                  <a:gd name="T13" fmla="*/ 2147483647 h 6"/>
                  <a:gd name="T14" fmla="*/ 0 w 19"/>
                  <a:gd name="T15" fmla="*/ 2147483647 h 6"/>
                  <a:gd name="T16" fmla="*/ 0 w 19"/>
                  <a:gd name="T17" fmla="*/ 2147483647 h 6"/>
                  <a:gd name="T18" fmla="*/ 0 w 19"/>
                  <a:gd name="T19" fmla="*/ 214748364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"/>
                  <a:gd name="T31" fmla="*/ 0 h 6"/>
                  <a:gd name="T32" fmla="*/ 19 w 19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" h="6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1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4" name="Freeform 1102"/>
              <p:cNvSpPr>
                <a:spLocks noChangeAspect="1"/>
              </p:cNvSpPr>
              <p:nvPr>
                <p:custDataLst>
                  <p:tags r:id="rId1184"/>
                </p:custDataLst>
              </p:nvPr>
            </p:nvSpPr>
            <p:spPr bwMode="gray">
              <a:xfrm>
                <a:off x="7559023" y="4285106"/>
                <a:ext cx="7592" cy="4730"/>
              </a:xfrm>
              <a:custGeom>
                <a:avLst/>
                <a:gdLst>
                  <a:gd name="T0" fmla="*/ 0 w 5"/>
                  <a:gd name="T1" fmla="*/ 0 h 3"/>
                  <a:gd name="T2" fmla="*/ 2147483647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0 w 5"/>
                  <a:gd name="T11" fmla="*/ 0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5" y="0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5" name="Freeform 1103"/>
              <p:cNvSpPr>
                <a:spLocks noChangeAspect="1"/>
              </p:cNvSpPr>
              <p:nvPr>
                <p:custDataLst>
                  <p:tags r:id="rId1185"/>
                </p:custDataLst>
              </p:nvPr>
            </p:nvSpPr>
            <p:spPr bwMode="gray">
              <a:xfrm>
                <a:off x="7559023" y="4285106"/>
                <a:ext cx="7592" cy="4730"/>
              </a:xfrm>
              <a:custGeom>
                <a:avLst/>
                <a:gdLst>
                  <a:gd name="T0" fmla="*/ 0 w 5"/>
                  <a:gd name="T1" fmla="*/ 0 h 3"/>
                  <a:gd name="T2" fmla="*/ 2147483647 w 5"/>
                  <a:gd name="T3" fmla="*/ 0 h 3"/>
                  <a:gd name="T4" fmla="*/ 2147483647 w 5"/>
                  <a:gd name="T5" fmla="*/ 0 h 3"/>
                  <a:gd name="T6" fmla="*/ 2147483647 w 5"/>
                  <a:gd name="T7" fmla="*/ 0 h 3"/>
                  <a:gd name="T8" fmla="*/ 2147483647 w 5"/>
                  <a:gd name="T9" fmla="*/ 2147483647 h 3"/>
                  <a:gd name="T10" fmla="*/ 0 w 5"/>
                  <a:gd name="T11" fmla="*/ 0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5" y="0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6" name="Freeform 1104"/>
              <p:cNvSpPr>
                <a:spLocks noChangeAspect="1"/>
              </p:cNvSpPr>
              <p:nvPr>
                <p:custDataLst>
                  <p:tags r:id="rId1186"/>
                </p:custDataLst>
              </p:nvPr>
            </p:nvSpPr>
            <p:spPr bwMode="gray">
              <a:xfrm>
                <a:off x="7865751" y="4149507"/>
                <a:ext cx="19739" cy="7884"/>
              </a:xfrm>
              <a:custGeom>
                <a:avLst/>
                <a:gdLst>
                  <a:gd name="T0" fmla="*/ 0 w 14"/>
                  <a:gd name="T1" fmla="*/ 2147483647 h 6"/>
                  <a:gd name="T2" fmla="*/ 0 w 14"/>
                  <a:gd name="T3" fmla="*/ 2147483647 h 6"/>
                  <a:gd name="T4" fmla="*/ 0 w 14"/>
                  <a:gd name="T5" fmla="*/ 0 h 6"/>
                  <a:gd name="T6" fmla="*/ 2147483647 w 14"/>
                  <a:gd name="T7" fmla="*/ 0 h 6"/>
                  <a:gd name="T8" fmla="*/ 2147483647 w 14"/>
                  <a:gd name="T9" fmla="*/ 2147483647 h 6"/>
                  <a:gd name="T10" fmla="*/ 2147483647 w 14"/>
                  <a:gd name="T11" fmla="*/ 2147483647 h 6"/>
                  <a:gd name="T12" fmla="*/ 2147483647 w 14"/>
                  <a:gd name="T13" fmla="*/ 2147483647 h 6"/>
                  <a:gd name="T14" fmla="*/ 2147483647 w 14"/>
                  <a:gd name="T15" fmla="*/ 2147483647 h 6"/>
                  <a:gd name="T16" fmla="*/ 0 w 14"/>
                  <a:gd name="T17" fmla="*/ 2147483647 h 6"/>
                  <a:gd name="T18" fmla="*/ 0 w 14"/>
                  <a:gd name="T19" fmla="*/ 2147483647 h 6"/>
                  <a:gd name="T20" fmla="*/ 0 w 14"/>
                  <a:gd name="T21" fmla="*/ 2147483647 h 6"/>
                  <a:gd name="T22" fmla="*/ 0 w 14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6"/>
                  <a:gd name="T38" fmla="*/ 14 w 14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14" y="6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7" name="Freeform 1105"/>
              <p:cNvSpPr>
                <a:spLocks noChangeAspect="1"/>
              </p:cNvSpPr>
              <p:nvPr>
                <p:custDataLst>
                  <p:tags r:id="rId1187"/>
                </p:custDataLst>
              </p:nvPr>
            </p:nvSpPr>
            <p:spPr bwMode="gray">
              <a:xfrm>
                <a:off x="7865751" y="4149507"/>
                <a:ext cx="19739" cy="7884"/>
              </a:xfrm>
              <a:custGeom>
                <a:avLst/>
                <a:gdLst>
                  <a:gd name="T0" fmla="*/ 0 w 14"/>
                  <a:gd name="T1" fmla="*/ 2147483647 h 6"/>
                  <a:gd name="T2" fmla="*/ 0 w 14"/>
                  <a:gd name="T3" fmla="*/ 2147483647 h 6"/>
                  <a:gd name="T4" fmla="*/ 0 w 14"/>
                  <a:gd name="T5" fmla="*/ 0 h 6"/>
                  <a:gd name="T6" fmla="*/ 2147483647 w 14"/>
                  <a:gd name="T7" fmla="*/ 0 h 6"/>
                  <a:gd name="T8" fmla="*/ 2147483647 w 14"/>
                  <a:gd name="T9" fmla="*/ 2147483647 h 6"/>
                  <a:gd name="T10" fmla="*/ 2147483647 w 14"/>
                  <a:gd name="T11" fmla="*/ 2147483647 h 6"/>
                  <a:gd name="T12" fmla="*/ 2147483647 w 14"/>
                  <a:gd name="T13" fmla="*/ 2147483647 h 6"/>
                  <a:gd name="T14" fmla="*/ 2147483647 w 14"/>
                  <a:gd name="T15" fmla="*/ 2147483647 h 6"/>
                  <a:gd name="T16" fmla="*/ 0 w 14"/>
                  <a:gd name="T17" fmla="*/ 2147483647 h 6"/>
                  <a:gd name="T18" fmla="*/ 0 w 14"/>
                  <a:gd name="T19" fmla="*/ 2147483647 h 6"/>
                  <a:gd name="T20" fmla="*/ 0 w 14"/>
                  <a:gd name="T21" fmla="*/ 2147483647 h 6"/>
                  <a:gd name="T22" fmla="*/ 0 w 14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6"/>
                  <a:gd name="T38" fmla="*/ 14 w 14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14" y="6"/>
                    </a:lnTo>
                    <a:lnTo>
                      <a:pt x="9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8" name="Freeform 1106"/>
              <p:cNvSpPr>
                <a:spLocks noChangeAspect="1"/>
              </p:cNvSpPr>
              <p:nvPr>
                <p:custDataLst>
                  <p:tags r:id="rId1188"/>
                </p:custDataLst>
              </p:nvPr>
            </p:nvSpPr>
            <p:spPr bwMode="gray">
              <a:xfrm>
                <a:off x="7871826" y="4166851"/>
                <a:ext cx="6074" cy="9460"/>
              </a:xfrm>
              <a:custGeom>
                <a:avLst/>
                <a:gdLst>
                  <a:gd name="T0" fmla="*/ 0 w 6"/>
                  <a:gd name="T1" fmla="*/ 0 h 6"/>
                  <a:gd name="T2" fmla="*/ 2147483647 w 6"/>
                  <a:gd name="T3" fmla="*/ 0 h 6"/>
                  <a:gd name="T4" fmla="*/ 2147483647 w 6"/>
                  <a:gd name="T5" fmla="*/ 0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2147483647 w 6"/>
                  <a:gd name="T11" fmla="*/ 2147483647 h 6"/>
                  <a:gd name="T12" fmla="*/ 0 w 6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6"/>
                  <a:gd name="T23" fmla="*/ 6 w 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6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9" name="Freeform 1107"/>
              <p:cNvSpPr>
                <a:spLocks noChangeAspect="1"/>
              </p:cNvSpPr>
              <p:nvPr>
                <p:custDataLst>
                  <p:tags r:id="rId1189"/>
                </p:custDataLst>
              </p:nvPr>
            </p:nvSpPr>
            <p:spPr bwMode="gray">
              <a:xfrm>
                <a:off x="7871826" y="4166851"/>
                <a:ext cx="6074" cy="9460"/>
              </a:xfrm>
              <a:custGeom>
                <a:avLst/>
                <a:gdLst>
                  <a:gd name="T0" fmla="*/ 0 w 6"/>
                  <a:gd name="T1" fmla="*/ 0 h 6"/>
                  <a:gd name="T2" fmla="*/ 2147483647 w 6"/>
                  <a:gd name="T3" fmla="*/ 0 h 6"/>
                  <a:gd name="T4" fmla="*/ 2147483647 w 6"/>
                  <a:gd name="T5" fmla="*/ 0 h 6"/>
                  <a:gd name="T6" fmla="*/ 2147483647 w 6"/>
                  <a:gd name="T7" fmla="*/ 2147483647 h 6"/>
                  <a:gd name="T8" fmla="*/ 2147483647 w 6"/>
                  <a:gd name="T9" fmla="*/ 2147483647 h 6"/>
                  <a:gd name="T10" fmla="*/ 2147483647 w 6"/>
                  <a:gd name="T11" fmla="*/ 2147483647 h 6"/>
                  <a:gd name="T12" fmla="*/ 0 w 6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6"/>
                  <a:gd name="T23" fmla="*/ 6 w 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6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0" name="Freeform 1108"/>
              <p:cNvSpPr>
                <a:spLocks noChangeAspect="1"/>
              </p:cNvSpPr>
              <p:nvPr>
                <p:custDataLst>
                  <p:tags r:id="rId1190"/>
                </p:custDataLst>
              </p:nvPr>
            </p:nvSpPr>
            <p:spPr bwMode="gray">
              <a:xfrm>
                <a:off x="7852084" y="4182618"/>
                <a:ext cx="13667" cy="11038"/>
              </a:xfrm>
              <a:custGeom>
                <a:avLst/>
                <a:gdLst>
                  <a:gd name="T0" fmla="*/ 0 w 11"/>
                  <a:gd name="T1" fmla="*/ 2147483647 h 8"/>
                  <a:gd name="T2" fmla="*/ 2147483647 w 11"/>
                  <a:gd name="T3" fmla="*/ 2147483647 h 8"/>
                  <a:gd name="T4" fmla="*/ 2147483647 w 11"/>
                  <a:gd name="T5" fmla="*/ 0 h 8"/>
                  <a:gd name="T6" fmla="*/ 2147483647 w 11"/>
                  <a:gd name="T7" fmla="*/ 0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2147483647 w 11"/>
                  <a:gd name="T17" fmla="*/ 2147483647 h 8"/>
                  <a:gd name="T18" fmla="*/ 0 w 11"/>
                  <a:gd name="T19" fmla="*/ 2147483647 h 8"/>
                  <a:gd name="T20" fmla="*/ 0 w 11"/>
                  <a:gd name="T21" fmla="*/ 2147483647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8"/>
                  <a:gd name="T35" fmla="*/ 11 w 11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8">
                    <a:moveTo>
                      <a:pt x="0" y="2"/>
                    </a:moveTo>
                    <a:lnTo>
                      <a:pt x="3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6" y="8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1" name="Freeform 1109"/>
              <p:cNvSpPr>
                <a:spLocks noChangeAspect="1"/>
              </p:cNvSpPr>
              <p:nvPr>
                <p:custDataLst>
                  <p:tags r:id="rId1191"/>
                </p:custDataLst>
              </p:nvPr>
            </p:nvSpPr>
            <p:spPr bwMode="gray">
              <a:xfrm>
                <a:off x="7852084" y="4182618"/>
                <a:ext cx="13667" cy="11038"/>
              </a:xfrm>
              <a:custGeom>
                <a:avLst/>
                <a:gdLst>
                  <a:gd name="T0" fmla="*/ 0 w 11"/>
                  <a:gd name="T1" fmla="*/ 2147483647 h 8"/>
                  <a:gd name="T2" fmla="*/ 2147483647 w 11"/>
                  <a:gd name="T3" fmla="*/ 2147483647 h 8"/>
                  <a:gd name="T4" fmla="*/ 2147483647 w 11"/>
                  <a:gd name="T5" fmla="*/ 0 h 8"/>
                  <a:gd name="T6" fmla="*/ 2147483647 w 11"/>
                  <a:gd name="T7" fmla="*/ 0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2147483647 w 11"/>
                  <a:gd name="T17" fmla="*/ 2147483647 h 8"/>
                  <a:gd name="T18" fmla="*/ 0 w 11"/>
                  <a:gd name="T19" fmla="*/ 2147483647 h 8"/>
                  <a:gd name="T20" fmla="*/ 0 w 11"/>
                  <a:gd name="T21" fmla="*/ 2147483647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8"/>
                  <a:gd name="T35" fmla="*/ 11 w 11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8">
                    <a:moveTo>
                      <a:pt x="0" y="2"/>
                    </a:moveTo>
                    <a:lnTo>
                      <a:pt x="3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6" y="8"/>
                    </a:lnTo>
                    <a:lnTo>
                      <a:pt x="0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2" name="Freeform 1110"/>
              <p:cNvSpPr>
                <a:spLocks noChangeAspect="1"/>
              </p:cNvSpPr>
              <p:nvPr>
                <p:custDataLst>
                  <p:tags r:id="rId1192"/>
                </p:custDataLst>
              </p:nvPr>
            </p:nvSpPr>
            <p:spPr bwMode="gray">
              <a:xfrm>
                <a:off x="7817161" y="4207843"/>
                <a:ext cx="57701" cy="22075"/>
              </a:xfrm>
              <a:custGeom>
                <a:avLst/>
                <a:gdLst>
                  <a:gd name="T0" fmla="*/ 0 w 45"/>
                  <a:gd name="T1" fmla="*/ 2147483647 h 17"/>
                  <a:gd name="T2" fmla="*/ 0 w 45"/>
                  <a:gd name="T3" fmla="*/ 2147483647 h 17"/>
                  <a:gd name="T4" fmla="*/ 0 w 45"/>
                  <a:gd name="T5" fmla="*/ 2147483647 h 17"/>
                  <a:gd name="T6" fmla="*/ 0 w 45"/>
                  <a:gd name="T7" fmla="*/ 2147483647 h 17"/>
                  <a:gd name="T8" fmla="*/ 2147483647 w 45"/>
                  <a:gd name="T9" fmla="*/ 2147483647 h 17"/>
                  <a:gd name="T10" fmla="*/ 2147483647 w 45"/>
                  <a:gd name="T11" fmla="*/ 0 h 17"/>
                  <a:gd name="T12" fmla="*/ 2147483647 w 45"/>
                  <a:gd name="T13" fmla="*/ 0 h 17"/>
                  <a:gd name="T14" fmla="*/ 2147483647 w 45"/>
                  <a:gd name="T15" fmla="*/ 0 h 17"/>
                  <a:gd name="T16" fmla="*/ 2147483647 w 45"/>
                  <a:gd name="T17" fmla="*/ 0 h 17"/>
                  <a:gd name="T18" fmla="*/ 2147483647 w 45"/>
                  <a:gd name="T19" fmla="*/ 0 h 17"/>
                  <a:gd name="T20" fmla="*/ 2147483647 w 45"/>
                  <a:gd name="T21" fmla="*/ 2147483647 h 17"/>
                  <a:gd name="T22" fmla="*/ 2147483647 w 45"/>
                  <a:gd name="T23" fmla="*/ 2147483647 h 17"/>
                  <a:gd name="T24" fmla="*/ 2147483647 w 45"/>
                  <a:gd name="T25" fmla="*/ 2147483647 h 17"/>
                  <a:gd name="T26" fmla="*/ 2147483647 w 45"/>
                  <a:gd name="T27" fmla="*/ 2147483647 h 17"/>
                  <a:gd name="T28" fmla="*/ 2147483647 w 45"/>
                  <a:gd name="T29" fmla="*/ 2147483647 h 17"/>
                  <a:gd name="T30" fmla="*/ 2147483647 w 45"/>
                  <a:gd name="T31" fmla="*/ 2147483647 h 17"/>
                  <a:gd name="T32" fmla="*/ 2147483647 w 45"/>
                  <a:gd name="T33" fmla="*/ 2147483647 h 17"/>
                  <a:gd name="T34" fmla="*/ 2147483647 w 45"/>
                  <a:gd name="T35" fmla="*/ 2147483647 h 17"/>
                  <a:gd name="T36" fmla="*/ 2147483647 w 45"/>
                  <a:gd name="T37" fmla="*/ 2147483647 h 17"/>
                  <a:gd name="T38" fmla="*/ 2147483647 w 45"/>
                  <a:gd name="T39" fmla="*/ 2147483647 h 17"/>
                  <a:gd name="T40" fmla="*/ 2147483647 w 45"/>
                  <a:gd name="T41" fmla="*/ 2147483647 h 17"/>
                  <a:gd name="T42" fmla="*/ 2147483647 w 45"/>
                  <a:gd name="T43" fmla="*/ 2147483647 h 17"/>
                  <a:gd name="T44" fmla="*/ 2147483647 w 45"/>
                  <a:gd name="T45" fmla="*/ 2147483647 h 17"/>
                  <a:gd name="T46" fmla="*/ 2147483647 w 45"/>
                  <a:gd name="T47" fmla="*/ 2147483647 h 17"/>
                  <a:gd name="T48" fmla="*/ 2147483647 w 45"/>
                  <a:gd name="T49" fmla="*/ 2147483647 h 17"/>
                  <a:gd name="T50" fmla="*/ 2147483647 w 45"/>
                  <a:gd name="T51" fmla="*/ 2147483647 h 17"/>
                  <a:gd name="T52" fmla="*/ 2147483647 w 45"/>
                  <a:gd name="T53" fmla="*/ 2147483647 h 17"/>
                  <a:gd name="T54" fmla="*/ 2147483647 w 45"/>
                  <a:gd name="T55" fmla="*/ 2147483647 h 17"/>
                  <a:gd name="T56" fmla="*/ 0 w 45"/>
                  <a:gd name="T57" fmla="*/ 2147483647 h 1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5"/>
                  <a:gd name="T88" fmla="*/ 0 h 17"/>
                  <a:gd name="T89" fmla="*/ 45 w 45"/>
                  <a:gd name="T90" fmla="*/ 17 h 1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5" h="17">
                    <a:moveTo>
                      <a:pt x="0" y="11"/>
                    </a:move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3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2" y="8"/>
                    </a:lnTo>
                    <a:lnTo>
                      <a:pt x="45" y="8"/>
                    </a:lnTo>
                    <a:lnTo>
                      <a:pt x="45" y="14"/>
                    </a:lnTo>
                    <a:lnTo>
                      <a:pt x="45" y="17"/>
                    </a:lnTo>
                    <a:lnTo>
                      <a:pt x="31" y="8"/>
                    </a:lnTo>
                    <a:lnTo>
                      <a:pt x="25" y="8"/>
                    </a:lnTo>
                    <a:lnTo>
                      <a:pt x="17" y="8"/>
                    </a:lnTo>
                    <a:lnTo>
                      <a:pt x="14" y="6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6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3" name="Freeform 1111"/>
              <p:cNvSpPr>
                <a:spLocks noChangeAspect="1"/>
              </p:cNvSpPr>
              <p:nvPr>
                <p:custDataLst>
                  <p:tags r:id="rId1193"/>
                </p:custDataLst>
              </p:nvPr>
            </p:nvSpPr>
            <p:spPr bwMode="gray">
              <a:xfrm>
                <a:off x="7817161" y="4207843"/>
                <a:ext cx="57701" cy="22075"/>
              </a:xfrm>
              <a:custGeom>
                <a:avLst/>
                <a:gdLst>
                  <a:gd name="T0" fmla="*/ 0 w 45"/>
                  <a:gd name="T1" fmla="*/ 2147483647 h 17"/>
                  <a:gd name="T2" fmla="*/ 0 w 45"/>
                  <a:gd name="T3" fmla="*/ 2147483647 h 17"/>
                  <a:gd name="T4" fmla="*/ 0 w 45"/>
                  <a:gd name="T5" fmla="*/ 2147483647 h 17"/>
                  <a:gd name="T6" fmla="*/ 0 w 45"/>
                  <a:gd name="T7" fmla="*/ 2147483647 h 17"/>
                  <a:gd name="T8" fmla="*/ 2147483647 w 45"/>
                  <a:gd name="T9" fmla="*/ 2147483647 h 17"/>
                  <a:gd name="T10" fmla="*/ 2147483647 w 45"/>
                  <a:gd name="T11" fmla="*/ 0 h 17"/>
                  <a:gd name="T12" fmla="*/ 2147483647 w 45"/>
                  <a:gd name="T13" fmla="*/ 0 h 17"/>
                  <a:gd name="T14" fmla="*/ 2147483647 w 45"/>
                  <a:gd name="T15" fmla="*/ 0 h 17"/>
                  <a:gd name="T16" fmla="*/ 2147483647 w 45"/>
                  <a:gd name="T17" fmla="*/ 0 h 17"/>
                  <a:gd name="T18" fmla="*/ 2147483647 w 45"/>
                  <a:gd name="T19" fmla="*/ 0 h 17"/>
                  <a:gd name="T20" fmla="*/ 2147483647 w 45"/>
                  <a:gd name="T21" fmla="*/ 2147483647 h 17"/>
                  <a:gd name="T22" fmla="*/ 2147483647 w 45"/>
                  <a:gd name="T23" fmla="*/ 2147483647 h 17"/>
                  <a:gd name="T24" fmla="*/ 2147483647 w 45"/>
                  <a:gd name="T25" fmla="*/ 2147483647 h 17"/>
                  <a:gd name="T26" fmla="*/ 2147483647 w 45"/>
                  <a:gd name="T27" fmla="*/ 2147483647 h 17"/>
                  <a:gd name="T28" fmla="*/ 2147483647 w 45"/>
                  <a:gd name="T29" fmla="*/ 2147483647 h 17"/>
                  <a:gd name="T30" fmla="*/ 2147483647 w 45"/>
                  <a:gd name="T31" fmla="*/ 2147483647 h 17"/>
                  <a:gd name="T32" fmla="*/ 2147483647 w 45"/>
                  <a:gd name="T33" fmla="*/ 2147483647 h 17"/>
                  <a:gd name="T34" fmla="*/ 2147483647 w 45"/>
                  <a:gd name="T35" fmla="*/ 2147483647 h 17"/>
                  <a:gd name="T36" fmla="*/ 2147483647 w 45"/>
                  <a:gd name="T37" fmla="*/ 2147483647 h 17"/>
                  <a:gd name="T38" fmla="*/ 2147483647 w 45"/>
                  <a:gd name="T39" fmla="*/ 2147483647 h 17"/>
                  <a:gd name="T40" fmla="*/ 2147483647 w 45"/>
                  <a:gd name="T41" fmla="*/ 2147483647 h 17"/>
                  <a:gd name="T42" fmla="*/ 2147483647 w 45"/>
                  <a:gd name="T43" fmla="*/ 2147483647 h 17"/>
                  <a:gd name="T44" fmla="*/ 2147483647 w 45"/>
                  <a:gd name="T45" fmla="*/ 2147483647 h 17"/>
                  <a:gd name="T46" fmla="*/ 2147483647 w 45"/>
                  <a:gd name="T47" fmla="*/ 2147483647 h 17"/>
                  <a:gd name="T48" fmla="*/ 2147483647 w 45"/>
                  <a:gd name="T49" fmla="*/ 2147483647 h 17"/>
                  <a:gd name="T50" fmla="*/ 2147483647 w 45"/>
                  <a:gd name="T51" fmla="*/ 2147483647 h 17"/>
                  <a:gd name="T52" fmla="*/ 2147483647 w 45"/>
                  <a:gd name="T53" fmla="*/ 2147483647 h 17"/>
                  <a:gd name="T54" fmla="*/ 2147483647 w 45"/>
                  <a:gd name="T55" fmla="*/ 2147483647 h 17"/>
                  <a:gd name="T56" fmla="*/ 0 w 45"/>
                  <a:gd name="T57" fmla="*/ 2147483647 h 1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5"/>
                  <a:gd name="T88" fmla="*/ 0 h 17"/>
                  <a:gd name="T89" fmla="*/ 45 w 45"/>
                  <a:gd name="T90" fmla="*/ 17 h 1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5" h="17">
                    <a:moveTo>
                      <a:pt x="0" y="11"/>
                    </a:move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1" y="3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2" y="8"/>
                    </a:lnTo>
                    <a:lnTo>
                      <a:pt x="45" y="8"/>
                    </a:lnTo>
                    <a:lnTo>
                      <a:pt x="45" y="14"/>
                    </a:lnTo>
                    <a:lnTo>
                      <a:pt x="45" y="17"/>
                    </a:lnTo>
                    <a:lnTo>
                      <a:pt x="31" y="8"/>
                    </a:lnTo>
                    <a:lnTo>
                      <a:pt x="25" y="8"/>
                    </a:lnTo>
                    <a:lnTo>
                      <a:pt x="17" y="8"/>
                    </a:lnTo>
                    <a:lnTo>
                      <a:pt x="14" y="6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6"/>
                    </a:lnTo>
                    <a:lnTo>
                      <a:pt x="0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4" name="Freeform 1112"/>
              <p:cNvSpPr>
                <a:spLocks noChangeAspect="1"/>
              </p:cNvSpPr>
              <p:nvPr>
                <p:custDataLst>
                  <p:tags r:id="rId1194"/>
                </p:custDataLst>
              </p:nvPr>
            </p:nvSpPr>
            <p:spPr bwMode="gray">
              <a:xfrm>
                <a:off x="7631910" y="4114818"/>
                <a:ext cx="129068" cy="151367"/>
              </a:xfrm>
              <a:custGeom>
                <a:avLst/>
                <a:gdLst>
                  <a:gd name="T0" fmla="*/ 2147483647 w 100"/>
                  <a:gd name="T1" fmla="*/ 2147483647 h 117"/>
                  <a:gd name="T2" fmla="*/ 2147483647 w 100"/>
                  <a:gd name="T3" fmla="*/ 2147483647 h 117"/>
                  <a:gd name="T4" fmla="*/ 2147483647 w 100"/>
                  <a:gd name="T5" fmla="*/ 2147483647 h 117"/>
                  <a:gd name="T6" fmla="*/ 2147483647 w 100"/>
                  <a:gd name="T7" fmla="*/ 2147483647 h 117"/>
                  <a:gd name="T8" fmla="*/ 2147483647 w 100"/>
                  <a:gd name="T9" fmla="*/ 2147483647 h 117"/>
                  <a:gd name="T10" fmla="*/ 2147483647 w 100"/>
                  <a:gd name="T11" fmla="*/ 2147483647 h 117"/>
                  <a:gd name="T12" fmla="*/ 2147483647 w 100"/>
                  <a:gd name="T13" fmla="*/ 0 h 117"/>
                  <a:gd name="T14" fmla="*/ 2147483647 w 100"/>
                  <a:gd name="T15" fmla="*/ 2147483647 h 117"/>
                  <a:gd name="T16" fmla="*/ 2147483647 w 100"/>
                  <a:gd name="T17" fmla="*/ 2147483647 h 117"/>
                  <a:gd name="T18" fmla="*/ 2147483647 w 100"/>
                  <a:gd name="T19" fmla="*/ 2147483647 h 117"/>
                  <a:gd name="T20" fmla="*/ 2147483647 w 100"/>
                  <a:gd name="T21" fmla="*/ 2147483647 h 117"/>
                  <a:gd name="T22" fmla="*/ 2147483647 w 100"/>
                  <a:gd name="T23" fmla="*/ 2147483647 h 117"/>
                  <a:gd name="T24" fmla="*/ 2147483647 w 100"/>
                  <a:gd name="T25" fmla="*/ 2147483647 h 117"/>
                  <a:gd name="T26" fmla="*/ 2147483647 w 100"/>
                  <a:gd name="T27" fmla="*/ 2147483647 h 117"/>
                  <a:gd name="T28" fmla="*/ 2147483647 w 100"/>
                  <a:gd name="T29" fmla="*/ 2147483647 h 117"/>
                  <a:gd name="T30" fmla="*/ 2147483647 w 100"/>
                  <a:gd name="T31" fmla="*/ 2147483647 h 117"/>
                  <a:gd name="T32" fmla="*/ 2147483647 w 100"/>
                  <a:gd name="T33" fmla="*/ 2147483647 h 117"/>
                  <a:gd name="T34" fmla="*/ 2147483647 w 100"/>
                  <a:gd name="T35" fmla="*/ 2147483647 h 117"/>
                  <a:gd name="T36" fmla="*/ 2147483647 w 100"/>
                  <a:gd name="T37" fmla="*/ 2147483647 h 117"/>
                  <a:gd name="T38" fmla="*/ 2147483647 w 100"/>
                  <a:gd name="T39" fmla="*/ 2147483647 h 117"/>
                  <a:gd name="T40" fmla="*/ 2147483647 w 100"/>
                  <a:gd name="T41" fmla="*/ 2147483647 h 117"/>
                  <a:gd name="T42" fmla="*/ 2147483647 w 100"/>
                  <a:gd name="T43" fmla="*/ 2147483647 h 117"/>
                  <a:gd name="T44" fmla="*/ 2147483647 w 100"/>
                  <a:gd name="T45" fmla="*/ 2147483647 h 117"/>
                  <a:gd name="T46" fmla="*/ 2147483647 w 100"/>
                  <a:gd name="T47" fmla="*/ 2147483647 h 117"/>
                  <a:gd name="T48" fmla="*/ 2147483647 w 100"/>
                  <a:gd name="T49" fmla="*/ 2147483647 h 117"/>
                  <a:gd name="T50" fmla="*/ 2147483647 w 100"/>
                  <a:gd name="T51" fmla="*/ 2147483647 h 117"/>
                  <a:gd name="T52" fmla="*/ 2147483647 w 100"/>
                  <a:gd name="T53" fmla="*/ 2147483647 h 117"/>
                  <a:gd name="T54" fmla="*/ 2147483647 w 100"/>
                  <a:gd name="T55" fmla="*/ 2147483647 h 117"/>
                  <a:gd name="T56" fmla="*/ 2147483647 w 100"/>
                  <a:gd name="T57" fmla="*/ 2147483647 h 117"/>
                  <a:gd name="T58" fmla="*/ 2147483647 w 100"/>
                  <a:gd name="T59" fmla="*/ 2147483647 h 117"/>
                  <a:gd name="T60" fmla="*/ 2147483647 w 100"/>
                  <a:gd name="T61" fmla="*/ 2147483647 h 117"/>
                  <a:gd name="T62" fmla="*/ 2147483647 w 100"/>
                  <a:gd name="T63" fmla="*/ 2147483647 h 117"/>
                  <a:gd name="T64" fmla="*/ 2147483647 w 100"/>
                  <a:gd name="T65" fmla="*/ 2147483647 h 117"/>
                  <a:gd name="T66" fmla="*/ 2147483647 w 100"/>
                  <a:gd name="T67" fmla="*/ 2147483647 h 117"/>
                  <a:gd name="T68" fmla="*/ 2147483647 w 100"/>
                  <a:gd name="T69" fmla="*/ 2147483647 h 117"/>
                  <a:gd name="T70" fmla="*/ 2147483647 w 100"/>
                  <a:gd name="T71" fmla="*/ 2147483647 h 117"/>
                  <a:gd name="T72" fmla="*/ 2147483647 w 100"/>
                  <a:gd name="T73" fmla="*/ 2147483647 h 117"/>
                  <a:gd name="T74" fmla="*/ 2147483647 w 100"/>
                  <a:gd name="T75" fmla="*/ 2147483647 h 117"/>
                  <a:gd name="T76" fmla="*/ 2147483647 w 100"/>
                  <a:gd name="T77" fmla="*/ 2147483647 h 117"/>
                  <a:gd name="T78" fmla="*/ 2147483647 w 100"/>
                  <a:gd name="T79" fmla="*/ 2147483647 h 117"/>
                  <a:gd name="T80" fmla="*/ 2147483647 w 100"/>
                  <a:gd name="T81" fmla="*/ 2147483647 h 117"/>
                  <a:gd name="T82" fmla="*/ 2147483647 w 100"/>
                  <a:gd name="T83" fmla="*/ 2147483647 h 117"/>
                  <a:gd name="T84" fmla="*/ 2147483647 w 100"/>
                  <a:gd name="T85" fmla="*/ 2147483647 h 117"/>
                  <a:gd name="T86" fmla="*/ 2147483647 w 100"/>
                  <a:gd name="T87" fmla="*/ 2147483647 h 117"/>
                  <a:gd name="T88" fmla="*/ 2147483647 w 100"/>
                  <a:gd name="T89" fmla="*/ 2147483647 h 117"/>
                  <a:gd name="T90" fmla="*/ 2147483647 w 100"/>
                  <a:gd name="T91" fmla="*/ 2147483647 h 117"/>
                  <a:gd name="T92" fmla="*/ 2147483647 w 100"/>
                  <a:gd name="T93" fmla="*/ 2147483647 h 117"/>
                  <a:gd name="T94" fmla="*/ 2147483647 w 100"/>
                  <a:gd name="T95" fmla="*/ 2147483647 h 117"/>
                  <a:gd name="T96" fmla="*/ 2147483647 w 100"/>
                  <a:gd name="T97" fmla="*/ 2147483647 h 117"/>
                  <a:gd name="T98" fmla="*/ 0 w 100"/>
                  <a:gd name="T99" fmla="*/ 2147483647 h 117"/>
                  <a:gd name="T100" fmla="*/ 2147483647 w 100"/>
                  <a:gd name="T101" fmla="*/ 2147483647 h 117"/>
                  <a:gd name="T102" fmla="*/ 2147483647 w 100"/>
                  <a:gd name="T103" fmla="*/ 2147483647 h 117"/>
                  <a:gd name="T104" fmla="*/ 2147483647 w 100"/>
                  <a:gd name="T105" fmla="*/ 2147483647 h 117"/>
                  <a:gd name="T106" fmla="*/ 2147483647 w 100"/>
                  <a:gd name="T107" fmla="*/ 2147483647 h 117"/>
                  <a:gd name="T108" fmla="*/ 2147483647 w 100"/>
                  <a:gd name="T109" fmla="*/ 2147483647 h 117"/>
                  <a:gd name="T110" fmla="*/ 2147483647 w 100"/>
                  <a:gd name="T111" fmla="*/ 2147483647 h 117"/>
                  <a:gd name="T112" fmla="*/ 2147483647 w 100"/>
                  <a:gd name="T113" fmla="*/ 2147483647 h 117"/>
                  <a:gd name="T114" fmla="*/ 2147483647 w 100"/>
                  <a:gd name="T115" fmla="*/ 2147483647 h 117"/>
                  <a:gd name="T116" fmla="*/ 2147483647 w 100"/>
                  <a:gd name="T117" fmla="*/ 2147483647 h 117"/>
                  <a:gd name="T118" fmla="*/ 2147483647 w 100"/>
                  <a:gd name="T119" fmla="*/ 2147483647 h 11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00"/>
                  <a:gd name="T181" fmla="*/ 0 h 117"/>
                  <a:gd name="T182" fmla="*/ 100 w 100"/>
                  <a:gd name="T183" fmla="*/ 117 h 11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00" h="117">
                    <a:moveTo>
                      <a:pt x="36" y="8"/>
                    </a:moveTo>
                    <a:lnTo>
                      <a:pt x="42" y="8"/>
                    </a:lnTo>
                    <a:lnTo>
                      <a:pt x="42" y="11"/>
                    </a:lnTo>
                    <a:lnTo>
                      <a:pt x="59" y="11"/>
                    </a:lnTo>
                    <a:lnTo>
                      <a:pt x="59" y="14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7" y="14"/>
                    </a:lnTo>
                    <a:lnTo>
                      <a:pt x="78" y="14"/>
                    </a:lnTo>
                    <a:lnTo>
                      <a:pt x="84" y="14"/>
                    </a:lnTo>
                    <a:lnTo>
                      <a:pt x="95" y="2"/>
                    </a:lnTo>
                    <a:lnTo>
                      <a:pt x="98" y="0"/>
                    </a:lnTo>
                    <a:lnTo>
                      <a:pt x="98" y="2"/>
                    </a:lnTo>
                    <a:lnTo>
                      <a:pt x="100" y="5"/>
                    </a:lnTo>
                    <a:lnTo>
                      <a:pt x="89" y="16"/>
                    </a:lnTo>
                    <a:lnTo>
                      <a:pt x="84" y="22"/>
                    </a:lnTo>
                    <a:lnTo>
                      <a:pt x="70" y="22"/>
                    </a:lnTo>
                    <a:lnTo>
                      <a:pt x="67" y="19"/>
                    </a:lnTo>
                    <a:lnTo>
                      <a:pt x="48" y="22"/>
                    </a:lnTo>
                    <a:lnTo>
                      <a:pt x="45" y="19"/>
                    </a:lnTo>
                    <a:lnTo>
                      <a:pt x="42" y="19"/>
                    </a:lnTo>
                    <a:lnTo>
                      <a:pt x="39" y="19"/>
                    </a:lnTo>
                    <a:lnTo>
                      <a:pt x="36" y="22"/>
                    </a:lnTo>
                    <a:lnTo>
                      <a:pt x="25" y="19"/>
                    </a:lnTo>
                    <a:lnTo>
                      <a:pt x="23" y="27"/>
                    </a:lnTo>
                    <a:lnTo>
                      <a:pt x="20" y="39"/>
                    </a:lnTo>
                    <a:lnTo>
                      <a:pt x="23" y="41"/>
                    </a:lnTo>
                    <a:lnTo>
                      <a:pt x="25" y="41"/>
                    </a:lnTo>
                    <a:lnTo>
                      <a:pt x="31" y="50"/>
                    </a:lnTo>
                    <a:lnTo>
                      <a:pt x="36" y="50"/>
                    </a:lnTo>
                    <a:lnTo>
                      <a:pt x="36" y="47"/>
                    </a:lnTo>
                    <a:lnTo>
                      <a:pt x="42" y="41"/>
                    </a:lnTo>
                    <a:lnTo>
                      <a:pt x="45" y="41"/>
                    </a:lnTo>
                    <a:lnTo>
                      <a:pt x="50" y="41"/>
                    </a:lnTo>
                    <a:lnTo>
                      <a:pt x="62" y="39"/>
                    </a:lnTo>
                    <a:lnTo>
                      <a:pt x="64" y="36"/>
                    </a:lnTo>
                    <a:lnTo>
                      <a:pt x="67" y="36"/>
                    </a:lnTo>
                    <a:lnTo>
                      <a:pt x="70" y="36"/>
                    </a:lnTo>
                    <a:lnTo>
                      <a:pt x="73" y="39"/>
                    </a:lnTo>
                    <a:lnTo>
                      <a:pt x="73" y="41"/>
                    </a:lnTo>
                    <a:lnTo>
                      <a:pt x="70" y="44"/>
                    </a:lnTo>
                    <a:lnTo>
                      <a:pt x="67" y="41"/>
                    </a:lnTo>
                    <a:lnTo>
                      <a:pt x="64" y="41"/>
                    </a:lnTo>
                    <a:lnTo>
                      <a:pt x="56" y="53"/>
                    </a:lnTo>
                    <a:lnTo>
                      <a:pt x="45" y="55"/>
                    </a:lnTo>
                    <a:lnTo>
                      <a:pt x="39" y="55"/>
                    </a:lnTo>
                    <a:lnTo>
                      <a:pt x="39" y="58"/>
                    </a:lnTo>
                    <a:lnTo>
                      <a:pt x="45" y="61"/>
                    </a:lnTo>
                    <a:lnTo>
                      <a:pt x="53" y="72"/>
                    </a:lnTo>
                    <a:lnTo>
                      <a:pt x="56" y="75"/>
                    </a:lnTo>
                    <a:lnTo>
                      <a:pt x="56" y="78"/>
                    </a:lnTo>
                    <a:lnTo>
                      <a:pt x="53" y="80"/>
                    </a:lnTo>
                    <a:lnTo>
                      <a:pt x="53" y="83"/>
                    </a:lnTo>
                    <a:lnTo>
                      <a:pt x="59" y="89"/>
                    </a:lnTo>
                    <a:lnTo>
                      <a:pt x="59" y="92"/>
                    </a:lnTo>
                    <a:lnTo>
                      <a:pt x="62" y="92"/>
                    </a:lnTo>
                    <a:lnTo>
                      <a:pt x="64" y="94"/>
                    </a:lnTo>
                    <a:lnTo>
                      <a:pt x="62" y="97"/>
                    </a:lnTo>
                    <a:lnTo>
                      <a:pt x="56" y="97"/>
                    </a:lnTo>
                    <a:lnTo>
                      <a:pt x="53" y="97"/>
                    </a:lnTo>
                    <a:lnTo>
                      <a:pt x="50" y="100"/>
                    </a:lnTo>
                    <a:lnTo>
                      <a:pt x="48" y="103"/>
                    </a:lnTo>
                    <a:lnTo>
                      <a:pt x="45" y="103"/>
                    </a:lnTo>
                    <a:lnTo>
                      <a:pt x="42" y="100"/>
                    </a:lnTo>
                    <a:lnTo>
                      <a:pt x="42" y="94"/>
                    </a:lnTo>
                    <a:lnTo>
                      <a:pt x="45" y="92"/>
                    </a:lnTo>
                    <a:lnTo>
                      <a:pt x="42" y="89"/>
                    </a:lnTo>
                    <a:lnTo>
                      <a:pt x="36" y="83"/>
                    </a:lnTo>
                    <a:lnTo>
                      <a:pt x="34" y="80"/>
                    </a:lnTo>
                    <a:lnTo>
                      <a:pt x="36" y="75"/>
                    </a:lnTo>
                    <a:lnTo>
                      <a:pt x="34" y="69"/>
                    </a:lnTo>
                    <a:lnTo>
                      <a:pt x="31" y="69"/>
                    </a:lnTo>
                    <a:lnTo>
                      <a:pt x="25" y="72"/>
                    </a:lnTo>
                    <a:lnTo>
                      <a:pt x="23" y="75"/>
                    </a:lnTo>
                    <a:lnTo>
                      <a:pt x="25" y="80"/>
                    </a:lnTo>
                    <a:lnTo>
                      <a:pt x="25" y="97"/>
                    </a:lnTo>
                    <a:lnTo>
                      <a:pt x="25" y="100"/>
                    </a:lnTo>
                    <a:lnTo>
                      <a:pt x="23" y="105"/>
                    </a:lnTo>
                    <a:lnTo>
                      <a:pt x="25" y="114"/>
                    </a:lnTo>
                    <a:lnTo>
                      <a:pt x="17" y="117"/>
                    </a:lnTo>
                    <a:lnTo>
                      <a:pt x="14" y="114"/>
                    </a:lnTo>
                    <a:lnTo>
                      <a:pt x="11" y="114"/>
                    </a:lnTo>
                    <a:lnTo>
                      <a:pt x="9" y="108"/>
                    </a:lnTo>
                    <a:lnTo>
                      <a:pt x="14" y="92"/>
                    </a:lnTo>
                    <a:lnTo>
                      <a:pt x="11" y="89"/>
                    </a:lnTo>
                    <a:lnTo>
                      <a:pt x="11" y="80"/>
                    </a:lnTo>
                    <a:lnTo>
                      <a:pt x="3" y="80"/>
                    </a:lnTo>
                    <a:lnTo>
                      <a:pt x="3" y="78"/>
                    </a:lnTo>
                    <a:lnTo>
                      <a:pt x="0" y="69"/>
                    </a:lnTo>
                    <a:lnTo>
                      <a:pt x="6" y="64"/>
                    </a:lnTo>
                    <a:lnTo>
                      <a:pt x="9" y="55"/>
                    </a:lnTo>
                    <a:lnTo>
                      <a:pt x="9" y="47"/>
                    </a:lnTo>
                    <a:lnTo>
                      <a:pt x="11" y="41"/>
                    </a:lnTo>
                    <a:lnTo>
                      <a:pt x="14" y="39"/>
                    </a:lnTo>
                    <a:lnTo>
                      <a:pt x="14" y="36"/>
                    </a:lnTo>
                    <a:lnTo>
                      <a:pt x="17" y="39"/>
                    </a:lnTo>
                    <a:lnTo>
                      <a:pt x="17" y="30"/>
                    </a:lnTo>
                    <a:lnTo>
                      <a:pt x="14" y="27"/>
                    </a:lnTo>
                    <a:lnTo>
                      <a:pt x="17" y="25"/>
                    </a:lnTo>
                    <a:lnTo>
                      <a:pt x="17" y="19"/>
                    </a:lnTo>
                    <a:lnTo>
                      <a:pt x="20" y="16"/>
                    </a:lnTo>
                    <a:lnTo>
                      <a:pt x="23" y="14"/>
                    </a:lnTo>
                    <a:lnTo>
                      <a:pt x="25" y="16"/>
                    </a:lnTo>
                    <a:lnTo>
                      <a:pt x="28" y="14"/>
                    </a:lnTo>
                    <a:lnTo>
                      <a:pt x="31" y="11"/>
                    </a:lnTo>
                    <a:lnTo>
                      <a:pt x="31" y="8"/>
                    </a:lnTo>
                    <a:lnTo>
                      <a:pt x="34" y="8"/>
                    </a:lnTo>
                    <a:lnTo>
                      <a:pt x="3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5" name="Freeform 1113"/>
              <p:cNvSpPr>
                <a:spLocks noChangeAspect="1"/>
              </p:cNvSpPr>
              <p:nvPr>
                <p:custDataLst>
                  <p:tags r:id="rId1195"/>
                </p:custDataLst>
              </p:nvPr>
            </p:nvSpPr>
            <p:spPr bwMode="gray">
              <a:xfrm>
                <a:off x="7694165" y="4250416"/>
                <a:ext cx="1519" cy="6307"/>
              </a:xfrm>
              <a:custGeom>
                <a:avLst/>
                <a:gdLst>
                  <a:gd name="T0" fmla="*/ 0 w 2"/>
                  <a:gd name="T1" fmla="*/ 2147483647 h 6"/>
                  <a:gd name="T2" fmla="*/ 0 w 2"/>
                  <a:gd name="T3" fmla="*/ 2147483647 h 6"/>
                  <a:gd name="T4" fmla="*/ 0 w 2"/>
                  <a:gd name="T5" fmla="*/ 0 h 6"/>
                  <a:gd name="T6" fmla="*/ 1783775247 w 2"/>
                  <a:gd name="T7" fmla="*/ 2147483647 h 6"/>
                  <a:gd name="T8" fmla="*/ 1783775247 w 2"/>
                  <a:gd name="T9" fmla="*/ 2147483647 h 6"/>
                  <a:gd name="T10" fmla="*/ 1783775247 w 2"/>
                  <a:gd name="T11" fmla="*/ 2147483647 h 6"/>
                  <a:gd name="T12" fmla="*/ 1783775247 w 2"/>
                  <a:gd name="T13" fmla="*/ 2147483647 h 6"/>
                  <a:gd name="T14" fmla="*/ 0 w 2"/>
                  <a:gd name="T15" fmla="*/ 2147483647 h 6"/>
                  <a:gd name="T16" fmla="*/ 0 w 2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6"/>
                  <a:gd name="T29" fmla="*/ 2 w 2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6" name="Freeform 1114"/>
              <p:cNvSpPr>
                <a:spLocks noChangeAspect="1"/>
              </p:cNvSpPr>
              <p:nvPr>
                <p:custDataLst>
                  <p:tags r:id="rId1196"/>
                </p:custDataLst>
              </p:nvPr>
            </p:nvSpPr>
            <p:spPr bwMode="gray">
              <a:xfrm>
                <a:off x="7694165" y="4250416"/>
                <a:ext cx="1519" cy="6307"/>
              </a:xfrm>
              <a:custGeom>
                <a:avLst/>
                <a:gdLst>
                  <a:gd name="T0" fmla="*/ 0 w 2"/>
                  <a:gd name="T1" fmla="*/ 2147483647 h 6"/>
                  <a:gd name="T2" fmla="*/ 0 w 2"/>
                  <a:gd name="T3" fmla="*/ 2147483647 h 6"/>
                  <a:gd name="T4" fmla="*/ 0 w 2"/>
                  <a:gd name="T5" fmla="*/ 0 h 6"/>
                  <a:gd name="T6" fmla="*/ 1783775247 w 2"/>
                  <a:gd name="T7" fmla="*/ 2147483647 h 6"/>
                  <a:gd name="T8" fmla="*/ 1783775247 w 2"/>
                  <a:gd name="T9" fmla="*/ 2147483647 h 6"/>
                  <a:gd name="T10" fmla="*/ 1783775247 w 2"/>
                  <a:gd name="T11" fmla="*/ 2147483647 h 6"/>
                  <a:gd name="T12" fmla="*/ 1783775247 w 2"/>
                  <a:gd name="T13" fmla="*/ 2147483647 h 6"/>
                  <a:gd name="T14" fmla="*/ 0 w 2"/>
                  <a:gd name="T15" fmla="*/ 2147483647 h 6"/>
                  <a:gd name="T16" fmla="*/ 0 w 2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6"/>
                  <a:gd name="T29" fmla="*/ 2 w 2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6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7" name="Freeform 1115"/>
              <p:cNvSpPr>
                <a:spLocks noChangeAspect="1"/>
              </p:cNvSpPr>
              <p:nvPr>
                <p:custDataLst>
                  <p:tags r:id="rId1197"/>
                </p:custDataLst>
              </p:nvPr>
            </p:nvSpPr>
            <p:spPr bwMode="gray">
              <a:xfrm>
                <a:off x="7703277" y="4244109"/>
                <a:ext cx="7593" cy="12614"/>
              </a:xfrm>
              <a:custGeom>
                <a:avLst/>
                <a:gdLst>
                  <a:gd name="T0" fmla="*/ 0 w 6"/>
                  <a:gd name="T1" fmla="*/ 0 h 11"/>
                  <a:gd name="T2" fmla="*/ 2147483647 w 6"/>
                  <a:gd name="T3" fmla="*/ 0 h 11"/>
                  <a:gd name="T4" fmla="*/ 2147483647 w 6"/>
                  <a:gd name="T5" fmla="*/ 0 h 11"/>
                  <a:gd name="T6" fmla="*/ 2147483647 w 6"/>
                  <a:gd name="T7" fmla="*/ 0 h 11"/>
                  <a:gd name="T8" fmla="*/ 2147483647 w 6"/>
                  <a:gd name="T9" fmla="*/ 2147483647 h 11"/>
                  <a:gd name="T10" fmla="*/ 2147483647 w 6"/>
                  <a:gd name="T11" fmla="*/ 2147483647 h 11"/>
                  <a:gd name="T12" fmla="*/ 2147483647 w 6"/>
                  <a:gd name="T13" fmla="*/ 2147483647 h 11"/>
                  <a:gd name="T14" fmla="*/ 0 w 6"/>
                  <a:gd name="T15" fmla="*/ 2147483647 h 11"/>
                  <a:gd name="T16" fmla="*/ 0 w 6"/>
                  <a:gd name="T17" fmla="*/ 2147483647 h 11"/>
                  <a:gd name="T18" fmla="*/ 0 w 6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1"/>
                  <a:gd name="T32" fmla="*/ 6 w 6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1">
                    <a:moveTo>
                      <a:pt x="0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8" name="Freeform 1116"/>
              <p:cNvSpPr>
                <a:spLocks noChangeAspect="1"/>
              </p:cNvSpPr>
              <p:nvPr>
                <p:custDataLst>
                  <p:tags r:id="rId1198"/>
                </p:custDataLst>
              </p:nvPr>
            </p:nvSpPr>
            <p:spPr bwMode="gray">
              <a:xfrm>
                <a:off x="7703277" y="4244109"/>
                <a:ext cx="7593" cy="12614"/>
              </a:xfrm>
              <a:custGeom>
                <a:avLst/>
                <a:gdLst>
                  <a:gd name="T0" fmla="*/ 0 w 6"/>
                  <a:gd name="T1" fmla="*/ 0 h 11"/>
                  <a:gd name="T2" fmla="*/ 2147483647 w 6"/>
                  <a:gd name="T3" fmla="*/ 0 h 11"/>
                  <a:gd name="T4" fmla="*/ 2147483647 w 6"/>
                  <a:gd name="T5" fmla="*/ 0 h 11"/>
                  <a:gd name="T6" fmla="*/ 2147483647 w 6"/>
                  <a:gd name="T7" fmla="*/ 0 h 11"/>
                  <a:gd name="T8" fmla="*/ 2147483647 w 6"/>
                  <a:gd name="T9" fmla="*/ 2147483647 h 11"/>
                  <a:gd name="T10" fmla="*/ 2147483647 w 6"/>
                  <a:gd name="T11" fmla="*/ 2147483647 h 11"/>
                  <a:gd name="T12" fmla="*/ 2147483647 w 6"/>
                  <a:gd name="T13" fmla="*/ 2147483647 h 11"/>
                  <a:gd name="T14" fmla="*/ 0 w 6"/>
                  <a:gd name="T15" fmla="*/ 2147483647 h 11"/>
                  <a:gd name="T16" fmla="*/ 0 w 6"/>
                  <a:gd name="T17" fmla="*/ 2147483647 h 11"/>
                  <a:gd name="T18" fmla="*/ 0 w 6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1"/>
                  <a:gd name="T32" fmla="*/ 6 w 6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1">
                    <a:moveTo>
                      <a:pt x="0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9" name="Freeform 1117"/>
              <p:cNvSpPr>
                <a:spLocks noChangeAspect="1"/>
              </p:cNvSpPr>
              <p:nvPr>
                <p:custDataLst>
                  <p:tags r:id="rId1199"/>
                </p:custDataLst>
              </p:nvPr>
            </p:nvSpPr>
            <p:spPr bwMode="gray">
              <a:xfrm>
                <a:off x="7707832" y="4236226"/>
                <a:ext cx="10628" cy="29959"/>
              </a:xfrm>
              <a:custGeom>
                <a:avLst/>
                <a:gdLst>
                  <a:gd name="T0" fmla="*/ 2147483647 w 8"/>
                  <a:gd name="T1" fmla="*/ 2147483647 h 23"/>
                  <a:gd name="T2" fmla="*/ 2147483647 w 8"/>
                  <a:gd name="T3" fmla="*/ 2147483647 h 23"/>
                  <a:gd name="T4" fmla="*/ 2147483647 w 8"/>
                  <a:gd name="T5" fmla="*/ 2147483647 h 23"/>
                  <a:gd name="T6" fmla="*/ 2147483647 w 8"/>
                  <a:gd name="T7" fmla="*/ 2147483647 h 23"/>
                  <a:gd name="T8" fmla="*/ 2147483647 w 8"/>
                  <a:gd name="T9" fmla="*/ 0 h 23"/>
                  <a:gd name="T10" fmla="*/ 2147483647 w 8"/>
                  <a:gd name="T11" fmla="*/ 2147483647 h 23"/>
                  <a:gd name="T12" fmla="*/ 2147483647 w 8"/>
                  <a:gd name="T13" fmla="*/ 2147483647 h 23"/>
                  <a:gd name="T14" fmla="*/ 2147483647 w 8"/>
                  <a:gd name="T15" fmla="*/ 2147483647 h 23"/>
                  <a:gd name="T16" fmla="*/ 2147483647 w 8"/>
                  <a:gd name="T17" fmla="*/ 2147483647 h 23"/>
                  <a:gd name="T18" fmla="*/ 2147483647 w 8"/>
                  <a:gd name="T19" fmla="*/ 2147483647 h 23"/>
                  <a:gd name="T20" fmla="*/ 2147483647 w 8"/>
                  <a:gd name="T21" fmla="*/ 2147483647 h 23"/>
                  <a:gd name="T22" fmla="*/ 2147483647 w 8"/>
                  <a:gd name="T23" fmla="*/ 2147483647 h 23"/>
                  <a:gd name="T24" fmla="*/ 2147483647 w 8"/>
                  <a:gd name="T25" fmla="*/ 2147483647 h 23"/>
                  <a:gd name="T26" fmla="*/ 2147483647 w 8"/>
                  <a:gd name="T27" fmla="*/ 2147483647 h 23"/>
                  <a:gd name="T28" fmla="*/ 2147483647 w 8"/>
                  <a:gd name="T29" fmla="*/ 2147483647 h 23"/>
                  <a:gd name="T30" fmla="*/ 0 w 8"/>
                  <a:gd name="T31" fmla="*/ 2147483647 h 23"/>
                  <a:gd name="T32" fmla="*/ 2147483647 w 8"/>
                  <a:gd name="T33" fmla="*/ 2147483647 h 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23"/>
                  <a:gd name="T53" fmla="*/ 8 w 8"/>
                  <a:gd name="T54" fmla="*/ 23 h 2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23">
                    <a:moveTo>
                      <a:pt x="3" y="11"/>
                    </a:moveTo>
                    <a:lnTo>
                      <a:pt x="3" y="1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9"/>
                    </a:lnTo>
                    <a:lnTo>
                      <a:pt x="5" y="11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3" y="23"/>
                    </a:lnTo>
                    <a:lnTo>
                      <a:pt x="0" y="20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0" name="Freeform 1118"/>
              <p:cNvSpPr>
                <a:spLocks noChangeAspect="1"/>
              </p:cNvSpPr>
              <p:nvPr>
                <p:custDataLst>
                  <p:tags r:id="rId1200"/>
                </p:custDataLst>
              </p:nvPr>
            </p:nvSpPr>
            <p:spPr bwMode="gray">
              <a:xfrm>
                <a:off x="7707832" y="4236226"/>
                <a:ext cx="10628" cy="29959"/>
              </a:xfrm>
              <a:custGeom>
                <a:avLst/>
                <a:gdLst>
                  <a:gd name="T0" fmla="*/ 2147483647 w 8"/>
                  <a:gd name="T1" fmla="*/ 2147483647 h 23"/>
                  <a:gd name="T2" fmla="*/ 2147483647 w 8"/>
                  <a:gd name="T3" fmla="*/ 2147483647 h 23"/>
                  <a:gd name="T4" fmla="*/ 2147483647 w 8"/>
                  <a:gd name="T5" fmla="*/ 2147483647 h 23"/>
                  <a:gd name="T6" fmla="*/ 2147483647 w 8"/>
                  <a:gd name="T7" fmla="*/ 2147483647 h 23"/>
                  <a:gd name="T8" fmla="*/ 2147483647 w 8"/>
                  <a:gd name="T9" fmla="*/ 0 h 23"/>
                  <a:gd name="T10" fmla="*/ 2147483647 w 8"/>
                  <a:gd name="T11" fmla="*/ 2147483647 h 23"/>
                  <a:gd name="T12" fmla="*/ 2147483647 w 8"/>
                  <a:gd name="T13" fmla="*/ 2147483647 h 23"/>
                  <a:gd name="T14" fmla="*/ 2147483647 w 8"/>
                  <a:gd name="T15" fmla="*/ 2147483647 h 23"/>
                  <a:gd name="T16" fmla="*/ 2147483647 w 8"/>
                  <a:gd name="T17" fmla="*/ 2147483647 h 23"/>
                  <a:gd name="T18" fmla="*/ 2147483647 w 8"/>
                  <a:gd name="T19" fmla="*/ 2147483647 h 23"/>
                  <a:gd name="T20" fmla="*/ 2147483647 w 8"/>
                  <a:gd name="T21" fmla="*/ 2147483647 h 23"/>
                  <a:gd name="T22" fmla="*/ 2147483647 w 8"/>
                  <a:gd name="T23" fmla="*/ 2147483647 h 23"/>
                  <a:gd name="T24" fmla="*/ 2147483647 w 8"/>
                  <a:gd name="T25" fmla="*/ 2147483647 h 23"/>
                  <a:gd name="T26" fmla="*/ 2147483647 w 8"/>
                  <a:gd name="T27" fmla="*/ 2147483647 h 23"/>
                  <a:gd name="T28" fmla="*/ 2147483647 w 8"/>
                  <a:gd name="T29" fmla="*/ 2147483647 h 23"/>
                  <a:gd name="T30" fmla="*/ 0 w 8"/>
                  <a:gd name="T31" fmla="*/ 2147483647 h 23"/>
                  <a:gd name="T32" fmla="*/ 2147483647 w 8"/>
                  <a:gd name="T33" fmla="*/ 2147483647 h 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23"/>
                  <a:gd name="T53" fmla="*/ 8 w 8"/>
                  <a:gd name="T54" fmla="*/ 23 h 2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23">
                    <a:moveTo>
                      <a:pt x="3" y="11"/>
                    </a:moveTo>
                    <a:lnTo>
                      <a:pt x="3" y="11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9"/>
                    </a:lnTo>
                    <a:lnTo>
                      <a:pt x="5" y="11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3" y="23"/>
                    </a:lnTo>
                    <a:lnTo>
                      <a:pt x="0" y="20"/>
                    </a:lnTo>
                    <a:lnTo>
                      <a:pt x="3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1" name="Freeform 1119"/>
              <p:cNvSpPr>
                <a:spLocks noChangeAspect="1"/>
              </p:cNvSpPr>
              <p:nvPr>
                <p:custDataLst>
                  <p:tags r:id="rId1201"/>
                </p:custDataLst>
              </p:nvPr>
            </p:nvSpPr>
            <p:spPr bwMode="gray">
              <a:xfrm>
                <a:off x="7713906" y="4229919"/>
                <a:ext cx="7592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0 h 5"/>
                  <a:gd name="T4" fmla="*/ 2147483647 w 6"/>
                  <a:gd name="T5" fmla="*/ 0 h 5"/>
                  <a:gd name="T6" fmla="*/ 2147483647 w 6"/>
                  <a:gd name="T7" fmla="*/ 0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2147483647 w 6"/>
                  <a:gd name="T13" fmla="*/ 2147483647 h 5"/>
                  <a:gd name="T14" fmla="*/ 2147483647 w 6"/>
                  <a:gd name="T15" fmla="*/ 2147483647 h 5"/>
                  <a:gd name="T16" fmla="*/ 0 w 6"/>
                  <a:gd name="T17" fmla="*/ 0 h 5"/>
                  <a:gd name="T18" fmla="*/ 0 w 6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5"/>
                  <a:gd name="T32" fmla="*/ 6 w 6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5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2" name="Freeform 1120"/>
              <p:cNvSpPr>
                <a:spLocks noChangeAspect="1"/>
              </p:cNvSpPr>
              <p:nvPr>
                <p:custDataLst>
                  <p:tags r:id="rId1202"/>
                </p:custDataLst>
              </p:nvPr>
            </p:nvSpPr>
            <p:spPr bwMode="gray">
              <a:xfrm>
                <a:off x="7713906" y="4229919"/>
                <a:ext cx="7592" cy="6307"/>
              </a:xfrm>
              <a:custGeom>
                <a:avLst/>
                <a:gdLst>
                  <a:gd name="T0" fmla="*/ 0 w 6"/>
                  <a:gd name="T1" fmla="*/ 0 h 5"/>
                  <a:gd name="T2" fmla="*/ 2147483647 w 6"/>
                  <a:gd name="T3" fmla="*/ 0 h 5"/>
                  <a:gd name="T4" fmla="*/ 2147483647 w 6"/>
                  <a:gd name="T5" fmla="*/ 0 h 5"/>
                  <a:gd name="T6" fmla="*/ 2147483647 w 6"/>
                  <a:gd name="T7" fmla="*/ 0 h 5"/>
                  <a:gd name="T8" fmla="*/ 2147483647 w 6"/>
                  <a:gd name="T9" fmla="*/ 2147483647 h 5"/>
                  <a:gd name="T10" fmla="*/ 2147483647 w 6"/>
                  <a:gd name="T11" fmla="*/ 2147483647 h 5"/>
                  <a:gd name="T12" fmla="*/ 2147483647 w 6"/>
                  <a:gd name="T13" fmla="*/ 2147483647 h 5"/>
                  <a:gd name="T14" fmla="*/ 2147483647 w 6"/>
                  <a:gd name="T15" fmla="*/ 2147483647 h 5"/>
                  <a:gd name="T16" fmla="*/ 0 w 6"/>
                  <a:gd name="T17" fmla="*/ 0 h 5"/>
                  <a:gd name="T18" fmla="*/ 0 w 6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5"/>
                  <a:gd name="T32" fmla="*/ 6 w 6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5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3" name="Freeform 1121"/>
              <p:cNvSpPr>
                <a:spLocks noChangeAspect="1"/>
              </p:cNvSpPr>
              <p:nvPr>
                <p:custDataLst>
                  <p:tags r:id="rId1203"/>
                </p:custDataLst>
              </p:nvPr>
            </p:nvSpPr>
            <p:spPr bwMode="gray">
              <a:xfrm>
                <a:off x="7710868" y="4171578"/>
                <a:ext cx="7592" cy="11037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0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0 w 5"/>
                  <a:gd name="T9" fmla="*/ 2147483647 h 9"/>
                  <a:gd name="T10" fmla="*/ 0 w 5"/>
                  <a:gd name="T11" fmla="*/ 2147483647 h 9"/>
                  <a:gd name="T12" fmla="*/ 0 w 5"/>
                  <a:gd name="T13" fmla="*/ 2147483647 h 9"/>
                  <a:gd name="T14" fmla="*/ 2147483647 w 5"/>
                  <a:gd name="T15" fmla="*/ 2147483647 h 9"/>
                  <a:gd name="T16" fmla="*/ 2147483647 w 5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9"/>
                  <a:gd name="T29" fmla="*/ 5 w 5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4" name="Freeform 1122"/>
              <p:cNvSpPr>
                <a:spLocks noChangeAspect="1"/>
              </p:cNvSpPr>
              <p:nvPr>
                <p:custDataLst>
                  <p:tags r:id="rId1204"/>
                </p:custDataLst>
              </p:nvPr>
            </p:nvSpPr>
            <p:spPr bwMode="gray">
              <a:xfrm>
                <a:off x="7710868" y="4171578"/>
                <a:ext cx="7592" cy="11037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0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0 w 5"/>
                  <a:gd name="T9" fmla="*/ 2147483647 h 9"/>
                  <a:gd name="T10" fmla="*/ 0 w 5"/>
                  <a:gd name="T11" fmla="*/ 2147483647 h 9"/>
                  <a:gd name="T12" fmla="*/ 0 w 5"/>
                  <a:gd name="T13" fmla="*/ 2147483647 h 9"/>
                  <a:gd name="T14" fmla="*/ 2147483647 w 5"/>
                  <a:gd name="T15" fmla="*/ 2147483647 h 9"/>
                  <a:gd name="T16" fmla="*/ 2147483647 w 5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9"/>
                  <a:gd name="T29" fmla="*/ 5 w 5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5" name="Freeform 1123"/>
              <p:cNvSpPr>
                <a:spLocks noChangeAspect="1"/>
              </p:cNvSpPr>
              <p:nvPr>
                <p:custDataLst>
                  <p:tags r:id="rId1205"/>
                </p:custDataLst>
              </p:nvPr>
            </p:nvSpPr>
            <p:spPr bwMode="gray">
              <a:xfrm>
                <a:off x="7718461" y="4176311"/>
                <a:ext cx="7593" cy="6307"/>
              </a:xfrm>
              <a:custGeom>
                <a:avLst/>
                <a:gdLst>
                  <a:gd name="T0" fmla="*/ 2147483647 w 6"/>
                  <a:gd name="T1" fmla="*/ 2147483647 h 6"/>
                  <a:gd name="T2" fmla="*/ 2147483647 w 6"/>
                  <a:gd name="T3" fmla="*/ 0 h 6"/>
                  <a:gd name="T4" fmla="*/ 2147483647 w 6"/>
                  <a:gd name="T5" fmla="*/ 0 h 6"/>
                  <a:gd name="T6" fmla="*/ 2147483647 w 6"/>
                  <a:gd name="T7" fmla="*/ 0 h 6"/>
                  <a:gd name="T8" fmla="*/ 2147483647 w 6"/>
                  <a:gd name="T9" fmla="*/ 0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2147483647 h 6"/>
                  <a:gd name="T16" fmla="*/ 2147483647 w 6"/>
                  <a:gd name="T17" fmla="*/ 2147483647 h 6"/>
                  <a:gd name="T18" fmla="*/ 0 w 6"/>
                  <a:gd name="T19" fmla="*/ 2147483647 h 6"/>
                  <a:gd name="T20" fmla="*/ 0 w 6"/>
                  <a:gd name="T21" fmla="*/ 2147483647 h 6"/>
                  <a:gd name="T22" fmla="*/ 2147483647 w 6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6"/>
                  <a:gd name="T38" fmla="*/ 6 w 6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6">
                    <a:moveTo>
                      <a:pt x="3" y="3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6" name="Freeform 1124"/>
              <p:cNvSpPr>
                <a:spLocks noChangeAspect="1"/>
              </p:cNvSpPr>
              <p:nvPr>
                <p:custDataLst>
                  <p:tags r:id="rId1206"/>
                </p:custDataLst>
              </p:nvPr>
            </p:nvSpPr>
            <p:spPr bwMode="gray">
              <a:xfrm>
                <a:off x="7718461" y="4176311"/>
                <a:ext cx="7593" cy="6307"/>
              </a:xfrm>
              <a:custGeom>
                <a:avLst/>
                <a:gdLst>
                  <a:gd name="T0" fmla="*/ 2147483647 w 6"/>
                  <a:gd name="T1" fmla="*/ 2147483647 h 6"/>
                  <a:gd name="T2" fmla="*/ 2147483647 w 6"/>
                  <a:gd name="T3" fmla="*/ 0 h 6"/>
                  <a:gd name="T4" fmla="*/ 2147483647 w 6"/>
                  <a:gd name="T5" fmla="*/ 0 h 6"/>
                  <a:gd name="T6" fmla="*/ 2147483647 w 6"/>
                  <a:gd name="T7" fmla="*/ 0 h 6"/>
                  <a:gd name="T8" fmla="*/ 2147483647 w 6"/>
                  <a:gd name="T9" fmla="*/ 0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2147483647 h 6"/>
                  <a:gd name="T16" fmla="*/ 2147483647 w 6"/>
                  <a:gd name="T17" fmla="*/ 2147483647 h 6"/>
                  <a:gd name="T18" fmla="*/ 0 w 6"/>
                  <a:gd name="T19" fmla="*/ 2147483647 h 6"/>
                  <a:gd name="T20" fmla="*/ 0 w 6"/>
                  <a:gd name="T21" fmla="*/ 2147483647 h 6"/>
                  <a:gd name="T22" fmla="*/ 2147483647 w 6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6"/>
                  <a:gd name="T38" fmla="*/ 6 w 6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6">
                    <a:moveTo>
                      <a:pt x="3" y="3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7" name="Freeform 1125"/>
              <p:cNvSpPr>
                <a:spLocks noChangeAspect="1"/>
              </p:cNvSpPr>
              <p:nvPr>
                <p:custDataLst>
                  <p:tags r:id="rId1207"/>
                </p:custDataLst>
              </p:nvPr>
            </p:nvSpPr>
            <p:spPr bwMode="gray">
              <a:xfrm>
                <a:off x="7745792" y="4182618"/>
                <a:ext cx="15185" cy="7884"/>
              </a:xfrm>
              <a:custGeom>
                <a:avLst/>
                <a:gdLst>
                  <a:gd name="T0" fmla="*/ 0 w 13"/>
                  <a:gd name="T1" fmla="*/ 0 h 5"/>
                  <a:gd name="T2" fmla="*/ 2147483647 w 13"/>
                  <a:gd name="T3" fmla="*/ 0 h 5"/>
                  <a:gd name="T4" fmla="*/ 2147483647 w 13"/>
                  <a:gd name="T5" fmla="*/ 2147483647 h 5"/>
                  <a:gd name="T6" fmla="*/ 2147483647 w 13"/>
                  <a:gd name="T7" fmla="*/ 2147483647 h 5"/>
                  <a:gd name="T8" fmla="*/ 2147483647 w 13"/>
                  <a:gd name="T9" fmla="*/ 2147483647 h 5"/>
                  <a:gd name="T10" fmla="*/ 2147483647 w 13"/>
                  <a:gd name="T11" fmla="*/ 2147483647 h 5"/>
                  <a:gd name="T12" fmla="*/ 2147483647 w 13"/>
                  <a:gd name="T13" fmla="*/ 2147483647 h 5"/>
                  <a:gd name="T14" fmla="*/ 2147483647 w 13"/>
                  <a:gd name="T15" fmla="*/ 2147483647 h 5"/>
                  <a:gd name="T16" fmla="*/ 2147483647 w 13"/>
                  <a:gd name="T17" fmla="*/ 2147483647 h 5"/>
                  <a:gd name="T18" fmla="*/ 2147483647 w 13"/>
                  <a:gd name="T19" fmla="*/ 2147483647 h 5"/>
                  <a:gd name="T20" fmla="*/ 2147483647 w 13"/>
                  <a:gd name="T21" fmla="*/ 2147483647 h 5"/>
                  <a:gd name="T22" fmla="*/ 0 w 13"/>
                  <a:gd name="T23" fmla="*/ 2147483647 h 5"/>
                  <a:gd name="T24" fmla="*/ 0 w 13"/>
                  <a:gd name="T25" fmla="*/ 2147483647 h 5"/>
                  <a:gd name="T26" fmla="*/ 0 w 13"/>
                  <a:gd name="T27" fmla="*/ 0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"/>
                  <a:gd name="T43" fmla="*/ 0 h 5"/>
                  <a:gd name="T44" fmla="*/ 13 w 13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" h="5">
                    <a:moveTo>
                      <a:pt x="0" y="0"/>
                    </a:moveTo>
                    <a:lnTo>
                      <a:pt x="5" y="0"/>
                    </a:lnTo>
                    <a:lnTo>
                      <a:pt x="8" y="2"/>
                    </a:lnTo>
                    <a:lnTo>
                      <a:pt x="13" y="2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8" name="Freeform 1126"/>
              <p:cNvSpPr>
                <a:spLocks noChangeAspect="1"/>
              </p:cNvSpPr>
              <p:nvPr>
                <p:custDataLst>
                  <p:tags r:id="rId1208"/>
                </p:custDataLst>
              </p:nvPr>
            </p:nvSpPr>
            <p:spPr bwMode="gray">
              <a:xfrm>
                <a:off x="7745792" y="4182618"/>
                <a:ext cx="15185" cy="7884"/>
              </a:xfrm>
              <a:custGeom>
                <a:avLst/>
                <a:gdLst>
                  <a:gd name="T0" fmla="*/ 0 w 13"/>
                  <a:gd name="T1" fmla="*/ 0 h 5"/>
                  <a:gd name="T2" fmla="*/ 2147483647 w 13"/>
                  <a:gd name="T3" fmla="*/ 0 h 5"/>
                  <a:gd name="T4" fmla="*/ 2147483647 w 13"/>
                  <a:gd name="T5" fmla="*/ 2147483647 h 5"/>
                  <a:gd name="T6" fmla="*/ 2147483647 w 13"/>
                  <a:gd name="T7" fmla="*/ 2147483647 h 5"/>
                  <a:gd name="T8" fmla="*/ 2147483647 w 13"/>
                  <a:gd name="T9" fmla="*/ 2147483647 h 5"/>
                  <a:gd name="T10" fmla="*/ 2147483647 w 13"/>
                  <a:gd name="T11" fmla="*/ 2147483647 h 5"/>
                  <a:gd name="T12" fmla="*/ 2147483647 w 13"/>
                  <a:gd name="T13" fmla="*/ 2147483647 h 5"/>
                  <a:gd name="T14" fmla="*/ 2147483647 w 13"/>
                  <a:gd name="T15" fmla="*/ 2147483647 h 5"/>
                  <a:gd name="T16" fmla="*/ 2147483647 w 13"/>
                  <a:gd name="T17" fmla="*/ 2147483647 h 5"/>
                  <a:gd name="T18" fmla="*/ 2147483647 w 13"/>
                  <a:gd name="T19" fmla="*/ 2147483647 h 5"/>
                  <a:gd name="T20" fmla="*/ 2147483647 w 13"/>
                  <a:gd name="T21" fmla="*/ 2147483647 h 5"/>
                  <a:gd name="T22" fmla="*/ 0 w 13"/>
                  <a:gd name="T23" fmla="*/ 2147483647 h 5"/>
                  <a:gd name="T24" fmla="*/ 0 w 13"/>
                  <a:gd name="T25" fmla="*/ 2147483647 h 5"/>
                  <a:gd name="T26" fmla="*/ 0 w 13"/>
                  <a:gd name="T27" fmla="*/ 0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"/>
                  <a:gd name="T43" fmla="*/ 0 h 5"/>
                  <a:gd name="T44" fmla="*/ 13 w 13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" h="5">
                    <a:moveTo>
                      <a:pt x="0" y="0"/>
                    </a:moveTo>
                    <a:lnTo>
                      <a:pt x="5" y="0"/>
                    </a:lnTo>
                    <a:lnTo>
                      <a:pt x="8" y="2"/>
                    </a:lnTo>
                    <a:lnTo>
                      <a:pt x="13" y="2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9" name="Freeform 1127"/>
              <p:cNvSpPr>
                <a:spLocks noChangeAspect="1"/>
              </p:cNvSpPr>
              <p:nvPr>
                <p:custDataLst>
                  <p:tags r:id="rId1209"/>
                </p:custDataLst>
              </p:nvPr>
            </p:nvSpPr>
            <p:spPr bwMode="gray">
              <a:xfrm>
                <a:off x="7765534" y="4185769"/>
                <a:ext cx="18222" cy="4731"/>
              </a:xfrm>
              <a:custGeom>
                <a:avLst/>
                <a:gdLst>
                  <a:gd name="T0" fmla="*/ 0 w 14"/>
                  <a:gd name="T1" fmla="*/ 0 h 3"/>
                  <a:gd name="T2" fmla="*/ 0 w 14"/>
                  <a:gd name="T3" fmla="*/ 0 h 3"/>
                  <a:gd name="T4" fmla="*/ 2147483647 w 14"/>
                  <a:gd name="T5" fmla="*/ 0 h 3"/>
                  <a:gd name="T6" fmla="*/ 2147483647 w 14"/>
                  <a:gd name="T7" fmla="*/ 0 h 3"/>
                  <a:gd name="T8" fmla="*/ 2147483647 w 14"/>
                  <a:gd name="T9" fmla="*/ 0 h 3"/>
                  <a:gd name="T10" fmla="*/ 2147483647 w 14"/>
                  <a:gd name="T11" fmla="*/ 0 h 3"/>
                  <a:gd name="T12" fmla="*/ 2147483647 w 14"/>
                  <a:gd name="T13" fmla="*/ 2147483647 h 3"/>
                  <a:gd name="T14" fmla="*/ 0 w 14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3"/>
                  <a:gd name="T26" fmla="*/ 14 w 14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0" name="Freeform 1128"/>
              <p:cNvSpPr>
                <a:spLocks noChangeAspect="1"/>
              </p:cNvSpPr>
              <p:nvPr>
                <p:custDataLst>
                  <p:tags r:id="rId1210"/>
                </p:custDataLst>
              </p:nvPr>
            </p:nvSpPr>
            <p:spPr bwMode="gray">
              <a:xfrm>
                <a:off x="7765534" y="4185769"/>
                <a:ext cx="18222" cy="4731"/>
              </a:xfrm>
              <a:custGeom>
                <a:avLst/>
                <a:gdLst>
                  <a:gd name="T0" fmla="*/ 0 w 14"/>
                  <a:gd name="T1" fmla="*/ 0 h 3"/>
                  <a:gd name="T2" fmla="*/ 0 w 14"/>
                  <a:gd name="T3" fmla="*/ 0 h 3"/>
                  <a:gd name="T4" fmla="*/ 2147483647 w 14"/>
                  <a:gd name="T5" fmla="*/ 0 h 3"/>
                  <a:gd name="T6" fmla="*/ 2147483647 w 14"/>
                  <a:gd name="T7" fmla="*/ 0 h 3"/>
                  <a:gd name="T8" fmla="*/ 2147483647 w 14"/>
                  <a:gd name="T9" fmla="*/ 0 h 3"/>
                  <a:gd name="T10" fmla="*/ 2147483647 w 14"/>
                  <a:gd name="T11" fmla="*/ 0 h 3"/>
                  <a:gd name="T12" fmla="*/ 2147483647 w 14"/>
                  <a:gd name="T13" fmla="*/ 2147483647 h 3"/>
                  <a:gd name="T14" fmla="*/ 0 w 14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3"/>
                  <a:gd name="T26" fmla="*/ 14 w 14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1" name="Freeform 1129"/>
              <p:cNvSpPr>
                <a:spLocks noChangeAspect="1"/>
              </p:cNvSpPr>
              <p:nvPr>
                <p:custDataLst>
                  <p:tags r:id="rId1211"/>
                </p:custDataLst>
              </p:nvPr>
            </p:nvSpPr>
            <p:spPr bwMode="gray">
              <a:xfrm>
                <a:off x="7773126" y="4190501"/>
                <a:ext cx="4557" cy="9460"/>
              </a:xfrm>
              <a:custGeom>
                <a:avLst/>
                <a:gdLst>
                  <a:gd name="T0" fmla="*/ 2147483647 w 3"/>
                  <a:gd name="T1" fmla="*/ 0 h 8"/>
                  <a:gd name="T2" fmla="*/ 2147483647 w 3"/>
                  <a:gd name="T3" fmla="*/ 0 h 8"/>
                  <a:gd name="T4" fmla="*/ 2147483647 w 3"/>
                  <a:gd name="T5" fmla="*/ 0 h 8"/>
                  <a:gd name="T6" fmla="*/ 2147483647 w 3"/>
                  <a:gd name="T7" fmla="*/ 2147483647 h 8"/>
                  <a:gd name="T8" fmla="*/ 0 w 3"/>
                  <a:gd name="T9" fmla="*/ 2147483647 h 8"/>
                  <a:gd name="T10" fmla="*/ 2147483647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8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2" name="Freeform 1130"/>
              <p:cNvSpPr>
                <a:spLocks noChangeAspect="1"/>
              </p:cNvSpPr>
              <p:nvPr>
                <p:custDataLst>
                  <p:tags r:id="rId1212"/>
                </p:custDataLst>
              </p:nvPr>
            </p:nvSpPr>
            <p:spPr bwMode="gray">
              <a:xfrm>
                <a:off x="7773126" y="4190501"/>
                <a:ext cx="4557" cy="9460"/>
              </a:xfrm>
              <a:custGeom>
                <a:avLst/>
                <a:gdLst>
                  <a:gd name="T0" fmla="*/ 2147483647 w 3"/>
                  <a:gd name="T1" fmla="*/ 0 h 8"/>
                  <a:gd name="T2" fmla="*/ 2147483647 w 3"/>
                  <a:gd name="T3" fmla="*/ 0 h 8"/>
                  <a:gd name="T4" fmla="*/ 2147483647 w 3"/>
                  <a:gd name="T5" fmla="*/ 0 h 8"/>
                  <a:gd name="T6" fmla="*/ 2147483647 w 3"/>
                  <a:gd name="T7" fmla="*/ 2147483647 h 8"/>
                  <a:gd name="T8" fmla="*/ 0 w 3"/>
                  <a:gd name="T9" fmla="*/ 2147483647 h 8"/>
                  <a:gd name="T10" fmla="*/ 2147483647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8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3" name="Freeform 1131"/>
              <p:cNvSpPr>
                <a:spLocks noChangeAspect="1"/>
              </p:cNvSpPr>
              <p:nvPr>
                <p:custDataLst>
                  <p:tags r:id="rId1213"/>
                </p:custDataLst>
              </p:nvPr>
            </p:nvSpPr>
            <p:spPr bwMode="gray">
              <a:xfrm>
                <a:off x="7777681" y="4210997"/>
                <a:ext cx="22777" cy="15767"/>
              </a:xfrm>
              <a:custGeom>
                <a:avLst/>
                <a:gdLst>
                  <a:gd name="T0" fmla="*/ 0 w 19"/>
                  <a:gd name="T1" fmla="*/ 0 h 11"/>
                  <a:gd name="T2" fmla="*/ 2147483647 w 19"/>
                  <a:gd name="T3" fmla="*/ 0 h 11"/>
                  <a:gd name="T4" fmla="*/ 2147483647 w 19"/>
                  <a:gd name="T5" fmla="*/ 2147483647 h 11"/>
                  <a:gd name="T6" fmla="*/ 2147483647 w 19"/>
                  <a:gd name="T7" fmla="*/ 0 h 11"/>
                  <a:gd name="T8" fmla="*/ 2147483647 w 19"/>
                  <a:gd name="T9" fmla="*/ 2147483647 h 11"/>
                  <a:gd name="T10" fmla="*/ 2147483647 w 19"/>
                  <a:gd name="T11" fmla="*/ 2147483647 h 11"/>
                  <a:gd name="T12" fmla="*/ 2147483647 w 19"/>
                  <a:gd name="T13" fmla="*/ 2147483647 h 11"/>
                  <a:gd name="T14" fmla="*/ 2147483647 w 19"/>
                  <a:gd name="T15" fmla="*/ 2147483647 h 11"/>
                  <a:gd name="T16" fmla="*/ 2147483647 w 19"/>
                  <a:gd name="T17" fmla="*/ 2147483647 h 11"/>
                  <a:gd name="T18" fmla="*/ 2147483647 w 19"/>
                  <a:gd name="T19" fmla="*/ 2147483647 h 11"/>
                  <a:gd name="T20" fmla="*/ 2147483647 w 19"/>
                  <a:gd name="T21" fmla="*/ 2147483647 h 11"/>
                  <a:gd name="T22" fmla="*/ 2147483647 w 19"/>
                  <a:gd name="T23" fmla="*/ 2147483647 h 11"/>
                  <a:gd name="T24" fmla="*/ 0 w 19"/>
                  <a:gd name="T25" fmla="*/ 2147483647 h 11"/>
                  <a:gd name="T26" fmla="*/ 0 w 19"/>
                  <a:gd name="T27" fmla="*/ 0 h 11"/>
                  <a:gd name="T28" fmla="*/ 0 w 19"/>
                  <a:gd name="T29" fmla="*/ 0 h 1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11"/>
                  <a:gd name="T47" fmla="*/ 19 w 19"/>
                  <a:gd name="T48" fmla="*/ 11 h 1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11" y="0"/>
                    </a:lnTo>
                    <a:lnTo>
                      <a:pt x="16" y="3"/>
                    </a:lnTo>
                    <a:lnTo>
                      <a:pt x="19" y="3"/>
                    </a:lnTo>
                    <a:lnTo>
                      <a:pt x="19" y="8"/>
                    </a:lnTo>
                    <a:lnTo>
                      <a:pt x="14" y="11"/>
                    </a:lnTo>
                    <a:lnTo>
                      <a:pt x="5" y="11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4" name="Freeform 1132"/>
              <p:cNvSpPr>
                <a:spLocks noChangeAspect="1"/>
              </p:cNvSpPr>
              <p:nvPr>
                <p:custDataLst>
                  <p:tags r:id="rId1214"/>
                </p:custDataLst>
              </p:nvPr>
            </p:nvSpPr>
            <p:spPr bwMode="gray">
              <a:xfrm>
                <a:off x="7777681" y="4210997"/>
                <a:ext cx="22777" cy="15767"/>
              </a:xfrm>
              <a:custGeom>
                <a:avLst/>
                <a:gdLst>
                  <a:gd name="T0" fmla="*/ 0 w 19"/>
                  <a:gd name="T1" fmla="*/ 0 h 11"/>
                  <a:gd name="T2" fmla="*/ 2147483647 w 19"/>
                  <a:gd name="T3" fmla="*/ 0 h 11"/>
                  <a:gd name="T4" fmla="*/ 2147483647 w 19"/>
                  <a:gd name="T5" fmla="*/ 2147483647 h 11"/>
                  <a:gd name="T6" fmla="*/ 2147483647 w 19"/>
                  <a:gd name="T7" fmla="*/ 0 h 11"/>
                  <a:gd name="T8" fmla="*/ 2147483647 w 19"/>
                  <a:gd name="T9" fmla="*/ 2147483647 h 11"/>
                  <a:gd name="T10" fmla="*/ 2147483647 w 19"/>
                  <a:gd name="T11" fmla="*/ 2147483647 h 11"/>
                  <a:gd name="T12" fmla="*/ 2147483647 w 19"/>
                  <a:gd name="T13" fmla="*/ 2147483647 h 11"/>
                  <a:gd name="T14" fmla="*/ 2147483647 w 19"/>
                  <a:gd name="T15" fmla="*/ 2147483647 h 11"/>
                  <a:gd name="T16" fmla="*/ 2147483647 w 19"/>
                  <a:gd name="T17" fmla="*/ 2147483647 h 11"/>
                  <a:gd name="T18" fmla="*/ 2147483647 w 19"/>
                  <a:gd name="T19" fmla="*/ 2147483647 h 11"/>
                  <a:gd name="T20" fmla="*/ 2147483647 w 19"/>
                  <a:gd name="T21" fmla="*/ 2147483647 h 11"/>
                  <a:gd name="T22" fmla="*/ 2147483647 w 19"/>
                  <a:gd name="T23" fmla="*/ 2147483647 h 11"/>
                  <a:gd name="T24" fmla="*/ 0 w 19"/>
                  <a:gd name="T25" fmla="*/ 2147483647 h 11"/>
                  <a:gd name="T26" fmla="*/ 0 w 19"/>
                  <a:gd name="T27" fmla="*/ 0 h 11"/>
                  <a:gd name="T28" fmla="*/ 0 w 19"/>
                  <a:gd name="T29" fmla="*/ 0 h 1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11"/>
                  <a:gd name="T47" fmla="*/ 19 w 19"/>
                  <a:gd name="T48" fmla="*/ 11 h 1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11">
                    <a:moveTo>
                      <a:pt x="0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11" y="0"/>
                    </a:lnTo>
                    <a:lnTo>
                      <a:pt x="16" y="3"/>
                    </a:lnTo>
                    <a:lnTo>
                      <a:pt x="19" y="3"/>
                    </a:lnTo>
                    <a:lnTo>
                      <a:pt x="19" y="8"/>
                    </a:lnTo>
                    <a:lnTo>
                      <a:pt x="14" y="11"/>
                    </a:lnTo>
                    <a:lnTo>
                      <a:pt x="5" y="11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5" name="Freeform 1133"/>
              <p:cNvSpPr>
                <a:spLocks noChangeAspect="1"/>
              </p:cNvSpPr>
              <p:nvPr>
                <p:custDataLst>
                  <p:tags r:id="rId1215"/>
                </p:custDataLst>
              </p:nvPr>
            </p:nvSpPr>
            <p:spPr bwMode="gray">
              <a:xfrm>
                <a:off x="7765534" y="4075399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6" name="Freeform 1134"/>
              <p:cNvSpPr>
                <a:spLocks noChangeAspect="1"/>
              </p:cNvSpPr>
              <p:nvPr>
                <p:custDataLst>
                  <p:tags r:id="rId1216"/>
                </p:custDataLst>
              </p:nvPr>
            </p:nvSpPr>
            <p:spPr bwMode="gray">
              <a:xfrm>
                <a:off x="7765534" y="4075399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2147483647 h 6"/>
                  <a:gd name="T6" fmla="*/ 2147483647 w 3"/>
                  <a:gd name="T7" fmla="*/ 2147483647 h 6"/>
                  <a:gd name="T8" fmla="*/ 0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7" name="Freeform 1135"/>
              <p:cNvSpPr>
                <a:spLocks noChangeAspect="1"/>
              </p:cNvSpPr>
              <p:nvPr>
                <p:custDataLst>
                  <p:tags r:id="rId1217"/>
                </p:custDataLst>
              </p:nvPr>
            </p:nvSpPr>
            <p:spPr bwMode="gray">
              <a:xfrm>
                <a:off x="7791346" y="4059631"/>
                <a:ext cx="4557" cy="11038"/>
              </a:xfrm>
              <a:custGeom>
                <a:avLst/>
                <a:gdLst>
                  <a:gd name="T0" fmla="*/ 0 w 3"/>
                  <a:gd name="T1" fmla="*/ 0 h 8"/>
                  <a:gd name="T2" fmla="*/ 2147483647 w 3"/>
                  <a:gd name="T3" fmla="*/ 0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0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8" name="Freeform 1136"/>
              <p:cNvSpPr>
                <a:spLocks noChangeAspect="1"/>
              </p:cNvSpPr>
              <p:nvPr>
                <p:custDataLst>
                  <p:tags r:id="rId1218"/>
                </p:custDataLst>
              </p:nvPr>
            </p:nvSpPr>
            <p:spPr bwMode="gray">
              <a:xfrm>
                <a:off x="7791346" y="4059631"/>
                <a:ext cx="4557" cy="11038"/>
              </a:xfrm>
              <a:custGeom>
                <a:avLst/>
                <a:gdLst>
                  <a:gd name="T0" fmla="*/ 0 w 3"/>
                  <a:gd name="T1" fmla="*/ 0 h 8"/>
                  <a:gd name="T2" fmla="*/ 2147483647 w 3"/>
                  <a:gd name="T3" fmla="*/ 0 h 8"/>
                  <a:gd name="T4" fmla="*/ 2147483647 w 3"/>
                  <a:gd name="T5" fmla="*/ 2147483647 h 8"/>
                  <a:gd name="T6" fmla="*/ 2147483647 w 3"/>
                  <a:gd name="T7" fmla="*/ 2147483647 h 8"/>
                  <a:gd name="T8" fmla="*/ 2147483647 w 3"/>
                  <a:gd name="T9" fmla="*/ 2147483647 h 8"/>
                  <a:gd name="T10" fmla="*/ 0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9" name="Freeform 1137"/>
              <p:cNvSpPr>
                <a:spLocks noChangeAspect="1"/>
              </p:cNvSpPr>
              <p:nvPr>
                <p:custDataLst>
                  <p:tags r:id="rId1219"/>
                </p:custDataLst>
              </p:nvPr>
            </p:nvSpPr>
            <p:spPr bwMode="gray">
              <a:xfrm>
                <a:off x="7823235" y="4097474"/>
                <a:ext cx="7592" cy="14192"/>
              </a:xfrm>
              <a:custGeom>
                <a:avLst/>
                <a:gdLst>
                  <a:gd name="T0" fmla="*/ 2147483647 w 5"/>
                  <a:gd name="T1" fmla="*/ 0 h 11"/>
                  <a:gd name="T2" fmla="*/ 2147483647 w 5"/>
                  <a:gd name="T3" fmla="*/ 2147483647 h 11"/>
                  <a:gd name="T4" fmla="*/ 2147483647 w 5"/>
                  <a:gd name="T5" fmla="*/ 2147483647 h 11"/>
                  <a:gd name="T6" fmla="*/ 2147483647 w 5"/>
                  <a:gd name="T7" fmla="*/ 2147483647 h 11"/>
                  <a:gd name="T8" fmla="*/ 2147483647 w 5"/>
                  <a:gd name="T9" fmla="*/ 2147483647 h 11"/>
                  <a:gd name="T10" fmla="*/ 0 w 5"/>
                  <a:gd name="T11" fmla="*/ 2147483647 h 11"/>
                  <a:gd name="T12" fmla="*/ 0 w 5"/>
                  <a:gd name="T13" fmla="*/ 2147483647 h 11"/>
                  <a:gd name="T14" fmla="*/ 0 w 5"/>
                  <a:gd name="T15" fmla="*/ 2147483647 h 11"/>
                  <a:gd name="T16" fmla="*/ 0 w 5"/>
                  <a:gd name="T17" fmla="*/ 2147483647 h 11"/>
                  <a:gd name="T18" fmla="*/ 2147483647 w 5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11"/>
                  <a:gd name="T32" fmla="*/ 5 w 5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11">
                    <a:moveTo>
                      <a:pt x="3" y="0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0" name="Freeform 1138"/>
              <p:cNvSpPr>
                <a:spLocks noChangeAspect="1"/>
              </p:cNvSpPr>
              <p:nvPr>
                <p:custDataLst>
                  <p:tags r:id="rId1220"/>
                </p:custDataLst>
              </p:nvPr>
            </p:nvSpPr>
            <p:spPr bwMode="gray">
              <a:xfrm>
                <a:off x="7823235" y="4097474"/>
                <a:ext cx="7592" cy="14192"/>
              </a:xfrm>
              <a:custGeom>
                <a:avLst/>
                <a:gdLst>
                  <a:gd name="T0" fmla="*/ 2147483647 w 5"/>
                  <a:gd name="T1" fmla="*/ 0 h 11"/>
                  <a:gd name="T2" fmla="*/ 2147483647 w 5"/>
                  <a:gd name="T3" fmla="*/ 2147483647 h 11"/>
                  <a:gd name="T4" fmla="*/ 2147483647 w 5"/>
                  <a:gd name="T5" fmla="*/ 2147483647 h 11"/>
                  <a:gd name="T6" fmla="*/ 2147483647 w 5"/>
                  <a:gd name="T7" fmla="*/ 2147483647 h 11"/>
                  <a:gd name="T8" fmla="*/ 2147483647 w 5"/>
                  <a:gd name="T9" fmla="*/ 2147483647 h 11"/>
                  <a:gd name="T10" fmla="*/ 0 w 5"/>
                  <a:gd name="T11" fmla="*/ 2147483647 h 11"/>
                  <a:gd name="T12" fmla="*/ 0 w 5"/>
                  <a:gd name="T13" fmla="*/ 2147483647 h 11"/>
                  <a:gd name="T14" fmla="*/ 0 w 5"/>
                  <a:gd name="T15" fmla="*/ 2147483647 h 11"/>
                  <a:gd name="T16" fmla="*/ 0 w 5"/>
                  <a:gd name="T17" fmla="*/ 2147483647 h 11"/>
                  <a:gd name="T18" fmla="*/ 2147483647 w 5"/>
                  <a:gd name="T19" fmla="*/ 0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11"/>
                  <a:gd name="T32" fmla="*/ 5 w 5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11">
                    <a:moveTo>
                      <a:pt x="3" y="0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1" name="Freeform 1139"/>
              <p:cNvSpPr>
                <a:spLocks noChangeAspect="1"/>
              </p:cNvSpPr>
              <p:nvPr>
                <p:custDataLst>
                  <p:tags r:id="rId1221"/>
                </p:custDataLst>
              </p:nvPr>
            </p:nvSpPr>
            <p:spPr bwMode="gray">
              <a:xfrm>
                <a:off x="7806530" y="4106935"/>
                <a:ext cx="27332" cy="59916"/>
              </a:xfrm>
              <a:custGeom>
                <a:avLst/>
                <a:gdLst>
                  <a:gd name="T0" fmla="*/ 2147483647 w 22"/>
                  <a:gd name="T1" fmla="*/ 0 h 47"/>
                  <a:gd name="T2" fmla="*/ 2147483647 w 22"/>
                  <a:gd name="T3" fmla="*/ 0 h 47"/>
                  <a:gd name="T4" fmla="*/ 2147483647 w 22"/>
                  <a:gd name="T5" fmla="*/ 0 h 47"/>
                  <a:gd name="T6" fmla="*/ 2147483647 w 22"/>
                  <a:gd name="T7" fmla="*/ 0 h 47"/>
                  <a:gd name="T8" fmla="*/ 2147483647 w 22"/>
                  <a:gd name="T9" fmla="*/ 2147483647 h 47"/>
                  <a:gd name="T10" fmla="*/ 2147483647 w 22"/>
                  <a:gd name="T11" fmla="*/ 2147483647 h 47"/>
                  <a:gd name="T12" fmla="*/ 2147483647 w 22"/>
                  <a:gd name="T13" fmla="*/ 2147483647 h 47"/>
                  <a:gd name="T14" fmla="*/ 2147483647 w 22"/>
                  <a:gd name="T15" fmla="*/ 2147483647 h 47"/>
                  <a:gd name="T16" fmla="*/ 2147483647 w 22"/>
                  <a:gd name="T17" fmla="*/ 2147483647 h 47"/>
                  <a:gd name="T18" fmla="*/ 2147483647 w 22"/>
                  <a:gd name="T19" fmla="*/ 2147483647 h 47"/>
                  <a:gd name="T20" fmla="*/ 2147483647 w 22"/>
                  <a:gd name="T21" fmla="*/ 2147483647 h 47"/>
                  <a:gd name="T22" fmla="*/ 2147483647 w 22"/>
                  <a:gd name="T23" fmla="*/ 2147483647 h 47"/>
                  <a:gd name="T24" fmla="*/ 2147483647 w 22"/>
                  <a:gd name="T25" fmla="*/ 2147483647 h 47"/>
                  <a:gd name="T26" fmla="*/ 2147483647 w 22"/>
                  <a:gd name="T27" fmla="*/ 2147483647 h 47"/>
                  <a:gd name="T28" fmla="*/ 2147483647 w 22"/>
                  <a:gd name="T29" fmla="*/ 2147483647 h 47"/>
                  <a:gd name="T30" fmla="*/ 2147483647 w 22"/>
                  <a:gd name="T31" fmla="*/ 2147483647 h 47"/>
                  <a:gd name="T32" fmla="*/ 2147483647 w 22"/>
                  <a:gd name="T33" fmla="*/ 2147483647 h 47"/>
                  <a:gd name="T34" fmla="*/ 2147483647 w 22"/>
                  <a:gd name="T35" fmla="*/ 2147483647 h 47"/>
                  <a:gd name="T36" fmla="*/ 2147483647 w 22"/>
                  <a:gd name="T37" fmla="*/ 2147483647 h 47"/>
                  <a:gd name="T38" fmla="*/ 2147483647 w 22"/>
                  <a:gd name="T39" fmla="*/ 2147483647 h 47"/>
                  <a:gd name="T40" fmla="*/ 2147483647 w 22"/>
                  <a:gd name="T41" fmla="*/ 2147483647 h 47"/>
                  <a:gd name="T42" fmla="*/ 2147483647 w 22"/>
                  <a:gd name="T43" fmla="*/ 2147483647 h 47"/>
                  <a:gd name="T44" fmla="*/ 2147483647 w 22"/>
                  <a:gd name="T45" fmla="*/ 2147483647 h 47"/>
                  <a:gd name="T46" fmla="*/ 2147483647 w 22"/>
                  <a:gd name="T47" fmla="*/ 2147483647 h 47"/>
                  <a:gd name="T48" fmla="*/ 2147483647 w 22"/>
                  <a:gd name="T49" fmla="*/ 2147483647 h 47"/>
                  <a:gd name="T50" fmla="*/ 2147483647 w 22"/>
                  <a:gd name="T51" fmla="*/ 2147483647 h 47"/>
                  <a:gd name="T52" fmla="*/ 2147483647 w 22"/>
                  <a:gd name="T53" fmla="*/ 2147483647 h 47"/>
                  <a:gd name="T54" fmla="*/ 2147483647 w 22"/>
                  <a:gd name="T55" fmla="*/ 2147483647 h 47"/>
                  <a:gd name="T56" fmla="*/ 2147483647 w 22"/>
                  <a:gd name="T57" fmla="*/ 2147483647 h 47"/>
                  <a:gd name="T58" fmla="*/ 2147483647 w 22"/>
                  <a:gd name="T59" fmla="*/ 2147483647 h 47"/>
                  <a:gd name="T60" fmla="*/ 2147483647 w 22"/>
                  <a:gd name="T61" fmla="*/ 2147483647 h 47"/>
                  <a:gd name="T62" fmla="*/ 2147483647 w 22"/>
                  <a:gd name="T63" fmla="*/ 2147483647 h 47"/>
                  <a:gd name="T64" fmla="*/ 2147483647 w 22"/>
                  <a:gd name="T65" fmla="*/ 2147483647 h 47"/>
                  <a:gd name="T66" fmla="*/ 2147483647 w 22"/>
                  <a:gd name="T67" fmla="*/ 2147483647 h 47"/>
                  <a:gd name="T68" fmla="*/ 2147483647 w 22"/>
                  <a:gd name="T69" fmla="*/ 2147483647 h 47"/>
                  <a:gd name="T70" fmla="*/ 2147483647 w 22"/>
                  <a:gd name="T71" fmla="*/ 2147483647 h 47"/>
                  <a:gd name="T72" fmla="*/ 2147483647 w 22"/>
                  <a:gd name="T73" fmla="*/ 2147483647 h 47"/>
                  <a:gd name="T74" fmla="*/ 0 w 22"/>
                  <a:gd name="T75" fmla="*/ 2147483647 h 47"/>
                  <a:gd name="T76" fmla="*/ 0 w 22"/>
                  <a:gd name="T77" fmla="*/ 2147483647 h 47"/>
                  <a:gd name="T78" fmla="*/ 0 w 22"/>
                  <a:gd name="T79" fmla="*/ 2147483647 h 47"/>
                  <a:gd name="T80" fmla="*/ 0 w 22"/>
                  <a:gd name="T81" fmla="*/ 2147483647 h 47"/>
                  <a:gd name="T82" fmla="*/ 2147483647 w 22"/>
                  <a:gd name="T83" fmla="*/ 2147483647 h 47"/>
                  <a:gd name="T84" fmla="*/ 2147483647 w 22"/>
                  <a:gd name="T85" fmla="*/ 0 h 4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2"/>
                  <a:gd name="T130" fmla="*/ 0 h 47"/>
                  <a:gd name="T131" fmla="*/ 22 w 22"/>
                  <a:gd name="T132" fmla="*/ 47 h 4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2" h="47">
                    <a:moveTo>
                      <a:pt x="8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3" y="20"/>
                    </a:lnTo>
                    <a:lnTo>
                      <a:pt x="5" y="20"/>
                    </a:lnTo>
                    <a:lnTo>
                      <a:pt x="11" y="17"/>
                    </a:lnTo>
                    <a:lnTo>
                      <a:pt x="14" y="11"/>
                    </a:lnTo>
                    <a:lnTo>
                      <a:pt x="17" y="11"/>
                    </a:lnTo>
                    <a:lnTo>
                      <a:pt x="19" y="8"/>
                    </a:lnTo>
                    <a:lnTo>
                      <a:pt x="19" y="11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9" y="25"/>
                    </a:lnTo>
                    <a:lnTo>
                      <a:pt x="19" y="28"/>
                    </a:lnTo>
                    <a:lnTo>
                      <a:pt x="22" y="28"/>
                    </a:lnTo>
                    <a:lnTo>
                      <a:pt x="19" y="31"/>
                    </a:lnTo>
                    <a:lnTo>
                      <a:pt x="8" y="25"/>
                    </a:lnTo>
                    <a:lnTo>
                      <a:pt x="8" y="28"/>
                    </a:lnTo>
                    <a:lnTo>
                      <a:pt x="8" y="36"/>
                    </a:lnTo>
                    <a:lnTo>
                      <a:pt x="14" y="47"/>
                    </a:lnTo>
                    <a:lnTo>
                      <a:pt x="5" y="36"/>
                    </a:lnTo>
                    <a:lnTo>
                      <a:pt x="5" y="28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2" name="Freeform 1140"/>
              <p:cNvSpPr>
                <a:spLocks noChangeAspect="1"/>
              </p:cNvSpPr>
              <p:nvPr>
                <p:custDataLst>
                  <p:tags r:id="rId1222"/>
                </p:custDataLst>
              </p:nvPr>
            </p:nvSpPr>
            <p:spPr bwMode="gray">
              <a:xfrm>
                <a:off x="7806530" y="4106935"/>
                <a:ext cx="27332" cy="59916"/>
              </a:xfrm>
              <a:custGeom>
                <a:avLst/>
                <a:gdLst>
                  <a:gd name="T0" fmla="*/ 2147483647 w 22"/>
                  <a:gd name="T1" fmla="*/ 0 h 47"/>
                  <a:gd name="T2" fmla="*/ 2147483647 w 22"/>
                  <a:gd name="T3" fmla="*/ 0 h 47"/>
                  <a:gd name="T4" fmla="*/ 2147483647 w 22"/>
                  <a:gd name="T5" fmla="*/ 0 h 47"/>
                  <a:gd name="T6" fmla="*/ 2147483647 w 22"/>
                  <a:gd name="T7" fmla="*/ 0 h 47"/>
                  <a:gd name="T8" fmla="*/ 2147483647 w 22"/>
                  <a:gd name="T9" fmla="*/ 2147483647 h 47"/>
                  <a:gd name="T10" fmla="*/ 2147483647 w 22"/>
                  <a:gd name="T11" fmla="*/ 2147483647 h 47"/>
                  <a:gd name="T12" fmla="*/ 2147483647 w 22"/>
                  <a:gd name="T13" fmla="*/ 2147483647 h 47"/>
                  <a:gd name="T14" fmla="*/ 2147483647 w 22"/>
                  <a:gd name="T15" fmla="*/ 2147483647 h 47"/>
                  <a:gd name="T16" fmla="*/ 2147483647 w 22"/>
                  <a:gd name="T17" fmla="*/ 2147483647 h 47"/>
                  <a:gd name="T18" fmla="*/ 2147483647 w 22"/>
                  <a:gd name="T19" fmla="*/ 2147483647 h 47"/>
                  <a:gd name="T20" fmla="*/ 2147483647 w 22"/>
                  <a:gd name="T21" fmla="*/ 2147483647 h 47"/>
                  <a:gd name="T22" fmla="*/ 2147483647 w 22"/>
                  <a:gd name="T23" fmla="*/ 2147483647 h 47"/>
                  <a:gd name="T24" fmla="*/ 2147483647 w 22"/>
                  <a:gd name="T25" fmla="*/ 2147483647 h 47"/>
                  <a:gd name="T26" fmla="*/ 2147483647 w 22"/>
                  <a:gd name="T27" fmla="*/ 2147483647 h 47"/>
                  <a:gd name="T28" fmla="*/ 2147483647 w 22"/>
                  <a:gd name="T29" fmla="*/ 2147483647 h 47"/>
                  <a:gd name="T30" fmla="*/ 2147483647 w 22"/>
                  <a:gd name="T31" fmla="*/ 2147483647 h 47"/>
                  <a:gd name="T32" fmla="*/ 2147483647 w 22"/>
                  <a:gd name="T33" fmla="*/ 2147483647 h 47"/>
                  <a:gd name="T34" fmla="*/ 2147483647 w 22"/>
                  <a:gd name="T35" fmla="*/ 2147483647 h 47"/>
                  <a:gd name="T36" fmla="*/ 2147483647 w 22"/>
                  <a:gd name="T37" fmla="*/ 2147483647 h 47"/>
                  <a:gd name="T38" fmla="*/ 2147483647 w 22"/>
                  <a:gd name="T39" fmla="*/ 2147483647 h 47"/>
                  <a:gd name="T40" fmla="*/ 2147483647 w 22"/>
                  <a:gd name="T41" fmla="*/ 2147483647 h 47"/>
                  <a:gd name="T42" fmla="*/ 2147483647 w 22"/>
                  <a:gd name="T43" fmla="*/ 2147483647 h 47"/>
                  <a:gd name="T44" fmla="*/ 2147483647 w 22"/>
                  <a:gd name="T45" fmla="*/ 2147483647 h 47"/>
                  <a:gd name="T46" fmla="*/ 2147483647 w 22"/>
                  <a:gd name="T47" fmla="*/ 2147483647 h 47"/>
                  <a:gd name="T48" fmla="*/ 2147483647 w 22"/>
                  <a:gd name="T49" fmla="*/ 2147483647 h 47"/>
                  <a:gd name="T50" fmla="*/ 2147483647 w 22"/>
                  <a:gd name="T51" fmla="*/ 2147483647 h 47"/>
                  <a:gd name="T52" fmla="*/ 2147483647 w 22"/>
                  <a:gd name="T53" fmla="*/ 2147483647 h 47"/>
                  <a:gd name="T54" fmla="*/ 2147483647 w 22"/>
                  <a:gd name="T55" fmla="*/ 2147483647 h 47"/>
                  <a:gd name="T56" fmla="*/ 2147483647 w 22"/>
                  <a:gd name="T57" fmla="*/ 2147483647 h 47"/>
                  <a:gd name="T58" fmla="*/ 2147483647 w 22"/>
                  <a:gd name="T59" fmla="*/ 2147483647 h 47"/>
                  <a:gd name="T60" fmla="*/ 2147483647 w 22"/>
                  <a:gd name="T61" fmla="*/ 2147483647 h 47"/>
                  <a:gd name="T62" fmla="*/ 2147483647 w 22"/>
                  <a:gd name="T63" fmla="*/ 2147483647 h 47"/>
                  <a:gd name="T64" fmla="*/ 2147483647 w 22"/>
                  <a:gd name="T65" fmla="*/ 2147483647 h 47"/>
                  <a:gd name="T66" fmla="*/ 2147483647 w 22"/>
                  <a:gd name="T67" fmla="*/ 2147483647 h 47"/>
                  <a:gd name="T68" fmla="*/ 2147483647 w 22"/>
                  <a:gd name="T69" fmla="*/ 2147483647 h 47"/>
                  <a:gd name="T70" fmla="*/ 2147483647 w 22"/>
                  <a:gd name="T71" fmla="*/ 2147483647 h 47"/>
                  <a:gd name="T72" fmla="*/ 2147483647 w 22"/>
                  <a:gd name="T73" fmla="*/ 2147483647 h 47"/>
                  <a:gd name="T74" fmla="*/ 0 w 22"/>
                  <a:gd name="T75" fmla="*/ 2147483647 h 47"/>
                  <a:gd name="T76" fmla="*/ 0 w 22"/>
                  <a:gd name="T77" fmla="*/ 2147483647 h 47"/>
                  <a:gd name="T78" fmla="*/ 0 w 22"/>
                  <a:gd name="T79" fmla="*/ 2147483647 h 47"/>
                  <a:gd name="T80" fmla="*/ 0 w 22"/>
                  <a:gd name="T81" fmla="*/ 2147483647 h 47"/>
                  <a:gd name="T82" fmla="*/ 2147483647 w 22"/>
                  <a:gd name="T83" fmla="*/ 2147483647 h 47"/>
                  <a:gd name="T84" fmla="*/ 2147483647 w 22"/>
                  <a:gd name="T85" fmla="*/ 0 h 4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2"/>
                  <a:gd name="T130" fmla="*/ 0 h 47"/>
                  <a:gd name="T131" fmla="*/ 22 w 22"/>
                  <a:gd name="T132" fmla="*/ 47 h 4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2" h="47">
                    <a:moveTo>
                      <a:pt x="8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3" y="20"/>
                    </a:lnTo>
                    <a:lnTo>
                      <a:pt x="5" y="20"/>
                    </a:lnTo>
                    <a:lnTo>
                      <a:pt x="11" y="17"/>
                    </a:lnTo>
                    <a:lnTo>
                      <a:pt x="14" y="11"/>
                    </a:lnTo>
                    <a:lnTo>
                      <a:pt x="17" y="11"/>
                    </a:lnTo>
                    <a:lnTo>
                      <a:pt x="19" y="8"/>
                    </a:lnTo>
                    <a:lnTo>
                      <a:pt x="19" y="11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9" y="25"/>
                    </a:lnTo>
                    <a:lnTo>
                      <a:pt x="19" y="28"/>
                    </a:lnTo>
                    <a:lnTo>
                      <a:pt x="22" y="28"/>
                    </a:lnTo>
                    <a:lnTo>
                      <a:pt x="19" y="31"/>
                    </a:lnTo>
                    <a:lnTo>
                      <a:pt x="8" y="25"/>
                    </a:lnTo>
                    <a:lnTo>
                      <a:pt x="8" y="28"/>
                    </a:lnTo>
                    <a:lnTo>
                      <a:pt x="8" y="36"/>
                    </a:lnTo>
                    <a:lnTo>
                      <a:pt x="14" y="47"/>
                    </a:lnTo>
                    <a:lnTo>
                      <a:pt x="5" y="36"/>
                    </a:lnTo>
                    <a:lnTo>
                      <a:pt x="5" y="28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3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3" name="Freeform 1141"/>
              <p:cNvSpPr>
                <a:spLocks noChangeAspect="1"/>
              </p:cNvSpPr>
              <p:nvPr>
                <p:custDataLst>
                  <p:tags r:id="rId1223"/>
                </p:custDataLst>
              </p:nvPr>
            </p:nvSpPr>
            <p:spPr bwMode="gray">
              <a:xfrm>
                <a:off x="7806530" y="4157389"/>
                <a:ext cx="4557" cy="9460"/>
              </a:xfrm>
              <a:custGeom>
                <a:avLst/>
                <a:gdLst>
                  <a:gd name="T0" fmla="*/ 0 w 5"/>
                  <a:gd name="T1" fmla="*/ 0 h 8"/>
                  <a:gd name="T2" fmla="*/ 2147483647 w 5"/>
                  <a:gd name="T3" fmla="*/ 0 h 8"/>
                  <a:gd name="T4" fmla="*/ 2147483647 w 5"/>
                  <a:gd name="T5" fmla="*/ 2147483647 h 8"/>
                  <a:gd name="T6" fmla="*/ 2147483647 w 5"/>
                  <a:gd name="T7" fmla="*/ 2147483647 h 8"/>
                  <a:gd name="T8" fmla="*/ 2147483647 w 5"/>
                  <a:gd name="T9" fmla="*/ 2147483647 h 8"/>
                  <a:gd name="T10" fmla="*/ 2147483647 w 5"/>
                  <a:gd name="T11" fmla="*/ 2147483647 h 8"/>
                  <a:gd name="T12" fmla="*/ 2147483647 w 5"/>
                  <a:gd name="T13" fmla="*/ 2147483647 h 8"/>
                  <a:gd name="T14" fmla="*/ 2147483647 w 5"/>
                  <a:gd name="T15" fmla="*/ 2147483647 h 8"/>
                  <a:gd name="T16" fmla="*/ 2147483647 w 5"/>
                  <a:gd name="T17" fmla="*/ 2147483647 h 8"/>
                  <a:gd name="T18" fmla="*/ 0 w 5"/>
                  <a:gd name="T19" fmla="*/ 0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8"/>
                  <a:gd name="T32" fmla="*/ 5 w 5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8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4" name="Freeform 1142"/>
              <p:cNvSpPr>
                <a:spLocks noChangeAspect="1"/>
              </p:cNvSpPr>
              <p:nvPr>
                <p:custDataLst>
                  <p:tags r:id="rId1224"/>
                </p:custDataLst>
              </p:nvPr>
            </p:nvSpPr>
            <p:spPr bwMode="gray">
              <a:xfrm>
                <a:off x="7806530" y="4157389"/>
                <a:ext cx="4557" cy="9460"/>
              </a:xfrm>
              <a:custGeom>
                <a:avLst/>
                <a:gdLst>
                  <a:gd name="T0" fmla="*/ 0 w 5"/>
                  <a:gd name="T1" fmla="*/ 0 h 8"/>
                  <a:gd name="T2" fmla="*/ 2147483647 w 5"/>
                  <a:gd name="T3" fmla="*/ 0 h 8"/>
                  <a:gd name="T4" fmla="*/ 2147483647 w 5"/>
                  <a:gd name="T5" fmla="*/ 2147483647 h 8"/>
                  <a:gd name="T6" fmla="*/ 2147483647 w 5"/>
                  <a:gd name="T7" fmla="*/ 2147483647 h 8"/>
                  <a:gd name="T8" fmla="*/ 2147483647 w 5"/>
                  <a:gd name="T9" fmla="*/ 2147483647 h 8"/>
                  <a:gd name="T10" fmla="*/ 2147483647 w 5"/>
                  <a:gd name="T11" fmla="*/ 2147483647 h 8"/>
                  <a:gd name="T12" fmla="*/ 2147483647 w 5"/>
                  <a:gd name="T13" fmla="*/ 2147483647 h 8"/>
                  <a:gd name="T14" fmla="*/ 2147483647 w 5"/>
                  <a:gd name="T15" fmla="*/ 2147483647 h 8"/>
                  <a:gd name="T16" fmla="*/ 2147483647 w 5"/>
                  <a:gd name="T17" fmla="*/ 2147483647 h 8"/>
                  <a:gd name="T18" fmla="*/ 0 w 5"/>
                  <a:gd name="T19" fmla="*/ 0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8"/>
                  <a:gd name="T32" fmla="*/ 5 w 5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8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5" name="Freeform 1143"/>
              <p:cNvSpPr>
                <a:spLocks noChangeAspect="1"/>
              </p:cNvSpPr>
              <p:nvPr>
                <p:custDataLst>
                  <p:tags r:id="rId1225"/>
                </p:custDataLst>
              </p:nvPr>
            </p:nvSpPr>
            <p:spPr bwMode="gray">
              <a:xfrm>
                <a:off x="7806530" y="4176311"/>
                <a:ext cx="13667" cy="9460"/>
              </a:xfrm>
              <a:custGeom>
                <a:avLst/>
                <a:gdLst>
                  <a:gd name="T0" fmla="*/ 0 w 11"/>
                  <a:gd name="T1" fmla="*/ 2147483647 h 8"/>
                  <a:gd name="T2" fmla="*/ 0 w 11"/>
                  <a:gd name="T3" fmla="*/ 2147483647 h 8"/>
                  <a:gd name="T4" fmla="*/ 2147483647 w 11"/>
                  <a:gd name="T5" fmla="*/ 0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0 w 11"/>
                  <a:gd name="T15" fmla="*/ 2147483647 h 8"/>
                  <a:gd name="T16" fmla="*/ 0 w 11"/>
                  <a:gd name="T17" fmla="*/ 2147483647 h 8"/>
                  <a:gd name="T18" fmla="*/ 0 w 11"/>
                  <a:gd name="T19" fmla="*/ 2147483647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8"/>
                  <a:gd name="T32" fmla="*/ 11 w 11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8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6" name="Freeform 1144"/>
              <p:cNvSpPr>
                <a:spLocks noChangeAspect="1"/>
              </p:cNvSpPr>
              <p:nvPr>
                <p:custDataLst>
                  <p:tags r:id="rId1226"/>
                </p:custDataLst>
              </p:nvPr>
            </p:nvSpPr>
            <p:spPr bwMode="gray">
              <a:xfrm>
                <a:off x="7806530" y="4176311"/>
                <a:ext cx="13667" cy="9460"/>
              </a:xfrm>
              <a:custGeom>
                <a:avLst/>
                <a:gdLst>
                  <a:gd name="T0" fmla="*/ 0 w 11"/>
                  <a:gd name="T1" fmla="*/ 2147483647 h 8"/>
                  <a:gd name="T2" fmla="*/ 0 w 11"/>
                  <a:gd name="T3" fmla="*/ 2147483647 h 8"/>
                  <a:gd name="T4" fmla="*/ 2147483647 w 11"/>
                  <a:gd name="T5" fmla="*/ 0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0 w 11"/>
                  <a:gd name="T15" fmla="*/ 2147483647 h 8"/>
                  <a:gd name="T16" fmla="*/ 0 w 11"/>
                  <a:gd name="T17" fmla="*/ 2147483647 h 8"/>
                  <a:gd name="T18" fmla="*/ 0 w 11"/>
                  <a:gd name="T19" fmla="*/ 2147483647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8"/>
                  <a:gd name="T32" fmla="*/ 11 w 11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8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7" name="Freeform 1145"/>
              <p:cNvSpPr>
                <a:spLocks noChangeAspect="1"/>
              </p:cNvSpPr>
              <p:nvPr>
                <p:custDataLst>
                  <p:tags r:id="rId1227"/>
                </p:custDataLst>
              </p:nvPr>
            </p:nvSpPr>
            <p:spPr bwMode="gray">
              <a:xfrm>
                <a:off x="7817161" y="4222036"/>
                <a:ext cx="6074" cy="4730"/>
              </a:xfrm>
              <a:custGeom>
                <a:avLst/>
                <a:gdLst>
                  <a:gd name="T0" fmla="*/ 2147483647 w 6"/>
                  <a:gd name="T1" fmla="*/ 2147483647 h 3"/>
                  <a:gd name="T2" fmla="*/ 0 w 6"/>
                  <a:gd name="T3" fmla="*/ 2147483647 h 3"/>
                  <a:gd name="T4" fmla="*/ 0 w 6"/>
                  <a:gd name="T5" fmla="*/ 2147483647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0 h 3"/>
                  <a:gd name="T12" fmla="*/ 2147483647 w 6"/>
                  <a:gd name="T13" fmla="*/ 0 h 3"/>
                  <a:gd name="T14" fmla="*/ 2147483647 w 6"/>
                  <a:gd name="T15" fmla="*/ 0 h 3"/>
                  <a:gd name="T16" fmla="*/ 2147483647 w 6"/>
                  <a:gd name="T17" fmla="*/ 2147483647 h 3"/>
                  <a:gd name="T18" fmla="*/ 2147483647 w 6"/>
                  <a:gd name="T19" fmla="*/ 2147483647 h 3"/>
                  <a:gd name="T20" fmla="*/ 2147483647 w 6"/>
                  <a:gd name="T21" fmla="*/ 2147483647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3"/>
                  <a:gd name="T35" fmla="*/ 6 w 6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8" name="Freeform 1146"/>
              <p:cNvSpPr>
                <a:spLocks noChangeAspect="1"/>
              </p:cNvSpPr>
              <p:nvPr>
                <p:custDataLst>
                  <p:tags r:id="rId1228"/>
                </p:custDataLst>
              </p:nvPr>
            </p:nvSpPr>
            <p:spPr bwMode="gray">
              <a:xfrm>
                <a:off x="7817161" y="4222036"/>
                <a:ext cx="6074" cy="4730"/>
              </a:xfrm>
              <a:custGeom>
                <a:avLst/>
                <a:gdLst>
                  <a:gd name="T0" fmla="*/ 2147483647 w 6"/>
                  <a:gd name="T1" fmla="*/ 2147483647 h 3"/>
                  <a:gd name="T2" fmla="*/ 0 w 6"/>
                  <a:gd name="T3" fmla="*/ 2147483647 h 3"/>
                  <a:gd name="T4" fmla="*/ 0 w 6"/>
                  <a:gd name="T5" fmla="*/ 2147483647 h 3"/>
                  <a:gd name="T6" fmla="*/ 2147483647 w 6"/>
                  <a:gd name="T7" fmla="*/ 0 h 3"/>
                  <a:gd name="T8" fmla="*/ 2147483647 w 6"/>
                  <a:gd name="T9" fmla="*/ 0 h 3"/>
                  <a:gd name="T10" fmla="*/ 2147483647 w 6"/>
                  <a:gd name="T11" fmla="*/ 0 h 3"/>
                  <a:gd name="T12" fmla="*/ 2147483647 w 6"/>
                  <a:gd name="T13" fmla="*/ 0 h 3"/>
                  <a:gd name="T14" fmla="*/ 2147483647 w 6"/>
                  <a:gd name="T15" fmla="*/ 0 h 3"/>
                  <a:gd name="T16" fmla="*/ 2147483647 w 6"/>
                  <a:gd name="T17" fmla="*/ 2147483647 h 3"/>
                  <a:gd name="T18" fmla="*/ 2147483647 w 6"/>
                  <a:gd name="T19" fmla="*/ 2147483647 h 3"/>
                  <a:gd name="T20" fmla="*/ 2147483647 w 6"/>
                  <a:gd name="T21" fmla="*/ 2147483647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3"/>
                  <a:gd name="T35" fmla="*/ 6 w 6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9" name="Freeform 1147"/>
              <p:cNvSpPr>
                <a:spLocks noChangeAspect="1"/>
              </p:cNvSpPr>
              <p:nvPr>
                <p:custDataLst>
                  <p:tags r:id="rId1229"/>
                </p:custDataLst>
              </p:nvPr>
            </p:nvSpPr>
            <p:spPr bwMode="gray">
              <a:xfrm>
                <a:off x="7969006" y="4165272"/>
                <a:ext cx="16702" cy="11037"/>
              </a:xfrm>
              <a:custGeom>
                <a:avLst/>
                <a:gdLst>
                  <a:gd name="T0" fmla="*/ 0 w 14"/>
                  <a:gd name="T1" fmla="*/ 0 h 8"/>
                  <a:gd name="T2" fmla="*/ 0 w 14"/>
                  <a:gd name="T3" fmla="*/ 0 h 8"/>
                  <a:gd name="T4" fmla="*/ 2147483647 w 14"/>
                  <a:gd name="T5" fmla="*/ 0 h 8"/>
                  <a:gd name="T6" fmla="*/ 2147483647 w 14"/>
                  <a:gd name="T7" fmla="*/ 0 h 8"/>
                  <a:gd name="T8" fmla="*/ 2147483647 w 14"/>
                  <a:gd name="T9" fmla="*/ 0 h 8"/>
                  <a:gd name="T10" fmla="*/ 2147483647 w 14"/>
                  <a:gd name="T11" fmla="*/ 2147483647 h 8"/>
                  <a:gd name="T12" fmla="*/ 2147483647 w 14"/>
                  <a:gd name="T13" fmla="*/ 2147483647 h 8"/>
                  <a:gd name="T14" fmla="*/ 2147483647 w 14"/>
                  <a:gd name="T15" fmla="*/ 2147483647 h 8"/>
                  <a:gd name="T16" fmla="*/ 2147483647 w 14"/>
                  <a:gd name="T17" fmla="*/ 2147483647 h 8"/>
                  <a:gd name="T18" fmla="*/ 2147483647 w 14"/>
                  <a:gd name="T19" fmla="*/ 2147483647 h 8"/>
                  <a:gd name="T20" fmla="*/ 2147483647 w 14"/>
                  <a:gd name="T21" fmla="*/ 2147483647 h 8"/>
                  <a:gd name="T22" fmla="*/ 0 w 14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8"/>
                  <a:gd name="T38" fmla="*/ 14 w 14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9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0" name="Freeform 1148"/>
              <p:cNvSpPr>
                <a:spLocks noChangeAspect="1"/>
              </p:cNvSpPr>
              <p:nvPr>
                <p:custDataLst>
                  <p:tags r:id="rId1230"/>
                </p:custDataLst>
              </p:nvPr>
            </p:nvSpPr>
            <p:spPr bwMode="gray">
              <a:xfrm>
                <a:off x="7969006" y="4165272"/>
                <a:ext cx="16702" cy="11037"/>
              </a:xfrm>
              <a:custGeom>
                <a:avLst/>
                <a:gdLst>
                  <a:gd name="T0" fmla="*/ 0 w 14"/>
                  <a:gd name="T1" fmla="*/ 0 h 8"/>
                  <a:gd name="T2" fmla="*/ 0 w 14"/>
                  <a:gd name="T3" fmla="*/ 0 h 8"/>
                  <a:gd name="T4" fmla="*/ 2147483647 w 14"/>
                  <a:gd name="T5" fmla="*/ 0 h 8"/>
                  <a:gd name="T6" fmla="*/ 2147483647 w 14"/>
                  <a:gd name="T7" fmla="*/ 0 h 8"/>
                  <a:gd name="T8" fmla="*/ 2147483647 w 14"/>
                  <a:gd name="T9" fmla="*/ 0 h 8"/>
                  <a:gd name="T10" fmla="*/ 2147483647 w 14"/>
                  <a:gd name="T11" fmla="*/ 2147483647 h 8"/>
                  <a:gd name="T12" fmla="*/ 2147483647 w 14"/>
                  <a:gd name="T13" fmla="*/ 2147483647 h 8"/>
                  <a:gd name="T14" fmla="*/ 2147483647 w 14"/>
                  <a:gd name="T15" fmla="*/ 2147483647 h 8"/>
                  <a:gd name="T16" fmla="*/ 2147483647 w 14"/>
                  <a:gd name="T17" fmla="*/ 2147483647 h 8"/>
                  <a:gd name="T18" fmla="*/ 2147483647 w 14"/>
                  <a:gd name="T19" fmla="*/ 2147483647 h 8"/>
                  <a:gd name="T20" fmla="*/ 2147483647 w 14"/>
                  <a:gd name="T21" fmla="*/ 2147483647 h 8"/>
                  <a:gd name="T22" fmla="*/ 0 w 14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8"/>
                  <a:gd name="T38" fmla="*/ 14 w 14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9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1" name="Freeform 1149"/>
              <p:cNvSpPr>
                <a:spLocks noChangeAspect="1"/>
              </p:cNvSpPr>
              <p:nvPr>
                <p:custDataLst>
                  <p:tags r:id="rId1231"/>
                </p:custDataLst>
              </p:nvPr>
            </p:nvSpPr>
            <p:spPr bwMode="gray">
              <a:xfrm>
                <a:off x="7973562" y="4182618"/>
                <a:ext cx="24295" cy="3154"/>
              </a:xfrm>
              <a:custGeom>
                <a:avLst/>
                <a:gdLst>
                  <a:gd name="T0" fmla="*/ 0 w 19"/>
                  <a:gd name="T1" fmla="*/ 0 h 2"/>
                  <a:gd name="T2" fmla="*/ 0 w 19"/>
                  <a:gd name="T3" fmla="*/ 0 h 2"/>
                  <a:gd name="T4" fmla="*/ 2147483647 w 19"/>
                  <a:gd name="T5" fmla="*/ 2147483647 h 2"/>
                  <a:gd name="T6" fmla="*/ 2147483647 w 19"/>
                  <a:gd name="T7" fmla="*/ 2147483647 h 2"/>
                  <a:gd name="T8" fmla="*/ 2147483647 w 19"/>
                  <a:gd name="T9" fmla="*/ 2147483647 h 2"/>
                  <a:gd name="T10" fmla="*/ 2147483647 w 19"/>
                  <a:gd name="T11" fmla="*/ 2147483647 h 2"/>
                  <a:gd name="T12" fmla="*/ 0 w 19"/>
                  <a:gd name="T13" fmla="*/ 0 h 2"/>
                  <a:gd name="T14" fmla="*/ 0 w 19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"/>
                  <a:gd name="T25" fmla="*/ 0 h 2"/>
                  <a:gd name="T26" fmla="*/ 19 w 19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" h="2">
                    <a:moveTo>
                      <a:pt x="0" y="0"/>
                    </a:moveTo>
                    <a:lnTo>
                      <a:pt x="0" y="0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1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2" name="Freeform 1150"/>
              <p:cNvSpPr>
                <a:spLocks noChangeAspect="1"/>
              </p:cNvSpPr>
              <p:nvPr>
                <p:custDataLst>
                  <p:tags r:id="rId1232"/>
                </p:custDataLst>
              </p:nvPr>
            </p:nvSpPr>
            <p:spPr bwMode="gray">
              <a:xfrm>
                <a:off x="7973562" y="4182618"/>
                <a:ext cx="24295" cy="3154"/>
              </a:xfrm>
              <a:custGeom>
                <a:avLst/>
                <a:gdLst>
                  <a:gd name="T0" fmla="*/ 0 w 19"/>
                  <a:gd name="T1" fmla="*/ 0 h 2"/>
                  <a:gd name="T2" fmla="*/ 0 w 19"/>
                  <a:gd name="T3" fmla="*/ 0 h 2"/>
                  <a:gd name="T4" fmla="*/ 2147483647 w 19"/>
                  <a:gd name="T5" fmla="*/ 2147483647 h 2"/>
                  <a:gd name="T6" fmla="*/ 2147483647 w 19"/>
                  <a:gd name="T7" fmla="*/ 2147483647 h 2"/>
                  <a:gd name="T8" fmla="*/ 2147483647 w 19"/>
                  <a:gd name="T9" fmla="*/ 2147483647 h 2"/>
                  <a:gd name="T10" fmla="*/ 2147483647 w 19"/>
                  <a:gd name="T11" fmla="*/ 2147483647 h 2"/>
                  <a:gd name="T12" fmla="*/ 0 w 19"/>
                  <a:gd name="T13" fmla="*/ 0 h 2"/>
                  <a:gd name="T14" fmla="*/ 0 w 19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"/>
                  <a:gd name="T25" fmla="*/ 0 h 2"/>
                  <a:gd name="T26" fmla="*/ 19 w 19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" h="2">
                    <a:moveTo>
                      <a:pt x="0" y="0"/>
                    </a:moveTo>
                    <a:lnTo>
                      <a:pt x="0" y="0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11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3" name="Freeform 1151"/>
              <p:cNvSpPr>
                <a:spLocks noChangeAspect="1"/>
              </p:cNvSpPr>
              <p:nvPr>
                <p:custDataLst>
                  <p:tags r:id="rId1233"/>
                </p:custDataLst>
              </p:nvPr>
            </p:nvSpPr>
            <p:spPr bwMode="gray">
              <a:xfrm>
                <a:off x="7917381" y="4256724"/>
                <a:ext cx="4555" cy="9460"/>
              </a:xfrm>
              <a:custGeom>
                <a:avLst/>
                <a:gdLst>
                  <a:gd name="T0" fmla="*/ 2147483647 w 3"/>
                  <a:gd name="T1" fmla="*/ 0 h 6"/>
                  <a:gd name="T2" fmla="*/ 2147483647 w 3"/>
                  <a:gd name="T3" fmla="*/ 0 h 6"/>
                  <a:gd name="T4" fmla="*/ 2147483647 w 3"/>
                  <a:gd name="T5" fmla="*/ 0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2147483647 w 3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6"/>
                  <a:gd name="T20" fmla="*/ 3 w 3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4" name="Freeform 1152"/>
              <p:cNvSpPr>
                <a:spLocks noChangeAspect="1"/>
              </p:cNvSpPr>
              <p:nvPr>
                <p:custDataLst>
                  <p:tags r:id="rId1234"/>
                </p:custDataLst>
              </p:nvPr>
            </p:nvSpPr>
            <p:spPr bwMode="gray">
              <a:xfrm>
                <a:off x="7917381" y="4256724"/>
                <a:ext cx="4555" cy="9460"/>
              </a:xfrm>
              <a:custGeom>
                <a:avLst/>
                <a:gdLst>
                  <a:gd name="T0" fmla="*/ 2147483647 w 3"/>
                  <a:gd name="T1" fmla="*/ 0 h 6"/>
                  <a:gd name="T2" fmla="*/ 2147483647 w 3"/>
                  <a:gd name="T3" fmla="*/ 0 h 6"/>
                  <a:gd name="T4" fmla="*/ 2147483647 w 3"/>
                  <a:gd name="T5" fmla="*/ 0 h 6"/>
                  <a:gd name="T6" fmla="*/ 2147483647 w 3"/>
                  <a:gd name="T7" fmla="*/ 2147483647 h 6"/>
                  <a:gd name="T8" fmla="*/ 0 w 3"/>
                  <a:gd name="T9" fmla="*/ 2147483647 h 6"/>
                  <a:gd name="T10" fmla="*/ 2147483647 w 3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6"/>
                  <a:gd name="T20" fmla="*/ 3 w 3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5" name="Freeform 1153"/>
              <p:cNvSpPr>
                <a:spLocks noChangeAspect="1"/>
              </p:cNvSpPr>
              <p:nvPr>
                <p:custDataLst>
                  <p:tags r:id="rId1235"/>
                </p:custDataLst>
              </p:nvPr>
            </p:nvSpPr>
            <p:spPr bwMode="gray">
              <a:xfrm>
                <a:off x="7947749" y="4256724"/>
                <a:ext cx="6074" cy="18921"/>
              </a:xfrm>
              <a:custGeom>
                <a:avLst/>
                <a:gdLst>
                  <a:gd name="T0" fmla="*/ 0 w 6"/>
                  <a:gd name="T1" fmla="*/ 2147483647 h 14"/>
                  <a:gd name="T2" fmla="*/ 2147483647 w 6"/>
                  <a:gd name="T3" fmla="*/ 0 h 14"/>
                  <a:gd name="T4" fmla="*/ 2147483647 w 6"/>
                  <a:gd name="T5" fmla="*/ 2147483647 h 14"/>
                  <a:gd name="T6" fmla="*/ 2147483647 w 6"/>
                  <a:gd name="T7" fmla="*/ 2147483647 h 14"/>
                  <a:gd name="T8" fmla="*/ 2147483647 w 6"/>
                  <a:gd name="T9" fmla="*/ 2147483647 h 14"/>
                  <a:gd name="T10" fmla="*/ 2147483647 w 6"/>
                  <a:gd name="T11" fmla="*/ 2147483647 h 14"/>
                  <a:gd name="T12" fmla="*/ 2147483647 w 6"/>
                  <a:gd name="T13" fmla="*/ 2147483647 h 14"/>
                  <a:gd name="T14" fmla="*/ 2147483647 w 6"/>
                  <a:gd name="T15" fmla="*/ 2147483647 h 14"/>
                  <a:gd name="T16" fmla="*/ 0 w 6"/>
                  <a:gd name="T17" fmla="*/ 2147483647 h 14"/>
                  <a:gd name="T18" fmla="*/ 0 w 6"/>
                  <a:gd name="T19" fmla="*/ 2147483647 h 14"/>
                  <a:gd name="T20" fmla="*/ 0 w 6"/>
                  <a:gd name="T21" fmla="*/ 2147483647 h 14"/>
                  <a:gd name="T22" fmla="*/ 0 w 6"/>
                  <a:gd name="T23" fmla="*/ 2147483647 h 14"/>
                  <a:gd name="T24" fmla="*/ 0 w 6"/>
                  <a:gd name="T25" fmla="*/ 2147483647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"/>
                  <a:gd name="T40" fmla="*/ 0 h 14"/>
                  <a:gd name="T41" fmla="*/ 6 w 6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" h="14">
                    <a:moveTo>
                      <a:pt x="0" y="6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6" name="Freeform 1154"/>
              <p:cNvSpPr>
                <a:spLocks noChangeAspect="1"/>
              </p:cNvSpPr>
              <p:nvPr>
                <p:custDataLst>
                  <p:tags r:id="rId1236"/>
                </p:custDataLst>
              </p:nvPr>
            </p:nvSpPr>
            <p:spPr bwMode="gray">
              <a:xfrm>
                <a:off x="7947749" y="4256724"/>
                <a:ext cx="6074" cy="18921"/>
              </a:xfrm>
              <a:custGeom>
                <a:avLst/>
                <a:gdLst>
                  <a:gd name="T0" fmla="*/ 0 w 6"/>
                  <a:gd name="T1" fmla="*/ 2147483647 h 14"/>
                  <a:gd name="T2" fmla="*/ 2147483647 w 6"/>
                  <a:gd name="T3" fmla="*/ 0 h 14"/>
                  <a:gd name="T4" fmla="*/ 2147483647 w 6"/>
                  <a:gd name="T5" fmla="*/ 2147483647 h 14"/>
                  <a:gd name="T6" fmla="*/ 2147483647 w 6"/>
                  <a:gd name="T7" fmla="*/ 2147483647 h 14"/>
                  <a:gd name="T8" fmla="*/ 2147483647 w 6"/>
                  <a:gd name="T9" fmla="*/ 2147483647 h 14"/>
                  <a:gd name="T10" fmla="*/ 2147483647 w 6"/>
                  <a:gd name="T11" fmla="*/ 2147483647 h 14"/>
                  <a:gd name="T12" fmla="*/ 2147483647 w 6"/>
                  <a:gd name="T13" fmla="*/ 2147483647 h 14"/>
                  <a:gd name="T14" fmla="*/ 2147483647 w 6"/>
                  <a:gd name="T15" fmla="*/ 2147483647 h 14"/>
                  <a:gd name="T16" fmla="*/ 0 w 6"/>
                  <a:gd name="T17" fmla="*/ 2147483647 h 14"/>
                  <a:gd name="T18" fmla="*/ 0 w 6"/>
                  <a:gd name="T19" fmla="*/ 2147483647 h 14"/>
                  <a:gd name="T20" fmla="*/ 0 w 6"/>
                  <a:gd name="T21" fmla="*/ 2147483647 h 14"/>
                  <a:gd name="T22" fmla="*/ 0 w 6"/>
                  <a:gd name="T23" fmla="*/ 2147483647 h 14"/>
                  <a:gd name="T24" fmla="*/ 0 w 6"/>
                  <a:gd name="T25" fmla="*/ 2147483647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"/>
                  <a:gd name="T40" fmla="*/ 0 h 14"/>
                  <a:gd name="T41" fmla="*/ 6 w 6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" h="14">
                    <a:moveTo>
                      <a:pt x="0" y="6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7" name="Freeform 1155"/>
              <p:cNvSpPr>
                <a:spLocks noChangeAspect="1"/>
              </p:cNvSpPr>
              <p:nvPr>
                <p:custDataLst>
                  <p:tags r:id="rId1237"/>
                </p:custDataLst>
              </p:nvPr>
            </p:nvSpPr>
            <p:spPr bwMode="gray">
              <a:xfrm>
                <a:off x="7943193" y="4272492"/>
                <a:ext cx="6074" cy="7884"/>
              </a:xfrm>
              <a:custGeom>
                <a:avLst/>
                <a:gdLst>
                  <a:gd name="T0" fmla="*/ 0 w 5"/>
                  <a:gd name="T1" fmla="*/ 2147483647 h 6"/>
                  <a:gd name="T2" fmla="*/ 0 w 5"/>
                  <a:gd name="T3" fmla="*/ 0 h 6"/>
                  <a:gd name="T4" fmla="*/ 0 w 5"/>
                  <a:gd name="T5" fmla="*/ 0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2147483647 w 5"/>
                  <a:gd name="T17" fmla="*/ 2147483647 h 6"/>
                  <a:gd name="T18" fmla="*/ 2147483647 w 5"/>
                  <a:gd name="T19" fmla="*/ 2147483647 h 6"/>
                  <a:gd name="T20" fmla="*/ 2147483647 w 5"/>
                  <a:gd name="T21" fmla="*/ 2147483647 h 6"/>
                  <a:gd name="T22" fmla="*/ 0 w 5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0" y="3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8" name="Freeform 1156"/>
              <p:cNvSpPr>
                <a:spLocks noChangeAspect="1"/>
              </p:cNvSpPr>
              <p:nvPr>
                <p:custDataLst>
                  <p:tags r:id="rId1238"/>
                </p:custDataLst>
              </p:nvPr>
            </p:nvSpPr>
            <p:spPr bwMode="gray">
              <a:xfrm>
                <a:off x="7943193" y="4272492"/>
                <a:ext cx="6074" cy="7884"/>
              </a:xfrm>
              <a:custGeom>
                <a:avLst/>
                <a:gdLst>
                  <a:gd name="T0" fmla="*/ 0 w 5"/>
                  <a:gd name="T1" fmla="*/ 2147483647 h 6"/>
                  <a:gd name="T2" fmla="*/ 0 w 5"/>
                  <a:gd name="T3" fmla="*/ 0 h 6"/>
                  <a:gd name="T4" fmla="*/ 0 w 5"/>
                  <a:gd name="T5" fmla="*/ 0 h 6"/>
                  <a:gd name="T6" fmla="*/ 2147483647 w 5"/>
                  <a:gd name="T7" fmla="*/ 2147483647 h 6"/>
                  <a:gd name="T8" fmla="*/ 2147483647 w 5"/>
                  <a:gd name="T9" fmla="*/ 2147483647 h 6"/>
                  <a:gd name="T10" fmla="*/ 2147483647 w 5"/>
                  <a:gd name="T11" fmla="*/ 2147483647 h 6"/>
                  <a:gd name="T12" fmla="*/ 2147483647 w 5"/>
                  <a:gd name="T13" fmla="*/ 2147483647 h 6"/>
                  <a:gd name="T14" fmla="*/ 2147483647 w 5"/>
                  <a:gd name="T15" fmla="*/ 2147483647 h 6"/>
                  <a:gd name="T16" fmla="*/ 2147483647 w 5"/>
                  <a:gd name="T17" fmla="*/ 2147483647 h 6"/>
                  <a:gd name="T18" fmla="*/ 2147483647 w 5"/>
                  <a:gd name="T19" fmla="*/ 2147483647 h 6"/>
                  <a:gd name="T20" fmla="*/ 2147483647 w 5"/>
                  <a:gd name="T21" fmla="*/ 2147483647 h 6"/>
                  <a:gd name="T22" fmla="*/ 0 w 5"/>
                  <a:gd name="T23" fmla="*/ 2147483647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6"/>
                  <a:gd name="T38" fmla="*/ 5 w 5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6">
                    <a:moveTo>
                      <a:pt x="0" y="3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9" name="Freeform 1157"/>
              <p:cNvSpPr>
                <a:spLocks noChangeAspect="1"/>
              </p:cNvSpPr>
              <p:nvPr>
                <p:custDataLst>
                  <p:tags r:id="rId1239"/>
                </p:custDataLst>
              </p:nvPr>
            </p:nvSpPr>
            <p:spPr bwMode="gray">
              <a:xfrm>
                <a:off x="7940156" y="4275646"/>
                <a:ext cx="9110" cy="14190"/>
              </a:xfrm>
              <a:custGeom>
                <a:avLst/>
                <a:gdLst>
                  <a:gd name="T0" fmla="*/ 2147483647 w 8"/>
                  <a:gd name="T1" fmla="*/ 0 h 11"/>
                  <a:gd name="T2" fmla="*/ 2147483647 w 8"/>
                  <a:gd name="T3" fmla="*/ 0 h 11"/>
                  <a:gd name="T4" fmla="*/ 2147483647 w 8"/>
                  <a:gd name="T5" fmla="*/ 2147483647 h 11"/>
                  <a:gd name="T6" fmla="*/ 2147483647 w 8"/>
                  <a:gd name="T7" fmla="*/ 2147483647 h 11"/>
                  <a:gd name="T8" fmla="*/ 2147483647 w 8"/>
                  <a:gd name="T9" fmla="*/ 2147483647 h 11"/>
                  <a:gd name="T10" fmla="*/ 2147483647 w 8"/>
                  <a:gd name="T11" fmla="*/ 2147483647 h 11"/>
                  <a:gd name="T12" fmla="*/ 2147483647 w 8"/>
                  <a:gd name="T13" fmla="*/ 2147483647 h 11"/>
                  <a:gd name="T14" fmla="*/ 2147483647 w 8"/>
                  <a:gd name="T15" fmla="*/ 2147483647 h 11"/>
                  <a:gd name="T16" fmla="*/ 0 w 8"/>
                  <a:gd name="T17" fmla="*/ 2147483647 h 11"/>
                  <a:gd name="T18" fmla="*/ 2147483647 w 8"/>
                  <a:gd name="T19" fmla="*/ 2147483647 h 11"/>
                  <a:gd name="T20" fmla="*/ 2147483647 w 8"/>
                  <a:gd name="T21" fmla="*/ 2147483647 h 11"/>
                  <a:gd name="T22" fmla="*/ 2147483647 w 8"/>
                  <a:gd name="T23" fmla="*/ 2147483647 h 11"/>
                  <a:gd name="T24" fmla="*/ 2147483647 w 8"/>
                  <a:gd name="T25" fmla="*/ 2147483647 h 11"/>
                  <a:gd name="T26" fmla="*/ 2147483647 w 8"/>
                  <a:gd name="T27" fmla="*/ 2147483647 h 11"/>
                  <a:gd name="T28" fmla="*/ 2147483647 w 8"/>
                  <a:gd name="T29" fmla="*/ 0 h 11"/>
                  <a:gd name="T30" fmla="*/ 2147483647 w 8"/>
                  <a:gd name="T31" fmla="*/ 0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11"/>
                  <a:gd name="T50" fmla="*/ 8 w 8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11">
                    <a:moveTo>
                      <a:pt x="3" y="0"/>
                    </a:moveTo>
                    <a:lnTo>
                      <a:pt x="3" y="0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0" name="Freeform 1158"/>
              <p:cNvSpPr>
                <a:spLocks noChangeAspect="1"/>
              </p:cNvSpPr>
              <p:nvPr>
                <p:custDataLst>
                  <p:tags r:id="rId1240"/>
                </p:custDataLst>
              </p:nvPr>
            </p:nvSpPr>
            <p:spPr bwMode="gray">
              <a:xfrm>
                <a:off x="7940156" y="4275646"/>
                <a:ext cx="9110" cy="14190"/>
              </a:xfrm>
              <a:custGeom>
                <a:avLst/>
                <a:gdLst>
                  <a:gd name="T0" fmla="*/ 2147483647 w 8"/>
                  <a:gd name="T1" fmla="*/ 0 h 11"/>
                  <a:gd name="T2" fmla="*/ 2147483647 w 8"/>
                  <a:gd name="T3" fmla="*/ 0 h 11"/>
                  <a:gd name="T4" fmla="*/ 2147483647 w 8"/>
                  <a:gd name="T5" fmla="*/ 2147483647 h 11"/>
                  <a:gd name="T6" fmla="*/ 2147483647 w 8"/>
                  <a:gd name="T7" fmla="*/ 2147483647 h 11"/>
                  <a:gd name="T8" fmla="*/ 2147483647 w 8"/>
                  <a:gd name="T9" fmla="*/ 2147483647 h 11"/>
                  <a:gd name="T10" fmla="*/ 2147483647 w 8"/>
                  <a:gd name="T11" fmla="*/ 2147483647 h 11"/>
                  <a:gd name="T12" fmla="*/ 2147483647 w 8"/>
                  <a:gd name="T13" fmla="*/ 2147483647 h 11"/>
                  <a:gd name="T14" fmla="*/ 2147483647 w 8"/>
                  <a:gd name="T15" fmla="*/ 2147483647 h 11"/>
                  <a:gd name="T16" fmla="*/ 0 w 8"/>
                  <a:gd name="T17" fmla="*/ 2147483647 h 11"/>
                  <a:gd name="T18" fmla="*/ 2147483647 w 8"/>
                  <a:gd name="T19" fmla="*/ 2147483647 h 11"/>
                  <a:gd name="T20" fmla="*/ 2147483647 w 8"/>
                  <a:gd name="T21" fmla="*/ 2147483647 h 11"/>
                  <a:gd name="T22" fmla="*/ 2147483647 w 8"/>
                  <a:gd name="T23" fmla="*/ 2147483647 h 11"/>
                  <a:gd name="T24" fmla="*/ 2147483647 w 8"/>
                  <a:gd name="T25" fmla="*/ 2147483647 h 11"/>
                  <a:gd name="T26" fmla="*/ 2147483647 w 8"/>
                  <a:gd name="T27" fmla="*/ 2147483647 h 11"/>
                  <a:gd name="T28" fmla="*/ 2147483647 w 8"/>
                  <a:gd name="T29" fmla="*/ 0 h 11"/>
                  <a:gd name="T30" fmla="*/ 2147483647 w 8"/>
                  <a:gd name="T31" fmla="*/ 0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11"/>
                  <a:gd name="T50" fmla="*/ 8 w 8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11">
                    <a:moveTo>
                      <a:pt x="3" y="0"/>
                    </a:moveTo>
                    <a:lnTo>
                      <a:pt x="3" y="0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1" name="Freeform 1159"/>
              <p:cNvSpPr>
                <a:spLocks noChangeAspect="1"/>
              </p:cNvSpPr>
              <p:nvPr>
                <p:custDataLst>
                  <p:tags r:id="rId1241"/>
                </p:custDataLst>
              </p:nvPr>
            </p:nvSpPr>
            <p:spPr bwMode="gray">
              <a:xfrm>
                <a:off x="7882453" y="4294565"/>
                <a:ext cx="10630" cy="17344"/>
              </a:xfrm>
              <a:custGeom>
                <a:avLst/>
                <a:gdLst>
                  <a:gd name="T0" fmla="*/ 0 w 9"/>
                  <a:gd name="T1" fmla="*/ 2147483647 h 14"/>
                  <a:gd name="T2" fmla="*/ 0 w 9"/>
                  <a:gd name="T3" fmla="*/ 2147483647 h 14"/>
                  <a:gd name="T4" fmla="*/ 2147483647 w 9"/>
                  <a:gd name="T5" fmla="*/ 2147483647 h 14"/>
                  <a:gd name="T6" fmla="*/ 0 w 9"/>
                  <a:gd name="T7" fmla="*/ 2147483647 h 14"/>
                  <a:gd name="T8" fmla="*/ 2147483647 w 9"/>
                  <a:gd name="T9" fmla="*/ 2147483647 h 14"/>
                  <a:gd name="T10" fmla="*/ 2147483647 w 9"/>
                  <a:gd name="T11" fmla="*/ 0 h 14"/>
                  <a:gd name="T12" fmla="*/ 2147483647 w 9"/>
                  <a:gd name="T13" fmla="*/ 0 h 14"/>
                  <a:gd name="T14" fmla="*/ 2147483647 w 9"/>
                  <a:gd name="T15" fmla="*/ 0 h 14"/>
                  <a:gd name="T16" fmla="*/ 2147483647 w 9"/>
                  <a:gd name="T17" fmla="*/ 2147483647 h 14"/>
                  <a:gd name="T18" fmla="*/ 2147483647 w 9"/>
                  <a:gd name="T19" fmla="*/ 2147483647 h 14"/>
                  <a:gd name="T20" fmla="*/ 0 w 9"/>
                  <a:gd name="T21" fmla="*/ 2147483647 h 14"/>
                  <a:gd name="T22" fmla="*/ 0 w 9"/>
                  <a:gd name="T23" fmla="*/ 2147483647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4"/>
                  <a:gd name="T38" fmla="*/ 9 w 9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4">
                    <a:moveTo>
                      <a:pt x="0" y="8"/>
                    </a:moveTo>
                    <a:lnTo>
                      <a:pt x="0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2" name="Freeform 1160"/>
              <p:cNvSpPr>
                <a:spLocks noChangeAspect="1"/>
              </p:cNvSpPr>
              <p:nvPr>
                <p:custDataLst>
                  <p:tags r:id="rId1242"/>
                </p:custDataLst>
              </p:nvPr>
            </p:nvSpPr>
            <p:spPr bwMode="gray">
              <a:xfrm>
                <a:off x="7882453" y="4294565"/>
                <a:ext cx="10630" cy="17344"/>
              </a:xfrm>
              <a:custGeom>
                <a:avLst/>
                <a:gdLst>
                  <a:gd name="T0" fmla="*/ 0 w 9"/>
                  <a:gd name="T1" fmla="*/ 2147483647 h 14"/>
                  <a:gd name="T2" fmla="*/ 0 w 9"/>
                  <a:gd name="T3" fmla="*/ 2147483647 h 14"/>
                  <a:gd name="T4" fmla="*/ 2147483647 w 9"/>
                  <a:gd name="T5" fmla="*/ 2147483647 h 14"/>
                  <a:gd name="T6" fmla="*/ 0 w 9"/>
                  <a:gd name="T7" fmla="*/ 2147483647 h 14"/>
                  <a:gd name="T8" fmla="*/ 2147483647 w 9"/>
                  <a:gd name="T9" fmla="*/ 2147483647 h 14"/>
                  <a:gd name="T10" fmla="*/ 2147483647 w 9"/>
                  <a:gd name="T11" fmla="*/ 0 h 14"/>
                  <a:gd name="T12" fmla="*/ 2147483647 w 9"/>
                  <a:gd name="T13" fmla="*/ 0 h 14"/>
                  <a:gd name="T14" fmla="*/ 2147483647 w 9"/>
                  <a:gd name="T15" fmla="*/ 0 h 14"/>
                  <a:gd name="T16" fmla="*/ 2147483647 w 9"/>
                  <a:gd name="T17" fmla="*/ 2147483647 h 14"/>
                  <a:gd name="T18" fmla="*/ 2147483647 w 9"/>
                  <a:gd name="T19" fmla="*/ 2147483647 h 14"/>
                  <a:gd name="T20" fmla="*/ 0 w 9"/>
                  <a:gd name="T21" fmla="*/ 2147483647 h 14"/>
                  <a:gd name="T22" fmla="*/ 0 w 9"/>
                  <a:gd name="T23" fmla="*/ 2147483647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4"/>
                  <a:gd name="T38" fmla="*/ 9 w 9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4">
                    <a:moveTo>
                      <a:pt x="0" y="8"/>
                    </a:moveTo>
                    <a:lnTo>
                      <a:pt x="0" y="8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3" name="Freeform 1161"/>
              <p:cNvSpPr>
                <a:spLocks noChangeAspect="1"/>
              </p:cNvSpPr>
              <p:nvPr>
                <p:custDataLst>
                  <p:tags r:id="rId1243"/>
                </p:custDataLst>
              </p:nvPr>
            </p:nvSpPr>
            <p:spPr bwMode="gray">
              <a:xfrm>
                <a:off x="7849048" y="4308755"/>
                <a:ext cx="7593" cy="3154"/>
              </a:xfrm>
              <a:custGeom>
                <a:avLst/>
                <a:gdLst>
                  <a:gd name="T0" fmla="*/ 2147483647 w 6"/>
                  <a:gd name="T1" fmla="*/ 0 h 3"/>
                  <a:gd name="T2" fmla="*/ 0 w 6"/>
                  <a:gd name="T3" fmla="*/ 0 h 3"/>
                  <a:gd name="T4" fmla="*/ 2147483647 w 6"/>
                  <a:gd name="T5" fmla="*/ 0 h 3"/>
                  <a:gd name="T6" fmla="*/ 2147483647 w 6"/>
                  <a:gd name="T7" fmla="*/ 0 h 3"/>
                  <a:gd name="T8" fmla="*/ 2147483647 w 6"/>
                  <a:gd name="T9" fmla="*/ 2147483647 h 3"/>
                  <a:gd name="T10" fmla="*/ 2147483647 w 6"/>
                  <a:gd name="T11" fmla="*/ 2147483647 h 3"/>
                  <a:gd name="T12" fmla="*/ 2147483647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3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4" name="Freeform 1162"/>
              <p:cNvSpPr>
                <a:spLocks noChangeAspect="1"/>
              </p:cNvSpPr>
              <p:nvPr>
                <p:custDataLst>
                  <p:tags r:id="rId1244"/>
                </p:custDataLst>
              </p:nvPr>
            </p:nvSpPr>
            <p:spPr bwMode="gray">
              <a:xfrm>
                <a:off x="7849048" y="4308755"/>
                <a:ext cx="7593" cy="3154"/>
              </a:xfrm>
              <a:custGeom>
                <a:avLst/>
                <a:gdLst>
                  <a:gd name="T0" fmla="*/ 2147483647 w 6"/>
                  <a:gd name="T1" fmla="*/ 0 h 3"/>
                  <a:gd name="T2" fmla="*/ 0 w 6"/>
                  <a:gd name="T3" fmla="*/ 0 h 3"/>
                  <a:gd name="T4" fmla="*/ 2147483647 w 6"/>
                  <a:gd name="T5" fmla="*/ 0 h 3"/>
                  <a:gd name="T6" fmla="*/ 2147483647 w 6"/>
                  <a:gd name="T7" fmla="*/ 0 h 3"/>
                  <a:gd name="T8" fmla="*/ 2147483647 w 6"/>
                  <a:gd name="T9" fmla="*/ 2147483647 h 3"/>
                  <a:gd name="T10" fmla="*/ 2147483647 w 6"/>
                  <a:gd name="T11" fmla="*/ 2147483647 h 3"/>
                  <a:gd name="T12" fmla="*/ 2147483647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3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5" name="Freeform 1163"/>
              <p:cNvSpPr>
                <a:spLocks noChangeAspect="1"/>
              </p:cNvSpPr>
              <p:nvPr>
                <p:custDataLst>
                  <p:tags r:id="rId1245"/>
                </p:custDataLst>
              </p:nvPr>
            </p:nvSpPr>
            <p:spPr bwMode="gray">
              <a:xfrm>
                <a:off x="7827789" y="4294565"/>
                <a:ext cx="3037" cy="1577"/>
              </a:xfrm>
              <a:custGeom>
                <a:avLst/>
                <a:gdLst>
                  <a:gd name="T0" fmla="*/ 2147483647 w 2"/>
                  <a:gd name="T1" fmla="*/ 0 h 1416"/>
                  <a:gd name="T2" fmla="*/ 0 w 2"/>
                  <a:gd name="T3" fmla="*/ 0 h 1416"/>
                  <a:gd name="T4" fmla="*/ 2147483647 w 2"/>
                  <a:gd name="T5" fmla="*/ 0 h 1416"/>
                  <a:gd name="T6" fmla="*/ 2147483647 w 2"/>
                  <a:gd name="T7" fmla="*/ 0 h 1416"/>
                  <a:gd name="T8" fmla="*/ 2147483647 w 2"/>
                  <a:gd name="T9" fmla="*/ 0 h 1416"/>
                  <a:gd name="T10" fmla="*/ 2147483647 w 2"/>
                  <a:gd name="T11" fmla="*/ 0 h 1416"/>
                  <a:gd name="T12" fmla="*/ 2147483647 w 2"/>
                  <a:gd name="T13" fmla="*/ 0 h 14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1416"/>
                  <a:gd name="T23" fmla="*/ 2 w 2"/>
                  <a:gd name="T24" fmla="*/ 1416 h 14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141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6" name="Freeform 1164"/>
              <p:cNvSpPr>
                <a:spLocks noChangeAspect="1"/>
              </p:cNvSpPr>
              <p:nvPr>
                <p:custDataLst>
                  <p:tags r:id="rId1246"/>
                </p:custDataLst>
              </p:nvPr>
            </p:nvSpPr>
            <p:spPr bwMode="gray">
              <a:xfrm>
                <a:off x="7827789" y="4294565"/>
                <a:ext cx="3037" cy="1577"/>
              </a:xfrm>
              <a:custGeom>
                <a:avLst/>
                <a:gdLst>
                  <a:gd name="T0" fmla="*/ 2147483647 w 2"/>
                  <a:gd name="T1" fmla="*/ 0 h 1416"/>
                  <a:gd name="T2" fmla="*/ 0 w 2"/>
                  <a:gd name="T3" fmla="*/ 0 h 1416"/>
                  <a:gd name="T4" fmla="*/ 2147483647 w 2"/>
                  <a:gd name="T5" fmla="*/ 0 h 1416"/>
                  <a:gd name="T6" fmla="*/ 2147483647 w 2"/>
                  <a:gd name="T7" fmla="*/ 0 h 1416"/>
                  <a:gd name="T8" fmla="*/ 2147483647 w 2"/>
                  <a:gd name="T9" fmla="*/ 0 h 1416"/>
                  <a:gd name="T10" fmla="*/ 2147483647 w 2"/>
                  <a:gd name="T11" fmla="*/ 0 h 1416"/>
                  <a:gd name="T12" fmla="*/ 2147483647 w 2"/>
                  <a:gd name="T13" fmla="*/ 0 h 14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1416"/>
                  <a:gd name="T23" fmla="*/ 2 w 2"/>
                  <a:gd name="T24" fmla="*/ 1416 h 14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141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7" name="Freeform 1180"/>
              <p:cNvSpPr>
                <a:spLocks noChangeAspect="1"/>
              </p:cNvSpPr>
              <p:nvPr>
                <p:custDataLst>
                  <p:tags r:id="rId1247"/>
                </p:custDataLst>
              </p:nvPr>
            </p:nvSpPr>
            <p:spPr bwMode="gray">
              <a:xfrm>
                <a:off x="7255333" y="3687521"/>
                <a:ext cx="144253" cy="179748"/>
              </a:xfrm>
              <a:custGeom>
                <a:avLst/>
                <a:gdLst>
                  <a:gd name="T0" fmla="*/ 2147483647 w 111"/>
                  <a:gd name="T1" fmla="*/ 2147483647 h 140"/>
                  <a:gd name="T2" fmla="*/ 2147483647 w 111"/>
                  <a:gd name="T3" fmla="*/ 2147483647 h 140"/>
                  <a:gd name="T4" fmla="*/ 2147483647 w 111"/>
                  <a:gd name="T5" fmla="*/ 2147483647 h 140"/>
                  <a:gd name="T6" fmla="*/ 2147483647 w 111"/>
                  <a:gd name="T7" fmla="*/ 2147483647 h 140"/>
                  <a:gd name="T8" fmla="*/ 2147483647 w 111"/>
                  <a:gd name="T9" fmla="*/ 2147483647 h 140"/>
                  <a:gd name="T10" fmla="*/ 2147483647 w 111"/>
                  <a:gd name="T11" fmla="*/ 2147483647 h 140"/>
                  <a:gd name="T12" fmla="*/ 2147483647 w 111"/>
                  <a:gd name="T13" fmla="*/ 2147483647 h 140"/>
                  <a:gd name="T14" fmla="*/ 2147483647 w 111"/>
                  <a:gd name="T15" fmla="*/ 2147483647 h 140"/>
                  <a:gd name="T16" fmla="*/ 2147483647 w 111"/>
                  <a:gd name="T17" fmla="*/ 2147483647 h 140"/>
                  <a:gd name="T18" fmla="*/ 2147483647 w 111"/>
                  <a:gd name="T19" fmla="*/ 2147483647 h 140"/>
                  <a:gd name="T20" fmla="*/ 2147483647 w 111"/>
                  <a:gd name="T21" fmla="*/ 2147483647 h 140"/>
                  <a:gd name="T22" fmla="*/ 2147483647 w 111"/>
                  <a:gd name="T23" fmla="*/ 2147483647 h 140"/>
                  <a:gd name="T24" fmla="*/ 2147483647 w 111"/>
                  <a:gd name="T25" fmla="*/ 2147483647 h 140"/>
                  <a:gd name="T26" fmla="*/ 2147483647 w 111"/>
                  <a:gd name="T27" fmla="*/ 2147483647 h 140"/>
                  <a:gd name="T28" fmla="*/ 2147483647 w 111"/>
                  <a:gd name="T29" fmla="*/ 2147483647 h 140"/>
                  <a:gd name="T30" fmla="*/ 2147483647 w 111"/>
                  <a:gd name="T31" fmla="*/ 2147483647 h 140"/>
                  <a:gd name="T32" fmla="*/ 2147483647 w 111"/>
                  <a:gd name="T33" fmla="*/ 2147483647 h 140"/>
                  <a:gd name="T34" fmla="*/ 2147483647 w 111"/>
                  <a:gd name="T35" fmla="*/ 2147483647 h 140"/>
                  <a:gd name="T36" fmla="*/ 2147483647 w 111"/>
                  <a:gd name="T37" fmla="*/ 2147483647 h 140"/>
                  <a:gd name="T38" fmla="*/ 2147483647 w 111"/>
                  <a:gd name="T39" fmla="*/ 2147483647 h 140"/>
                  <a:gd name="T40" fmla="*/ 2147483647 w 111"/>
                  <a:gd name="T41" fmla="*/ 2147483647 h 140"/>
                  <a:gd name="T42" fmla="*/ 2147483647 w 111"/>
                  <a:gd name="T43" fmla="*/ 2147483647 h 140"/>
                  <a:gd name="T44" fmla="*/ 2147483647 w 111"/>
                  <a:gd name="T45" fmla="*/ 2147483647 h 140"/>
                  <a:gd name="T46" fmla="*/ 2147483647 w 111"/>
                  <a:gd name="T47" fmla="*/ 2147483647 h 140"/>
                  <a:gd name="T48" fmla="*/ 2147483647 w 111"/>
                  <a:gd name="T49" fmla="*/ 2147483647 h 140"/>
                  <a:gd name="T50" fmla="*/ 2147483647 w 111"/>
                  <a:gd name="T51" fmla="*/ 2147483647 h 140"/>
                  <a:gd name="T52" fmla="*/ 2147483647 w 111"/>
                  <a:gd name="T53" fmla="*/ 2147483647 h 140"/>
                  <a:gd name="T54" fmla="*/ 2147483647 w 111"/>
                  <a:gd name="T55" fmla="*/ 2147483647 h 140"/>
                  <a:gd name="T56" fmla="*/ 2147483647 w 111"/>
                  <a:gd name="T57" fmla="*/ 2147483647 h 140"/>
                  <a:gd name="T58" fmla="*/ 2147483647 w 111"/>
                  <a:gd name="T59" fmla="*/ 2147483647 h 140"/>
                  <a:gd name="T60" fmla="*/ 2147483647 w 111"/>
                  <a:gd name="T61" fmla="*/ 2147483647 h 140"/>
                  <a:gd name="T62" fmla="*/ 2147483647 w 111"/>
                  <a:gd name="T63" fmla="*/ 2147483647 h 140"/>
                  <a:gd name="T64" fmla="*/ 2147483647 w 111"/>
                  <a:gd name="T65" fmla="*/ 2147483647 h 140"/>
                  <a:gd name="T66" fmla="*/ 2147483647 w 111"/>
                  <a:gd name="T67" fmla="*/ 2147483647 h 140"/>
                  <a:gd name="T68" fmla="*/ 2147483647 w 111"/>
                  <a:gd name="T69" fmla="*/ 2147483647 h 140"/>
                  <a:gd name="T70" fmla="*/ 2147483647 w 111"/>
                  <a:gd name="T71" fmla="*/ 2147483647 h 140"/>
                  <a:gd name="T72" fmla="*/ 2147483647 w 111"/>
                  <a:gd name="T73" fmla="*/ 2147483647 h 140"/>
                  <a:gd name="T74" fmla="*/ 2147483647 w 111"/>
                  <a:gd name="T75" fmla="*/ 2147483647 h 140"/>
                  <a:gd name="T76" fmla="*/ 2147483647 w 111"/>
                  <a:gd name="T77" fmla="*/ 2147483647 h 140"/>
                  <a:gd name="T78" fmla="*/ 2147483647 w 111"/>
                  <a:gd name="T79" fmla="*/ 2147483647 h 140"/>
                  <a:gd name="T80" fmla="*/ 2147483647 w 111"/>
                  <a:gd name="T81" fmla="*/ 2147483647 h 140"/>
                  <a:gd name="T82" fmla="*/ 2147483647 w 111"/>
                  <a:gd name="T83" fmla="*/ 2147483647 h 140"/>
                  <a:gd name="T84" fmla="*/ 2147483647 w 111"/>
                  <a:gd name="T85" fmla="*/ 2147483647 h 140"/>
                  <a:gd name="T86" fmla="*/ 2147483647 w 111"/>
                  <a:gd name="T87" fmla="*/ 2147483647 h 140"/>
                  <a:gd name="T88" fmla="*/ 0 w 111"/>
                  <a:gd name="T89" fmla="*/ 2147483647 h 140"/>
                  <a:gd name="T90" fmla="*/ 0 w 111"/>
                  <a:gd name="T91" fmla="*/ 2147483647 h 140"/>
                  <a:gd name="T92" fmla="*/ 0 w 111"/>
                  <a:gd name="T93" fmla="*/ 2147483647 h 140"/>
                  <a:gd name="T94" fmla="*/ 2147483647 w 111"/>
                  <a:gd name="T95" fmla="*/ 2147483647 h 140"/>
                  <a:gd name="T96" fmla="*/ 2147483647 w 111"/>
                  <a:gd name="T97" fmla="*/ 2147483647 h 140"/>
                  <a:gd name="T98" fmla="*/ 2147483647 w 111"/>
                  <a:gd name="T99" fmla="*/ 2147483647 h 140"/>
                  <a:gd name="T100" fmla="*/ 2147483647 w 111"/>
                  <a:gd name="T101" fmla="*/ 2147483647 h 140"/>
                  <a:gd name="T102" fmla="*/ 2147483647 w 111"/>
                  <a:gd name="T103" fmla="*/ 2147483647 h 140"/>
                  <a:gd name="T104" fmla="*/ 2147483647 w 111"/>
                  <a:gd name="T105" fmla="*/ 2147483647 h 140"/>
                  <a:gd name="T106" fmla="*/ 2147483647 w 111"/>
                  <a:gd name="T107" fmla="*/ 0 h 14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1"/>
                  <a:gd name="T163" fmla="*/ 0 h 140"/>
                  <a:gd name="T164" fmla="*/ 111 w 111"/>
                  <a:gd name="T165" fmla="*/ 140 h 14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1" h="140">
                    <a:moveTo>
                      <a:pt x="28" y="3"/>
                    </a:moveTo>
                    <a:lnTo>
                      <a:pt x="41" y="17"/>
                    </a:lnTo>
                    <a:lnTo>
                      <a:pt x="41" y="23"/>
                    </a:lnTo>
                    <a:lnTo>
                      <a:pt x="44" y="28"/>
                    </a:lnTo>
                    <a:lnTo>
                      <a:pt x="50" y="28"/>
                    </a:lnTo>
                    <a:lnTo>
                      <a:pt x="55" y="28"/>
                    </a:lnTo>
                    <a:lnTo>
                      <a:pt x="61" y="28"/>
                    </a:lnTo>
                    <a:lnTo>
                      <a:pt x="64" y="34"/>
                    </a:lnTo>
                    <a:lnTo>
                      <a:pt x="67" y="36"/>
                    </a:lnTo>
                    <a:lnTo>
                      <a:pt x="69" y="39"/>
                    </a:lnTo>
                    <a:lnTo>
                      <a:pt x="69" y="42"/>
                    </a:lnTo>
                    <a:lnTo>
                      <a:pt x="69" y="45"/>
                    </a:lnTo>
                    <a:lnTo>
                      <a:pt x="67" y="48"/>
                    </a:lnTo>
                    <a:lnTo>
                      <a:pt x="61" y="48"/>
                    </a:lnTo>
                    <a:lnTo>
                      <a:pt x="58" y="48"/>
                    </a:lnTo>
                    <a:lnTo>
                      <a:pt x="58" y="50"/>
                    </a:lnTo>
                    <a:lnTo>
                      <a:pt x="58" y="53"/>
                    </a:lnTo>
                    <a:lnTo>
                      <a:pt x="75" y="64"/>
                    </a:lnTo>
                    <a:lnTo>
                      <a:pt x="75" y="70"/>
                    </a:lnTo>
                    <a:lnTo>
                      <a:pt x="83" y="75"/>
                    </a:lnTo>
                    <a:lnTo>
                      <a:pt x="83" y="78"/>
                    </a:lnTo>
                    <a:lnTo>
                      <a:pt x="89" y="84"/>
                    </a:lnTo>
                    <a:lnTo>
                      <a:pt x="94" y="87"/>
                    </a:lnTo>
                    <a:lnTo>
                      <a:pt x="97" y="95"/>
                    </a:lnTo>
                    <a:lnTo>
                      <a:pt x="97" y="98"/>
                    </a:lnTo>
                    <a:lnTo>
                      <a:pt x="100" y="98"/>
                    </a:lnTo>
                    <a:lnTo>
                      <a:pt x="105" y="103"/>
                    </a:lnTo>
                    <a:lnTo>
                      <a:pt x="111" y="117"/>
                    </a:lnTo>
                    <a:lnTo>
                      <a:pt x="111" y="128"/>
                    </a:lnTo>
                    <a:lnTo>
                      <a:pt x="111" y="131"/>
                    </a:lnTo>
                    <a:lnTo>
                      <a:pt x="108" y="134"/>
                    </a:lnTo>
                    <a:lnTo>
                      <a:pt x="105" y="134"/>
                    </a:lnTo>
                    <a:lnTo>
                      <a:pt x="103" y="134"/>
                    </a:lnTo>
                    <a:lnTo>
                      <a:pt x="100" y="131"/>
                    </a:lnTo>
                    <a:lnTo>
                      <a:pt x="97" y="131"/>
                    </a:lnTo>
                    <a:lnTo>
                      <a:pt x="92" y="137"/>
                    </a:lnTo>
                    <a:lnTo>
                      <a:pt x="89" y="140"/>
                    </a:lnTo>
                    <a:lnTo>
                      <a:pt x="80" y="140"/>
                    </a:lnTo>
                    <a:lnTo>
                      <a:pt x="78" y="137"/>
                    </a:lnTo>
                    <a:lnTo>
                      <a:pt x="78" y="134"/>
                    </a:lnTo>
                    <a:lnTo>
                      <a:pt x="80" y="131"/>
                    </a:lnTo>
                    <a:lnTo>
                      <a:pt x="80" y="120"/>
                    </a:lnTo>
                    <a:lnTo>
                      <a:pt x="80" y="117"/>
                    </a:lnTo>
                    <a:lnTo>
                      <a:pt x="80" y="114"/>
                    </a:lnTo>
                    <a:lnTo>
                      <a:pt x="80" y="112"/>
                    </a:lnTo>
                    <a:lnTo>
                      <a:pt x="78" y="109"/>
                    </a:lnTo>
                    <a:lnTo>
                      <a:pt x="78" y="106"/>
                    </a:lnTo>
                    <a:lnTo>
                      <a:pt x="75" y="106"/>
                    </a:lnTo>
                    <a:lnTo>
                      <a:pt x="72" y="106"/>
                    </a:lnTo>
                    <a:lnTo>
                      <a:pt x="69" y="103"/>
                    </a:lnTo>
                    <a:lnTo>
                      <a:pt x="69" y="101"/>
                    </a:lnTo>
                    <a:lnTo>
                      <a:pt x="69" y="89"/>
                    </a:lnTo>
                    <a:lnTo>
                      <a:pt x="67" y="81"/>
                    </a:lnTo>
                    <a:lnTo>
                      <a:pt x="64" y="81"/>
                    </a:lnTo>
                    <a:lnTo>
                      <a:pt x="64" y="78"/>
                    </a:lnTo>
                    <a:lnTo>
                      <a:pt x="58" y="75"/>
                    </a:lnTo>
                    <a:lnTo>
                      <a:pt x="55" y="70"/>
                    </a:lnTo>
                    <a:lnTo>
                      <a:pt x="44" y="70"/>
                    </a:lnTo>
                    <a:lnTo>
                      <a:pt x="44" y="73"/>
                    </a:lnTo>
                    <a:lnTo>
                      <a:pt x="41" y="75"/>
                    </a:lnTo>
                    <a:lnTo>
                      <a:pt x="36" y="78"/>
                    </a:lnTo>
                    <a:lnTo>
                      <a:pt x="33" y="78"/>
                    </a:lnTo>
                    <a:lnTo>
                      <a:pt x="30" y="75"/>
                    </a:lnTo>
                    <a:lnTo>
                      <a:pt x="30" y="73"/>
                    </a:lnTo>
                    <a:lnTo>
                      <a:pt x="28" y="73"/>
                    </a:lnTo>
                    <a:lnTo>
                      <a:pt x="22" y="73"/>
                    </a:lnTo>
                    <a:lnTo>
                      <a:pt x="16" y="78"/>
                    </a:lnTo>
                    <a:lnTo>
                      <a:pt x="14" y="78"/>
                    </a:lnTo>
                    <a:lnTo>
                      <a:pt x="14" y="81"/>
                    </a:lnTo>
                    <a:lnTo>
                      <a:pt x="11" y="84"/>
                    </a:lnTo>
                    <a:lnTo>
                      <a:pt x="11" y="81"/>
                    </a:lnTo>
                    <a:lnTo>
                      <a:pt x="11" y="78"/>
                    </a:lnTo>
                    <a:lnTo>
                      <a:pt x="14" y="59"/>
                    </a:lnTo>
                    <a:lnTo>
                      <a:pt x="14" y="53"/>
                    </a:lnTo>
                    <a:lnTo>
                      <a:pt x="14" y="50"/>
                    </a:lnTo>
                    <a:lnTo>
                      <a:pt x="14" y="48"/>
                    </a:lnTo>
                    <a:lnTo>
                      <a:pt x="5" y="48"/>
                    </a:lnTo>
                    <a:lnTo>
                      <a:pt x="5" y="39"/>
                    </a:lnTo>
                    <a:lnTo>
                      <a:pt x="0" y="34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5" y="28"/>
                    </a:lnTo>
                    <a:lnTo>
                      <a:pt x="5" y="23"/>
                    </a:lnTo>
                    <a:lnTo>
                      <a:pt x="11" y="17"/>
                    </a:lnTo>
                    <a:lnTo>
                      <a:pt x="14" y="17"/>
                    </a:lnTo>
                    <a:lnTo>
                      <a:pt x="14" y="14"/>
                    </a:lnTo>
                    <a:lnTo>
                      <a:pt x="16" y="23"/>
                    </a:lnTo>
                    <a:lnTo>
                      <a:pt x="22" y="20"/>
                    </a:lnTo>
                    <a:lnTo>
                      <a:pt x="22" y="17"/>
                    </a:lnTo>
                    <a:lnTo>
                      <a:pt x="22" y="11"/>
                    </a:lnTo>
                    <a:lnTo>
                      <a:pt x="22" y="3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28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8" name="Freeform 1181"/>
              <p:cNvSpPr>
                <a:spLocks noChangeAspect="1"/>
              </p:cNvSpPr>
              <p:nvPr>
                <p:custDataLst>
                  <p:tags r:id="rId1248"/>
                </p:custDataLst>
              </p:nvPr>
            </p:nvSpPr>
            <p:spPr bwMode="gray">
              <a:xfrm>
                <a:off x="7745792" y="3200307"/>
                <a:ext cx="129069" cy="135599"/>
              </a:xfrm>
              <a:custGeom>
                <a:avLst/>
                <a:gdLst>
                  <a:gd name="T0" fmla="*/ 2147483647 w 100"/>
                  <a:gd name="T1" fmla="*/ 2147483647 h 105"/>
                  <a:gd name="T2" fmla="*/ 2147483647 w 100"/>
                  <a:gd name="T3" fmla="*/ 2147483647 h 105"/>
                  <a:gd name="T4" fmla="*/ 2147483647 w 100"/>
                  <a:gd name="T5" fmla="*/ 2147483647 h 105"/>
                  <a:gd name="T6" fmla="*/ 2147483647 w 100"/>
                  <a:gd name="T7" fmla="*/ 2147483647 h 105"/>
                  <a:gd name="T8" fmla="*/ 2147483647 w 100"/>
                  <a:gd name="T9" fmla="*/ 2147483647 h 105"/>
                  <a:gd name="T10" fmla="*/ 2147483647 w 100"/>
                  <a:gd name="T11" fmla="*/ 2147483647 h 105"/>
                  <a:gd name="T12" fmla="*/ 2147483647 w 100"/>
                  <a:gd name="T13" fmla="*/ 2147483647 h 105"/>
                  <a:gd name="T14" fmla="*/ 2147483647 w 100"/>
                  <a:gd name="T15" fmla="*/ 2147483647 h 105"/>
                  <a:gd name="T16" fmla="*/ 2147483647 w 100"/>
                  <a:gd name="T17" fmla="*/ 2147483647 h 105"/>
                  <a:gd name="T18" fmla="*/ 2147483647 w 100"/>
                  <a:gd name="T19" fmla="*/ 2147483647 h 105"/>
                  <a:gd name="T20" fmla="*/ 2147483647 w 100"/>
                  <a:gd name="T21" fmla="*/ 2147483647 h 105"/>
                  <a:gd name="T22" fmla="*/ 2147483647 w 100"/>
                  <a:gd name="T23" fmla="*/ 2147483647 h 105"/>
                  <a:gd name="T24" fmla="*/ 2147483647 w 100"/>
                  <a:gd name="T25" fmla="*/ 0 h 105"/>
                  <a:gd name="T26" fmla="*/ 2147483647 w 100"/>
                  <a:gd name="T27" fmla="*/ 2147483647 h 105"/>
                  <a:gd name="T28" fmla="*/ 2147483647 w 100"/>
                  <a:gd name="T29" fmla="*/ 2147483647 h 105"/>
                  <a:gd name="T30" fmla="*/ 2147483647 w 100"/>
                  <a:gd name="T31" fmla="*/ 2147483647 h 105"/>
                  <a:gd name="T32" fmla="*/ 2147483647 w 100"/>
                  <a:gd name="T33" fmla="*/ 2147483647 h 105"/>
                  <a:gd name="T34" fmla="*/ 2147483647 w 100"/>
                  <a:gd name="T35" fmla="*/ 2147483647 h 105"/>
                  <a:gd name="T36" fmla="*/ 0 w 100"/>
                  <a:gd name="T37" fmla="*/ 2147483647 h 105"/>
                  <a:gd name="T38" fmla="*/ 2147483647 w 100"/>
                  <a:gd name="T39" fmla="*/ 2147483647 h 105"/>
                  <a:gd name="T40" fmla="*/ 2147483647 w 100"/>
                  <a:gd name="T41" fmla="*/ 2147483647 h 105"/>
                  <a:gd name="T42" fmla="*/ 2147483647 w 100"/>
                  <a:gd name="T43" fmla="*/ 2147483647 h 105"/>
                  <a:gd name="T44" fmla="*/ 2147483647 w 100"/>
                  <a:gd name="T45" fmla="*/ 2147483647 h 105"/>
                  <a:gd name="T46" fmla="*/ 2147483647 w 100"/>
                  <a:gd name="T47" fmla="*/ 2147483647 h 105"/>
                  <a:gd name="T48" fmla="*/ 2147483647 w 100"/>
                  <a:gd name="T49" fmla="*/ 2147483647 h 105"/>
                  <a:gd name="T50" fmla="*/ 2147483647 w 100"/>
                  <a:gd name="T51" fmla="*/ 2147483647 h 105"/>
                  <a:gd name="T52" fmla="*/ 2147483647 w 100"/>
                  <a:gd name="T53" fmla="*/ 2147483647 h 105"/>
                  <a:gd name="T54" fmla="*/ 2147483647 w 100"/>
                  <a:gd name="T55" fmla="*/ 2147483647 h 105"/>
                  <a:gd name="T56" fmla="*/ 2147483647 w 100"/>
                  <a:gd name="T57" fmla="*/ 2147483647 h 105"/>
                  <a:gd name="T58" fmla="*/ 2147483647 w 100"/>
                  <a:gd name="T59" fmla="*/ 2147483647 h 105"/>
                  <a:gd name="T60" fmla="*/ 2147483647 w 100"/>
                  <a:gd name="T61" fmla="*/ 2147483647 h 105"/>
                  <a:gd name="T62" fmla="*/ 2147483647 w 100"/>
                  <a:gd name="T63" fmla="*/ 2147483647 h 105"/>
                  <a:gd name="T64" fmla="*/ 2147483647 w 100"/>
                  <a:gd name="T65" fmla="*/ 2147483647 h 105"/>
                  <a:gd name="T66" fmla="*/ 2147483647 w 100"/>
                  <a:gd name="T67" fmla="*/ 2147483647 h 105"/>
                  <a:gd name="T68" fmla="*/ 2147483647 w 100"/>
                  <a:gd name="T69" fmla="*/ 2147483647 h 105"/>
                  <a:gd name="T70" fmla="*/ 2147483647 w 100"/>
                  <a:gd name="T71" fmla="*/ 2147483647 h 105"/>
                  <a:gd name="T72" fmla="*/ 2147483647 w 100"/>
                  <a:gd name="T73" fmla="*/ 2147483647 h 105"/>
                  <a:gd name="T74" fmla="*/ 2147483647 w 100"/>
                  <a:gd name="T75" fmla="*/ 2147483647 h 10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0"/>
                  <a:gd name="T115" fmla="*/ 0 h 105"/>
                  <a:gd name="T116" fmla="*/ 100 w 100"/>
                  <a:gd name="T117" fmla="*/ 105 h 10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0" h="105">
                    <a:moveTo>
                      <a:pt x="64" y="89"/>
                    </a:moveTo>
                    <a:lnTo>
                      <a:pt x="61" y="86"/>
                    </a:lnTo>
                    <a:lnTo>
                      <a:pt x="52" y="78"/>
                    </a:lnTo>
                    <a:lnTo>
                      <a:pt x="47" y="78"/>
                    </a:lnTo>
                    <a:lnTo>
                      <a:pt x="47" y="75"/>
                    </a:lnTo>
                    <a:lnTo>
                      <a:pt x="50" y="72"/>
                    </a:lnTo>
                    <a:lnTo>
                      <a:pt x="50" y="75"/>
                    </a:lnTo>
                    <a:lnTo>
                      <a:pt x="50" y="64"/>
                    </a:lnTo>
                    <a:lnTo>
                      <a:pt x="55" y="61"/>
                    </a:lnTo>
                    <a:lnTo>
                      <a:pt x="55" y="58"/>
                    </a:lnTo>
                    <a:lnTo>
                      <a:pt x="64" y="58"/>
                    </a:lnTo>
                    <a:lnTo>
                      <a:pt x="66" y="55"/>
                    </a:lnTo>
                    <a:lnTo>
                      <a:pt x="78" y="44"/>
                    </a:lnTo>
                    <a:lnTo>
                      <a:pt x="80" y="44"/>
                    </a:lnTo>
                    <a:lnTo>
                      <a:pt x="83" y="41"/>
                    </a:lnTo>
                    <a:lnTo>
                      <a:pt x="83" y="33"/>
                    </a:lnTo>
                    <a:lnTo>
                      <a:pt x="83" y="30"/>
                    </a:lnTo>
                    <a:lnTo>
                      <a:pt x="83" y="27"/>
                    </a:lnTo>
                    <a:lnTo>
                      <a:pt x="94" y="14"/>
                    </a:lnTo>
                    <a:lnTo>
                      <a:pt x="97" y="11"/>
                    </a:lnTo>
                    <a:lnTo>
                      <a:pt x="100" y="14"/>
                    </a:lnTo>
                    <a:lnTo>
                      <a:pt x="97" y="5"/>
                    </a:lnTo>
                    <a:lnTo>
                      <a:pt x="94" y="5"/>
                    </a:lnTo>
                    <a:lnTo>
                      <a:pt x="91" y="2"/>
                    </a:lnTo>
                    <a:lnTo>
                      <a:pt x="89" y="0"/>
                    </a:lnTo>
                    <a:lnTo>
                      <a:pt x="86" y="2"/>
                    </a:lnTo>
                    <a:lnTo>
                      <a:pt x="80" y="11"/>
                    </a:lnTo>
                    <a:lnTo>
                      <a:pt x="72" y="19"/>
                    </a:lnTo>
                    <a:lnTo>
                      <a:pt x="61" y="19"/>
                    </a:lnTo>
                    <a:lnTo>
                      <a:pt x="58" y="22"/>
                    </a:lnTo>
                    <a:lnTo>
                      <a:pt x="61" y="30"/>
                    </a:lnTo>
                    <a:lnTo>
                      <a:pt x="50" y="33"/>
                    </a:lnTo>
                    <a:lnTo>
                      <a:pt x="44" y="30"/>
                    </a:lnTo>
                    <a:lnTo>
                      <a:pt x="39" y="27"/>
                    </a:lnTo>
                    <a:lnTo>
                      <a:pt x="13" y="50"/>
                    </a:lnTo>
                    <a:lnTo>
                      <a:pt x="8" y="52"/>
                    </a:lnTo>
                    <a:lnTo>
                      <a:pt x="0" y="61"/>
                    </a:lnTo>
                    <a:lnTo>
                      <a:pt x="0" y="64"/>
                    </a:lnTo>
                    <a:lnTo>
                      <a:pt x="2" y="66"/>
                    </a:lnTo>
                    <a:lnTo>
                      <a:pt x="5" y="69"/>
                    </a:lnTo>
                    <a:lnTo>
                      <a:pt x="8" y="66"/>
                    </a:lnTo>
                    <a:lnTo>
                      <a:pt x="16" y="69"/>
                    </a:lnTo>
                    <a:lnTo>
                      <a:pt x="13" y="83"/>
                    </a:lnTo>
                    <a:lnTo>
                      <a:pt x="13" y="86"/>
                    </a:lnTo>
                    <a:lnTo>
                      <a:pt x="16" y="86"/>
                    </a:lnTo>
                    <a:lnTo>
                      <a:pt x="11" y="89"/>
                    </a:lnTo>
                    <a:lnTo>
                      <a:pt x="11" y="91"/>
                    </a:lnTo>
                    <a:lnTo>
                      <a:pt x="8" y="94"/>
                    </a:lnTo>
                    <a:lnTo>
                      <a:pt x="5" y="100"/>
                    </a:lnTo>
                    <a:lnTo>
                      <a:pt x="11" y="100"/>
                    </a:lnTo>
                    <a:lnTo>
                      <a:pt x="13" y="97"/>
                    </a:lnTo>
                    <a:lnTo>
                      <a:pt x="13" y="100"/>
                    </a:lnTo>
                    <a:lnTo>
                      <a:pt x="13" y="103"/>
                    </a:lnTo>
                    <a:lnTo>
                      <a:pt x="11" y="103"/>
                    </a:lnTo>
                    <a:lnTo>
                      <a:pt x="13" y="103"/>
                    </a:lnTo>
                    <a:lnTo>
                      <a:pt x="13" y="105"/>
                    </a:lnTo>
                    <a:lnTo>
                      <a:pt x="16" y="105"/>
                    </a:lnTo>
                    <a:lnTo>
                      <a:pt x="19" y="105"/>
                    </a:lnTo>
                    <a:lnTo>
                      <a:pt x="19" y="103"/>
                    </a:lnTo>
                    <a:lnTo>
                      <a:pt x="22" y="100"/>
                    </a:lnTo>
                    <a:lnTo>
                      <a:pt x="19" y="100"/>
                    </a:lnTo>
                    <a:lnTo>
                      <a:pt x="22" y="100"/>
                    </a:lnTo>
                    <a:lnTo>
                      <a:pt x="25" y="103"/>
                    </a:lnTo>
                    <a:lnTo>
                      <a:pt x="27" y="105"/>
                    </a:lnTo>
                    <a:lnTo>
                      <a:pt x="27" y="103"/>
                    </a:lnTo>
                    <a:lnTo>
                      <a:pt x="30" y="103"/>
                    </a:lnTo>
                    <a:lnTo>
                      <a:pt x="33" y="105"/>
                    </a:lnTo>
                    <a:lnTo>
                      <a:pt x="44" y="97"/>
                    </a:lnTo>
                    <a:lnTo>
                      <a:pt x="52" y="97"/>
                    </a:lnTo>
                    <a:lnTo>
                      <a:pt x="58" y="94"/>
                    </a:lnTo>
                    <a:lnTo>
                      <a:pt x="64" y="8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9" name="Freeform 1182"/>
              <p:cNvSpPr>
                <a:spLocks noChangeAspect="1"/>
              </p:cNvSpPr>
              <p:nvPr>
                <p:custDataLst>
                  <p:tags r:id="rId1249"/>
                </p:custDataLst>
              </p:nvPr>
            </p:nvSpPr>
            <p:spPr bwMode="gray">
              <a:xfrm>
                <a:off x="7431475" y="4064361"/>
                <a:ext cx="203473" cy="168710"/>
              </a:xfrm>
              <a:custGeom>
                <a:avLst/>
                <a:gdLst>
                  <a:gd name="T0" fmla="*/ 2147483647 w 156"/>
                  <a:gd name="T1" fmla="*/ 2147483647 h 131"/>
                  <a:gd name="T2" fmla="*/ 2147483647 w 156"/>
                  <a:gd name="T3" fmla="*/ 2147483647 h 131"/>
                  <a:gd name="T4" fmla="*/ 2147483647 w 156"/>
                  <a:gd name="T5" fmla="*/ 2147483647 h 131"/>
                  <a:gd name="T6" fmla="*/ 2147483647 w 156"/>
                  <a:gd name="T7" fmla="*/ 2147483647 h 131"/>
                  <a:gd name="T8" fmla="*/ 2147483647 w 156"/>
                  <a:gd name="T9" fmla="*/ 2147483647 h 131"/>
                  <a:gd name="T10" fmla="*/ 2147483647 w 156"/>
                  <a:gd name="T11" fmla="*/ 2147483647 h 131"/>
                  <a:gd name="T12" fmla="*/ 2147483647 w 156"/>
                  <a:gd name="T13" fmla="*/ 2147483647 h 131"/>
                  <a:gd name="T14" fmla="*/ 2147483647 w 156"/>
                  <a:gd name="T15" fmla="*/ 2147483647 h 131"/>
                  <a:gd name="T16" fmla="*/ 2147483647 w 156"/>
                  <a:gd name="T17" fmla="*/ 2147483647 h 131"/>
                  <a:gd name="T18" fmla="*/ 2147483647 w 156"/>
                  <a:gd name="T19" fmla="*/ 2147483647 h 131"/>
                  <a:gd name="T20" fmla="*/ 2147483647 w 156"/>
                  <a:gd name="T21" fmla="*/ 2147483647 h 131"/>
                  <a:gd name="T22" fmla="*/ 2147483647 w 156"/>
                  <a:gd name="T23" fmla="*/ 2147483647 h 131"/>
                  <a:gd name="T24" fmla="*/ 2147483647 w 156"/>
                  <a:gd name="T25" fmla="*/ 2147483647 h 131"/>
                  <a:gd name="T26" fmla="*/ 2147483647 w 156"/>
                  <a:gd name="T27" fmla="*/ 2147483647 h 131"/>
                  <a:gd name="T28" fmla="*/ 2147483647 w 156"/>
                  <a:gd name="T29" fmla="*/ 2147483647 h 131"/>
                  <a:gd name="T30" fmla="*/ 2147483647 w 156"/>
                  <a:gd name="T31" fmla="*/ 2147483647 h 131"/>
                  <a:gd name="T32" fmla="*/ 2147483647 w 156"/>
                  <a:gd name="T33" fmla="*/ 2147483647 h 131"/>
                  <a:gd name="T34" fmla="*/ 2147483647 w 156"/>
                  <a:gd name="T35" fmla="*/ 2147483647 h 131"/>
                  <a:gd name="T36" fmla="*/ 2147483647 w 156"/>
                  <a:gd name="T37" fmla="*/ 2147483647 h 131"/>
                  <a:gd name="T38" fmla="*/ 2147483647 w 156"/>
                  <a:gd name="T39" fmla="*/ 2147483647 h 131"/>
                  <a:gd name="T40" fmla="*/ 2147483647 w 156"/>
                  <a:gd name="T41" fmla="*/ 2147483647 h 131"/>
                  <a:gd name="T42" fmla="*/ 2147483647 w 156"/>
                  <a:gd name="T43" fmla="*/ 2147483647 h 131"/>
                  <a:gd name="T44" fmla="*/ 2147483647 w 156"/>
                  <a:gd name="T45" fmla="*/ 2147483647 h 131"/>
                  <a:gd name="T46" fmla="*/ 2147483647 w 156"/>
                  <a:gd name="T47" fmla="*/ 2147483647 h 131"/>
                  <a:gd name="T48" fmla="*/ 2147483647 w 156"/>
                  <a:gd name="T49" fmla="*/ 2147483647 h 131"/>
                  <a:gd name="T50" fmla="*/ 2147483647 w 156"/>
                  <a:gd name="T51" fmla="*/ 2147483647 h 131"/>
                  <a:gd name="T52" fmla="*/ 2147483647 w 156"/>
                  <a:gd name="T53" fmla="*/ 2147483647 h 131"/>
                  <a:gd name="T54" fmla="*/ 2147483647 w 156"/>
                  <a:gd name="T55" fmla="*/ 2147483647 h 131"/>
                  <a:gd name="T56" fmla="*/ 2147483647 w 156"/>
                  <a:gd name="T57" fmla="*/ 2147483647 h 131"/>
                  <a:gd name="T58" fmla="*/ 2147483647 w 156"/>
                  <a:gd name="T59" fmla="*/ 2147483647 h 131"/>
                  <a:gd name="T60" fmla="*/ 2147483647 w 156"/>
                  <a:gd name="T61" fmla="*/ 2147483647 h 131"/>
                  <a:gd name="T62" fmla="*/ 2147483647 w 156"/>
                  <a:gd name="T63" fmla="*/ 2147483647 h 131"/>
                  <a:gd name="T64" fmla="*/ 2147483647 w 156"/>
                  <a:gd name="T65" fmla="*/ 2147483647 h 131"/>
                  <a:gd name="T66" fmla="*/ 0 w 156"/>
                  <a:gd name="T67" fmla="*/ 2147483647 h 131"/>
                  <a:gd name="T68" fmla="*/ 2147483647 w 156"/>
                  <a:gd name="T69" fmla="*/ 2147483647 h 131"/>
                  <a:gd name="T70" fmla="*/ 2147483647 w 156"/>
                  <a:gd name="T71" fmla="*/ 2147483647 h 131"/>
                  <a:gd name="T72" fmla="*/ 2147483647 w 156"/>
                  <a:gd name="T73" fmla="*/ 2147483647 h 131"/>
                  <a:gd name="T74" fmla="*/ 2147483647 w 156"/>
                  <a:gd name="T75" fmla="*/ 2147483647 h 131"/>
                  <a:gd name="T76" fmla="*/ 2147483647 w 156"/>
                  <a:gd name="T77" fmla="*/ 2147483647 h 131"/>
                  <a:gd name="T78" fmla="*/ 2147483647 w 156"/>
                  <a:gd name="T79" fmla="*/ 2147483647 h 131"/>
                  <a:gd name="T80" fmla="*/ 2147483647 w 156"/>
                  <a:gd name="T81" fmla="*/ 2147483647 h 131"/>
                  <a:gd name="T82" fmla="*/ 2147483647 w 156"/>
                  <a:gd name="T83" fmla="*/ 2147483647 h 131"/>
                  <a:gd name="T84" fmla="*/ 2147483647 w 156"/>
                  <a:gd name="T85" fmla="*/ 0 h 13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56"/>
                  <a:gd name="T130" fmla="*/ 0 h 131"/>
                  <a:gd name="T131" fmla="*/ 156 w 156"/>
                  <a:gd name="T132" fmla="*/ 131 h 13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56" h="131">
                    <a:moveTo>
                      <a:pt x="134" y="2"/>
                    </a:moveTo>
                    <a:lnTo>
                      <a:pt x="134" y="2"/>
                    </a:lnTo>
                    <a:lnTo>
                      <a:pt x="131" y="2"/>
                    </a:lnTo>
                    <a:lnTo>
                      <a:pt x="134" y="5"/>
                    </a:lnTo>
                    <a:lnTo>
                      <a:pt x="137" y="5"/>
                    </a:lnTo>
                    <a:lnTo>
                      <a:pt x="137" y="8"/>
                    </a:lnTo>
                    <a:lnTo>
                      <a:pt x="137" y="11"/>
                    </a:lnTo>
                    <a:lnTo>
                      <a:pt x="134" y="8"/>
                    </a:lnTo>
                    <a:lnTo>
                      <a:pt x="134" y="11"/>
                    </a:lnTo>
                    <a:lnTo>
                      <a:pt x="128" y="11"/>
                    </a:lnTo>
                    <a:lnTo>
                      <a:pt x="131" y="14"/>
                    </a:lnTo>
                    <a:lnTo>
                      <a:pt x="131" y="16"/>
                    </a:lnTo>
                    <a:lnTo>
                      <a:pt x="131" y="19"/>
                    </a:lnTo>
                    <a:lnTo>
                      <a:pt x="134" y="22"/>
                    </a:lnTo>
                    <a:lnTo>
                      <a:pt x="142" y="30"/>
                    </a:lnTo>
                    <a:lnTo>
                      <a:pt x="139" y="33"/>
                    </a:lnTo>
                    <a:lnTo>
                      <a:pt x="139" y="36"/>
                    </a:lnTo>
                    <a:lnTo>
                      <a:pt x="156" y="50"/>
                    </a:lnTo>
                    <a:lnTo>
                      <a:pt x="156" y="53"/>
                    </a:lnTo>
                    <a:lnTo>
                      <a:pt x="148" y="53"/>
                    </a:lnTo>
                    <a:lnTo>
                      <a:pt x="142" y="53"/>
                    </a:lnTo>
                    <a:lnTo>
                      <a:pt x="142" y="50"/>
                    </a:lnTo>
                    <a:lnTo>
                      <a:pt x="139" y="50"/>
                    </a:lnTo>
                    <a:lnTo>
                      <a:pt x="142" y="53"/>
                    </a:lnTo>
                    <a:lnTo>
                      <a:pt x="142" y="55"/>
                    </a:lnTo>
                    <a:lnTo>
                      <a:pt x="137" y="55"/>
                    </a:lnTo>
                    <a:lnTo>
                      <a:pt x="134" y="61"/>
                    </a:lnTo>
                    <a:lnTo>
                      <a:pt x="134" y="75"/>
                    </a:lnTo>
                    <a:lnTo>
                      <a:pt x="131" y="78"/>
                    </a:lnTo>
                    <a:lnTo>
                      <a:pt x="125" y="86"/>
                    </a:lnTo>
                    <a:lnTo>
                      <a:pt x="123" y="86"/>
                    </a:lnTo>
                    <a:lnTo>
                      <a:pt x="114" y="94"/>
                    </a:lnTo>
                    <a:lnTo>
                      <a:pt x="117" y="94"/>
                    </a:lnTo>
                    <a:lnTo>
                      <a:pt x="117" y="100"/>
                    </a:lnTo>
                    <a:lnTo>
                      <a:pt x="120" y="103"/>
                    </a:lnTo>
                    <a:lnTo>
                      <a:pt x="117" y="105"/>
                    </a:lnTo>
                    <a:lnTo>
                      <a:pt x="114" y="111"/>
                    </a:lnTo>
                    <a:lnTo>
                      <a:pt x="111" y="114"/>
                    </a:lnTo>
                    <a:lnTo>
                      <a:pt x="111" y="117"/>
                    </a:lnTo>
                    <a:lnTo>
                      <a:pt x="109" y="122"/>
                    </a:lnTo>
                    <a:lnTo>
                      <a:pt x="89" y="131"/>
                    </a:lnTo>
                    <a:lnTo>
                      <a:pt x="86" y="122"/>
                    </a:lnTo>
                    <a:lnTo>
                      <a:pt x="86" y="119"/>
                    </a:lnTo>
                    <a:lnTo>
                      <a:pt x="84" y="119"/>
                    </a:lnTo>
                    <a:lnTo>
                      <a:pt x="75" y="119"/>
                    </a:lnTo>
                    <a:lnTo>
                      <a:pt x="73" y="119"/>
                    </a:lnTo>
                    <a:lnTo>
                      <a:pt x="73" y="117"/>
                    </a:lnTo>
                    <a:lnTo>
                      <a:pt x="67" y="117"/>
                    </a:lnTo>
                    <a:lnTo>
                      <a:pt x="64" y="114"/>
                    </a:lnTo>
                    <a:lnTo>
                      <a:pt x="61" y="114"/>
                    </a:lnTo>
                    <a:lnTo>
                      <a:pt x="64" y="117"/>
                    </a:lnTo>
                    <a:lnTo>
                      <a:pt x="56" y="119"/>
                    </a:lnTo>
                    <a:lnTo>
                      <a:pt x="50" y="119"/>
                    </a:lnTo>
                    <a:lnTo>
                      <a:pt x="47" y="119"/>
                    </a:lnTo>
                    <a:lnTo>
                      <a:pt x="45" y="119"/>
                    </a:lnTo>
                    <a:lnTo>
                      <a:pt x="42" y="108"/>
                    </a:lnTo>
                    <a:lnTo>
                      <a:pt x="42" y="111"/>
                    </a:lnTo>
                    <a:lnTo>
                      <a:pt x="39" y="111"/>
                    </a:lnTo>
                    <a:lnTo>
                      <a:pt x="36" y="111"/>
                    </a:lnTo>
                    <a:lnTo>
                      <a:pt x="34" y="114"/>
                    </a:lnTo>
                    <a:lnTo>
                      <a:pt x="31" y="114"/>
                    </a:lnTo>
                    <a:lnTo>
                      <a:pt x="28" y="114"/>
                    </a:lnTo>
                    <a:lnTo>
                      <a:pt x="22" y="111"/>
                    </a:lnTo>
                    <a:lnTo>
                      <a:pt x="20" y="111"/>
                    </a:lnTo>
                    <a:lnTo>
                      <a:pt x="20" y="108"/>
                    </a:lnTo>
                    <a:lnTo>
                      <a:pt x="20" y="105"/>
                    </a:lnTo>
                    <a:lnTo>
                      <a:pt x="20" y="103"/>
                    </a:lnTo>
                    <a:lnTo>
                      <a:pt x="17" y="94"/>
                    </a:lnTo>
                    <a:lnTo>
                      <a:pt x="17" y="92"/>
                    </a:lnTo>
                    <a:lnTo>
                      <a:pt x="17" y="86"/>
                    </a:lnTo>
                    <a:lnTo>
                      <a:pt x="11" y="78"/>
                    </a:lnTo>
                    <a:lnTo>
                      <a:pt x="8" y="75"/>
                    </a:lnTo>
                    <a:lnTo>
                      <a:pt x="6" y="75"/>
                    </a:lnTo>
                    <a:lnTo>
                      <a:pt x="3" y="75"/>
                    </a:lnTo>
                    <a:lnTo>
                      <a:pt x="3" y="64"/>
                    </a:lnTo>
                    <a:lnTo>
                      <a:pt x="0" y="61"/>
                    </a:lnTo>
                    <a:lnTo>
                      <a:pt x="0" y="53"/>
                    </a:lnTo>
                    <a:lnTo>
                      <a:pt x="3" y="41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20" y="50"/>
                    </a:lnTo>
                    <a:lnTo>
                      <a:pt x="25" y="53"/>
                    </a:lnTo>
                    <a:lnTo>
                      <a:pt x="28" y="50"/>
                    </a:lnTo>
                    <a:lnTo>
                      <a:pt x="31" y="50"/>
                    </a:lnTo>
                    <a:lnTo>
                      <a:pt x="34" y="53"/>
                    </a:lnTo>
                    <a:lnTo>
                      <a:pt x="39" y="50"/>
                    </a:lnTo>
                    <a:lnTo>
                      <a:pt x="42" y="53"/>
                    </a:lnTo>
                    <a:lnTo>
                      <a:pt x="45" y="50"/>
                    </a:lnTo>
                    <a:lnTo>
                      <a:pt x="50" y="41"/>
                    </a:lnTo>
                    <a:lnTo>
                      <a:pt x="53" y="41"/>
                    </a:lnTo>
                    <a:lnTo>
                      <a:pt x="59" y="41"/>
                    </a:lnTo>
                    <a:lnTo>
                      <a:pt x="61" y="44"/>
                    </a:lnTo>
                    <a:lnTo>
                      <a:pt x="70" y="47"/>
                    </a:lnTo>
                    <a:lnTo>
                      <a:pt x="73" y="47"/>
                    </a:lnTo>
                    <a:lnTo>
                      <a:pt x="84" y="44"/>
                    </a:lnTo>
                    <a:lnTo>
                      <a:pt x="86" y="41"/>
                    </a:lnTo>
                    <a:lnTo>
                      <a:pt x="92" y="25"/>
                    </a:lnTo>
                    <a:lnTo>
                      <a:pt x="100" y="16"/>
                    </a:lnTo>
                    <a:lnTo>
                      <a:pt x="106" y="2"/>
                    </a:lnTo>
                    <a:lnTo>
                      <a:pt x="106" y="0"/>
                    </a:lnTo>
                    <a:lnTo>
                      <a:pt x="125" y="0"/>
                    </a:lnTo>
                    <a:lnTo>
                      <a:pt x="128" y="0"/>
                    </a:lnTo>
                    <a:lnTo>
                      <a:pt x="134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0" name="Freeform 1183"/>
              <p:cNvSpPr>
                <a:spLocks noChangeAspect="1"/>
              </p:cNvSpPr>
              <p:nvPr>
                <p:custDataLst>
                  <p:tags r:id="rId1250"/>
                </p:custDataLst>
              </p:nvPr>
            </p:nvSpPr>
            <p:spPr bwMode="gray">
              <a:xfrm>
                <a:off x="7877899" y="4157389"/>
                <a:ext cx="209547" cy="176595"/>
              </a:xfrm>
              <a:custGeom>
                <a:avLst/>
                <a:gdLst>
                  <a:gd name="T0" fmla="*/ 2147483647 w 161"/>
                  <a:gd name="T1" fmla="*/ 2147483647 h 136"/>
                  <a:gd name="T2" fmla="*/ 2147483647 w 161"/>
                  <a:gd name="T3" fmla="*/ 2147483647 h 136"/>
                  <a:gd name="T4" fmla="*/ 2147483647 w 161"/>
                  <a:gd name="T5" fmla="*/ 2147483647 h 136"/>
                  <a:gd name="T6" fmla="*/ 2147483647 w 161"/>
                  <a:gd name="T7" fmla="*/ 2147483647 h 136"/>
                  <a:gd name="T8" fmla="*/ 2147483647 w 161"/>
                  <a:gd name="T9" fmla="*/ 2147483647 h 136"/>
                  <a:gd name="T10" fmla="*/ 2147483647 w 161"/>
                  <a:gd name="T11" fmla="*/ 2147483647 h 136"/>
                  <a:gd name="T12" fmla="*/ 2147483647 w 161"/>
                  <a:gd name="T13" fmla="*/ 2147483647 h 136"/>
                  <a:gd name="T14" fmla="*/ 2147483647 w 161"/>
                  <a:gd name="T15" fmla="*/ 2147483647 h 136"/>
                  <a:gd name="T16" fmla="*/ 2147483647 w 161"/>
                  <a:gd name="T17" fmla="*/ 2147483647 h 136"/>
                  <a:gd name="T18" fmla="*/ 2147483647 w 161"/>
                  <a:gd name="T19" fmla="*/ 2147483647 h 136"/>
                  <a:gd name="T20" fmla="*/ 2147483647 w 161"/>
                  <a:gd name="T21" fmla="*/ 2147483647 h 136"/>
                  <a:gd name="T22" fmla="*/ 2147483647 w 161"/>
                  <a:gd name="T23" fmla="*/ 2147483647 h 136"/>
                  <a:gd name="T24" fmla="*/ 2147483647 w 161"/>
                  <a:gd name="T25" fmla="*/ 2147483647 h 136"/>
                  <a:gd name="T26" fmla="*/ 2147483647 w 161"/>
                  <a:gd name="T27" fmla="*/ 2147483647 h 136"/>
                  <a:gd name="T28" fmla="*/ 2147483647 w 161"/>
                  <a:gd name="T29" fmla="*/ 2147483647 h 136"/>
                  <a:gd name="T30" fmla="*/ 2147483647 w 161"/>
                  <a:gd name="T31" fmla="*/ 2147483647 h 136"/>
                  <a:gd name="T32" fmla="*/ 2147483647 w 161"/>
                  <a:gd name="T33" fmla="*/ 2147483647 h 136"/>
                  <a:gd name="T34" fmla="*/ 2147483647 w 161"/>
                  <a:gd name="T35" fmla="*/ 2147483647 h 136"/>
                  <a:gd name="T36" fmla="*/ 2147483647 w 161"/>
                  <a:gd name="T37" fmla="*/ 2147483647 h 136"/>
                  <a:gd name="T38" fmla="*/ 2147483647 w 161"/>
                  <a:gd name="T39" fmla="*/ 2147483647 h 136"/>
                  <a:gd name="T40" fmla="*/ 2147483647 w 161"/>
                  <a:gd name="T41" fmla="*/ 2147483647 h 136"/>
                  <a:gd name="T42" fmla="*/ 2147483647 w 161"/>
                  <a:gd name="T43" fmla="*/ 2147483647 h 136"/>
                  <a:gd name="T44" fmla="*/ 2147483647 w 161"/>
                  <a:gd name="T45" fmla="*/ 2147483647 h 136"/>
                  <a:gd name="T46" fmla="*/ 2147483647 w 161"/>
                  <a:gd name="T47" fmla="*/ 2147483647 h 136"/>
                  <a:gd name="T48" fmla="*/ 2147483647 w 161"/>
                  <a:gd name="T49" fmla="*/ 2147483647 h 136"/>
                  <a:gd name="T50" fmla="*/ 2147483647 w 161"/>
                  <a:gd name="T51" fmla="*/ 2147483647 h 136"/>
                  <a:gd name="T52" fmla="*/ 2147483647 w 161"/>
                  <a:gd name="T53" fmla="*/ 2147483647 h 136"/>
                  <a:gd name="T54" fmla="*/ 2147483647 w 161"/>
                  <a:gd name="T55" fmla="*/ 2147483647 h 136"/>
                  <a:gd name="T56" fmla="*/ 2147483647 w 161"/>
                  <a:gd name="T57" fmla="*/ 2147483647 h 136"/>
                  <a:gd name="T58" fmla="*/ 2147483647 w 161"/>
                  <a:gd name="T59" fmla="*/ 2147483647 h 136"/>
                  <a:gd name="T60" fmla="*/ 2147483647 w 161"/>
                  <a:gd name="T61" fmla="*/ 2147483647 h 136"/>
                  <a:gd name="T62" fmla="*/ 2147483647 w 161"/>
                  <a:gd name="T63" fmla="*/ 2147483647 h 136"/>
                  <a:gd name="T64" fmla="*/ 2147483647 w 161"/>
                  <a:gd name="T65" fmla="*/ 0 h 136"/>
                  <a:gd name="T66" fmla="*/ 2147483647 w 161"/>
                  <a:gd name="T67" fmla="*/ 2147483647 h 136"/>
                  <a:gd name="T68" fmla="*/ 2147483647 w 161"/>
                  <a:gd name="T69" fmla="*/ 2147483647 h 136"/>
                  <a:gd name="T70" fmla="*/ 2147483647 w 161"/>
                  <a:gd name="T71" fmla="*/ 2147483647 h 136"/>
                  <a:gd name="T72" fmla="*/ 2147483647 w 161"/>
                  <a:gd name="T73" fmla="*/ 2147483647 h 136"/>
                  <a:gd name="T74" fmla="*/ 2147483647 w 161"/>
                  <a:gd name="T75" fmla="*/ 2147483647 h 136"/>
                  <a:gd name="T76" fmla="*/ 2147483647 w 161"/>
                  <a:gd name="T77" fmla="*/ 2147483647 h 136"/>
                  <a:gd name="T78" fmla="*/ 2147483647 w 161"/>
                  <a:gd name="T79" fmla="*/ 2147483647 h 136"/>
                  <a:gd name="T80" fmla="*/ 2147483647 w 161"/>
                  <a:gd name="T81" fmla="*/ 2147483647 h 136"/>
                  <a:gd name="T82" fmla="*/ 2147483647 w 161"/>
                  <a:gd name="T83" fmla="*/ 2147483647 h 136"/>
                  <a:gd name="T84" fmla="*/ 2147483647 w 161"/>
                  <a:gd name="T85" fmla="*/ 2147483647 h 136"/>
                  <a:gd name="T86" fmla="*/ 2147483647 w 161"/>
                  <a:gd name="T87" fmla="*/ 2147483647 h 136"/>
                  <a:gd name="T88" fmla="*/ 2147483647 w 161"/>
                  <a:gd name="T89" fmla="*/ 2147483647 h 136"/>
                  <a:gd name="T90" fmla="*/ 2147483647 w 161"/>
                  <a:gd name="T91" fmla="*/ 2147483647 h 136"/>
                  <a:gd name="T92" fmla="*/ 2147483647 w 161"/>
                  <a:gd name="T93" fmla="*/ 2147483647 h 136"/>
                  <a:gd name="T94" fmla="*/ 2147483647 w 161"/>
                  <a:gd name="T95" fmla="*/ 2147483647 h 136"/>
                  <a:gd name="T96" fmla="*/ 2147483647 w 161"/>
                  <a:gd name="T97" fmla="*/ 2147483647 h 1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61"/>
                  <a:gd name="T148" fmla="*/ 0 h 136"/>
                  <a:gd name="T149" fmla="*/ 161 w 161"/>
                  <a:gd name="T150" fmla="*/ 136 h 1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61" h="136">
                    <a:moveTo>
                      <a:pt x="161" y="136"/>
                    </a:moveTo>
                    <a:lnTo>
                      <a:pt x="161" y="136"/>
                    </a:lnTo>
                    <a:lnTo>
                      <a:pt x="158" y="136"/>
                    </a:lnTo>
                    <a:lnTo>
                      <a:pt x="142" y="123"/>
                    </a:lnTo>
                    <a:lnTo>
                      <a:pt x="142" y="120"/>
                    </a:lnTo>
                    <a:lnTo>
                      <a:pt x="133" y="123"/>
                    </a:lnTo>
                    <a:lnTo>
                      <a:pt x="128" y="120"/>
                    </a:lnTo>
                    <a:lnTo>
                      <a:pt x="128" y="123"/>
                    </a:lnTo>
                    <a:lnTo>
                      <a:pt x="125" y="123"/>
                    </a:lnTo>
                    <a:lnTo>
                      <a:pt x="125" y="125"/>
                    </a:lnTo>
                    <a:lnTo>
                      <a:pt x="122" y="125"/>
                    </a:lnTo>
                    <a:lnTo>
                      <a:pt x="119" y="123"/>
                    </a:lnTo>
                    <a:lnTo>
                      <a:pt x="108" y="125"/>
                    </a:lnTo>
                    <a:lnTo>
                      <a:pt x="105" y="123"/>
                    </a:lnTo>
                    <a:lnTo>
                      <a:pt x="111" y="114"/>
                    </a:lnTo>
                    <a:lnTo>
                      <a:pt x="114" y="111"/>
                    </a:lnTo>
                    <a:lnTo>
                      <a:pt x="119" y="109"/>
                    </a:lnTo>
                    <a:lnTo>
                      <a:pt x="122" y="111"/>
                    </a:lnTo>
                    <a:lnTo>
                      <a:pt x="125" y="111"/>
                    </a:lnTo>
                    <a:lnTo>
                      <a:pt x="125" y="109"/>
                    </a:lnTo>
                    <a:lnTo>
                      <a:pt x="122" y="106"/>
                    </a:lnTo>
                    <a:lnTo>
                      <a:pt x="125" y="106"/>
                    </a:lnTo>
                    <a:lnTo>
                      <a:pt x="122" y="106"/>
                    </a:lnTo>
                    <a:lnTo>
                      <a:pt x="119" y="103"/>
                    </a:lnTo>
                    <a:lnTo>
                      <a:pt x="122" y="98"/>
                    </a:lnTo>
                    <a:lnTo>
                      <a:pt x="119" y="95"/>
                    </a:lnTo>
                    <a:lnTo>
                      <a:pt x="117" y="92"/>
                    </a:lnTo>
                    <a:lnTo>
                      <a:pt x="117" y="86"/>
                    </a:lnTo>
                    <a:lnTo>
                      <a:pt x="117" y="84"/>
                    </a:lnTo>
                    <a:lnTo>
                      <a:pt x="114" y="84"/>
                    </a:lnTo>
                    <a:lnTo>
                      <a:pt x="111" y="78"/>
                    </a:lnTo>
                    <a:lnTo>
                      <a:pt x="108" y="78"/>
                    </a:lnTo>
                    <a:lnTo>
                      <a:pt x="108" y="75"/>
                    </a:lnTo>
                    <a:lnTo>
                      <a:pt x="105" y="75"/>
                    </a:lnTo>
                    <a:lnTo>
                      <a:pt x="97" y="72"/>
                    </a:lnTo>
                    <a:lnTo>
                      <a:pt x="94" y="72"/>
                    </a:lnTo>
                    <a:lnTo>
                      <a:pt x="64" y="64"/>
                    </a:lnTo>
                    <a:lnTo>
                      <a:pt x="64" y="61"/>
                    </a:lnTo>
                    <a:lnTo>
                      <a:pt x="61" y="61"/>
                    </a:lnTo>
                    <a:lnTo>
                      <a:pt x="58" y="59"/>
                    </a:lnTo>
                    <a:lnTo>
                      <a:pt x="58" y="56"/>
                    </a:lnTo>
                    <a:lnTo>
                      <a:pt x="52" y="56"/>
                    </a:lnTo>
                    <a:lnTo>
                      <a:pt x="52" y="59"/>
                    </a:lnTo>
                    <a:lnTo>
                      <a:pt x="52" y="56"/>
                    </a:lnTo>
                    <a:lnTo>
                      <a:pt x="47" y="53"/>
                    </a:lnTo>
                    <a:lnTo>
                      <a:pt x="44" y="50"/>
                    </a:lnTo>
                    <a:lnTo>
                      <a:pt x="44" y="45"/>
                    </a:lnTo>
                    <a:lnTo>
                      <a:pt x="44" y="42"/>
                    </a:lnTo>
                    <a:lnTo>
                      <a:pt x="44" y="39"/>
                    </a:lnTo>
                    <a:lnTo>
                      <a:pt x="39" y="53"/>
                    </a:lnTo>
                    <a:lnTo>
                      <a:pt x="36" y="59"/>
                    </a:lnTo>
                    <a:lnTo>
                      <a:pt x="30" y="59"/>
                    </a:lnTo>
                    <a:lnTo>
                      <a:pt x="30" y="56"/>
                    </a:lnTo>
                    <a:lnTo>
                      <a:pt x="27" y="50"/>
                    </a:lnTo>
                    <a:lnTo>
                      <a:pt x="27" y="47"/>
                    </a:lnTo>
                    <a:lnTo>
                      <a:pt x="25" y="42"/>
                    </a:lnTo>
                    <a:lnTo>
                      <a:pt x="22" y="42"/>
                    </a:lnTo>
                    <a:lnTo>
                      <a:pt x="19" y="42"/>
                    </a:lnTo>
                    <a:lnTo>
                      <a:pt x="16" y="39"/>
                    </a:lnTo>
                    <a:lnTo>
                      <a:pt x="16" y="36"/>
                    </a:lnTo>
                    <a:lnTo>
                      <a:pt x="19" y="36"/>
                    </a:lnTo>
                    <a:lnTo>
                      <a:pt x="22" y="36"/>
                    </a:lnTo>
                    <a:lnTo>
                      <a:pt x="27" y="36"/>
                    </a:lnTo>
                    <a:lnTo>
                      <a:pt x="36" y="33"/>
                    </a:lnTo>
                    <a:lnTo>
                      <a:pt x="39" y="33"/>
                    </a:lnTo>
                    <a:lnTo>
                      <a:pt x="41" y="33"/>
                    </a:lnTo>
                    <a:lnTo>
                      <a:pt x="44" y="33"/>
                    </a:lnTo>
                    <a:lnTo>
                      <a:pt x="44" y="31"/>
                    </a:lnTo>
                    <a:lnTo>
                      <a:pt x="44" y="28"/>
                    </a:lnTo>
                    <a:lnTo>
                      <a:pt x="44" y="25"/>
                    </a:lnTo>
                    <a:lnTo>
                      <a:pt x="27" y="31"/>
                    </a:lnTo>
                    <a:lnTo>
                      <a:pt x="25" y="31"/>
                    </a:lnTo>
                    <a:lnTo>
                      <a:pt x="22" y="31"/>
                    </a:lnTo>
                    <a:lnTo>
                      <a:pt x="16" y="28"/>
                    </a:lnTo>
                    <a:lnTo>
                      <a:pt x="13" y="20"/>
                    </a:lnTo>
                    <a:lnTo>
                      <a:pt x="11" y="17"/>
                    </a:lnTo>
                    <a:lnTo>
                      <a:pt x="8" y="17"/>
                    </a:lnTo>
                    <a:lnTo>
                      <a:pt x="5" y="17"/>
                    </a:lnTo>
                    <a:lnTo>
                      <a:pt x="5" y="20"/>
                    </a:lnTo>
                    <a:lnTo>
                      <a:pt x="0" y="17"/>
                    </a:lnTo>
                    <a:lnTo>
                      <a:pt x="2" y="8"/>
                    </a:lnTo>
                    <a:lnTo>
                      <a:pt x="5" y="8"/>
                    </a:lnTo>
                    <a:lnTo>
                      <a:pt x="13" y="6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9" y="6"/>
                    </a:lnTo>
                    <a:lnTo>
                      <a:pt x="47" y="6"/>
                    </a:lnTo>
                    <a:lnTo>
                      <a:pt x="47" y="11"/>
                    </a:lnTo>
                    <a:lnTo>
                      <a:pt x="50" y="14"/>
                    </a:lnTo>
                    <a:lnTo>
                      <a:pt x="50" y="20"/>
                    </a:lnTo>
                    <a:lnTo>
                      <a:pt x="50" y="25"/>
                    </a:lnTo>
                    <a:lnTo>
                      <a:pt x="50" y="33"/>
                    </a:lnTo>
                    <a:lnTo>
                      <a:pt x="55" y="39"/>
                    </a:lnTo>
                    <a:lnTo>
                      <a:pt x="55" y="36"/>
                    </a:lnTo>
                    <a:lnTo>
                      <a:pt x="55" y="33"/>
                    </a:lnTo>
                    <a:lnTo>
                      <a:pt x="58" y="33"/>
                    </a:lnTo>
                    <a:lnTo>
                      <a:pt x="61" y="45"/>
                    </a:lnTo>
                    <a:lnTo>
                      <a:pt x="66" y="47"/>
                    </a:lnTo>
                    <a:lnTo>
                      <a:pt x="72" y="47"/>
                    </a:lnTo>
                    <a:lnTo>
                      <a:pt x="75" y="42"/>
                    </a:lnTo>
                    <a:lnTo>
                      <a:pt x="78" y="42"/>
                    </a:lnTo>
                    <a:lnTo>
                      <a:pt x="78" y="39"/>
                    </a:lnTo>
                    <a:lnTo>
                      <a:pt x="83" y="33"/>
                    </a:lnTo>
                    <a:lnTo>
                      <a:pt x="86" y="31"/>
                    </a:lnTo>
                    <a:lnTo>
                      <a:pt x="94" y="28"/>
                    </a:lnTo>
                    <a:lnTo>
                      <a:pt x="97" y="25"/>
                    </a:lnTo>
                    <a:lnTo>
                      <a:pt x="97" y="22"/>
                    </a:lnTo>
                    <a:lnTo>
                      <a:pt x="108" y="17"/>
                    </a:lnTo>
                    <a:lnTo>
                      <a:pt x="111" y="20"/>
                    </a:lnTo>
                    <a:lnTo>
                      <a:pt x="122" y="22"/>
                    </a:lnTo>
                    <a:lnTo>
                      <a:pt x="128" y="25"/>
                    </a:lnTo>
                    <a:lnTo>
                      <a:pt x="136" y="31"/>
                    </a:lnTo>
                    <a:lnTo>
                      <a:pt x="139" y="31"/>
                    </a:lnTo>
                    <a:lnTo>
                      <a:pt x="142" y="31"/>
                    </a:lnTo>
                    <a:lnTo>
                      <a:pt x="144" y="31"/>
                    </a:lnTo>
                    <a:lnTo>
                      <a:pt x="147" y="31"/>
                    </a:lnTo>
                    <a:lnTo>
                      <a:pt x="150" y="33"/>
                    </a:lnTo>
                    <a:lnTo>
                      <a:pt x="153" y="33"/>
                    </a:lnTo>
                    <a:lnTo>
                      <a:pt x="155" y="33"/>
                    </a:lnTo>
                    <a:lnTo>
                      <a:pt x="158" y="33"/>
                    </a:lnTo>
                    <a:lnTo>
                      <a:pt x="158" y="98"/>
                    </a:lnTo>
                    <a:lnTo>
                      <a:pt x="158" y="100"/>
                    </a:lnTo>
                    <a:lnTo>
                      <a:pt x="158" y="106"/>
                    </a:lnTo>
                    <a:lnTo>
                      <a:pt x="161" y="13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1" name="Freeform 1338"/>
              <p:cNvSpPr>
                <a:spLocks noChangeAspect="1"/>
              </p:cNvSpPr>
              <p:nvPr>
                <p:custDataLst>
                  <p:tags r:id="rId1251"/>
                </p:custDataLst>
              </p:nvPr>
            </p:nvSpPr>
            <p:spPr bwMode="gray">
              <a:xfrm>
                <a:off x="7726056" y="4329253"/>
                <a:ext cx="34924" cy="28381"/>
              </a:xfrm>
              <a:custGeom>
                <a:avLst/>
                <a:gdLst>
                  <a:gd name="T0" fmla="*/ 2147483647 w 27"/>
                  <a:gd name="T1" fmla="*/ 2147483647 h 22"/>
                  <a:gd name="T2" fmla="*/ 2147483647 w 27"/>
                  <a:gd name="T3" fmla="*/ 2147483647 h 22"/>
                  <a:gd name="T4" fmla="*/ 2147483647 w 27"/>
                  <a:gd name="T5" fmla="*/ 2147483647 h 22"/>
                  <a:gd name="T6" fmla="*/ 2147483647 w 27"/>
                  <a:gd name="T7" fmla="*/ 2147483647 h 22"/>
                  <a:gd name="T8" fmla="*/ 2147483647 w 27"/>
                  <a:gd name="T9" fmla="*/ 2147483647 h 22"/>
                  <a:gd name="T10" fmla="*/ 2147483647 w 27"/>
                  <a:gd name="T11" fmla="*/ 2147483647 h 22"/>
                  <a:gd name="T12" fmla="*/ 2147483647 w 27"/>
                  <a:gd name="T13" fmla="*/ 2147483647 h 22"/>
                  <a:gd name="T14" fmla="*/ 2147483647 w 27"/>
                  <a:gd name="T15" fmla="*/ 2147483647 h 22"/>
                  <a:gd name="T16" fmla="*/ 2147483647 w 27"/>
                  <a:gd name="T17" fmla="*/ 2147483647 h 22"/>
                  <a:gd name="T18" fmla="*/ 2147483647 w 27"/>
                  <a:gd name="T19" fmla="*/ 2147483647 h 22"/>
                  <a:gd name="T20" fmla="*/ 2147483647 w 27"/>
                  <a:gd name="T21" fmla="*/ 2147483647 h 22"/>
                  <a:gd name="T22" fmla="*/ 2147483647 w 27"/>
                  <a:gd name="T23" fmla="*/ 2147483647 h 22"/>
                  <a:gd name="T24" fmla="*/ 2147483647 w 27"/>
                  <a:gd name="T25" fmla="*/ 2147483647 h 22"/>
                  <a:gd name="T26" fmla="*/ 2147483647 w 27"/>
                  <a:gd name="T27" fmla="*/ 2147483647 h 22"/>
                  <a:gd name="T28" fmla="*/ 2147483647 w 27"/>
                  <a:gd name="T29" fmla="*/ 2147483647 h 22"/>
                  <a:gd name="T30" fmla="*/ 2147483647 w 27"/>
                  <a:gd name="T31" fmla="*/ 2147483647 h 22"/>
                  <a:gd name="T32" fmla="*/ 2147483647 w 27"/>
                  <a:gd name="T33" fmla="*/ 2147483647 h 22"/>
                  <a:gd name="T34" fmla="*/ 2147483647 w 27"/>
                  <a:gd name="T35" fmla="*/ 0 h 22"/>
                  <a:gd name="T36" fmla="*/ 2147483647 w 27"/>
                  <a:gd name="T37" fmla="*/ 0 h 22"/>
                  <a:gd name="T38" fmla="*/ 2147483647 w 27"/>
                  <a:gd name="T39" fmla="*/ 0 h 22"/>
                  <a:gd name="T40" fmla="*/ 2147483647 w 27"/>
                  <a:gd name="T41" fmla="*/ 0 h 22"/>
                  <a:gd name="T42" fmla="*/ 2147483647 w 27"/>
                  <a:gd name="T43" fmla="*/ 0 h 22"/>
                  <a:gd name="T44" fmla="*/ 2147483647 w 27"/>
                  <a:gd name="T45" fmla="*/ 0 h 22"/>
                  <a:gd name="T46" fmla="*/ 2147483647 w 27"/>
                  <a:gd name="T47" fmla="*/ 2147483647 h 22"/>
                  <a:gd name="T48" fmla="*/ 2147483647 w 27"/>
                  <a:gd name="T49" fmla="*/ 0 h 22"/>
                  <a:gd name="T50" fmla="*/ 2147483647 w 27"/>
                  <a:gd name="T51" fmla="*/ 0 h 22"/>
                  <a:gd name="T52" fmla="*/ 2147483647 w 27"/>
                  <a:gd name="T53" fmla="*/ 2147483647 h 22"/>
                  <a:gd name="T54" fmla="*/ 2147483647 w 27"/>
                  <a:gd name="T55" fmla="*/ 2147483647 h 22"/>
                  <a:gd name="T56" fmla="*/ 2147483647 w 27"/>
                  <a:gd name="T57" fmla="*/ 2147483647 h 22"/>
                  <a:gd name="T58" fmla="*/ 2147483647 w 27"/>
                  <a:gd name="T59" fmla="*/ 2147483647 h 22"/>
                  <a:gd name="T60" fmla="*/ 2147483647 w 27"/>
                  <a:gd name="T61" fmla="*/ 2147483647 h 22"/>
                  <a:gd name="T62" fmla="*/ 2147483647 w 27"/>
                  <a:gd name="T63" fmla="*/ 2147483647 h 22"/>
                  <a:gd name="T64" fmla="*/ 2147483647 w 27"/>
                  <a:gd name="T65" fmla="*/ 2147483647 h 22"/>
                  <a:gd name="T66" fmla="*/ 2147483647 w 27"/>
                  <a:gd name="T67" fmla="*/ 2147483647 h 22"/>
                  <a:gd name="T68" fmla="*/ 2147483647 w 27"/>
                  <a:gd name="T69" fmla="*/ 2147483647 h 22"/>
                  <a:gd name="T70" fmla="*/ 2147483647 w 27"/>
                  <a:gd name="T71" fmla="*/ 2147483647 h 22"/>
                  <a:gd name="T72" fmla="*/ 2147483647 w 27"/>
                  <a:gd name="T73" fmla="*/ 2147483647 h 22"/>
                  <a:gd name="T74" fmla="*/ 2147483647 w 27"/>
                  <a:gd name="T75" fmla="*/ 2147483647 h 22"/>
                  <a:gd name="T76" fmla="*/ 2147483647 w 27"/>
                  <a:gd name="T77" fmla="*/ 2147483647 h 22"/>
                  <a:gd name="T78" fmla="*/ 2147483647 w 27"/>
                  <a:gd name="T79" fmla="*/ 2147483647 h 22"/>
                  <a:gd name="T80" fmla="*/ 2147483647 w 27"/>
                  <a:gd name="T81" fmla="*/ 2147483647 h 22"/>
                  <a:gd name="T82" fmla="*/ 2147483647 w 27"/>
                  <a:gd name="T83" fmla="*/ 2147483647 h 22"/>
                  <a:gd name="T84" fmla="*/ 2147483647 w 27"/>
                  <a:gd name="T85" fmla="*/ 2147483647 h 22"/>
                  <a:gd name="T86" fmla="*/ 2147483647 w 27"/>
                  <a:gd name="T87" fmla="*/ 2147483647 h 22"/>
                  <a:gd name="T88" fmla="*/ 2147483647 w 27"/>
                  <a:gd name="T89" fmla="*/ 2147483647 h 22"/>
                  <a:gd name="T90" fmla="*/ 2147483647 w 27"/>
                  <a:gd name="T91" fmla="*/ 2147483647 h 22"/>
                  <a:gd name="T92" fmla="*/ 2147483647 w 27"/>
                  <a:gd name="T93" fmla="*/ 2147483647 h 22"/>
                  <a:gd name="T94" fmla="*/ 2147483647 w 27"/>
                  <a:gd name="T95" fmla="*/ 2147483647 h 22"/>
                  <a:gd name="T96" fmla="*/ 2147483647 w 27"/>
                  <a:gd name="T97" fmla="*/ 2147483647 h 22"/>
                  <a:gd name="T98" fmla="*/ 2147483647 w 27"/>
                  <a:gd name="T99" fmla="*/ 2147483647 h 22"/>
                  <a:gd name="T100" fmla="*/ 2147483647 w 27"/>
                  <a:gd name="T101" fmla="*/ 2147483647 h 22"/>
                  <a:gd name="T102" fmla="*/ 2147483647 w 27"/>
                  <a:gd name="T103" fmla="*/ 2147483647 h 22"/>
                  <a:gd name="T104" fmla="*/ 2147483647 w 27"/>
                  <a:gd name="T105" fmla="*/ 2147483647 h 22"/>
                  <a:gd name="T106" fmla="*/ 2147483647 w 27"/>
                  <a:gd name="T107" fmla="*/ 2147483647 h 22"/>
                  <a:gd name="T108" fmla="*/ 2147483647 w 27"/>
                  <a:gd name="T109" fmla="*/ 2147483647 h 22"/>
                  <a:gd name="T110" fmla="*/ 2147483647 w 27"/>
                  <a:gd name="T111" fmla="*/ 2147483647 h 22"/>
                  <a:gd name="T112" fmla="*/ 2147483647 w 27"/>
                  <a:gd name="T113" fmla="*/ 2147483647 h 22"/>
                  <a:gd name="T114" fmla="*/ 2147483647 w 27"/>
                  <a:gd name="T115" fmla="*/ 2147483647 h 22"/>
                  <a:gd name="T116" fmla="*/ 2147483647 w 27"/>
                  <a:gd name="T117" fmla="*/ 2147483647 h 22"/>
                  <a:gd name="T118" fmla="*/ 2147483647 w 27"/>
                  <a:gd name="T119" fmla="*/ 2147483647 h 22"/>
                  <a:gd name="T120" fmla="*/ 2147483647 w 27"/>
                  <a:gd name="T121" fmla="*/ 2147483647 h 22"/>
                  <a:gd name="T122" fmla="*/ 2147483647 w 27"/>
                  <a:gd name="T123" fmla="*/ 2147483647 h 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7"/>
                  <a:gd name="T187" fmla="*/ 0 h 22"/>
                  <a:gd name="T188" fmla="*/ 27 w 27"/>
                  <a:gd name="T189" fmla="*/ 22 h 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7" h="22">
                    <a:moveTo>
                      <a:pt x="25" y="8"/>
                    </a:moveTo>
                    <a:lnTo>
                      <a:pt x="25" y="8"/>
                    </a:lnTo>
                    <a:lnTo>
                      <a:pt x="25" y="5"/>
                    </a:lnTo>
                    <a:lnTo>
                      <a:pt x="22" y="5"/>
                    </a:lnTo>
                    <a:lnTo>
                      <a:pt x="22" y="2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1" y="8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8" y="22"/>
                    </a:lnTo>
                    <a:lnTo>
                      <a:pt x="19" y="16"/>
                    </a:lnTo>
                    <a:lnTo>
                      <a:pt x="25" y="11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2" name="Gruppieren 441"/>
            <p:cNvGrpSpPr/>
            <p:nvPr/>
          </p:nvGrpSpPr>
          <p:grpSpPr bwMode="gray">
            <a:xfrm>
              <a:off x="4717991" y="1592035"/>
              <a:ext cx="4152979" cy="3296962"/>
              <a:chOff x="4717991" y="1592035"/>
              <a:chExt cx="4152979" cy="3296962"/>
            </a:xfrm>
            <a:grpFill/>
          </p:grpSpPr>
          <p:sp>
            <p:nvSpPr>
              <p:cNvPr id="443" name="Freeform 4"/>
              <p:cNvSpPr>
                <a:spLocks noChangeAspect="1"/>
              </p:cNvSpPr>
              <p:nvPr>
                <p:custDataLst>
                  <p:tags r:id="rId471"/>
                </p:custDataLst>
              </p:nvPr>
            </p:nvSpPr>
            <p:spPr bwMode="gray">
              <a:xfrm>
                <a:off x="5922127" y="3462047"/>
                <a:ext cx="13665" cy="28381"/>
              </a:xfrm>
              <a:custGeom>
                <a:avLst/>
                <a:gdLst>
                  <a:gd name="T0" fmla="*/ 8 w 11"/>
                  <a:gd name="T1" fmla="*/ 19 h 22"/>
                  <a:gd name="T2" fmla="*/ 11 w 11"/>
                  <a:gd name="T3" fmla="*/ 19 h 22"/>
                  <a:gd name="T4" fmla="*/ 11 w 11"/>
                  <a:gd name="T5" fmla="*/ 14 h 22"/>
                  <a:gd name="T6" fmla="*/ 11 w 11"/>
                  <a:gd name="T7" fmla="*/ 11 h 22"/>
                  <a:gd name="T8" fmla="*/ 11 w 11"/>
                  <a:gd name="T9" fmla="*/ 3 h 22"/>
                  <a:gd name="T10" fmla="*/ 11 w 11"/>
                  <a:gd name="T11" fmla="*/ 3 h 22"/>
                  <a:gd name="T12" fmla="*/ 11 w 11"/>
                  <a:gd name="T13" fmla="*/ 3 h 22"/>
                  <a:gd name="T14" fmla="*/ 8 w 11"/>
                  <a:gd name="T15" fmla="*/ 3 h 22"/>
                  <a:gd name="T16" fmla="*/ 8 w 11"/>
                  <a:gd name="T17" fmla="*/ 0 h 22"/>
                  <a:gd name="T18" fmla="*/ 8 w 11"/>
                  <a:gd name="T19" fmla="*/ 0 h 22"/>
                  <a:gd name="T20" fmla="*/ 5 w 11"/>
                  <a:gd name="T21" fmla="*/ 0 h 22"/>
                  <a:gd name="T22" fmla="*/ 5 w 11"/>
                  <a:gd name="T23" fmla="*/ 0 h 22"/>
                  <a:gd name="T24" fmla="*/ 3 w 11"/>
                  <a:gd name="T25" fmla="*/ 3 h 22"/>
                  <a:gd name="T26" fmla="*/ 3 w 11"/>
                  <a:gd name="T27" fmla="*/ 5 h 22"/>
                  <a:gd name="T28" fmla="*/ 3 w 11"/>
                  <a:gd name="T29" fmla="*/ 5 h 22"/>
                  <a:gd name="T30" fmla="*/ 3 w 11"/>
                  <a:gd name="T31" fmla="*/ 11 h 22"/>
                  <a:gd name="T32" fmla="*/ 3 w 11"/>
                  <a:gd name="T33" fmla="*/ 11 h 22"/>
                  <a:gd name="T34" fmla="*/ 3 w 11"/>
                  <a:gd name="T35" fmla="*/ 14 h 22"/>
                  <a:gd name="T36" fmla="*/ 5 w 11"/>
                  <a:gd name="T37" fmla="*/ 14 h 22"/>
                  <a:gd name="T38" fmla="*/ 5 w 11"/>
                  <a:gd name="T39" fmla="*/ 14 h 22"/>
                  <a:gd name="T40" fmla="*/ 5 w 11"/>
                  <a:gd name="T41" fmla="*/ 14 h 22"/>
                  <a:gd name="T42" fmla="*/ 5 w 11"/>
                  <a:gd name="T43" fmla="*/ 14 h 22"/>
                  <a:gd name="T44" fmla="*/ 5 w 11"/>
                  <a:gd name="T45" fmla="*/ 14 h 22"/>
                  <a:gd name="T46" fmla="*/ 3 w 11"/>
                  <a:gd name="T47" fmla="*/ 17 h 22"/>
                  <a:gd name="T48" fmla="*/ 3 w 11"/>
                  <a:gd name="T49" fmla="*/ 19 h 22"/>
                  <a:gd name="T50" fmla="*/ 0 w 11"/>
                  <a:gd name="T51" fmla="*/ 19 h 22"/>
                  <a:gd name="T52" fmla="*/ 0 w 11"/>
                  <a:gd name="T53" fmla="*/ 22 h 22"/>
                  <a:gd name="T54" fmla="*/ 3 w 11"/>
                  <a:gd name="T55" fmla="*/ 22 h 22"/>
                  <a:gd name="T56" fmla="*/ 3 w 11"/>
                  <a:gd name="T57" fmla="*/ 22 h 22"/>
                  <a:gd name="T58" fmla="*/ 5 w 11"/>
                  <a:gd name="T59" fmla="*/ 22 h 22"/>
                  <a:gd name="T60" fmla="*/ 8 w 11"/>
                  <a:gd name="T61" fmla="*/ 19 h 22"/>
                  <a:gd name="T62" fmla="*/ 8 w 11"/>
                  <a:gd name="T6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" h="22">
                    <a:moveTo>
                      <a:pt x="8" y="19"/>
                    </a:moveTo>
                    <a:lnTo>
                      <a:pt x="11" y="19"/>
                    </a:lnTo>
                    <a:lnTo>
                      <a:pt x="11" y="14"/>
                    </a:lnTo>
                    <a:lnTo>
                      <a:pt x="11" y="1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8" y="19"/>
                    </a:lnTo>
                    <a:lnTo>
                      <a:pt x="8" y="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4" name="Freeform 5"/>
              <p:cNvSpPr>
                <a:spLocks noChangeAspect="1"/>
              </p:cNvSpPr>
              <p:nvPr>
                <p:custDataLst>
                  <p:tags r:id="rId472"/>
                </p:custDataLst>
              </p:nvPr>
            </p:nvSpPr>
            <p:spPr bwMode="gray">
              <a:xfrm>
                <a:off x="5922127" y="3462047"/>
                <a:ext cx="13665" cy="28381"/>
              </a:xfrm>
              <a:custGeom>
                <a:avLst/>
                <a:gdLst>
                  <a:gd name="T0" fmla="*/ 8 w 11"/>
                  <a:gd name="T1" fmla="*/ 19 h 22"/>
                  <a:gd name="T2" fmla="*/ 11 w 11"/>
                  <a:gd name="T3" fmla="*/ 19 h 22"/>
                  <a:gd name="T4" fmla="*/ 11 w 11"/>
                  <a:gd name="T5" fmla="*/ 14 h 22"/>
                  <a:gd name="T6" fmla="*/ 11 w 11"/>
                  <a:gd name="T7" fmla="*/ 11 h 22"/>
                  <a:gd name="T8" fmla="*/ 11 w 11"/>
                  <a:gd name="T9" fmla="*/ 3 h 22"/>
                  <a:gd name="T10" fmla="*/ 11 w 11"/>
                  <a:gd name="T11" fmla="*/ 3 h 22"/>
                  <a:gd name="T12" fmla="*/ 11 w 11"/>
                  <a:gd name="T13" fmla="*/ 3 h 22"/>
                  <a:gd name="T14" fmla="*/ 8 w 11"/>
                  <a:gd name="T15" fmla="*/ 3 h 22"/>
                  <a:gd name="T16" fmla="*/ 8 w 11"/>
                  <a:gd name="T17" fmla="*/ 0 h 22"/>
                  <a:gd name="T18" fmla="*/ 8 w 11"/>
                  <a:gd name="T19" fmla="*/ 0 h 22"/>
                  <a:gd name="T20" fmla="*/ 5 w 11"/>
                  <a:gd name="T21" fmla="*/ 0 h 22"/>
                  <a:gd name="T22" fmla="*/ 5 w 11"/>
                  <a:gd name="T23" fmla="*/ 0 h 22"/>
                  <a:gd name="T24" fmla="*/ 3 w 11"/>
                  <a:gd name="T25" fmla="*/ 3 h 22"/>
                  <a:gd name="T26" fmla="*/ 3 w 11"/>
                  <a:gd name="T27" fmla="*/ 5 h 22"/>
                  <a:gd name="T28" fmla="*/ 3 w 11"/>
                  <a:gd name="T29" fmla="*/ 5 h 22"/>
                  <a:gd name="T30" fmla="*/ 3 w 11"/>
                  <a:gd name="T31" fmla="*/ 11 h 22"/>
                  <a:gd name="T32" fmla="*/ 3 w 11"/>
                  <a:gd name="T33" fmla="*/ 11 h 22"/>
                  <a:gd name="T34" fmla="*/ 3 w 11"/>
                  <a:gd name="T35" fmla="*/ 14 h 22"/>
                  <a:gd name="T36" fmla="*/ 5 w 11"/>
                  <a:gd name="T37" fmla="*/ 14 h 22"/>
                  <a:gd name="T38" fmla="*/ 5 w 11"/>
                  <a:gd name="T39" fmla="*/ 14 h 22"/>
                  <a:gd name="T40" fmla="*/ 5 w 11"/>
                  <a:gd name="T41" fmla="*/ 14 h 22"/>
                  <a:gd name="T42" fmla="*/ 5 w 11"/>
                  <a:gd name="T43" fmla="*/ 14 h 22"/>
                  <a:gd name="T44" fmla="*/ 5 w 11"/>
                  <a:gd name="T45" fmla="*/ 14 h 22"/>
                  <a:gd name="T46" fmla="*/ 3 w 11"/>
                  <a:gd name="T47" fmla="*/ 17 h 22"/>
                  <a:gd name="T48" fmla="*/ 3 w 11"/>
                  <a:gd name="T49" fmla="*/ 19 h 22"/>
                  <a:gd name="T50" fmla="*/ 0 w 11"/>
                  <a:gd name="T51" fmla="*/ 19 h 22"/>
                  <a:gd name="T52" fmla="*/ 0 w 11"/>
                  <a:gd name="T53" fmla="*/ 22 h 22"/>
                  <a:gd name="T54" fmla="*/ 3 w 11"/>
                  <a:gd name="T55" fmla="*/ 22 h 22"/>
                  <a:gd name="T56" fmla="*/ 3 w 11"/>
                  <a:gd name="T57" fmla="*/ 22 h 22"/>
                  <a:gd name="T58" fmla="*/ 5 w 11"/>
                  <a:gd name="T59" fmla="*/ 22 h 22"/>
                  <a:gd name="T60" fmla="*/ 8 w 11"/>
                  <a:gd name="T61" fmla="*/ 19 h 22"/>
                  <a:gd name="T62" fmla="*/ 8 w 11"/>
                  <a:gd name="T6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" h="22">
                    <a:moveTo>
                      <a:pt x="8" y="19"/>
                    </a:moveTo>
                    <a:lnTo>
                      <a:pt x="11" y="19"/>
                    </a:lnTo>
                    <a:lnTo>
                      <a:pt x="11" y="14"/>
                    </a:lnTo>
                    <a:lnTo>
                      <a:pt x="11" y="11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8" y="19"/>
                    </a:lnTo>
                    <a:lnTo>
                      <a:pt x="8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5" name="Freeform 6"/>
              <p:cNvSpPr>
                <a:spLocks noChangeAspect="1"/>
              </p:cNvSpPr>
              <p:nvPr>
                <p:custDataLst>
                  <p:tags r:id="rId473"/>
                </p:custDataLst>
              </p:nvPr>
            </p:nvSpPr>
            <p:spPr bwMode="gray">
              <a:xfrm>
                <a:off x="5906943" y="3485698"/>
                <a:ext cx="6074" cy="9460"/>
              </a:xfrm>
              <a:custGeom>
                <a:avLst/>
                <a:gdLst>
                  <a:gd name="T0" fmla="*/ 0 w 5"/>
                  <a:gd name="T1" fmla="*/ 6 h 6"/>
                  <a:gd name="T2" fmla="*/ 3 w 5"/>
                  <a:gd name="T3" fmla="*/ 6 h 6"/>
                  <a:gd name="T4" fmla="*/ 3 w 5"/>
                  <a:gd name="T5" fmla="*/ 3 h 6"/>
                  <a:gd name="T6" fmla="*/ 5 w 5"/>
                  <a:gd name="T7" fmla="*/ 0 h 6"/>
                  <a:gd name="T8" fmla="*/ 5 w 5"/>
                  <a:gd name="T9" fmla="*/ 0 h 6"/>
                  <a:gd name="T10" fmla="*/ 0 w 5"/>
                  <a:gd name="T11" fmla="*/ 3 h 6"/>
                  <a:gd name="T12" fmla="*/ 0 w 5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lnTo>
                      <a:pt x="3" y="6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6" name="Freeform 7"/>
              <p:cNvSpPr>
                <a:spLocks noChangeAspect="1"/>
              </p:cNvSpPr>
              <p:nvPr>
                <p:custDataLst>
                  <p:tags r:id="rId474"/>
                </p:custDataLst>
              </p:nvPr>
            </p:nvSpPr>
            <p:spPr bwMode="gray">
              <a:xfrm>
                <a:off x="5906943" y="3485698"/>
                <a:ext cx="6074" cy="9460"/>
              </a:xfrm>
              <a:custGeom>
                <a:avLst/>
                <a:gdLst>
                  <a:gd name="T0" fmla="*/ 0 w 5"/>
                  <a:gd name="T1" fmla="*/ 6 h 6"/>
                  <a:gd name="T2" fmla="*/ 3 w 5"/>
                  <a:gd name="T3" fmla="*/ 6 h 6"/>
                  <a:gd name="T4" fmla="*/ 3 w 5"/>
                  <a:gd name="T5" fmla="*/ 3 h 6"/>
                  <a:gd name="T6" fmla="*/ 5 w 5"/>
                  <a:gd name="T7" fmla="*/ 0 h 6"/>
                  <a:gd name="T8" fmla="*/ 5 w 5"/>
                  <a:gd name="T9" fmla="*/ 0 h 6"/>
                  <a:gd name="T10" fmla="*/ 0 w 5"/>
                  <a:gd name="T11" fmla="*/ 3 h 6"/>
                  <a:gd name="T12" fmla="*/ 0 w 5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lnTo>
                      <a:pt x="3" y="6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7" name="Freeform 92"/>
              <p:cNvSpPr>
                <a:spLocks noChangeAspect="1"/>
              </p:cNvSpPr>
              <p:nvPr>
                <p:custDataLst>
                  <p:tags r:id="rId475"/>
                </p:custDataLst>
              </p:nvPr>
            </p:nvSpPr>
            <p:spPr bwMode="gray">
              <a:xfrm>
                <a:off x="5613880" y="2621645"/>
                <a:ext cx="12148" cy="18921"/>
              </a:xfrm>
              <a:custGeom>
                <a:avLst/>
                <a:gdLst>
                  <a:gd name="T0" fmla="*/ 6 w 9"/>
                  <a:gd name="T1" fmla="*/ 3 h 14"/>
                  <a:gd name="T2" fmla="*/ 6 w 9"/>
                  <a:gd name="T3" fmla="*/ 3 h 14"/>
                  <a:gd name="T4" fmla="*/ 3 w 9"/>
                  <a:gd name="T5" fmla="*/ 0 h 14"/>
                  <a:gd name="T6" fmla="*/ 3 w 9"/>
                  <a:gd name="T7" fmla="*/ 3 h 14"/>
                  <a:gd name="T8" fmla="*/ 3 w 9"/>
                  <a:gd name="T9" fmla="*/ 3 h 14"/>
                  <a:gd name="T10" fmla="*/ 3 w 9"/>
                  <a:gd name="T11" fmla="*/ 6 h 14"/>
                  <a:gd name="T12" fmla="*/ 0 w 9"/>
                  <a:gd name="T13" fmla="*/ 6 h 14"/>
                  <a:gd name="T14" fmla="*/ 0 w 9"/>
                  <a:gd name="T15" fmla="*/ 11 h 14"/>
                  <a:gd name="T16" fmla="*/ 6 w 9"/>
                  <a:gd name="T17" fmla="*/ 11 h 14"/>
                  <a:gd name="T18" fmla="*/ 6 w 9"/>
                  <a:gd name="T19" fmla="*/ 14 h 14"/>
                  <a:gd name="T20" fmla="*/ 9 w 9"/>
                  <a:gd name="T21" fmla="*/ 11 h 14"/>
                  <a:gd name="T22" fmla="*/ 6 w 9"/>
                  <a:gd name="T23" fmla="*/ 11 h 14"/>
                  <a:gd name="T24" fmla="*/ 6 w 9"/>
                  <a:gd name="T25" fmla="*/ 9 h 14"/>
                  <a:gd name="T26" fmla="*/ 6 w 9"/>
                  <a:gd name="T27" fmla="*/ 9 h 14"/>
                  <a:gd name="T28" fmla="*/ 9 w 9"/>
                  <a:gd name="T29" fmla="*/ 6 h 14"/>
                  <a:gd name="T30" fmla="*/ 9 w 9"/>
                  <a:gd name="T31" fmla="*/ 6 h 14"/>
                  <a:gd name="T32" fmla="*/ 6 w 9"/>
                  <a:gd name="T33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4">
                    <a:moveTo>
                      <a:pt x="6" y="3"/>
                    </a:moveTo>
                    <a:lnTo>
                      <a:pt x="6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8" name="Freeform 93"/>
              <p:cNvSpPr>
                <a:spLocks noChangeAspect="1"/>
              </p:cNvSpPr>
              <p:nvPr>
                <p:custDataLst>
                  <p:tags r:id="rId476"/>
                </p:custDataLst>
              </p:nvPr>
            </p:nvSpPr>
            <p:spPr bwMode="gray">
              <a:xfrm>
                <a:off x="5613880" y="2621645"/>
                <a:ext cx="12148" cy="18921"/>
              </a:xfrm>
              <a:custGeom>
                <a:avLst/>
                <a:gdLst>
                  <a:gd name="T0" fmla="*/ 6 w 9"/>
                  <a:gd name="T1" fmla="*/ 3 h 14"/>
                  <a:gd name="T2" fmla="*/ 6 w 9"/>
                  <a:gd name="T3" fmla="*/ 3 h 14"/>
                  <a:gd name="T4" fmla="*/ 3 w 9"/>
                  <a:gd name="T5" fmla="*/ 0 h 14"/>
                  <a:gd name="T6" fmla="*/ 3 w 9"/>
                  <a:gd name="T7" fmla="*/ 3 h 14"/>
                  <a:gd name="T8" fmla="*/ 3 w 9"/>
                  <a:gd name="T9" fmla="*/ 3 h 14"/>
                  <a:gd name="T10" fmla="*/ 3 w 9"/>
                  <a:gd name="T11" fmla="*/ 6 h 14"/>
                  <a:gd name="T12" fmla="*/ 0 w 9"/>
                  <a:gd name="T13" fmla="*/ 6 h 14"/>
                  <a:gd name="T14" fmla="*/ 0 w 9"/>
                  <a:gd name="T15" fmla="*/ 11 h 14"/>
                  <a:gd name="T16" fmla="*/ 6 w 9"/>
                  <a:gd name="T17" fmla="*/ 11 h 14"/>
                  <a:gd name="T18" fmla="*/ 6 w 9"/>
                  <a:gd name="T19" fmla="*/ 14 h 14"/>
                  <a:gd name="T20" fmla="*/ 9 w 9"/>
                  <a:gd name="T21" fmla="*/ 11 h 14"/>
                  <a:gd name="T22" fmla="*/ 6 w 9"/>
                  <a:gd name="T23" fmla="*/ 11 h 14"/>
                  <a:gd name="T24" fmla="*/ 6 w 9"/>
                  <a:gd name="T25" fmla="*/ 9 h 14"/>
                  <a:gd name="T26" fmla="*/ 6 w 9"/>
                  <a:gd name="T27" fmla="*/ 9 h 14"/>
                  <a:gd name="T28" fmla="*/ 9 w 9"/>
                  <a:gd name="T29" fmla="*/ 6 h 14"/>
                  <a:gd name="T30" fmla="*/ 9 w 9"/>
                  <a:gd name="T31" fmla="*/ 6 h 14"/>
                  <a:gd name="T32" fmla="*/ 6 w 9"/>
                  <a:gd name="T33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4">
                    <a:moveTo>
                      <a:pt x="6" y="3"/>
                    </a:moveTo>
                    <a:lnTo>
                      <a:pt x="6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9" name="Freeform 94"/>
              <p:cNvSpPr>
                <a:spLocks noChangeAspect="1"/>
              </p:cNvSpPr>
              <p:nvPr>
                <p:custDataLst>
                  <p:tags r:id="rId477"/>
                </p:custDataLst>
              </p:nvPr>
            </p:nvSpPr>
            <p:spPr bwMode="gray">
              <a:xfrm>
                <a:off x="5653360" y="2629530"/>
                <a:ext cx="4557" cy="6307"/>
              </a:xfrm>
              <a:custGeom>
                <a:avLst/>
                <a:gdLst>
                  <a:gd name="T0" fmla="*/ 3 w 3"/>
                  <a:gd name="T1" fmla="*/ 3 h 5"/>
                  <a:gd name="T2" fmla="*/ 3 w 3"/>
                  <a:gd name="T3" fmla="*/ 0 h 5"/>
                  <a:gd name="T4" fmla="*/ 3 w 3"/>
                  <a:gd name="T5" fmla="*/ 3 h 5"/>
                  <a:gd name="T6" fmla="*/ 0 w 3"/>
                  <a:gd name="T7" fmla="*/ 3 h 5"/>
                  <a:gd name="T8" fmla="*/ 3 w 3"/>
                  <a:gd name="T9" fmla="*/ 5 h 5"/>
                  <a:gd name="T10" fmla="*/ 3 w 3"/>
                  <a:gd name="T11" fmla="*/ 5 h 5"/>
                  <a:gd name="T12" fmla="*/ 3 w 3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0" name="Freeform 95"/>
              <p:cNvSpPr>
                <a:spLocks noChangeAspect="1"/>
              </p:cNvSpPr>
              <p:nvPr>
                <p:custDataLst>
                  <p:tags r:id="rId478"/>
                </p:custDataLst>
              </p:nvPr>
            </p:nvSpPr>
            <p:spPr bwMode="gray">
              <a:xfrm>
                <a:off x="5653360" y="2629530"/>
                <a:ext cx="4557" cy="6307"/>
              </a:xfrm>
              <a:custGeom>
                <a:avLst/>
                <a:gdLst>
                  <a:gd name="T0" fmla="*/ 3 w 3"/>
                  <a:gd name="T1" fmla="*/ 3 h 5"/>
                  <a:gd name="T2" fmla="*/ 3 w 3"/>
                  <a:gd name="T3" fmla="*/ 0 h 5"/>
                  <a:gd name="T4" fmla="*/ 3 w 3"/>
                  <a:gd name="T5" fmla="*/ 3 h 5"/>
                  <a:gd name="T6" fmla="*/ 0 w 3"/>
                  <a:gd name="T7" fmla="*/ 3 h 5"/>
                  <a:gd name="T8" fmla="*/ 3 w 3"/>
                  <a:gd name="T9" fmla="*/ 5 h 5"/>
                  <a:gd name="T10" fmla="*/ 3 w 3"/>
                  <a:gd name="T11" fmla="*/ 5 h 5"/>
                  <a:gd name="T12" fmla="*/ 3 w 3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1" name="Freeform 96"/>
              <p:cNvSpPr>
                <a:spLocks noChangeAspect="1"/>
              </p:cNvSpPr>
              <p:nvPr>
                <p:custDataLst>
                  <p:tags r:id="rId479"/>
                </p:custDataLst>
              </p:nvPr>
            </p:nvSpPr>
            <p:spPr bwMode="gray">
              <a:xfrm>
                <a:off x="5667026" y="2629530"/>
                <a:ext cx="12148" cy="11037"/>
              </a:xfrm>
              <a:custGeom>
                <a:avLst/>
                <a:gdLst>
                  <a:gd name="T0" fmla="*/ 6 w 8"/>
                  <a:gd name="T1" fmla="*/ 8 h 8"/>
                  <a:gd name="T2" fmla="*/ 6 w 8"/>
                  <a:gd name="T3" fmla="*/ 5 h 8"/>
                  <a:gd name="T4" fmla="*/ 8 w 8"/>
                  <a:gd name="T5" fmla="*/ 0 h 8"/>
                  <a:gd name="T6" fmla="*/ 6 w 8"/>
                  <a:gd name="T7" fmla="*/ 0 h 8"/>
                  <a:gd name="T8" fmla="*/ 3 w 8"/>
                  <a:gd name="T9" fmla="*/ 3 h 8"/>
                  <a:gd name="T10" fmla="*/ 3 w 8"/>
                  <a:gd name="T11" fmla="*/ 5 h 8"/>
                  <a:gd name="T12" fmla="*/ 0 w 8"/>
                  <a:gd name="T13" fmla="*/ 5 h 8"/>
                  <a:gd name="T14" fmla="*/ 0 w 8"/>
                  <a:gd name="T15" fmla="*/ 5 h 8"/>
                  <a:gd name="T16" fmla="*/ 3 w 8"/>
                  <a:gd name="T17" fmla="*/ 5 h 8"/>
                  <a:gd name="T18" fmla="*/ 6 w 8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lnTo>
                      <a:pt x="6" y="5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2" name="Freeform 97"/>
              <p:cNvSpPr>
                <a:spLocks noChangeAspect="1"/>
              </p:cNvSpPr>
              <p:nvPr>
                <p:custDataLst>
                  <p:tags r:id="rId480"/>
                </p:custDataLst>
              </p:nvPr>
            </p:nvSpPr>
            <p:spPr bwMode="gray">
              <a:xfrm>
                <a:off x="5667026" y="2629530"/>
                <a:ext cx="12148" cy="11037"/>
              </a:xfrm>
              <a:custGeom>
                <a:avLst/>
                <a:gdLst>
                  <a:gd name="T0" fmla="*/ 6 w 8"/>
                  <a:gd name="T1" fmla="*/ 8 h 8"/>
                  <a:gd name="T2" fmla="*/ 6 w 8"/>
                  <a:gd name="T3" fmla="*/ 5 h 8"/>
                  <a:gd name="T4" fmla="*/ 8 w 8"/>
                  <a:gd name="T5" fmla="*/ 0 h 8"/>
                  <a:gd name="T6" fmla="*/ 6 w 8"/>
                  <a:gd name="T7" fmla="*/ 0 h 8"/>
                  <a:gd name="T8" fmla="*/ 3 w 8"/>
                  <a:gd name="T9" fmla="*/ 3 h 8"/>
                  <a:gd name="T10" fmla="*/ 3 w 8"/>
                  <a:gd name="T11" fmla="*/ 5 h 8"/>
                  <a:gd name="T12" fmla="*/ 0 w 8"/>
                  <a:gd name="T13" fmla="*/ 5 h 8"/>
                  <a:gd name="T14" fmla="*/ 0 w 8"/>
                  <a:gd name="T15" fmla="*/ 5 h 8"/>
                  <a:gd name="T16" fmla="*/ 3 w 8"/>
                  <a:gd name="T17" fmla="*/ 5 h 8"/>
                  <a:gd name="T18" fmla="*/ 6 w 8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lnTo>
                      <a:pt x="6" y="5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3" name="Freeform 98"/>
              <p:cNvSpPr>
                <a:spLocks noChangeAspect="1"/>
              </p:cNvSpPr>
              <p:nvPr>
                <p:custDataLst>
                  <p:tags r:id="rId481"/>
                </p:custDataLst>
              </p:nvPr>
            </p:nvSpPr>
            <p:spPr bwMode="gray">
              <a:xfrm>
                <a:off x="5468108" y="3321718"/>
                <a:ext cx="65294" cy="39419"/>
              </a:xfrm>
              <a:custGeom>
                <a:avLst/>
                <a:gdLst>
                  <a:gd name="T0" fmla="*/ 50 w 50"/>
                  <a:gd name="T1" fmla="*/ 0 h 31"/>
                  <a:gd name="T2" fmla="*/ 50 w 50"/>
                  <a:gd name="T3" fmla="*/ 0 h 31"/>
                  <a:gd name="T4" fmla="*/ 50 w 50"/>
                  <a:gd name="T5" fmla="*/ 0 h 31"/>
                  <a:gd name="T6" fmla="*/ 50 w 50"/>
                  <a:gd name="T7" fmla="*/ 3 h 31"/>
                  <a:gd name="T8" fmla="*/ 42 w 50"/>
                  <a:gd name="T9" fmla="*/ 17 h 31"/>
                  <a:gd name="T10" fmla="*/ 42 w 50"/>
                  <a:gd name="T11" fmla="*/ 17 h 31"/>
                  <a:gd name="T12" fmla="*/ 42 w 50"/>
                  <a:gd name="T13" fmla="*/ 20 h 31"/>
                  <a:gd name="T14" fmla="*/ 44 w 50"/>
                  <a:gd name="T15" fmla="*/ 25 h 31"/>
                  <a:gd name="T16" fmla="*/ 42 w 50"/>
                  <a:gd name="T17" fmla="*/ 31 h 31"/>
                  <a:gd name="T18" fmla="*/ 36 w 50"/>
                  <a:gd name="T19" fmla="*/ 31 h 31"/>
                  <a:gd name="T20" fmla="*/ 31 w 50"/>
                  <a:gd name="T21" fmla="*/ 25 h 31"/>
                  <a:gd name="T22" fmla="*/ 19 w 50"/>
                  <a:gd name="T23" fmla="*/ 23 h 31"/>
                  <a:gd name="T24" fmla="*/ 11 w 50"/>
                  <a:gd name="T25" fmla="*/ 14 h 31"/>
                  <a:gd name="T26" fmla="*/ 3 w 50"/>
                  <a:gd name="T27" fmla="*/ 14 h 31"/>
                  <a:gd name="T28" fmla="*/ 3 w 50"/>
                  <a:gd name="T29" fmla="*/ 11 h 31"/>
                  <a:gd name="T30" fmla="*/ 0 w 50"/>
                  <a:gd name="T31" fmla="*/ 6 h 31"/>
                  <a:gd name="T32" fmla="*/ 3 w 50"/>
                  <a:gd name="T33" fmla="*/ 3 h 31"/>
                  <a:gd name="T34" fmla="*/ 3 w 50"/>
                  <a:gd name="T35" fmla="*/ 3 h 31"/>
                  <a:gd name="T36" fmla="*/ 5 w 50"/>
                  <a:gd name="T37" fmla="*/ 0 h 31"/>
                  <a:gd name="T38" fmla="*/ 5 w 50"/>
                  <a:gd name="T39" fmla="*/ 3 h 31"/>
                  <a:gd name="T40" fmla="*/ 8 w 50"/>
                  <a:gd name="T41" fmla="*/ 3 h 31"/>
                  <a:gd name="T42" fmla="*/ 14 w 50"/>
                  <a:gd name="T43" fmla="*/ 0 h 31"/>
                  <a:gd name="T44" fmla="*/ 19 w 50"/>
                  <a:gd name="T45" fmla="*/ 3 h 31"/>
                  <a:gd name="T46" fmla="*/ 19 w 50"/>
                  <a:gd name="T47" fmla="*/ 6 h 31"/>
                  <a:gd name="T48" fmla="*/ 36 w 50"/>
                  <a:gd name="T49" fmla="*/ 3 h 31"/>
                  <a:gd name="T50" fmla="*/ 39 w 50"/>
                  <a:gd name="T51" fmla="*/ 3 h 31"/>
                  <a:gd name="T52" fmla="*/ 42 w 50"/>
                  <a:gd name="T53" fmla="*/ 3 h 31"/>
                  <a:gd name="T54" fmla="*/ 44 w 50"/>
                  <a:gd name="T55" fmla="*/ 0 h 31"/>
                  <a:gd name="T56" fmla="*/ 47 w 50"/>
                  <a:gd name="T57" fmla="*/ 0 h 31"/>
                  <a:gd name="T58" fmla="*/ 50 w 50"/>
                  <a:gd name="T5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31">
                    <a:moveTo>
                      <a:pt x="50" y="0"/>
                    </a:moveTo>
                    <a:lnTo>
                      <a:pt x="50" y="0"/>
                    </a:lnTo>
                    <a:lnTo>
                      <a:pt x="50" y="0"/>
                    </a:lnTo>
                    <a:lnTo>
                      <a:pt x="50" y="3"/>
                    </a:lnTo>
                    <a:lnTo>
                      <a:pt x="42" y="17"/>
                    </a:lnTo>
                    <a:lnTo>
                      <a:pt x="42" y="17"/>
                    </a:lnTo>
                    <a:lnTo>
                      <a:pt x="42" y="20"/>
                    </a:lnTo>
                    <a:lnTo>
                      <a:pt x="44" y="25"/>
                    </a:lnTo>
                    <a:lnTo>
                      <a:pt x="42" y="31"/>
                    </a:lnTo>
                    <a:lnTo>
                      <a:pt x="36" y="31"/>
                    </a:lnTo>
                    <a:lnTo>
                      <a:pt x="31" y="25"/>
                    </a:lnTo>
                    <a:lnTo>
                      <a:pt x="19" y="23"/>
                    </a:lnTo>
                    <a:lnTo>
                      <a:pt x="11" y="14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14" y="0"/>
                    </a:lnTo>
                    <a:lnTo>
                      <a:pt x="19" y="3"/>
                    </a:lnTo>
                    <a:lnTo>
                      <a:pt x="19" y="6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2" y="3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4" name="Freeform 99"/>
              <p:cNvSpPr>
                <a:spLocks noChangeAspect="1"/>
              </p:cNvSpPr>
              <p:nvPr>
                <p:custDataLst>
                  <p:tags r:id="rId482"/>
                </p:custDataLst>
              </p:nvPr>
            </p:nvSpPr>
            <p:spPr bwMode="gray">
              <a:xfrm>
                <a:off x="5384593" y="3242880"/>
                <a:ext cx="30369" cy="64647"/>
              </a:xfrm>
              <a:custGeom>
                <a:avLst/>
                <a:gdLst>
                  <a:gd name="T0" fmla="*/ 14 w 22"/>
                  <a:gd name="T1" fmla="*/ 0 h 50"/>
                  <a:gd name="T2" fmla="*/ 17 w 22"/>
                  <a:gd name="T3" fmla="*/ 0 h 50"/>
                  <a:gd name="T4" fmla="*/ 17 w 22"/>
                  <a:gd name="T5" fmla="*/ 3 h 50"/>
                  <a:gd name="T6" fmla="*/ 19 w 22"/>
                  <a:gd name="T7" fmla="*/ 3 h 50"/>
                  <a:gd name="T8" fmla="*/ 22 w 22"/>
                  <a:gd name="T9" fmla="*/ 11 h 50"/>
                  <a:gd name="T10" fmla="*/ 22 w 22"/>
                  <a:gd name="T11" fmla="*/ 39 h 50"/>
                  <a:gd name="T12" fmla="*/ 19 w 22"/>
                  <a:gd name="T13" fmla="*/ 42 h 50"/>
                  <a:gd name="T14" fmla="*/ 19 w 22"/>
                  <a:gd name="T15" fmla="*/ 42 h 50"/>
                  <a:gd name="T16" fmla="*/ 19 w 22"/>
                  <a:gd name="T17" fmla="*/ 45 h 50"/>
                  <a:gd name="T18" fmla="*/ 14 w 22"/>
                  <a:gd name="T19" fmla="*/ 42 h 50"/>
                  <a:gd name="T20" fmla="*/ 14 w 22"/>
                  <a:gd name="T21" fmla="*/ 45 h 50"/>
                  <a:gd name="T22" fmla="*/ 11 w 22"/>
                  <a:gd name="T23" fmla="*/ 47 h 50"/>
                  <a:gd name="T24" fmla="*/ 11 w 22"/>
                  <a:gd name="T25" fmla="*/ 47 h 50"/>
                  <a:gd name="T26" fmla="*/ 8 w 22"/>
                  <a:gd name="T27" fmla="*/ 50 h 50"/>
                  <a:gd name="T28" fmla="*/ 3 w 22"/>
                  <a:gd name="T29" fmla="*/ 42 h 50"/>
                  <a:gd name="T30" fmla="*/ 3 w 22"/>
                  <a:gd name="T31" fmla="*/ 42 h 50"/>
                  <a:gd name="T32" fmla="*/ 3 w 22"/>
                  <a:gd name="T33" fmla="*/ 39 h 50"/>
                  <a:gd name="T34" fmla="*/ 3 w 22"/>
                  <a:gd name="T35" fmla="*/ 36 h 50"/>
                  <a:gd name="T36" fmla="*/ 3 w 22"/>
                  <a:gd name="T37" fmla="*/ 31 h 50"/>
                  <a:gd name="T38" fmla="*/ 3 w 22"/>
                  <a:gd name="T39" fmla="*/ 31 h 50"/>
                  <a:gd name="T40" fmla="*/ 3 w 22"/>
                  <a:gd name="T41" fmla="*/ 28 h 50"/>
                  <a:gd name="T42" fmla="*/ 3 w 22"/>
                  <a:gd name="T43" fmla="*/ 28 h 50"/>
                  <a:gd name="T44" fmla="*/ 3 w 22"/>
                  <a:gd name="T45" fmla="*/ 19 h 50"/>
                  <a:gd name="T46" fmla="*/ 0 w 22"/>
                  <a:gd name="T47" fmla="*/ 14 h 50"/>
                  <a:gd name="T48" fmla="*/ 0 w 22"/>
                  <a:gd name="T49" fmla="*/ 14 h 50"/>
                  <a:gd name="T50" fmla="*/ 0 w 22"/>
                  <a:gd name="T51" fmla="*/ 14 h 50"/>
                  <a:gd name="T52" fmla="*/ 0 w 22"/>
                  <a:gd name="T53" fmla="*/ 14 h 50"/>
                  <a:gd name="T54" fmla="*/ 0 w 22"/>
                  <a:gd name="T55" fmla="*/ 6 h 50"/>
                  <a:gd name="T56" fmla="*/ 0 w 22"/>
                  <a:gd name="T57" fmla="*/ 6 h 50"/>
                  <a:gd name="T58" fmla="*/ 0 w 22"/>
                  <a:gd name="T59" fmla="*/ 8 h 50"/>
                  <a:gd name="T60" fmla="*/ 3 w 22"/>
                  <a:gd name="T61" fmla="*/ 8 h 50"/>
                  <a:gd name="T62" fmla="*/ 11 w 22"/>
                  <a:gd name="T63" fmla="*/ 3 h 50"/>
                  <a:gd name="T64" fmla="*/ 11 w 22"/>
                  <a:gd name="T65" fmla="*/ 3 h 50"/>
                  <a:gd name="T66" fmla="*/ 14 w 22"/>
                  <a:gd name="T6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" h="50">
                    <a:moveTo>
                      <a:pt x="14" y="0"/>
                    </a:moveTo>
                    <a:lnTo>
                      <a:pt x="17" y="0"/>
                    </a:lnTo>
                    <a:lnTo>
                      <a:pt x="17" y="3"/>
                    </a:lnTo>
                    <a:lnTo>
                      <a:pt x="19" y="3"/>
                    </a:lnTo>
                    <a:lnTo>
                      <a:pt x="22" y="11"/>
                    </a:lnTo>
                    <a:lnTo>
                      <a:pt x="22" y="39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5"/>
                    </a:lnTo>
                    <a:lnTo>
                      <a:pt x="14" y="42"/>
                    </a:lnTo>
                    <a:lnTo>
                      <a:pt x="14" y="45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8" y="50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3" y="39"/>
                    </a:lnTo>
                    <a:lnTo>
                      <a:pt x="3" y="3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3" y="1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5" name="Freeform 100"/>
              <p:cNvSpPr>
                <a:spLocks noChangeAspect="1"/>
              </p:cNvSpPr>
              <p:nvPr>
                <p:custDataLst>
                  <p:tags r:id="rId483"/>
                </p:custDataLst>
              </p:nvPr>
            </p:nvSpPr>
            <p:spPr bwMode="gray">
              <a:xfrm>
                <a:off x="5714098" y="3257071"/>
                <a:ext cx="3037" cy="4730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0 h 3"/>
                  <a:gd name="T12" fmla="*/ 0 w 3"/>
                  <a:gd name="T13" fmla="*/ 3 h 3"/>
                  <a:gd name="T14" fmla="*/ 0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6" name="Freeform 101"/>
              <p:cNvSpPr>
                <a:spLocks noChangeAspect="1"/>
              </p:cNvSpPr>
              <p:nvPr>
                <p:custDataLst>
                  <p:tags r:id="rId484"/>
                </p:custDataLst>
              </p:nvPr>
            </p:nvSpPr>
            <p:spPr bwMode="gray">
              <a:xfrm>
                <a:off x="5714098" y="3257071"/>
                <a:ext cx="3037" cy="4730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0 h 3"/>
                  <a:gd name="T12" fmla="*/ 0 w 3"/>
                  <a:gd name="T13" fmla="*/ 3 h 3"/>
                  <a:gd name="T14" fmla="*/ 0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7" name="Freeform 102"/>
              <p:cNvSpPr>
                <a:spLocks noChangeAspect="1"/>
              </p:cNvSpPr>
              <p:nvPr>
                <p:custDataLst>
                  <p:tags r:id="rId485"/>
                </p:custDataLst>
              </p:nvPr>
            </p:nvSpPr>
            <p:spPr bwMode="gray">
              <a:xfrm>
                <a:off x="5726246" y="3279146"/>
                <a:ext cx="6074" cy="3154"/>
              </a:xfrm>
              <a:custGeom>
                <a:avLst/>
                <a:gdLst>
                  <a:gd name="T0" fmla="*/ 5 w 5"/>
                  <a:gd name="T1" fmla="*/ 0 h 3"/>
                  <a:gd name="T2" fmla="*/ 2 w 5"/>
                  <a:gd name="T3" fmla="*/ 0 h 3"/>
                  <a:gd name="T4" fmla="*/ 2 w 5"/>
                  <a:gd name="T5" fmla="*/ 0 h 3"/>
                  <a:gd name="T6" fmla="*/ 2 w 5"/>
                  <a:gd name="T7" fmla="*/ 0 h 3"/>
                  <a:gd name="T8" fmla="*/ 0 w 5"/>
                  <a:gd name="T9" fmla="*/ 0 h 3"/>
                  <a:gd name="T10" fmla="*/ 0 w 5"/>
                  <a:gd name="T11" fmla="*/ 3 h 3"/>
                  <a:gd name="T12" fmla="*/ 0 w 5"/>
                  <a:gd name="T13" fmla="*/ 3 h 3"/>
                  <a:gd name="T14" fmla="*/ 0 w 5"/>
                  <a:gd name="T15" fmla="*/ 3 h 3"/>
                  <a:gd name="T16" fmla="*/ 2 w 5"/>
                  <a:gd name="T17" fmla="*/ 3 h 3"/>
                  <a:gd name="T18" fmla="*/ 5 w 5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8" name="Freeform 103"/>
              <p:cNvSpPr>
                <a:spLocks noChangeAspect="1"/>
              </p:cNvSpPr>
              <p:nvPr>
                <p:custDataLst>
                  <p:tags r:id="rId486"/>
                </p:custDataLst>
              </p:nvPr>
            </p:nvSpPr>
            <p:spPr bwMode="gray">
              <a:xfrm>
                <a:off x="5726246" y="3279146"/>
                <a:ext cx="6074" cy="3154"/>
              </a:xfrm>
              <a:custGeom>
                <a:avLst/>
                <a:gdLst>
                  <a:gd name="T0" fmla="*/ 5 w 5"/>
                  <a:gd name="T1" fmla="*/ 0 h 3"/>
                  <a:gd name="T2" fmla="*/ 2 w 5"/>
                  <a:gd name="T3" fmla="*/ 0 h 3"/>
                  <a:gd name="T4" fmla="*/ 2 w 5"/>
                  <a:gd name="T5" fmla="*/ 0 h 3"/>
                  <a:gd name="T6" fmla="*/ 2 w 5"/>
                  <a:gd name="T7" fmla="*/ 0 h 3"/>
                  <a:gd name="T8" fmla="*/ 0 w 5"/>
                  <a:gd name="T9" fmla="*/ 0 h 3"/>
                  <a:gd name="T10" fmla="*/ 0 w 5"/>
                  <a:gd name="T11" fmla="*/ 3 h 3"/>
                  <a:gd name="T12" fmla="*/ 0 w 5"/>
                  <a:gd name="T13" fmla="*/ 3 h 3"/>
                  <a:gd name="T14" fmla="*/ 0 w 5"/>
                  <a:gd name="T15" fmla="*/ 3 h 3"/>
                  <a:gd name="T16" fmla="*/ 2 w 5"/>
                  <a:gd name="T17" fmla="*/ 3 h 3"/>
                  <a:gd name="T18" fmla="*/ 5 w 5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9" name="Freeform 104"/>
              <p:cNvSpPr>
                <a:spLocks noChangeAspect="1"/>
              </p:cNvSpPr>
              <p:nvPr>
                <p:custDataLst>
                  <p:tags r:id="rId487"/>
                </p:custDataLst>
              </p:nvPr>
            </p:nvSpPr>
            <p:spPr bwMode="gray">
              <a:xfrm>
                <a:off x="5739913" y="3293335"/>
                <a:ext cx="18222" cy="9460"/>
              </a:xfrm>
              <a:custGeom>
                <a:avLst/>
                <a:gdLst>
                  <a:gd name="T0" fmla="*/ 11 w 14"/>
                  <a:gd name="T1" fmla="*/ 6 h 8"/>
                  <a:gd name="T2" fmla="*/ 14 w 14"/>
                  <a:gd name="T3" fmla="*/ 6 h 8"/>
                  <a:gd name="T4" fmla="*/ 8 w 14"/>
                  <a:gd name="T5" fmla="*/ 0 h 8"/>
                  <a:gd name="T6" fmla="*/ 2 w 14"/>
                  <a:gd name="T7" fmla="*/ 3 h 8"/>
                  <a:gd name="T8" fmla="*/ 0 w 14"/>
                  <a:gd name="T9" fmla="*/ 6 h 8"/>
                  <a:gd name="T10" fmla="*/ 2 w 14"/>
                  <a:gd name="T11" fmla="*/ 6 h 8"/>
                  <a:gd name="T12" fmla="*/ 5 w 14"/>
                  <a:gd name="T13" fmla="*/ 3 h 8"/>
                  <a:gd name="T14" fmla="*/ 8 w 14"/>
                  <a:gd name="T15" fmla="*/ 3 h 8"/>
                  <a:gd name="T16" fmla="*/ 5 w 14"/>
                  <a:gd name="T17" fmla="*/ 6 h 8"/>
                  <a:gd name="T18" fmla="*/ 8 w 14"/>
                  <a:gd name="T19" fmla="*/ 8 h 8"/>
                  <a:gd name="T20" fmla="*/ 11 w 14"/>
                  <a:gd name="T21" fmla="*/ 6 h 8"/>
                  <a:gd name="T22" fmla="*/ 11 w 14"/>
                  <a:gd name="T23" fmla="*/ 6 h 8"/>
                  <a:gd name="T24" fmla="*/ 11 w 1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8">
                    <a:moveTo>
                      <a:pt x="11" y="6"/>
                    </a:moveTo>
                    <a:lnTo>
                      <a:pt x="14" y="6"/>
                    </a:lnTo>
                    <a:lnTo>
                      <a:pt x="8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0" name="Freeform 105"/>
              <p:cNvSpPr>
                <a:spLocks noChangeAspect="1"/>
              </p:cNvSpPr>
              <p:nvPr>
                <p:custDataLst>
                  <p:tags r:id="rId488"/>
                </p:custDataLst>
              </p:nvPr>
            </p:nvSpPr>
            <p:spPr bwMode="gray">
              <a:xfrm>
                <a:off x="5739913" y="3293335"/>
                <a:ext cx="18222" cy="9460"/>
              </a:xfrm>
              <a:custGeom>
                <a:avLst/>
                <a:gdLst>
                  <a:gd name="T0" fmla="*/ 11 w 14"/>
                  <a:gd name="T1" fmla="*/ 6 h 8"/>
                  <a:gd name="T2" fmla="*/ 14 w 14"/>
                  <a:gd name="T3" fmla="*/ 6 h 8"/>
                  <a:gd name="T4" fmla="*/ 8 w 14"/>
                  <a:gd name="T5" fmla="*/ 0 h 8"/>
                  <a:gd name="T6" fmla="*/ 2 w 14"/>
                  <a:gd name="T7" fmla="*/ 3 h 8"/>
                  <a:gd name="T8" fmla="*/ 0 w 14"/>
                  <a:gd name="T9" fmla="*/ 6 h 8"/>
                  <a:gd name="T10" fmla="*/ 2 w 14"/>
                  <a:gd name="T11" fmla="*/ 6 h 8"/>
                  <a:gd name="T12" fmla="*/ 5 w 14"/>
                  <a:gd name="T13" fmla="*/ 3 h 8"/>
                  <a:gd name="T14" fmla="*/ 8 w 14"/>
                  <a:gd name="T15" fmla="*/ 3 h 8"/>
                  <a:gd name="T16" fmla="*/ 5 w 14"/>
                  <a:gd name="T17" fmla="*/ 6 h 8"/>
                  <a:gd name="T18" fmla="*/ 8 w 14"/>
                  <a:gd name="T19" fmla="*/ 8 h 8"/>
                  <a:gd name="T20" fmla="*/ 11 w 14"/>
                  <a:gd name="T21" fmla="*/ 6 h 8"/>
                  <a:gd name="T22" fmla="*/ 11 w 14"/>
                  <a:gd name="T23" fmla="*/ 6 h 8"/>
                  <a:gd name="T24" fmla="*/ 11 w 1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8">
                    <a:moveTo>
                      <a:pt x="11" y="6"/>
                    </a:moveTo>
                    <a:lnTo>
                      <a:pt x="14" y="6"/>
                    </a:lnTo>
                    <a:lnTo>
                      <a:pt x="8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1" name="Freeform 106"/>
              <p:cNvSpPr>
                <a:spLocks noChangeAspect="1"/>
              </p:cNvSpPr>
              <p:nvPr>
                <p:custDataLst>
                  <p:tags r:id="rId489"/>
                </p:custDataLst>
              </p:nvPr>
            </p:nvSpPr>
            <p:spPr bwMode="gray">
              <a:xfrm>
                <a:off x="5739913" y="3310680"/>
                <a:ext cx="6074" cy="11037"/>
              </a:xfrm>
              <a:custGeom>
                <a:avLst/>
                <a:gdLst>
                  <a:gd name="T0" fmla="*/ 2 w 5"/>
                  <a:gd name="T1" fmla="*/ 8 h 8"/>
                  <a:gd name="T2" fmla="*/ 5 w 5"/>
                  <a:gd name="T3" fmla="*/ 8 h 8"/>
                  <a:gd name="T4" fmla="*/ 5 w 5"/>
                  <a:gd name="T5" fmla="*/ 3 h 8"/>
                  <a:gd name="T6" fmla="*/ 5 w 5"/>
                  <a:gd name="T7" fmla="*/ 0 h 8"/>
                  <a:gd name="T8" fmla="*/ 0 w 5"/>
                  <a:gd name="T9" fmla="*/ 0 h 8"/>
                  <a:gd name="T10" fmla="*/ 0 w 5"/>
                  <a:gd name="T11" fmla="*/ 3 h 8"/>
                  <a:gd name="T12" fmla="*/ 2 w 5"/>
                  <a:gd name="T13" fmla="*/ 5 h 8"/>
                  <a:gd name="T14" fmla="*/ 2 w 5"/>
                  <a:gd name="T15" fmla="*/ 8 h 8"/>
                  <a:gd name="T16" fmla="*/ 2 w 5"/>
                  <a:gd name="T17" fmla="*/ 8 h 8"/>
                  <a:gd name="T18" fmla="*/ 2 w 5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8">
                    <a:moveTo>
                      <a:pt x="2" y="8"/>
                    </a:moveTo>
                    <a:lnTo>
                      <a:pt x="5" y="8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2" name="Freeform 107"/>
              <p:cNvSpPr>
                <a:spLocks noChangeAspect="1"/>
              </p:cNvSpPr>
              <p:nvPr>
                <p:custDataLst>
                  <p:tags r:id="rId490"/>
                </p:custDataLst>
              </p:nvPr>
            </p:nvSpPr>
            <p:spPr bwMode="gray">
              <a:xfrm>
                <a:off x="5739913" y="3310680"/>
                <a:ext cx="6074" cy="11037"/>
              </a:xfrm>
              <a:custGeom>
                <a:avLst/>
                <a:gdLst>
                  <a:gd name="T0" fmla="*/ 2 w 5"/>
                  <a:gd name="T1" fmla="*/ 8 h 8"/>
                  <a:gd name="T2" fmla="*/ 5 w 5"/>
                  <a:gd name="T3" fmla="*/ 8 h 8"/>
                  <a:gd name="T4" fmla="*/ 5 w 5"/>
                  <a:gd name="T5" fmla="*/ 3 h 8"/>
                  <a:gd name="T6" fmla="*/ 5 w 5"/>
                  <a:gd name="T7" fmla="*/ 0 h 8"/>
                  <a:gd name="T8" fmla="*/ 0 w 5"/>
                  <a:gd name="T9" fmla="*/ 0 h 8"/>
                  <a:gd name="T10" fmla="*/ 0 w 5"/>
                  <a:gd name="T11" fmla="*/ 3 h 8"/>
                  <a:gd name="T12" fmla="*/ 2 w 5"/>
                  <a:gd name="T13" fmla="*/ 5 h 8"/>
                  <a:gd name="T14" fmla="*/ 2 w 5"/>
                  <a:gd name="T15" fmla="*/ 8 h 8"/>
                  <a:gd name="T16" fmla="*/ 2 w 5"/>
                  <a:gd name="T17" fmla="*/ 8 h 8"/>
                  <a:gd name="T18" fmla="*/ 2 w 5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8">
                    <a:moveTo>
                      <a:pt x="2" y="8"/>
                    </a:moveTo>
                    <a:lnTo>
                      <a:pt x="5" y="8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3" name="Freeform 108"/>
              <p:cNvSpPr>
                <a:spLocks noChangeAspect="1"/>
              </p:cNvSpPr>
              <p:nvPr>
                <p:custDataLst>
                  <p:tags r:id="rId491"/>
                </p:custDataLst>
              </p:nvPr>
            </p:nvSpPr>
            <p:spPr bwMode="gray">
              <a:xfrm>
                <a:off x="5780910" y="3367444"/>
                <a:ext cx="10630" cy="12614"/>
              </a:xfrm>
              <a:custGeom>
                <a:avLst/>
                <a:gdLst>
                  <a:gd name="T0" fmla="*/ 6 w 9"/>
                  <a:gd name="T1" fmla="*/ 6 h 9"/>
                  <a:gd name="T2" fmla="*/ 6 w 9"/>
                  <a:gd name="T3" fmla="*/ 6 h 9"/>
                  <a:gd name="T4" fmla="*/ 6 w 9"/>
                  <a:gd name="T5" fmla="*/ 6 h 9"/>
                  <a:gd name="T6" fmla="*/ 9 w 9"/>
                  <a:gd name="T7" fmla="*/ 3 h 9"/>
                  <a:gd name="T8" fmla="*/ 9 w 9"/>
                  <a:gd name="T9" fmla="*/ 0 h 9"/>
                  <a:gd name="T10" fmla="*/ 6 w 9"/>
                  <a:gd name="T11" fmla="*/ 0 h 9"/>
                  <a:gd name="T12" fmla="*/ 0 w 9"/>
                  <a:gd name="T13" fmla="*/ 6 h 9"/>
                  <a:gd name="T14" fmla="*/ 0 w 9"/>
                  <a:gd name="T15" fmla="*/ 6 h 9"/>
                  <a:gd name="T16" fmla="*/ 0 w 9"/>
                  <a:gd name="T17" fmla="*/ 9 h 9"/>
                  <a:gd name="T18" fmla="*/ 6 w 9"/>
                  <a:gd name="T1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9">
                    <a:moveTo>
                      <a:pt x="6" y="6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4" name="Freeform 109"/>
              <p:cNvSpPr>
                <a:spLocks noChangeAspect="1"/>
              </p:cNvSpPr>
              <p:nvPr>
                <p:custDataLst>
                  <p:tags r:id="rId492"/>
                </p:custDataLst>
              </p:nvPr>
            </p:nvSpPr>
            <p:spPr bwMode="gray">
              <a:xfrm>
                <a:off x="5780910" y="3367444"/>
                <a:ext cx="10630" cy="12614"/>
              </a:xfrm>
              <a:custGeom>
                <a:avLst/>
                <a:gdLst>
                  <a:gd name="T0" fmla="*/ 6 w 9"/>
                  <a:gd name="T1" fmla="*/ 6 h 9"/>
                  <a:gd name="T2" fmla="*/ 6 w 9"/>
                  <a:gd name="T3" fmla="*/ 6 h 9"/>
                  <a:gd name="T4" fmla="*/ 6 w 9"/>
                  <a:gd name="T5" fmla="*/ 6 h 9"/>
                  <a:gd name="T6" fmla="*/ 9 w 9"/>
                  <a:gd name="T7" fmla="*/ 3 h 9"/>
                  <a:gd name="T8" fmla="*/ 9 w 9"/>
                  <a:gd name="T9" fmla="*/ 0 h 9"/>
                  <a:gd name="T10" fmla="*/ 6 w 9"/>
                  <a:gd name="T11" fmla="*/ 0 h 9"/>
                  <a:gd name="T12" fmla="*/ 0 w 9"/>
                  <a:gd name="T13" fmla="*/ 6 h 9"/>
                  <a:gd name="T14" fmla="*/ 0 w 9"/>
                  <a:gd name="T15" fmla="*/ 6 h 9"/>
                  <a:gd name="T16" fmla="*/ 0 w 9"/>
                  <a:gd name="T17" fmla="*/ 9 h 9"/>
                  <a:gd name="T18" fmla="*/ 6 w 9"/>
                  <a:gd name="T1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9">
                    <a:moveTo>
                      <a:pt x="6" y="6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6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5" name="Freeform 110"/>
              <p:cNvSpPr>
                <a:spLocks noChangeAspect="1"/>
              </p:cNvSpPr>
              <p:nvPr>
                <p:custDataLst>
                  <p:tags r:id="rId493"/>
                </p:custDataLst>
              </p:nvPr>
            </p:nvSpPr>
            <p:spPr bwMode="gray">
              <a:xfrm>
                <a:off x="5692840" y="3389517"/>
                <a:ext cx="57701" cy="15767"/>
              </a:xfrm>
              <a:custGeom>
                <a:avLst/>
                <a:gdLst>
                  <a:gd name="T0" fmla="*/ 25 w 44"/>
                  <a:gd name="T1" fmla="*/ 3 h 11"/>
                  <a:gd name="T2" fmla="*/ 22 w 44"/>
                  <a:gd name="T3" fmla="*/ 3 h 11"/>
                  <a:gd name="T4" fmla="*/ 13 w 44"/>
                  <a:gd name="T5" fmla="*/ 3 h 11"/>
                  <a:gd name="T6" fmla="*/ 11 w 44"/>
                  <a:gd name="T7" fmla="*/ 3 h 11"/>
                  <a:gd name="T8" fmla="*/ 11 w 44"/>
                  <a:gd name="T9" fmla="*/ 3 h 11"/>
                  <a:gd name="T10" fmla="*/ 11 w 44"/>
                  <a:gd name="T11" fmla="*/ 0 h 11"/>
                  <a:gd name="T12" fmla="*/ 11 w 44"/>
                  <a:gd name="T13" fmla="*/ 0 h 11"/>
                  <a:gd name="T14" fmla="*/ 8 w 44"/>
                  <a:gd name="T15" fmla="*/ 0 h 11"/>
                  <a:gd name="T16" fmla="*/ 5 w 44"/>
                  <a:gd name="T17" fmla="*/ 0 h 11"/>
                  <a:gd name="T18" fmla="*/ 2 w 44"/>
                  <a:gd name="T19" fmla="*/ 0 h 11"/>
                  <a:gd name="T20" fmla="*/ 2 w 44"/>
                  <a:gd name="T21" fmla="*/ 0 h 11"/>
                  <a:gd name="T22" fmla="*/ 2 w 44"/>
                  <a:gd name="T23" fmla="*/ 0 h 11"/>
                  <a:gd name="T24" fmla="*/ 0 w 44"/>
                  <a:gd name="T25" fmla="*/ 6 h 11"/>
                  <a:gd name="T26" fmla="*/ 11 w 44"/>
                  <a:gd name="T27" fmla="*/ 6 h 11"/>
                  <a:gd name="T28" fmla="*/ 16 w 44"/>
                  <a:gd name="T29" fmla="*/ 9 h 11"/>
                  <a:gd name="T30" fmla="*/ 16 w 44"/>
                  <a:gd name="T31" fmla="*/ 9 h 11"/>
                  <a:gd name="T32" fmla="*/ 19 w 44"/>
                  <a:gd name="T33" fmla="*/ 9 h 11"/>
                  <a:gd name="T34" fmla="*/ 19 w 44"/>
                  <a:gd name="T35" fmla="*/ 11 h 11"/>
                  <a:gd name="T36" fmla="*/ 38 w 44"/>
                  <a:gd name="T37" fmla="*/ 9 h 11"/>
                  <a:gd name="T38" fmla="*/ 41 w 44"/>
                  <a:gd name="T39" fmla="*/ 11 h 11"/>
                  <a:gd name="T40" fmla="*/ 44 w 44"/>
                  <a:gd name="T41" fmla="*/ 6 h 11"/>
                  <a:gd name="T42" fmla="*/ 44 w 44"/>
                  <a:gd name="T43" fmla="*/ 6 h 11"/>
                  <a:gd name="T44" fmla="*/ 38 w 44"/>
                  <a:gd name="T45" fmla="*/ 9 h 11"/>
                  <a:gd name="T46" fmla="*/ 36 w 44"/>
                  <a:gd name="T47" fmla="*/ 6 h 11"/>
                  <a:gd name="T48" fmla="*/ 33 w 44"/>
                  <a:gd name="T49" fmla="*/ 6 h 11"/>
                  <a:gd name="T50" fmla="*/ 27 w 44"/>
                  <a:gd name="T51" fmla="*/ 6 h 11"/>
                  <a:gd name="T52" fmla="*/ 25 w 44"/>
                  <a:gd name="T53" fmla="*/ 3 h 11"/>
                  <a:gd name="T54" fmla="*/ 25 w 44"/>
                  <a:gd name="T5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" h="11">
                    <a:moveTo>
                      <a:pt x="25" y="3"/>
                    </a:moveTo>
                    <a:lnTo>
                      <a:pt x="22" y="3"/>
                    </a:lnTo>
                    <a:lnTo>
                      <a:pt x="13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11" y="6"/>
                    </a:lnTo>
                    <a:lnTo>
                      <a:pt x="16" y="9"/>
                    </a:lnTo>
                    <a:lnTo>
                      <a:pt x="16" y="9"/>
                    </a:lnTo>
                    <a:lnTo>
                      <a:pt x="19" y="9"/>
                    </a:lnTo>
                    <a:lnTo>
                      <a:pt x="19" y="11"/>
                    </a:lnTo>
                    <a:lnTo>
                      <a:pt x="38" y="9"/>
                    </a:lnTo>
                    <a:lnTo>
                      <a:pt x="41" y="11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38" y="9"/>
                    </a:lnTo>
                    <a:lnTo>
                      <a:pt x="36" y="6"/>
                    </a:lnTo>
                    <a:lnTo>
                      <a:pt x="33" y="6"/>
                    </a:lnTo>
                    <a:lnTo>
                      <a:pt x="27" y="6"/>
                    </a:lnTo>
                    <a:lnTo>
                      <a:pt x="25" y="3"/>
                    </a:lnTo>
                    <a:lnTo>
                      <a:pt x="2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6" name="Freeform 111"/>
              <p:cNvSpPr>
                <a:spLocks noChangeAspect="1"/>
              </p:cNvSpPr>
              <p:nvPr>
                <p:custDataLst>
                  <p:tags r:id="rId494"/>
                </p:custDataLst>
              </p:nvPr>
            </p:nvSpPr>
            <p:spPr bwMode="gray">
              <a:xfrm>
                <a:off x="5717135" y="3328024"/>
                <a:ext cx="9110" cy="7884"/>
              </a:xfrm>
              <a:custGeom>
                <a:avLst/>
                <a:gdLst>
                  <a:gd name="T0" fmla="*/ 3 w 6"/>
                  <a:gd name="T1" fmla="*/ 5 h 5"/>
                  <a:gd name="T2" fmla="*/ 6 w 6"/>
                  <a:gd name="T3" fmla="*/ 5 h 5"/>
                  <a:gd name="T4" fmla="*/ 6 w 6"/>
                  <a:gd name="T5" fmla="*/ 3 h 5"/>
                  <a:gd name="T6" fmla="*/ 3 w 6"/>
                  <a:gd name="T7" fmla="*/ 3 h 5"/>
                  <a:gd name="T8" fmla="*/ 3 w 6"/>
                  <a:gd name="T9" fmla="*/ 0 h 5"/>
                  <a:gd name="T10" fmla="*/ 0 w 6"/>
                  <a:gd name="T11" fmla="*/ 0 h 5"/>
                  <a:gd name="T12" fmla="*/ 0 w 6"/>
                  <a:gd name="T13" fmla="*/ 3 h 5"/>
                  <a:gd name="T14" fmla="*/ 0 w 6"/>
                  <a:gd name="T15" fmla="*/ 3 h 5"/>
                  <a:gd name="T16" fmla="*/ 3 w 6"/>
                  <a:gd name="T17" fmla="*/ 5 h 5"/>
                  <a:gd name="T18" fmla="*/ 3 w 6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6" y="5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7" name="Freeform 112"/>
              <p:cNvSpPr>
                <a:spLocks noChangeAspect="1"/>
              </p:cNvSpPr>
              <p:nvPr>
                <p:custDataLst>
                  <p:tags r:id="rId495"/>
                </p:custDataLst>
              </p:nvPr>
            </p:nvSpPr>
            <p:spPr bwMode="gray">
              <a:xfrm>
                <a:off x="5717135" y="3328024"/>
                <a:ext cx="9110" cy="7884"/>
              </a:xfrm>
              <a:custGeom>
                <a:avLst/>
                <a:gdLst>
                  <a:gd name="T0" fmla="*/ 3 w 6"/>
                  <a:gd name="T1" fmla="*/ 5 h 5"/>
                  <a:gd name="T2" fmla="*/ 6 w 6"/>
                  <a:gd name="T3" fmla="*/ 5 h 5"/>
                  <a:gd name="T4" fmla="*/ 6 w 6"/>
                  <a:gd name="T5" fmla="*/ 3 h 5"/>
                  <a:gd name="T6" fmla="*/ 3 w 6"/>
                  <a:gd name="T7" fmla="*/ 3 h 5"/>
                  <a:gd name="T8" fmla="*/ 3 w 6"/>
                  <a:gd name="T9" fmla="*/ 0 h 5"/>
                  <a:gd name="T10" fmla="*/ 0 w 6"/>
                  <a:gd name="T11" fmla="*/ 0 h 5"/>
                  <a:gd name="T12" fmla="*/ 0 w 6"/>
                  <a:gd name="T13" fmla="*/ 3 h 5"/>
                  <a:gd name="T14" fmla="*/ 0 w 6"/>
                  <a:gd name="T15" fmla="*/ 3 h 5"/>
                  <a:gd name="T16" fmla="*/ 3 w 6"/>
                  <a:gd name="T17" fmla="*/ 5 h 5"/>
                  <a:gd name="T18" fmla="*/ 3 w 6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lnTo>
                      <a:pt x="6" y="5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8" name="Freeform 113"/>
              <p:cNvSpPr>
                <a:spLocks noChangeAspect="1"/>
              </p:cNvSpPr>
              <p:nvPr>
                <p:custDataLst>
                  <p:tags r:id="rId496"/>
                </p:custDataLst>
              </p:nvPr>
            </p:nvSpPr>
            <p:spPr bwMode="gray">
              <a:xfrm>
                <a:off x="5732319" y="3351676"/>
                <a:ext cx="4557" cy="3154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3 w 3"/>
                  <a:gd name="T5" fmla="*/ 0 h 2"/>
                  <a:gd name="T6" fmla="*/ 0 w 3"/>
                  <a:gd name="T7" fmla="*/ 0 h 2"/>
                  <a:gd name="T8" fmla="*/ 0 w 3"/>
                  <a:gd name="T9" fmla="*/ 2 h 2"/>
                  <a:gd name="T10" fmla="*/ 0 w 3"/>
                  <a:gd name="T11" fmla="*/ 2 h 2"/>
                  <a:gd name="T12" fmla="*/ 0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9" name="Freeform 114"/>
              <p:cNvSpPr>
                <a:spLocks noChangeAspect="1"/>
              </p:cNvSpPr>
              <p:nvPr>
                <p:custDataLst>
                  <p:tags r:id="rId497"/>
                </p:custDataLst>
              </p:nvPr>
            </p:nvSpPr>
            <p:spPr bwMode="gray">
              <a:xfrm>
                <a:off x="5732319" y="3351676"/>
                <a:ext cx="4557" cy="3154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3 w 3"/>
                  <a:gd name="T5" fmla="*/ 0 h 2"/>
                  <a:gd name="T6" fmla="*/ 0 w 3"/>
                  <a:gd name="T7" fmla="*/ 0 h 2"/>
                  <a:gd name="T8" fmla="*/ 0 w 3"/>
                  <a:gd name="T9" fmla="*/ 2 h 2"/>
                  <a:gd name="T10" fmla="*/ 0 w 3"/>
                  <a:gd name="T11" fmla="*/ 2 h 2"/>
                  <a:gd name="T12" fmla="*/ 0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0" name="Freeform 115"/>
              <p:cNvSpPr>
                <a:spLocks noChangeAspect="1"/>
              </p:cNvSpPr>
              <p:nvPr>
                <p:custDataLst>
                  <p:tags r:id="rId498"/>
                </p:custDataLst>
              </p:nvPr>
            </p:nvSpPr>
            <p:spPr bwMode="gray">
              <a:xfrm>
                <a:off x="5645768" y="3321718"/>
                <a:ext cx="47072" cy="45726"/>
              </a:xfrm>
              <a:custGeom>
                <a:avLst/>
                <a:gdLst>
                  <a:gd name="T0" fmla="*/ 14 w 37"/>
                  <a:gd name="T1" fmla="*/ 0 h 36"/>
                  <a:gd name="T2" fmla="*/ 11 w 37"/>
                  <a:gd name="T3" fmla="*/ 0 h 36"/>
                  <a:gd name="T4" fmla="*/ 6 w 37"/>
                  <a:gd name="T5" fmla="*/ 3 h 36"/>
                  <a:gd name="T6" fmla="*/ 3 w 37"/>
                  <a:gd name="T7" fmla="*/ 3 h 36"/>
                  <a:gd name="T8" fmla="*/ 0 w 37"/>
                  <a:gd name="T9" fmla="*/ 6 h 36"/>
                  <a:gd name="T10" fmla="*/ 0 w 37"/>
                  <a:gd name="T11" fmla="*/ 9 h 36"/>
                  <a:gd name="T12" fmla="*/ 3 w 37"/>
                  <a:gd name="T13" fmla="*/ 14 h 36"/>
                  <a:gd name="T14" fmla="*/ 6 w 37"/>
                  <a:gd name="T15" fmla="*/ 14 h 36"/>
                  <a:gd name="T16" fmla="*/ 9 w 37"/>
                  <a:gd name="T17" fmla="*/ 20 h 36"/>
                  <a:gd name="T18" fmla="*/ 6 w 37"/>
                  <a:gd name="T19" fmla="*/ 23 h 36"/>
                  <a:gd name="T20" fmla="*/ 9 w 37"/>
                  <a:gd name="T21" fmla="*/ 28 h 36"/>
                  <a:gd name="T22" fmla="*/ 9 w 37"/>
                  <a:gd name="T23" fmla="*/ 28 h 36"/>
                  <a:gd name="T24" fmla="*/ 11 w 37"/>
                  <a:gd name="T25" fmla="*/ 31 h 36"/>
                  <a:gd name="T26" fmla="*/ 11 w 37"/>
                  <a:gd name="T27" fmla="*/ 28 h 36"/>
                  <a:gd name="T28" fmla="*/ 14 w 37"/>
                  <a:gd name="T29" fmla="*/ 25 h 36"/>
                  <a:gd name="T30" fmla="*/ 14 w 37"/>
                  <a:gd name="T31" fmla="*/ 25 h 36"/>
                  <a:gd name="T32" fmla="*/ 17 w 37"/>
                  <a:gd name="T33" fmla="*/ 28 h 36"/>
                  <a:gd name="T34" fmla="*/ 20 w 37"/>
                  <a:gd name="T35" fmla="*/ 36 h 36"/>
                  <a:gd name="T36" fmla="*/ 20 w 37"/>
                  <a:gd name="T37" fmla="*/ 36 h 36"/>
                  <a:gd name="T38" fmla="*/ 23 w 37"/>
                  <a:gd name="T39" fmla="*/ 31 h 36"/>
                  <a:gd name="T40" fmla="*/ 25 w 37"/>
                  <a:gd name="T41" fmla="*/ 31 h 36"/>
                  <a:gd name="T42" fmla="*/ 25 w 37"/>
                  <a:gd name="T43" fmla="*/ 34 h 36"/>
                  <a:gd name="T44" fmla="*/ 28 w 37"/>
                  <a:gd name="T45" fmla="*/ 34 h 36"/>
                  <a:gd name="T46" fmla="*/ 31 w 37"/>
                  <a:gd name="T47" fmla="*/ 36 h 36"/>
                  <a:gd name="T48" fmla="*/ 28 w 37"/>
                  <a:gd name="T49" fmla="*/ 23 h 36"/>
                  <a:gd name="T50" fmla="*/ 25 w 37"/>
                  <a:gd name="T51" fmla="*/ 17 h 36"/>
                  <a:gd name="T52" fmla="*/ 25 w 37"/>
                  <a:gd name="T53" fmla="*/ 14 h 36"/>
                  <a:gd name="T54" fmla="*/ 31 w 37"/>
                  <a:gd name="T55" fmla="*/ 17 h 36"/>
                  <a:gd name="T56" fmla="*/ 31 w 37"/>
                  <a:gd name="T57" fmla="*/ 20 h 36"/>
                  <a:gd name="T58" fmla="*/ 31 w 37"/>
                  <a:gd name="T59" fmla="*/ 20 h 36"/>
                  <a:gd name="T60" fmla="*/ 34 w 37"/>
                  <a:gd name="T61" fmla="*/ 17 h 36"/>
                  <a:gd name="T62" fmla="*/ 37 w 37"/>
                  <a:gd name="T63" fmla="*/ 17 h 36"/>
                  <a:gd name="T64" fmla="*/ 37 w 37"/>
                  <a:gd name="T65" fmla="*/ 14 h 36"/>
                  <a:gd name="T66" fmla="*/ 34 w 37"/>
                  <a:gd name="T67" fmla="*/ 14 h 36"/>
                  <a:gd name="T68" fmla="*/ 31 w 37"/>
                  <a:gd name="T69" fmla="*/ 9 h 36"/>
                  <a:gd name="T70" fmla="*/ 31 w 37"/>
                  <a:gd name="T71" fmla="*/ 6 h 36"/>
                  <a:gd name="T72" fmla="*/ 17 w 37"/>
                  <a:gd name="T73" fmla="*/ 0 h 36"/>
                  <a:gd name="T74" fmla="*/ 17 w 37"/>
                  <a:gd name="T75" fmla="*/ 0 h 36"/>
                  <a:gd name="T76" fmla="*/ 14 w 37"/>
                  <a:gd name="T7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" h="36">
                    <a:moveTo>
                      <a:pt x="14" y="0"/>
                    </a:moveTo>
                    <a:lnTo>
                      <a:pt x="11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20"/>
                    </a:lnTo>
                    <a:lnTo>
                      <a:pt x="6" y="23"/>
                    </a:lnTo>
                    <a:lnTo>
                      <a:pt x="9" y="28"/>
                    </a:lnTo>
                    <a:lnTo>
                      <a:pt x="9" y="28"/>
                    </a:lnTo>
                    <a:lnTo>
                      <a:pt x="11" y="31"/>
                    </a:lnTo>
                    <a:lnTo>
                      <a:pt x="11" y="28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7" y="28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4"/>
                    </a:lnTo>
                    <a:lnTo>
                      <a:pt x="28" y="34"/>
                    </a:lnTo>
                    <a:lnTo>
                      <a:pt x="31" y="36"/>
                    </a:lnTo>
                    <a:lnTo>
                      <a:pt x="28" y="23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31" y="17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4" y="17"/>
                    </a:lnTo>
                    <a:lnTo>
                      <a:pt x="37" y="17"/>
                    </a:lnTo>
                    <a:lnTo>
                      <a:pt x="37" y="14"/>
                    </a:lnTo>
                    <a:lnTo>
                      <a:pt x="34" y="14"/>
                    </a:lnTo>
                    <a:lnTo>
                      <a:pt x="31" y="9"/>
                    </a:lnTo>
                    <a:lnTo>
                      <a:pt x="31" y="6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1" name="Freeform 116"/>
              <p:cNvSpPr>
                <a:spLocks noChangeAspect="1"/>
              </p:cNvSpPr>
              <p:nvPr>
                <p:custDataLst>
                  <p:tags r:id="rId499"/>
                </p:custDataLst>
              </p:nvPr>
            </p:nvSpPr>
            <p:spPr bwMode="gray">
              <a:xfrm>
                <a:off x="5630583" y="3316988"/>
                <a:ext cx="9110" cy="9460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3 w 6"/>
                  <a:gd name="T5" fmla="*/ 3 h 6"/>
                  <a:gd name="T6" fmla="*/ 3 w 6"/>
                  <a:gd name="T7" fmla="*/ 0 h 6"/>
                  <a:gd name="T8" fmla="*/ 0 w 6"/>
                  <a:gd name="T9" fmla="*/ 3 h 6"/>
                  <a:gd name="T10" fmla="*/ 0 w 6"/>
                  <a:gd name="T11" fmla="*/ 6 h 6"/>
                  <a:gd name="T12" fmla="*/ 3 w 6"/>
                  <a:gd name="T13" fmla="*/ 6 h 6"/>
                  <a:gd name="T14" fmla="*/ 6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2" name="Freeform 117"/>
              <p:cNvSpPr>
                <a:spLocks noChangeAspect="1"/>
              </p:cNvSpPr>
              <p:nvPr>
                <p:custDataLst>
                  <p:tags r:id="rId500"/>
                </p:custDataLst>
              </p:nvPr>
            </p:nvSpPr>
            <p:spPr bwMode="gray">
              <a:xfrm>
                <a:off x="5630583" y="3316988"/>
                <a:ext cx="9110" cy="9460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3 w 6"/>
                  <a:gd name="T5" fmla="*/ 3 h 6"/>
                  <a:gd name="T6" fmla="*/ 3 w 6"/>
                  <a:gd name="T7" fmla="*/ 0 h 6"/>
                  <a:gd name="T8" fmla="*/ 0 w 6"/>
                  <a:gd name="T9" fmla="*/ 3 h 6"/>
                  <a:gd name="T10" fmla="*/ 0 w 6"/>
                  <a:gd name="T11" fmla="*/ 6 h 6"/>
                  <a:gd name="T12" fmla="*/ 3 w 6"/>
                  <a:gd name="T13" fmla="*/ 6 h 6"/>
                  <a:gd name="T14" fmla="*/ 6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3" name="Freeform 118"/>
              <p:cNvSpPr>
                <a:spLocks noChangeAspect="1"/>
              </p:cNvSpPr>
              <p:nvPr>
                <p:custDataLst>
                  <p:tags r:id="rId501"/>
                </p:custDataLst>
              </p:nvPr>
            </p:nvSpPr>
            <p:spPr bwMode="gray">
              <a:xfrm>
                <a:off x="5680693" y="3302796"/>
                <a:ext cx="33406" cy="25227"/>
              </a:xfrm>
              <a:custGeom>
                <a:avLst/>
                <a:gdLst>
                  <a:gd name="T0" fmla="*/ 25 w 25"/>
                  <a:gd name="T1" fmla="*/ 17 h 20"/>
                  <a:gd name="T2" fmla="*/ 25 w 25"/>
                  <a:gd name="T3" fmla="*/ 20 h 20"/>
                  <a:gd name="T4" fmla="*/ 25 w 25"/>
                  <a:gd name="T5" fmla="*/ 17 h 20"/>
                  <a:gd name="T6" fmla="*/ 22 w 25"/>
                  <a:gd name="T7" fmla="*/ 14 h 20"/>
                  <a:gd name="T8" fmla="*/ 20 w 25"/>
                  <a:gd name="T9" fmla="*/ 11 h 20"/>
                  <a:gd name="T10" fmla="*/ 20 w 25"/>
                  <a:gd name="T11" fmla="*/ 9 h 20"/>
                  <a:gd name="T12" fmla="*/ 20 w 25"/>
                  <a:gd name="T13" fmla="*/ 6 h 20"/>
                  <a:gd name="T14" fmla="*/ 14 w 25"/>
                  <a:gd name="T15" fmla="*/ 6 h 20"/>
                  <a:gd name="T16" fmla="*/ 11 w 25"/>
                  <a:gd name="T17" fmla="*/ 6 h 20"/>
                  <a:gd name="T18" fmla="*/ 6 w 25"/>
                  <a:gd name="T19" fmla="*/ 0 h 20"/>
                  <a:gd name="T20" fmla="*/ 6 w 25"/>
                  <a:gd name="T21" fmla="*/ 0 h 20"/>
                  <a:gd name="T22" fmla="*/ 6 w 25"/>
                  <a:gd name="T23" fmla="*/ 0 h 20"/>
                  <a:gd name="T24" fmla="*/ 0 w 25"/>
                  <a:gd name="T25" fmla="*/ 3 h 20"/>
                  <a:gd name="T26" fmla="*/ 3 w 25"/>
                  <a:gd name="T27" fmla="*/ 3 h 20"/>
                  <a:gd name="T28" fmla="*/ 9 w 25"/>
                  <a:gd name="T29" fmla="*/ 9 h 20"/>
                  <a:gd name="T30" fmla="*/ 11 w 25"/>
                  <a:gd name="T31" fmla="*/ 11 h 20"/>
                  <a:gd name="T32" fmla="*/ 11 w 25"/>
                  <a:gd name="T33" fmla="*/ 11 h 20"/>
                  <a:gd name="T34" fmla="*/ 17 w 25"/>
                  <a:gd name="T35" fmla="*/ 11 h 20"/>
                  <a:gd name="T36" fmla="*/ 20 w 25"/>
                  <a:gd name="T37" fmla="*/ 14 h 20"/>
                  <a:gd name="T38" fmla="*/ 20 w 25"/>
                  <a:gd name="T39" fmla="*/ 17 h 20"/>
                  <a:gd name="T40" fmla="*/ 20 w 25"/>
                  <a:gd name="T41" fmla="*/ 20 h 20"/>
                  <a:gd name="T42" fmla="*/ 22 w 25"/>
                  <a:gd name="T43" fmla="*/ 20 h 20"/>
                  <a:gd name="T44" fmla="*/ 25 w 25"/>
                  <a:gd name="T45" fmla="*/ 20 h 20"/>
                  <a:gd name="T46" fmla="*/ 25 w 25"/>
                  <a:gd name="T47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20">
                    <a:moveTo>
                      <a:pt x="25" y="17"/>
                    </a:moveTo>
                    <a:lnTo>
                      <a:pt x="25" y="20"/>
                    </a:lnTo>
                    <a:lnTo>
                      <a:pt x="25" y="17"/>
                    </a:lnTo>
                    <a:lnTo>
                      <a:pt x="22" y="14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0" y="6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7" y="11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5" y="20"/>
                    </a:lnTo>
                    <a:lnTo>
                      <a:pt x="25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4" name="Freeform 119"/>
              <p:cNvSpPr>
                <a:spLocks noChangeAspect="1"/>
              </p:cNvSpPr>
              <p:nvPr>
                <p:custDataLst>
                  <p:tags r:id="rId502"/>
                </p:custDataLst>
              </p:nvPr>
            </p:nvSpPr>
            <p:spPr bwMode="gray">
              <a:xfrm>
                <a:off x="5680693" y="3302796"/>
                <a:ext cx="33406" cy="25227"/>
              </a:xfrm>
              <a:custGeom>
                <a:avLst/>
                <a:gdLst>
                  <a:gd name="T0" fmla="*/ 25 w 25"/>
                  <a:gd name="T1" fmla="*/ 17 h 20"/>
                  <a:gd name="T2" fmla="*/ 25 w 25"/>
                  <a:gd name="T3" fmla="*/ 20 h 20"/>
                  <a:gd name="T4" fmla="*/ 25 w 25"/>
                  <a:gd name="T5" fmla="*/ 17 h 20"/>
                  <a:gd name="T6" fmla="*/ 22 w 25"/>
                  <a:gd name="T7" fmla="*/ 14 h 20"/>
                  <a:gd name="T8" fmla="*/ 20 w 25"/>
                  <a:gd name="T9" fmla="*/ 11 h 20"/>
                  <a:gd name="T10" fmla="*/ 20 w 25"/>
                  <a:gd name="T11" fmla="*/ 9 h 20"/>
                  <a:gd name="T12" fmla="*/ 20 w 25"/>
                  <a:gd name="T13" fmla="*/ 6 h 20"/>
                  <a:gd name="T14" fmla="*/ 14 w 25"/>
                  <a:gd name="T15" fmla="*/ 6 h 20"/>
                  <a:gd name="T16" fmla="*/ 11 w 25"/>
                  <a:gd name="T17" fmla="*/ 6 h 20"/>
                  <a:gd name="T18" fmla="*/ 6 w 25"/>
                  <a:gd name="T19" fmla="*/ 0 h 20"/>
                  <a:gd name="T20" fmla="*/ 6 w 25"/>
                  <a:gd name="T21" fmla="*/ 0 h 20"/>
                  <a:gd name="T22" fmla="*/ 6 w 25"/>
                  <a:gd name="T23" fmla="*/ 0 h 20"/>
                  <a:gd name="T24" fmla="*/ 0 w 25"/>
                  <a:gd name="T25" fmla="*/ 3 h 20"/>
                  <a:gd name="T26" fmla="*/ 3 w 25"/>
                  <a:gd name="T27" fmla="*/ 3 h 20"/>
                  <a:gd name="T28" fmla="*/ 9 w 25"/>
                  <a:gd name="T29" fmla="*/ 9 h 20"/>
                  <a:gd name="T30" fmla="*/ 11 w 25"/>
                  <a:gd name="T31" fmla="*/ 11 h 20"/>
                  <a:gd name="T32" fmla="*/ 11 w 25"/>
                  <a:gd name="T33" fmla="*/ 11 h 20"/>
                  <a:gd name="T34" fmla="*/ 17 w 25"/>
                  <a:gd name="T35" fmla="*/ 11 h 20"/>
                  <a:gd name="T36" fmla="*/ 20 w 25"/>
                  <a:gd name="T37" fmla="*/ 14 h 20"/>
                  <a:gd name="T38" fmla="*/ 20 w 25"/>
                  <a:gd name="T39" fmla="*/ 17 h 20"/>
                  <a:gd name="T40" fmla="*/ 20 w 25"/>
                  <a:gd name="T41" fmla="*/ 20 h 20"/>
                  <a:gd name="T42" fmla="*/ 22 w 25"/>
                  <a:gd name="T43" fmla="*/ 20 h 20"/>
                  <a:gd name="T44" fmla="*/ 25 w 25"/>
                  <a:gd name="T45" fmla="*/ 20 h 20"/>
                  <a:gd name="T46" fmla="*/ 25 w 25"/>
                  <a:gd name="T47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20">
                    <a:moveTo>
                      <a:pt x="25" y="17"/>
                    </a:moveTo>
                    <a:lnTo>
                      <a:pt x="25" y="20"/>
                    </a:lnTo>
                    <a:lnTo>
                      <a:pt x="25" y="17"/>
                    </a:lnTo>
                    <a:lnTo>
                      <a:pt x="22" y="14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0" y="6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7" y="11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5" y="20"/>
                    </a:lnTo>
                    <a:lnTo>
                      <a:pt x="25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5" name="Freeform 120"/>
              <p:cNvSpPr>
                <a:spLocks noChangeAspect="1"/>
              </p:cNvSpPr>
              <p:nvPr>
                <p:custDataLst>
                  <p:tags r:id="rId503"/>
                </p:custDataLst>
              </p:nvPr>
            </p:nvSpPr>
            <p:spPr bwMode="gray">
              <a:xfrm>
                <a:off x="5616917" y="3282299"/>
                <a:ext cx="9110" cy="11037"/>
              </a:xfrm>
              <a:custGeom>
                <a:avLst/>
                <a:gdLst>
                  <a:gd name="T0" fmla="*/ 6 w 6"/>
                  <a:gd name="T1" fmla="*/ 8 h 8"/>
                  <a:gd name="T2" fmla="*/ 6 w 6"/>
                  <a:gd name="T3" fmla="*/ 8 h 8"/>
                  <a:gd name="T4" fmla="*/ 3 w 6"/>
                  <a:gd name="T5" fmla="*/ 2 h 8"/>
                  <a:gd name="T6" fmla="*/ 0 w 6"/>
                  <a:gd name="T7" fmla="*/ 0 h 8"/>
                  <a:gd name="T8" fmla="*/ 0 w 6"/>
                  <a:gd name="T9" fmla="*/ 0 h 8"/>
                  <a:gd name="T10" fmla="*/ 3 w 6"/>
                  <a:gd name="T11" fmla="*/ 5 h 8"/>
                  <a:gd name="T12" fmla="*/ 3 w 6"/>
                  <a:gd name="T13" fmla="*/ 8 h 8"/>
                  <a:gd name="T14" fmla="*/ 6 w 6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6" y="8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6" name="Freeform 121"/>
              <p:cNvSpPr>
                <a:spLocks noChangeAspect="1"/>
              </p:cNvSpPr>
              <p:nvPr>
                <p:custDataLst>
                  <p:tags r:id="rId504"/>
                </p:custDataLst>
              </p:nvPr>
            </p:nvSpPr>
            <p:spPr bwMode="gray">
              <a:xfrm>
                <a:off x="5616917" y="3282299"/>
                <a:ext cx="9110" cy="11037"/>
              </a:xfrm>
              <a:custGeom>
                <a:avLst/>
                <a:gdLst>
                  <a:gd name="T0" fmla="*/ 6 w 6"/>
                  <a:gd name="T1" fmla="*/ 8 h 8"/>
                  <a:gd name="T2" fmla="*/ 6 w 6"/>
                  <a:gd name="T3" fmla="*/ 8 h 8"/>
                  <a:gd name="T4" fmla="*/ 3 w 6"/>
                  <a:gd name="T5" fmla="*/ 2 h 8"/>
                  <a:gd name="T6" fmla="*/ 0 w 6"/>
                  <a:gd name="T7" fmla="*/ 0 h 8"/>
                  <a:gd name="T8" fmla="*/ 0 w 6"/>
                  <a:gd name="T9" fmla="*/ 0 h 8"/>
                  <a:gd name="T10" fmla="*/ 3 w 6"/>
                  <a:gd name="T11" fmla="*/ 5 h 8"/>
                  <a:gd name="T12" fmla="*/ 3 w 6"/>
                  <a:gd name="T13" fmla="*/ 8 h 8"/>
                  <a:gd name="T14" fmla="*/ 6 w 6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6" y="8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7" name="Freeform 122"/>
              <p:cNvSpPr>
                <a:spLocks noChangeAspect="1"/>
              </p:cNvSpPr>
              <p:nvPr>
                <p:custDataLst>
                  <p:tags r:id="rId505"/>
                </p:custDataLst>
              </p:nvPr>
            </p:nvSpPr>
            <p:spPr bwMode="gray">
              <a:xfrm>
                <a:off x="6339703" y="3589763"/>
                <a:ext cx="19741" cy="12614"/>
              </a:xfrm>
              <a:custGeom>
                <a:avLst/>
                <a:gdLst>
                  <a:gd name="T0" fmla="*/ 14 w 14"/>
                  <a:gd name="T1" fmla="*/ 0 h 8"/>
                  <a:gd name="T2" fmla="*/ 14 w 14"/>
                  <a:gd name="T3" fmla="*/ 0 h 8"/>
                  <a:gd name="T4" fmla="*/ 8 w 14"/>
                  <a:gd name="T5" fmla="*/ 0 h 8"/>
                  <a:gd name="T6" fmla="*/ 6 w 14"/>
                  <a:gd name="T7" fmla="*/ 3 h 8"/>
                  <a:gd name="T8" fmla="*/ 0 w 14"/>
                  <a:gd name="T9" fmla="*/ 6 h 8"/>
                  <a:gd name="T10" fmla="*/ 0 w 14"/>
                  <a:gd name="T11" fmla="*/ 8 h 8"/>
                  <a:gd name="T12" fmla="*/ 8 w 14"/>
                  <a:gd name="T13" fmla="*/ 6 h 8"/>
                  <a:gd name="T14" fmla="*/ 14 w 14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6" y="3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8" y="6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8" name="Freeform 123"/>
              <p:cNvSpPr>
                <a:spLocks noChangeAspect="1"/>
              </p:cNvSpPr>
              <p:nvPr>
                <p:custDataLst>
                  <p:tags r:id="rId506"/>
                </p:custDataLst>
              </p:nvPr>
            </p:nvSpPr>
            <p:spPr bwMode="gray">
              <a:xfrm>
                <a:off x="6339703" y="3589763"/>
                <a:ext cx="19741" cy="12614"/>
              </a:xfrm>
              <a:custGeom>
                <a:avLst/>
                <a:gdLst>
                  <a:gd name="T0" fmla="*/ 14 w 14"/>
                  <a:gd name="T1" fmla="*/ 0 h 8"/>
                  <a:gd name="T2" fmla="*/ 14 w 14"/>
                  <a:gd name="T3" fmla="*/ 0 h 8"/>
                  <a:gd name="T4" fmla="*/ 8 w 14"/>
                  <a:gd name="T5" fmla="*/ 0 h 8"/>
                  <a:gd name="T6" fmla="*/ 6 w 14"/>
                  <a:gd name="T7" fmla="*/ 3 h 8"/>
                  <a:gd name="T8" fmla="*/ 0 w 14"/>
                  <a:gd name="T9" fmla="*/ 6 h 8"/>
                  <a:gd name="T10" fmla="*/ 0 w 14"/>
                  <a:gd name="T11" fmla="*/ 8 h 8"/>
                  <a:gd name="T12" fmla="*/ 8 w 14"/>
                  <a:gd name="T13" fmla="*/ 6 h 8"/>
                  <a:gd name="T14" fmla="*/ 14 w 14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8">
                    <a:moveTo>
                      <a:pt x="14" y="0"/>
                    </a:moveTo>
                    <a:lnTo>
                      <a:pt x="14" y="0"/>
                    </a:lnTo>
                    <a:lnTo>
                      <a:pt x="8" y="0"/>
                    </a:lnTo>
                    <a:lnTo>
                      <a:pt x="6" y="3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8" y="6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9" name="Freeform 124"/>
              <p:cNvSpPr>
                <a:spLocks noChangeAspect="1"/>
              </p:cNvSpPr>
              <p:nvPr>
                <p:custDataLst>
                  <p:tags r:id="rId507"/>
                </p:custDataLst>
              </p:nvPr>
            </p:nvSpPr>
            <p:spPr bwMode="gray">
              <a:xfrm>
                <a:off x="6409551" y="3726939"/>
                <a:ext cx="3037" cy="11037"/>
              </a:xfrm>
              <a:custGeom>
                <a:avLst/>
                <a:gdLst>
                  <a:gd name="T0" fmla="*/ 0 w 3"/>
                  <a:gd name="T1" fmla="*/ 8 h 8"/>
                  <a:gd name="T2" fmla="*/ 0 w 3"/>
                  <a:gd name="T3" fmla="*/ 8 h 8"/>
                  <a:gd name="T4" fmla="*/ 0 w 3"/>
                  <a:gd name="T5" fmla="*/ 8 h 8"/>
                  <a:gd name="T6" fmla="*/ 0 w 3"/>
                  <a:gd name="T7" fmla="*/ 5 h 8"/>
                  <a:gd name="T8" fmla="*/ 0 w 3"/>
                  <a:gd name="T9" fmla="*/ 5 h 8"/>
                  <a:gd name="T10" fmla="*/ 0 w 3"/>
                  <a:gd name="T11" fmla="*/ 5 h 8"/>
                  <a:gd name="T12" fmla="*/ 3 w 3"/>
                  <a:gd name="T13" fmla="*/ 3 h 8"/>
                  <a:gd name="T14" fmla="*/ 3 w 3"/>
                  <a:gd name="T15" fmla="*/ 3 h 8"/>
                  <a:gd name="T16" fmla="*/ 3 w 3"/>
                  <a:gd name="T17" fmla="*/ 3 h 8"/>
                  <a:gd name="T18" fmla="*/ 3 w 3"/>
                  <a:gd name="T19" fmla="*/ 0 h 8"/>
                  <a:gd name="T20" fmla="*/ 3 w 3"/>
                  <a:gd name="T21" fmla="*/ 0 h 8"/>
                  <a:gd name="T22" fmla="*/ 3 w 3"/>
                  <a:gd name="T23" fmla="*/ 0 h 8"/>
                  <a:gd name="T24" fmla="*/ 0 w 3"/>
                  <a:gd name="T25" fmla="*/ 5 h 8"/>
                  <a:gd name="T26" fmla="*/ 0 w 3"/>
                  <a:gd name="T27" fmla="*/ 5 h 8"/>
                  <a:gd name="T28" fmla="*/ 0 w 3"/>
                  <a:gd name="T29" fmla="*/ 5 h 8"/>
                  <a:gd name="T30" fmla="*/ 0 w 3"/>
                  <a:gd name="T31" fmla="*/ 8 h 8"/>
                  <a:gd name="T32" fmla="*/ 0 w 3"/>
                  <a:gd name="T3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0" name="Freeform 125"/>
              <p:cNvSpPr>
                <a:spLocks noChangeAspect="1"/>
              </p:cNvSpPr>
              <p:nvPr>
                <p:custDataLst>
                  <p:tags r:id="rId508"/>
                </p:custDataLst>
              </p:nvPr>
            </p:nvSpPr>
            <p:spPr bwMode="gray">
              <a:xfrm>
                <a:off x="6409551" y="3726939"/>
                <a:ext cx="3037" cy="11037"/>
              </a:xfrm>
              <a:custGeom>
                <a:avLst/>
                <a:gdLst>
                  <a:gd name="T0" fmla="*/ 0 w 3"/>
                  <a:gd name="T1" fmla="*/ 8 h 8"/>
                  <a:gd name="T2" fmla="*/ 0 w 3"/>
                  <a:gd name="T3" fmla="*/ 8 h 8"/>
                  <a:gd name="T4" fmla="*/ 0 w 3"/>
                  <a:gd name="T5" fmla="*/ 8 h 8"/>
                  <a:gd name="T6" fmla="*/ 0 w 3"/>
                  <a:gd name="T7" fmla="*/ 5 h 8"/>
                  <a:gd name="T8" fmla="*/ 0 w 3"/>
                  <a:gd name="T9" fmla="*/ 5 h 8"/>
                  <a:gd name="T10" fmla="*/ 0 w 3"/>
                  <a:gd name="T11" fmla="*/ 5 h 8"/>
                  <a:gd name="T12" fmla="*/ 3 w 3"/>
                  <a:gd name="T13" fmla="*/ 3 h 8"/>
                  <a:gd name="T14" fmla="*/ 3 w 3"/>
                  <a:gd name="T15" fmla="*/ 3 h 8"/>
                  <a:gd name="T16" fmla="*/ 3 w 3"/>
                  <a:gd name="T17" fmla="*/ 3 h 8"/>
                  <a:gd name="T18" fmla="*/ 3 w 3"/>
                  <a:gd name="T19" fmla="*/ 0 h 8"/>
                  <a:gd name="T20" fmla="*/ 3 w 3"/>
                  <a:gd name="T21" fmla="*/ 0 h 8"/>
                  <a:gd name="T22" fmla="*/ 3 w 3"/>
                  <a:gd name="T23" fmla="*/ 0 h 8"/>
                  <a:gd name="T24" fmla="*/ 0 w 3"/>
                  <a:gd name="T25" fmla="*/ 5 h 8"/>
                  <a:gd name="T26" fmla="*/ 0 w 3"/>
                  <a:gd name="T27" fmla="*/ 5 h 8"/>
                  <a:gd name="T28" fmla="*/ 0 w 3"/>
                  <a:gd name="T29" fmla="*/ 5 h 8"/>
                  <a:gd name="T30" fmla="*/ 0 w 3"/>
                  <a:gd name="T31" fmla="*/ 8 h 8"/>
                  <a:gd name="T32" fmla="*/ 0 w 3"/>
                  <a:gd name="T3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1" name="Freeform 176"/>
              <p:cNvSpPr>
                <a:spLocks noChangeAspect="1"/>
              </p:cNvSpPr>
              <p:nvPr>
                <p:custDataLst>
                  <p:tags r:id="rId509"/>
                </p:custDataLst>
              </p:nvPr>
            </p:nvSpPr>
            <p:spPr bwMode="gray">
              <a:xfrm>
                <a:off x="6096749" y="4374980"/>
                <a:ext cx="1519" cy="15767"/>
              </a:xfrm>
              <a:custGeom>
                <a:avLst/>
                <a:gdLst>
                  <a:gd name="T0" fmla="*/ 0 w 2"/>
                  <a:gd name="T1" fmla="*/ 0 h 11"/>
                  <a:gd name="T2" fmla="*/ 2 w 2"/>
                  <a:gd name="T3" fmla="*/ 3 h 11"/>
                  <a:gd name="T4" fmla="*/ 2 w 2"/>
                  <a:gd name="T5" fmla="*/ 5 h 11"/>
                  <a:gd name="T6" fmla="*/ 2 w 2"/>
                  <a:gd name="T7" fmla="*/ 8 h 11"/>
                  <a:gd name="T8" fmla="*/ 2 w 2"/>
                  <a:gd name="T9" fmla="*/ 8 h 11"/>
                  <a:gd name="T10" fmla="*/ 2 w 2"/>
                  <a:gd name="T11" fmla="*/ 11 h 11"/>
                  <a:gd name="T12" fmla="*/ 0 w 2"/>
                  <a:gd name="T13" fmla="*/ 11 h 11"/>
                  <a:gd name="T14" fmla="*/ 0 w 2"/>
                  <a:gd name="T15" fmla="*/ 8 h 11"/>
                  <a:gd name="T16" fmla="*/ 0 w 2"/>
                  <a:gd name="T17" fmla="*/ 8 h 11"/>
                  <a:gd name="T18" fmla="*/ 0 w 2"/>
                  <a:gd name="T19" fmla="*/ 5 h 11"/>
                  <a:gd name="T20" fmla="*/ 0 w 2"/>
                  <a:gd name="T21" fmla="*/ 5 h 11"/>
                  <a:gd name="T22" fmla="*/ 0 w 2"/>
                  <a:gd name="T23" fmla="*/ 3 h 11"/>
                  <a:gd name="T24" fmla="*/ 0 w 2"/>
                  <a:gd name="T25" fmla="*/ 3 h 11"/>
                  <a:gd name="T26" fmla="*/ 0 w 2"/>
                  <a:gd name="T27" fmla="*/ 0 h 11"/>
                  <a:gd name="T28" fmla="*/ 0 w 2"/>
                  <a:gd name="T2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" h="11">
                    <a:moveTo>
                      <a:pt x="0" y="0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2" name="Freeform 177"/>
              <p:cNvSpPr>
                <a:spLocks noChangeAspect="1"/>
              </p:cNvSpPr>
              <p:nvPr>
                <p:custDataLst>
                  <p:tags r:id="rId510"/>
                </p:custDataLst>
              </p:nvPr>
            </p:nvSpPr>
            <p:spPr bwMode="gray">
              <a:xfrm>
                <a:off x="6096749" y="4374980"/>
                <a:ext cx="1519" cy="15767"/>
              </a:xfrm>
              <a:custGeom>
                <a:avLst/>
                <a:gdLst>
                  <a:gd name="T0" fmla="*/ 0 w 2"/>
                  <a:gd name="T1" fmla="*/ 0 h 11"/>
                  <a:gd name="T2" fmla="*/ 2 w 2"/>
                  <a:gd name="T3" fmla="*/ 3 h 11"/>
                  <a:gd name="T4" fmla="*/ 2 w 2"/>
                  <a:gd name="T5" fmla="*/ 5 h 11"/>
                  <a:gd name="T6" fmla="*/ 2 w 2"/>
                  <a:gd name="T7" fmla="*/ 8 h 11"/>
                  <a:gd name="T8" fmla="*/ 2 w 2"/>
                  <a:gd name="T9" fmla="*/ 8 h 11"/>
                  <a:gd name="T10" fmla="*/ 2 w 2"/>
                  <a:gd name="T11" fmla="*/ 11 h 11"/>
                  <a:gd name="T12" fmla="*/ 0 w 2"/>
                  <a:gd name="T13" fmla="*/ 11 h 11"/>
                  <a:gd name="T14" fmla="*/ 0 w 2"/>
                  <a:gd name="T15" fmla="*/ 8 h 11"/>
                  <a:gd name="T16" fmla="*/ 0 w 2"/>
                  <a:gd name="T17" fmla="*/ 8 h 11"/>
                  <a:gd name="T18" fmla="*/ 0 w 2"/>
                  <a:gd name="T19" fmla="*/ 5 h 11"/>
                  <a:gd name="T20" fmla="*/ 0 w 2"/>
                  <a:gd name="T21" fmla="*/ 5 h 11"/>
                  <a:gd name="T22" fmla="*/ 0 w 2"/>
                  <a:gd name="T23" fmla="*/ 3 h 11"/>
                  <a:gd name="T24" fmla="*/ 0 w 2"/>
                  <a:gd name="T25" fmla="*/ 3 h 11"/>
                  <a:gd name="T26" fmla="*/ 0 w 2"/>
                  <a:gd name="T27" fmla="*/ 0 h 11"/>
                  <a:gd name="T28" fmla="*/ 0 w 2"/>
                  <a:gd name="T2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" h="11">
                    <a:moveTo>
                      <a:pt x="0" y="0"/>
                    </a:moveTo>
                    <a:lnTo>
                      <a:pt x="2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3" name="Freeform 178"/>
              <p:cNvSpPr>
                <a:spLocks noChangeAspect="1"/>
              </p:cNvSpPr>
              <p:nvPr>
                <p:custDataLst>
                  <p:tags r:id="rId511"/>
                </p:custDataLst>
              </p:nvPr>
            </p:nvSpPr>
            <p:spPr bwMode="gray">
              <a:xfrm>
                <a:off x="6102823" y="4398630"/>
                <a:ext cx="6074" cy="1577"/>
              </a:xfrm>
              <a:custGeom>
                <a:avLst/>
                <a:gdLst>
                  <a:gd name="T0" fmla="*/ 3 w 3"/>
                  <a:gd name="T1" fmla="*/ 3 w 3"/>
                  <a:gd name="T2" fmla="*/ 3 w 3"/>
                  <a:gd name="T3" fmla="*/ 0 w 3"/>
                  <a:gd name="T4" fmla="*/ 0 w 3"/>
                  <a:gd name="T5" fmla="*/ 0 w 3"/>
                  <a:gd name="T6" fmla="*/ 0 w 3"/>
                  <a:gd name="T7" fmla="*/ 3 w 3"/>
                  <a:gd name="T8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4" name="Freeform 179"/>
              <p:cNvSpPr>
                <a:spLocks noChangeAspect="1"/>
              </p:cNvSpPr>
              <p:nvPr>
                <p:custDataLst>
                  <p:tags r:id="rId512"/>
                </p:custDataLst>
              </p:nvPr>
            </p:nvSpPr>
            <p:spPr bwMode="gray">
              <a:xfrm>
                <a:off x="6102823" y="4398630"/>
                <a:ext cx="6074" cy="1577"/>
              </a:xfrm>
              <a:custGeom>
                <a:avLst/>
                <a:gdLst>
                  <a:gd name="T0" fmla="*/ 3 w 3"/>
                  <a:gd name="T1" fmla="*/ 3 w 3"/>
                  <a:gd name="T2" fmla="*/ 3 w 3"/>
                  <a:gd name="T3" fmla="*/ 0 w 3"/>
                  <a:gd name="T4" fmla="*/ 0 w 3"/>
                  <a:gd name="T5" fmla="*/ 0 w 3"/>
                  <a:gd name="T6" fmla="*/ 0 w 3"/>
                  <a:gd name="T7" fmla="*/ 3 w 3"/>
                  <a:gd name="T8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5" name="Freeform 180"/>
              <p:cNvSpPr>
                <a:spLocks noChangeAspect="1"/>
              </p:cNvSpPr>
              <p:nvPr>
                <p:custDataLst>
                  <p:tags r:id="rId513"/>
                </p:custDataLst>
              </p:nvPr>
            </p:nvSpPr>
            <p:spPr bwMode="gray">
              <a:xfrm>
                <a:off x="6114971" y="4393900"/>
                <a:ext cx="6074" cy="6307"/>
              </a:xfrm>
              <a:custGeom>
                <a:avLst/>
                <a:gdLst>
                  <a:gd name="T0" fmla="*/ 6 w 6"/>
                  <a:gd name="T1" fmla="*/ 0 h 5"/>
                  <a:gd name="T2" fmla="*/ 6 w 6"/>
                  <a:gd name="T3" fmla="*/ 0 h 5"/>
                  <a:gd name="T4" fmla="*/ 6 w 6"/>
                  <a:gd name="T5" fmla="*/ 3 h 5"/>
                  <a:gd name="T6" fmla="*/ 6 w 6"/>
                  <a:gd name="T7" fmla="*/ 5 h 5"/>
                  <a:gd name="T8" fmla="*/ 3 w 6"/>
                  <a:gd name="T9" fmla="*/ 3 h 5"/>
                  <a:gd name="T10" fmla="*/ 3 w 6"/>
                  <a:gd name="T11" fmla="*/ 3 h 5"/>
                  <a:gd name="T12" fmla="*/ 3 w 6"/>
                  <a:gd name="T13" fmla="*/ 3 h 5"/>
                  <a:gd name="T14" fmla="*/ 3 w 6"/>
                  <a:gd name="T15" fmla="*/ 3 h 5"/>
                  <a:gd name="T16" fmla="*/ 0 w 6"/>
                  <a:gd name="T17" fmla="*/ 0 h 5"/>
                  <a:gd name="T18" fmla="*/ 3 w 6"/>
                  <a:gd name="T19" fmla="*/ 0 h 5"/>
                  <a:gd name="T20" fmla="*/ 3 w 6"/>
                  <a:gd name="T21" fmla="*/ 0 h 5"/>
                  <a:gd name="T22" fmla="*/ 6 w 6"/>
                  <a:gd name="T2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5">
                    <a:moveTo>
                      <a:pt x="6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6" name="Freeform 181"/>
              <p:cNvSpPr>
                <a:spLocks noChangeAspect="1"/>
              </p:cNvSpPr>
              <p:nvPr>
                <p:custDataLst>
                  <p:tags r:id="rId514"/>
                </p:custDataLst>
              </p:nvPr>
            </p:nvSpPr>
            <p:spPr bwMode="gray">
              <a:xfrm>
                <a:off x="6114971" y="4393900"/>
                <a:ext cx="6074" cy="6307"/>
              </a:xfrm>
              <a:custGeom>
                <a:avLst/>
                <a:gdLst>
                  <a:gd name="T0" fmla="*/ 6 w 6"/>
                  <a:gd name="T1" fmla="*/ 0 h 5"/>
                  <a:gd name="T2" fmla="*/ 6 w 6"/>
                  <a:gd name="T3" fmla="*/ 0 h 5"/>
                  <a:gd name="T4" fmla="*/ 6 w 6"/>
                  <a:gd name="T5" fmla="*/ 3 h 5"/>
                  <a:gd name="T6" fmla="*/ 6 w 6"/>
                  <a:gd name="T7" fmla="*/ 5 h 5"/>
                  <a:gd name="T8" fmla="*/ 3 w 6"/>
                  <a:gd name="T9" fmla="*/ 3 h 5"/>
                  <a:gd name="T10" fmla="*/ 3 w 6"/>
                  <a:gd name="T11" fmla="*/ 3 h 5"/>
                  <a:gd name="T12" fmla="*/ 3 w 6"/>
                  <a:gd name="T13" fmla="*/ 3 h 5"/>
                  <a:gd name="T14" fmla="*/ 3 w 6"/>
                  <a:gd name="T15" fmla="*/ 3 h 5"/>
                  <a:gd name="T16" fmla="*/ 0 w 6"/>
                  <a:gd name="T17" fmla="*/ 0 h 5"/>
                  <a:gd name="T18" fmla="*/ 3 w 6"/>
                  <a:gd name="T19" fmla="*/ 0 h 5"/>
                  <a:gd name="T20" fmla="*/ 3 w 6"/>
                  <a:gd name="T21" fmla="*/ 0 h 5"/>
                  <a:gd name="T22" fmla="*/ 6 w 6"/>
                  <a:gd name="T2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5">
                    <a:moveTo>
                      <a:pt x="6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7" name="Freeform 182"/>
              <p:cNvSpPr>
                <a:spLocks noChangeAspect="1"/>
              </p:cNvSpPr>
              <p:nvPr>
                <p:custDataLst>
                  <p:tags r:id="rId515"/>
                </p:custDataLst>
              </p:nvPr>
            </p:nvSpPr>
            <p:spPr bwMode="gray">
              <a:xfrm>
                <a:off x="6133192" y="4404937"/>
                <a:ext cx="3037" cy="7884"/>
              </a:xfrm>
              <a:custGeom>
                <a:avLst/>
                <a:gdLst>
                  <a:gd name="T0" fmla="*/ 3 w 3"/>
                  <a:gd name="T1" fmla="*/ 3 h 6"/>
                  <a:gd name="T2" fmla="*/ 3 w 3"/>
                  <a:gd name="T3" fmla="*/ 3 h 6"/>
                  <a:gd name="T4" fmla="*/ 3 w 3"/>
                  <a:gd name="T5" fmla="*/ 6 h 6"/>
                  <a:gd name="T6" fmla="*/ 3 w 3"/>
                  <a:gd name="T7" fmla="*/ 6 h 6"/>
                  <a:gd name="T8" fmla="*/ 3 w 3"/>
                  <a:gd name="T9" fmla="*/ 6 h 6"/>
                  <a:gd name="T10" fmla="*/ 0 w 3"/>
                  <a:gd name="T11" fmla="*/ 6 h 6"/>
                  <a:gd name="T12" fmla="*/ 0 w 3"/>
                  <a:gd name="T13" fmla="*/ 3 h 6"/>
                  <a:gd name="T14" fmla="*/ 0 w 3"/>
                  <a:gd name="T15" fmla="*/ 3 h 6"/>
                  <a:gd name="T16" fmla="*/ 0 w 3"/>
                  <a:gd name="T17" fmla="*/ 3 h 6"/>
                  <a:gd name="T18" fmla="*/ 0 w 3"/>
                  <a:gd name="T19" fmla="*/ 0 h 6"/>
                  <a:gd name="T20" fmla="*/ 0 w 3"/>
                  <a:gd name="T21" fmla="*/ 0 h 6"/>
                  <a:gd name="T22" fmla="*/ 3 w 3"/>
                  <a:gd name="T2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" h="6">
                    <a:moveTo>
                      <a:pt x="3" y="3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8" name="Freeform 183"/>
              <p:cNvSpPr>
                <a:spLocks noChangeAspect="1"/>
              </p:cNvSpPr>
              <p:nvPr>
                <p:custDataLst>
                  <p:tags r:id="rId516"/>
                </p:custDataLst>
              </p:nvPr>
            </p:nvSpPr>
            <p:spPr bwMode="gray">
              <a:xfrm>
                <a:off x="6133192" y="4404937"/>
                <a:ext cx="3037" cy="7884"/>
              </a:xfrm>
              <a:custGeom>
                <a:avLst/>
                <a:gdLst>
                  <a:gd name="T0" fmla="*/ 3 w 3"/>
                  <a:gd name="T1" fmla="*/ 3 h 6"/>
                  <a:gd name="T2" fmla="*/ 3 w 3"/>
                  <a:gd name="T3" fmla="*/ 3 h 6"/>
                  <a:gd name="T4" fmla="*/ 3 w 3"/>
                  <a:gd name="T5" fmla="*/ 6 h 6"/>
                  <a:gd name="T6" fmla="*/ 3 w 3"/>
                  <a:gd name="T7" fmla="*/ 6 h 6"/>
                  <a:gd name="T8" fmla="*/ 3 w 3"/>
                  <a:gd name="T9" fmla="*/ 6 h 6"/>
                  <a:gd name="T10" fmla="*/ 0 w 3"/>
                  <a:gd name="T11" fmla="*/ 6 h 6"/>
                  <a:gd name="T12" fmla="*/ 0 w 3"/>
                  <a:gd name="T13" fmla="*/ 3 h 6"/>
                  <a:gd name="T14" fmla="*/ 0 w 3"/>
                  <a:gd name="T15" fmla="*/ 3 h 6"/>
                  <a:gd name="T16" fmla="*/ 0 w 3"/>
                  <a:gd name="T17" fmla="*/ 3 h 6"/>
                  <a:gd name="T18" fmla="*/ 0 w 3"/>
                  <a:gd name="T19" fmla="*/ 0 h 6"/>
                  <a:gd name="T20" fmla="*/ 0 w 3"/>
                  <a:gd name="T21" fmla="*/ 0 h 6"/>
                  <a:gd name="T22" fmla="*/ 3 w 3"/>
                  <a:gd name="T2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" h="6">
                    <a:moveTo>
                      <a:pt x="3" y="3"/>
                    </a:moveTo>
                    <a:lnTo>
                      <a:pt x="3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9" name="Freeform 184"/>
              <p:cNvSpPr>
                <a:spLocks noChangeAspect="1"/>
              </p:cNvSpPr>
              <p:nvPr>
                <p:custDataLst>
                  <p:tags r:id="rId517"/>
                </p:custDataLst>
              </p:nvPr>
            </p:nvSpPr>
            <p:spPr bwMode="gray">
              <a:xfrm>
                <a:off x="4886540" y="3928763"/>
                <a:ext cx="9110" cy="3154"/>
              </a:xfrm>
              <a:custGeom>
                <a:avLst/>
                <a:gdLst>
                  <a:gd name="T0" fmla="*/ 6 w 6"/>
                  <a:gd name="T1" fmla="*/ 0 h 3"/>
                  <a:gd name="T2" fmla="*/ 3 w 6"/>
                  <a:gd name="T3" fmla="*/ 0 h 3"/>
                  <a:gd name="T4" fmla="*/ 0 w 6"/>
                  <a:gd name="T5" fmla="*/ 0 h 3"/>
                  <a:gd name="T6" fmla="*/ 0 w 6"/>
                  <a:gd name="T7" fmla="*/ 3 h 3"/>
                  <a:gd name="T8" fmla="*/ 3 w 6"/>
                  <a:gd name="T9" fmla="*/ 0 h 3"/>
                  <a:gd name="T10" fmla="*/ 6 w 6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0" name="Freeform 185"/>
              <p:cNvSpPr>
                <a:spLocks noChangeAspect="1"/>
              </p:cNvSpPr>
              <p:nvPr>
                <p:custDataLst>
                  <p:tags r:id="rId518"/>
                </p:custDataLst>
              </p:nvPr>
            </p:nvSpPr>
            <p:spPr bwMode="gray">
              <a:xfrm>
                <a:off x="4886540" y="3928763"/>
                <a:ext cx="9110" cy="3154"/>
              </a:xfrm>
              <a:custGeom>
                <a:avLst/>
                <a:gdLst>
                  <a:gd name="T0" fmla="*/ 6 w 6"/>
                  <a:gd name="T1" fmla="*/ 0 h 3"/>
                  <a:gd name="T2" fmla="*/ 3 w 6"/>
                  <a:gd name="T3" fmla="*/ 0 h 3"/>
                  <a:gd name="T4" fmla="*/ 0 w 6"/>
                  <a:gd name="T5" fmla="*/ 0 h 3"/>
                  <a:gd name="T6" fmla="*/ 0 w 6"/>
                  <a:gd name="T7" fmla="*/ 3 h 3"/>
                  <a:gd name="T8" fmla="*/ 3 w 6"/>
                  <a:gd name="T9" fmla="*/ 0 h 3"/>
                  <a:gd name="T10" fmla="*/ 6 w 6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1" name="Freeform 186"/>
              <p:cNvSpPr>
                <a:spLocks noChangeAspect="1"/>
              </p:cNvSpPr>
              <p:nvPr>
                <p:custDataLst>
                  <p:tags r:id="rId519"/>
                </p:custDataLst>
              </p:nvPr>
            </p:nvSpPr>
            <p:spPr bwMode="gray">
              <a:xfrm>
                <a:off x="5389149" y="4075400"/>
                <a:ext cx="6074" cy="11038"/>
              </a:xfrm>
              <a:custGeom>
                <a:avLst/>
                <a:gdLst>
                  <a:gd name="T0" fmla="*/ 5 w 5"/>
                  <a:gd name="T1" fmla="*/ 0 h 8"/>
                  <a:gd name="T2" fmla="*/ 5 w 5"/>
                  <a:gd name="T3" fmla="*/ 3 h 8"/>
                  <a:gd name="T4" fmla="*/ 5 w 5"/>
                  <a:gd name="T5" fmla="*/ 6 h 8"/>
                  <a:gd name="T6" fmla="*/ 5 w 5"/>
                  <a:gd name="T7" fmla="*/ 8 h 8"/>
                  <a:gd name="T8" fmla="*/ 2 w 5"/>
                  <a:gd name="T9" fmla="*/ 8 h 8"/>
                  <a:gd name="T10" fmla="*/ 0 w 5"/>
                  <a:gd name="T11" fmla="*/ 8 h 8"/>
                  <a:gd name="T12" fmla="*/ 0 w 5"/>
                  <a:gd name="T13" fmla="*/ 6 h 8"/>
                  <a:gd name="T14" fmla="*/ 0 w 5"/>
                  <a:gd name="T15" fmla="*/ 6 h 8"/>
                  <a:gd name="T16" fmla="*/ 2 w 5"/>
                  <a:gd name="T17" fmla="*/ 0 h 8"/>
                  <a:gd name="T18" fmla="*/ 5 w 5"/>
                  <a:gd name="T19" fmla="*/ 0 h 8"/>
                  <a:gd name="T20" fmla="*/ 5 w 5"/>
                  <a:gd name="T2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8">
                    <a:moveTo>
                      <a:pt x="5" y="0"/>
                    </a:moveTo>
                    <a:lnTo>
                      <a:pt x="5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2" name="Freeform 187"/>
              <p:cNvSpPr>
                <a:spLocks noChangeAspect="1"/>
              </p:cNvSpPr>
              <p:nvPr>
                <p:custDataLst>
                  <p:tags r:id="rId520"/>
                </p:custDataLst>
              </p:nvPr>
            </p:nvSpPr>
            <p:spPr bwMode="gray">
              <a:xfrm>
                <a:off x="5389149" y="4075400"/>
                <a:ext cx="6074" cy="11038"/>
              </a:xfrm>
              <a:custGeom>
                <a:avLst/>
                <a:gdLst>
                  <a:gd name="T0" fmla="*/ 5 w 5"/>
                  <a:gd name="T1" fmla="*/ 0 h 8"/>
                  <a:gd name="T2" fmla="*/ 5 w 5"/>
                  <a:gd name="T3" fmla="*/ 3 h 8"/>
                  <a:gd name="T4" fmla="*/ 5 w 5"/>
                  <a:gd name="T5" fmla="*/ 6 h 8"/>
                  <a:gd name="T6" fmla="*/ 5 w 5"/>
                  <a:gd name="T7" fmla="*/ 8 h 8"/>
                  <a:gd name="T8" fmla="*/ 2 w 5"/>
                  <a:gd name="T9" fmla="*/ 8 h 8"/>
                  <a:gd name="T10" fmla="*/ 0 w 5"/>
                  <a:gd name="T11" fmla="*/ 8 h 8"/>
                  <a:gd name="T12" fmla="*/ 0 w 5"/>
                  <a:gd name="T13" fmla="*/ 6 h 8"/>
                  <a:gd name="T14" fmla="*/ 0 w 5"/>
                  <a:gd name="T15" fmla="*/ 6 h 8"/>
                  <a:gd name="T16" fmla="*/ 2 w 5"/>
                  <a:gd name="T17" fmla="*/ 0 h 8"/>
                  <a:gd name="T18" fmla="*/ 5 w 5"/>
                  <a:gd name="T19" fmla="*/ 0 h 8"/>
                  <a:gd name="T20" fmla="*/ 5 w 5"/>
                  <a:gd name="T2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8">
                    <a:moveTo>
                      <a:pt x="5" y="0"/>
                    </a:moveTo>
                    <a:lnTo>
                      <a:pt x="5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3" name="Freeform 188"/>
              <p:cNvSpPr>
                <a:spLocks noChangeAspect="1"/>
              </p:cNvSpPr>
              <p:nvPr>
                <p:custDataLst>
                  <p:tags r:id="rId521"/>
                </p:custDataLst>
              </p:nvPr>
            </p:nvSpPr>
            <p:spPr bwMode="gray">
              <a:xfrm>
                <a:off x="5329930" y="4177887"/>
                <a:ext cx="1518" cy="15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4" name="Freeform 189"/>
              <p:cNvSpPr>
                <a:spLocks noChangeAspect="1"/>
              </p:cNvSpPr>
              <p:nvPr>
                <p:custDataLst>
                  <p:tags r:id="rId522"/>
                </p:custDataLst>
              </p:nvPr>
            </p:nvSpPr>
            <p:spPr bwMode="gray">
              <a:xfrm>
                <a:off x="5329930" y="4177887"/>
                <a:ext cx="1518" cy="15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5" name="Freeform 190"/>
              <p:cNvSpPr>
                <a:spLocks noChangeAspect="1"/>
              </p:cNvSpPr>
              <p:nvPr>
                <p:custDataLst>
                  <p:tags r:id="rId523"/>
                </p:custDataLst>
              </p:nvPr>
            </p:nvSpPr>
            <p:spPr bwMode="gray">
              <a:xfrm>
                <a:off x="6026900" y="3824697"/>
                <a:ext cx="3037" cy="3154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0 h 3"/>
                  <a:gd name="T4" fmla="*/ 0 w 2"/>
                  <a:gd name="T5" fmla="*/ 0 h 3"/>
                  <a:gd name="T6" fmla="*/ 0 w 2"/>
                  <a:gd name="T7" fmla="*/ 0 h 3"/>
                  <a:gd name="T8" fmla="*/ 0 w 2"/>
                  <a:gd name="T9" fmla="*/ 3 h 3"/>
                  <a:gd name="T10" fmla="*/ 0 w 2"/>
                  <a:gd name="T11" fmla="*/ 3 h 3"/>
                  <a:gd name="T12" fmla="*/ 2 w 2"/>
                  <a:gd name="T13" fmla="*/ 3 h 3"/>
                  <a:gd name="T14" fmla="*/ 2 w 2"/>
                  <a:gd name="T15" fmla="*/ 3 h 3"/>
                  <a:gd name="T16" fmla="*/ 2 w 2"/>
                  <a:gd name="T17" fmla="*/ 3 h 3"/>
                  <a:gd name="T18" fmla="*/ 2 w 2"/>
                  <a:gd name="T19" fmla="*/ 0 h 3"/>
                  <a:gd name="T20" fmla="*/ 0 w 2"/>
                  <a:gd name="T21" fmla="*/ 0 h 3"/>
                  <a:gd name="T22" fmla="*/ 0 w 2"/>
                  <a:gd name="T23" fmla="*/ 0 h 3"/>
                  <a:gd name="T24" fmla="*/ 0 w 2"/>
                  <a:gd name="T2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6" name="Freeform 191"/>
              <p:cNvSpPr>
                <a:spLocks noChangeAspect="1"/>
              </p:cNvSpPr>
              <p:nvPr>
                <p:custDataLst>
                  <p:tags r:id="rId524"/>
                </p:custDataLst>
              </p:nvPr>
            </p:nvSpPr>
            <p:spPr bwMode="gray">
              <a:xfrm>
                <a:off x="6026900" y="3824697"/>
                <a:ext cx="3037" cy="3154"/>
              </a:xfrm>
              <a:custGeom>
                <a:avLst/>
                <a:gdLst>
                  <a:gd name="T0" fmla="*/ 0 w 2"/>
                  <a:gd name="T1" fmla="*/ 0 h 3"/>
                  <a:gd name="T2" fmla="*/ 2 w 2"/>
                  <a:gd name="T3" fmla="*/ 0 h 3"/>
                  <a:gd name="T4" fmla="*/ 0 w 2"/>
                  <a:gd name="T5" fmla="*/ 0 h 3"/>
                  <a:gd name="T6" fmla="*/ 0 w 2"/>
                  <a:gd name="T7" fmla="*/ 0 h 3"/>
                  <a:gd name="T8" fmla="*/ 0 w 2"/>
                  <a:gd name="T9" fmla="*/ 3 h 3"/>
                  <a:gd name="T10" fmla="*/ 0 w 2"/>
                  <a:gd name="T11" fmla="*/ 3 h 3"/>
                  <a:gd name="T12" fmla="*/ 2 w 2"/>
                  <a:gd name="T13" fmla="*/ 3 h 3"/>
                  <a:gd name="T14" fmla="*/ 2 w 2"/>
                  <a:gd name="T15" fmla="*/ 3 h 3"/>
                  <a:gd name="T16" fmla="*/ 2 w 2"/>
                  <a:gd name="T17" fmla="*/ 3 h 3"/>
                  <a:gd name="T18" fmla="*/ 2 w 2"/>
                  <a:gd name="T19" fmla="*/ 0 h 3"/>
                  <a:gd name="T20" fmla="*/ 0 w 2"/>
                  <a:gd name="T21" fmla="*/ 0 h 3"/>
                  <a:gd name="T22" fmla="*/ 0 w 2"/>
                  <a:gd name="T23" fmla="*/ 0 h 3"/>
                  <a:gd name="T24" fmla="*/ 0 w 2"/>
                  <a:gd name="T2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7" name="Freeform 192"/>
              <p:cNvSpPr>
                <a:spLocks noChangeAspect="1"/>
              </p:cNvSpPr>
              <p:nvPr>
                <p:custDataLst>
                  <p:tags r:id="rId525"/>
                </p:custDataLst>
              </p:nvPr>
            </p:nvSpPr>
            <p:spPr bwMode="gray">
              <a:xfrm>
                <a:off x="6026900" y="3831004"/>
                <a:ext cx="10630" cy="3154"/>
              </a:xfrm>
              <a:custGeom>
                <a:avLst/>
                <a:gdLst>
                  <a:gd name="T0" fmla="*/ 5 w 8"/>
                  <a:gd name="T1" fmla="*/ 2 h 2"/>
                  <a:gd name="T2" fmla="*/ 5 w 8"/>
                  <a:gd name="T3" fmla="*/ 2 h 2"/>
                  <a:gd name="T4" fmla="*/ 2 w 8"/>
                  <a:gd name="T5" fmla="*/ 2 h 2"/>
                  <a:gd name="T6" fmla="*/ 2 w 8"/>
                  <a:gd name="T7" fmla="*/ 2 h 2"/>
                  <a:gd name="T8" fmla="*/ 2 w 8"/>
                  <a:gd name="T9" fmla="*/ 0 h 2"/>
                  <a:gd name="T10" fmla="*/ 2 w 8"/>
                  <a:gd name="T11" fmla="*/ 0 h 2"/>
                  <a:gd name="T12" fmla="*/ 0 w 8"/>
                  <a:gd name="T13" fmla="*/ 0 h 2"/>
                  <a:gd name="T14" fmla="*/ 0 w 8"/>
                  <a:gd name="T15" fmla="*/ 0 h 2"/>
                  <a:gd name="T16" fmla="*/ 0 w 8"/>
                  <a:gd name="T17" fmla="*/ 0 h 2"/>
                  <a:gd name="T18" fmla="*/ 0 w 8"/>
                  <a:gd name="T19" fmla="*/ 0 h 2"/>
                  <a:gd name="T20" fmla="*/ 0 w 8"/>
                  <a:gd name="T21" fmla="*/ 0 h 2"/>
                  <a:gd name="T22" fmla="*/ 0 w 8"/>
                  <a:gd name="T23" fmla="*/ 0 h 2"/>
                  <a:gd name="T24" fmla="*/ 2 w 8"/>
                  <a:gd name="T25" fmla="*/ 2 h 2"/>
                  <a:gd name="T26" fmla="*/ 0 w 8"/>
                  <a:gd name="T27" fmla="*/ 2 h 2"/>
                  <a:gd name="T28" fmla="*/ 0 w 8"/>
                  <a:gd name="T29" fmla="*/ 2 h 2"/>
                  <a:gd name="T30" fmla="*/ 0 w 8"/>
                  <a:gd name="T31" fmla="*/ 2 h 2"/>
                  <a:gd name="T32" fmla="*/ 0 w 8"/>
                  <a:gd name="T33" fmla="*/ 2 h 2"/>
                  <a:gd name="T34" fmla="*/ 5 w 8"/>
                  <a:gd name="T35" fmla="*/ 2 h 2"/>
                  <a:gd name="T36" fmla="*/ 8 w 8"/>
                  <a:gd name="T37" fmla="*/ 2 h 2"/>
                  <a:gd name="T38" fmla="*/ 5 w 8"/>
                  <a:gd name="T39" fmla="*/ 2 h 2"/>
                  <a:gd name="T40" fmla="*/ 5 w 8"/>
                  <a:gd name="T41" fmla="*/ 2 h 2"/>
                  <a:gd name="T42" fmla="*/ 5 w 8"/>
                  <a:gd name="T43" fmla="*/ 0 h 2"/>
                  <a:gd name="T44" fmla="*/ 5 w 8"/>
                  <a:gd name="T45" fmla="*/ 0 h 2"/>
                  <a:gd name="T46" fmla="*/ 5 w 8"/>
                  <a:gd name="T4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" h="2">
                    <a:moveTo>
                      <a:pt x="5" y="2"/>
                    </a:move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8" name="Freeform 193"/>
              <p:cNvSpPr>
                <a:spLocks noChangeAspect="1"/>
              </p:cNvSpPr>
              <p:nvPr>
                <p:custDataLst>
                  <p:tags r:id="rId526"/>
                </p:custDataLst>
              </p:nvPr>
            </p:nvSpPr>
            <p:spPr bwMode="gray">
              <a:xfrm>
                <a:off x="6026900" y="3831004"/>
                <a:ext cx="10630" cy="3154"/>
              </a:xfrm>
              <a:custGeom>
                <a:avLst/>
                <a:gdLst>
                  <a:gd name="T0" fmla="*/ 5 w 8"/>
                  <a:gd name="T1" fmla="*/ 2 h 2"/>
                  <a:gd name="T2" fmla="*/ 5 w 8"/>
                  <a:gd name="T3" fmla="*/ 2 h 2"/>
                  <a:gd name="T4" fmla="*/ 2 w 8"/>
                  <a:gd name="T5" fmla="*/ 2 h 2"/>
                  <a:gd name="T6" fmla="*/ 2 w 8"/>
                  <a:gd name="T7" fmla="*/ 2 h 2"/>
                  <a:gd name="T8" fmla="*/ 2 w 8"/>
                  <a:gd name="T9" fmla="*/ 0 h 2"/>
                  <a:gd name="T10" fmla="*/ 2 w 8"/>
                  <a:gd name="T11" fmla="*/ 0 h 2"/>
                  <a:gd name="T12" fmla="*/ 0 w 8"/>
                  <a:gd name="T13" fmla="*/ 0 h 2"/>
                  <a:gd name="T14" fmla="*/ 0 w 8"/>
                  <a:gd name="T15" fmla="*/ 0 h 2"/>
                  <a:gd name="T16" fmla="*/ 0 w 8"/>
                  <a:gd name="T17" fmla="*/ 0 h 2"/>
                  <a:gd name="T18" fmla="*/ 0 w 8"/>
                  <a:gd name="T19" fmla="*/ 0 h 2"/>
                  <a:gd name="T20" fmla="*/ 0 w 8"/>
                  <a:gd name="T21" fmla="*/ 0 h 2"/>
                  <a:gd name="T22" fmla="*/ 0 w 8"/>
                  <a:gd name="T23" fmla="*/ 0 h 2"/>
                  <a:gd name="T24" fmla="*/ 2 w 8"/>
                  <a:gd name="T25" fmla="*/ 2 h 2"/>
                  <a:gd name="T26" fmla="*/ 0 w 8"/>
                  <a:gd name="T27" fmla="*/ 2 h 2"/>
                  <a:gd name="T28" fmla="*/ 0 w 8"/>
                  <a:gd name="T29" fmla="*/ 2 h 2"/>
                  <a:gd name="T30" fmla="*/ 0 w 8"/>
                  <a:gd name="T31" fmla="*/ 2 h 2"/>
                  <a:gd name="T32" fmla="*/ 0 w 8"/>
                  <a:gd name="T33" fmla="*/ 2 h 2"/>
                  <a:gd name="T34" fmla="*/ 5 w 8"/>
                  <a:gd name="T35" fmla="*/ 2 h 2"/>
                  <a:gd name="T36" fmla="*/ 8 w 8"/>
                  <a:gd name="T37" fmla="*/ 2 h 2"/>
                  <a:gd name="T38" fmla="*/ 5 w 8"/>
                  <a:gd name="T39" fmla="*/ 2 h 2"/>
                  <a:gd name="T40" fmla="*/ 5 w 8"/>
                  <a:gd name="T41" fmla="*/ 2 h 2"/>
                  <a:gd name="T42" fmla="*/ 5 w 8"/>
                  <a:gd name="T43" fmla="*/ 0 h 2"/>
                  <a:gd name="T44" fmla="*/ 5 w 8"/>
                  <a:gd name="T45" fmla="*/ 0 h 2"/>
                  <a:gd name="T46" fmla="*/ 5 w 8"/>
                  <a:gd name="T4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" h="2">
                    <a:moveTo>
                      <a:pt x="5" y="2"/>
                    </a:move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9" name="Freeform 194"/>
              <p:cNvSpPr>
                <a:spLocks noChangeAspect="1"/>
              </p:cNvSpPr>
              <p:nvPr>
                <p:custDataLst>
                  <p:tags r:id="rId527"/>
                </p:custDataLst>
              </p:nvPr>
            </p:nvSpPr>
            <p:spPr bwMode="gray">
              <a:xfrm>
                <a:off x="6159006" y="4335561"/>
                <a:ext cx="4555" cy="4730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  <a:gd name="T10" fmla="*/ 3 w 3"/>
                  <a:gd name="T11" fmla="*/ 3 h 3"/>
                  <a:gd name="T12" fmla="*/ 3 w 3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0" name="Freeform 195"/>
              <p:cNvSpPr>
                <a:spLocks noChangeAspect="1"/>
              </p:cNvSpPr>
              <p:nvPr>
                <p:custDataLst>
                  <p:tags r:id="rId528"/>
                </p:custDataLst>
              </p:nvPr>
            </p:nvSpPr>
            <p:spPr bwMode="gray">
              <a:xfrm>
                <a:off x="6159006" y="4335561"/>
                <a:ext cx="4555" cy="4730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  <a:gd name="T10" fmla="*/ 3 w 3"/>
                  <a:gd name="T11" fmla="*/ 3 h 3"/>
                  <a:gd name="T12" fmla="*/ 3 w 3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1" name="Freeform 196"/>
              <p:cNvSpPr>
                <a:spLocks noChangeAspect="1"/>
              </p:cNvSpPr>
              <p:nvPr>
                <p:custDataLst>
                  <p:tags r:id="rId529"/>
                </p:custDataLst>
              </p:nvPr>
            </p:nvSpPr>
            <p:spPr bwMode="gray">
              <a:xfrm>
                <a:off x="5486330" y="3668600"/>
                <a:ext cx="218657" cy="331115"/>
              </a:xfrm>
              <a:custGeom>
                <a:avLst/>
                <a:gdLst>
                  <a:gd name="T0" fmla="*/ 28 w 167"/>
                  <a:gd name="T1" fmla="*/ 34 h 257"/>
                  <a:gd name="T2" fmla="*/ 30 w 167"/>
                  <a:gd name="T3" fmla="*/ 42 h 257"/>
                  <a:gd name="T4" fmla="*/ 42 w 167"/>
                  <a:gd name="T5" fmla="*/ 50 h 257"/>
                  <a:gd name="T6" fmla="*/ 30 w 167"/>
                  <a:gd name="T7" fmla="*/ 106 h 257"/>
                  <a:gd name="T8" fmla="*/ 5 w 167"/>
                  <a:gd name="T9" fmla="*/ 140 h 257"/>
                  <a:gd name="T10" fmla="*/ 5 w 167"/>
                  <a:gd name="T11" fmla="*/ 142 h 257"/>
                  <a:gd name="T12" fmla="*/ 0 w 167"/>
                  <a:gd name="T13" fmla="*/ 145 h 257"/>
                  <a:gd name="T14" fmla="*/ 5 w 167"/>
                  <a:gd name="T15" fmla="*/ 151 h 257"/>
                  <a:gd name="T16" fmla="*/ 8 w 167"/>
                  <a:gd name="T17" fmla="*/ 154 h 257"/>
                  <a:gd name="T18" fmla="*/ 11 w 167"/>
                  <a:gd name="T19" fmla="*/ 162 h 257"/>
                  <a:gd name="T20" fmla="*/ 19 w 167"/>
                  <a:gd name="T21" fmla="*/ 162 h 257"/>
                  <a:gd name="T22" fmla="*/ 25 w 167"/>
                  <a:gd name="T23" fmla="*/ 162 h 257"/>
                  <a:gd name="T24" fmla="*/ 28 w 167"/>
                  <a:gd name="T25" fmla="*/ 167 h 257"/>
                  <a:gd name="T26" fmla="*/ 25 w 167"/>
                  <a:gd name="T27" fmla="*/ 173 h 257"/>
                  <a:gd name="T28" fmla="*/ 19 w 167"/>
                  <a:gd name="T29" fmla="*/ 173 h 257"/>
                  <a:gd name="T30" fmla="*/ 25 w 167"/>
                  <a:gd name="T31" fmla="*/ 187 h 257"/>
                  <a:gd name="T32" fmla="*/ 30 w 167"/>
                  <a:gd name="T33" fmla="*/ 212 h 257"/>
                  <a:gd name="T34" fmla="*/ 30 w 167"/>
                  <a:gd name="T35" fmla="*/ 218 h 257"/>
                  <a:gd name="T36" fmla="*/ 19 w 167"/>
                  <a:gd name="T37" fmla="*/ 218 h 257"/>
                  <a:gd name="T38" fmla="*/ 14 w 167"/>
                  <a:gd name="T39" fmla="*/ 218 h 257"/>
                  <a:gd name="T40" fmla="*/ 11 w 167"/>
                  <a:gd name="T41" fmla="*/ 223 h 257"/>
                  <a:gd name="T42" fmla="*/ 14 w 167"/>
                  <a:gd name="T43" fmla="*/ 231 h 257"/>
                  <a:gd name="T44" fmla="*/ 22 w 167"/>
                  <a:gd name="T45" fmla="*/ 234 h 257"/>
                  <a:gd name="T46" fmla="*/ 30 w 167"/>
                  <a:gd name="T47" fmla="*/ 257 h 257"/>
                  <a:gd name="T48" fmla="*/ 33 w 167"/>
                  <a:gd name="T49" fmla="*/ 257 h 257"/>
                  <a:gd name="T50" fmla="*/ 39 w 167"/>
                  <a:gd name="T51" fmla="*/ 257 h 257"/>
                  <a:gd name="T52" fmla="*/ 44 w 167"/>
                  <a:gd name="T53" fmla="*/ 254 h 257"/>
                  <a:gd name="T54" fmla="*/ 50 w 167"/>
                  <a:gd name="T55" fmla="*/ 251 h 257"/>
                  <a:gd name="T56" fmla="*/ 50 w 167"/>
                  <a:gd name="T57" fmla="*/ 251 h 257"/>
                  <a:gd name="T58" fmla="*/ 53 w 167"/>
                  <a:gd name="T59" fmla="*/ 251 h 257"/>
                  <a:gd name="T60" fmla="*/ 53 w 167"/>
                  <a:gd name="T61" fmla="*/ 254 h 257"/>
                  <a:gd name="T62" fmla="*/ 55 w 167"/>
                  <a:gd name="T63" fmla="*/ 257 h 257"/>
                  <a:gd name="T64" fmla="*/ 61 w 167"/>
                  <a:gd name="T65" fmla="*/ 254 h 257"/>
                  <a:gd name="T66" fmla="*/ 69 w 167"/>
                  <a:gd name="T67" fmla="*/ 248 h 257"/>
                  <a:gd name="T68" fmla="*/ 75 w 167"/>
                  <a:gd name="T69" fmla="*/ 248 h 257"/>
                  <a:gd name="T70" fmla="*/ 83 w 167"/>
                  <a:gd name="T71" fmla="*/ 248 h 257"/>
                  <a:gd name="T72" fmla="*/ 83 w 167"/>
                  <a:gd name="T73" fmla="*/ 245 h 257"/>
                  <a:gd name="T74" fmla="*/ 86 w 167"/>
                  <a:gd name="T75" fmla="*/ 243 h 257"/>
                  <a:gd name="T76" fmla="*/ 89 w 167"/>
                  <a:gd name="T77" fmla="*/ 240 h 257"/>
                  <a:gd name="T78" fmla="*/ 89 w 167"/>
                  <a:gd name="T79" fmla="*/ 237 h 257"/>
                  <a:gd name="T80" fmla="*/ 89 w 167"/>
                  <a:gd name="T81" fmla="*/ 234 h 257"/>
                  <a:gd name="T82" fmla="*/ 108 w 167"/>
                  <a:gd name="T83" fmla="*/ 231 h 257"/>
                  <a:gd name="T84" fmla="*/ 111 w 167"/>
                  <a:gd name="T85" fmla="*/ 229 h 257"/>
                  <a:gd name="T86" fmla="*/ 120 w 167"/>
                  <a:gd name="T87" fmla="*/ 226 h 257"/>
                  <a:gd name="T88" fmla="*/ 122 w 167"/>
                  <a:gd name="T89" fmla="*/ 220 h 257"/>
                  <a:gd name="T90" fmla="*/ 128 w 167"/>
                  <a:gd name="T91" fmla="*/ 218 h 257"/>
                  <a:gd name="T92" fmla="*/ 131 w 167"/>
                  <a:gd name="T93" fmla="*/ 215 h 257"/>
                  <a:gd name="T94" fmla="*/ 131 w 167"/>
                  <a:gd name="T95" fmla="*/ 209 h 257"/>
                  <a:gd name="T96" fmla="*/ 133 w 167"/>
                  <a:gd name="T97" fmla="*/ 204 h 257"/>
                  <a:gd name="T98" fmla="*/ 147 w 167"/>
                  <a:gd name="T99" fmla="*/ 195 h 257"/>
                  <a:gd name="T100" fmla="*/ 145 w 167"/>
                  <a:gd name="T101" fmla="*/ 192 h 257"/>
                  <a:gd name="T102" fmla="*/ 142 w 167"/>
                  <a:gd name="T103" fmla="*/ 179 h 257"/>
                  <a:gd name="T104" fmla="*/ 136 w 167"/>
                  <a:gd name="T105" fmla="*/ 176 h 257"/>
                  <a:gd name="T106" fmla="*/ 133 w 167"/>
                  <a:gd name="T107" fmla="*/ 167 h 257"/>
                  <a:gd name="T108" fmla="*/ 136 w 167"/>
                  <a:gd name="T109" fmla="*/ 156 h 257"/>
                  <a:gd name="T110" fmla="*/ 139 w 167"/>
                  <a:gd name="T111" fmla="*/ 154 h 257"/>
                  <a:gd name="T112" fmla="*/ 142 w 167"/>
                  <a:gd name="T113" fmla="*/ 151 h 257"/>
                  <a:gd name="T114" fmla="*/ 150 w 167"/>
                  <a:gd name="T115" fmla="*/ 134 h 257"/>
                  <a:gd name="T116" fmla="*/ 150 w 167"/>
                  <a:gd name="T117" fmla="*/ 126 h 257"/>
                  <a:gd name="T118" fmla="*/ 167 w 167"/>
                  <a:gd name="T119" fmla="*/ 64 h 257"/>
                  <a:gd name="T120" fmla="*/ 42 w 167"/>
                  <a:gd name="T121" fmla="*/ 0 h 257"/>
                  <a:gd name="T122" fmla="*/ 28 w 167"/>
                  <a:gd name="T123" fmla="*/ 31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7" h="257">
                    <a:moveTo>
                      <a:pt x="28" y="31"/>
                    </a:moveTo>
                    <a:lnTo>
                      <a:pt x="28" y="34"/>
                    </a:lnTo>
                    <a:lnTo>
                      <a:pt x="28" y="37"/>
                    </a:lnTo>
                    <a:lnTo>
                      <a:pt x="30" y="42"/>
                    </a:lnTo>
                    <a:lnTo>
                      <a:pt x="33" y="45"/>
                    </a:lnTo>
                    <a:lnTo>
                      <a:pt x="42" y="50"/>
                    </a:lnTo>
                    <a:lnTo>
                      <a:pt x="39" y="56"/>
                    </a:lnTo>
                    <a:lnTo>
                      <a:pt x="30" y="106"/>
                    </a:lnTo>
                    <a:lnTo>
                      <a:pt x="5" y="137"/>
                    </a:lnTo>
                    <a:lnTo>
                      <a:pt x="5" y="140"/>
                    </a:lnTo>
                    <a:lnTo>
                      <a:pt x="3" y="140"/>
                    </a:lnTo>
                    <a:lnTo>
                      <a:pt x="5" y="142"/>
                    </a:lnTo>
                    <a:lnTo>
                      <a:pt x="3" y="142"/>
                    </a:lnTo>
                    <a:lnTo>
                      <a:pt x="0" y="145"/>
                    </a:lnTo>
                    <a:lnTo>
                      <a:pt x="0" y="148"/>
                    </a:lnTo>
                    <a:lnTo>
                      <a:pt x="5" y="151"/>
                    </a:lnTo>
                    <a:lnTo>
                      <a:pt x="8" y="151"/>
                    </a:lnTo>
                    <a:lnTo>
                      <a:pt x="8" y="154"/>
                    </a:lnTo>
                    <a:lnTo>
                      <a:pt x="11" y="154"/>
                    </a:lnTo>
                    <a:lnTo>
                      <a:pt x="11" y="162"/>
                    </a:lnTo>
                    <a:lnTo>
                      <a:pt x="17" y="162"/>
                    </a:lnTo>
                    <a:lnTo>
                      <a:pt x="19" y="162"/>
                    </a:lnTo>
                    <a:lnTo>
                      <a:pt x="25" y="162"/>
                    </a:lnTo>
                    <a:lnTo>
                      <a:pt x="25" y="162"/>
                    </a:lnTo>
                    <a:lnTo>
                      <a:pt x="28" y="165"/>
                    </a:lnTo>
                    <a:lnTo>
                      <a:pt x="28" y="167"/>
                    </a:lnTo>
                    <a:lnTo>
                      <a:pt x="28" y="170"/>
                    </a:lnTo>
                    <a:lnTo>
                      <a:pt x="25" y="173"/>
                    </a:lnTo>
                    <a:lnTo>
                      <a:pt x="19" y="173"/>
                    </a:lnTo>
                    <a:lnTo>
                      <a:pt x="19" y="173"/>
                    </a:lnTo>
                    <a:lnTo>
                      <a:pt x="22" y="181"/>
                    </a:lnTo>
                    <a:lnTo>
                      <a:pt x="25" y="187"/>
                    </a:lnTo>
                    <a:lnTo>
                      <a:pt x="22" y="201"/>
                    </a:lnTo>
                    <a:lnTo>
                      <a:pt x="30" y="212"/>
                    </a:lnTo>
                    <a:lnTo>
                      <a:pt x="30" y="218"/>
                    </a:lnTo>
                    <a:lnTo>
                      <a:pt x="30" y="218"/>
                    </a:lnTo>
                    <a:lnTo>
                      <a:pt x="30" y="218"/>
                    </a:lnTo>
                    <a:lnTo>
                      <a:pt x="19" y="21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1" y="220"/>
                    </a:lnTo>
                    <a:lnTo>
                      <a:pt x="11" y="223"/>
                    </a:lnTo>
                    <a:lnTo>
                      <a:pt x="11" y="229"/>
                    </a:lnTo>
                    <a:lnTo>
                      <a:pt x="14" y="231"/>
                    </a:lnTo>
                    <a:lnTo>
                      <a:pt x="17" y="234"/>
                    </a:lnTo>
                    <a:lnTo>
                      <a:pt x="22" y="234"/>
                    </a:lnTo>
                    <a:lnTo>
                      <a:pt x="25" y="237"/>
                    </a:lnTo>
                    <a:lnTo>
                      <a:pt x="30" y="257"/>
                    </a:lnTo>
                    <a:lnTo>
                      <a:pt x="30" y="257"/>
                    </a:lnTo>
                    <a:lnTo>
                      <a:pt x="33" y="257"/>
                    </a:lnTo>
                    <a:lnTo>
                      <a:pt x="39" y="257"/>
                    </a:lnTo>
                    <a:lnTo>
                      <a:pt x="39" y="257"/>
                    </a:lnTo>
                    <a:lnTo>
                      <a:pt x="42" y="257"/>
                    </a:lnTo>
                    <a:lnTo>
                      <a:pt x="44" y="254"/>
                    </a:lnTo>
                    <a:lnTo>
                      <a:pt x="47" y="254"/>
                    </a:lnTo>
                    <a:lnTo>
                      <a:pt x="50" y="251"/>
                    </a:lnTo>
                    <a:lnTo>
                      <a:pt x="50" y="251"/>
                    </a:lnTo>
                    <a:lnTo>
                      <a:pt x="50" y="251"/>
                    </a:lnTo>
                    <a:lnTo>
                      <a:pt x="50" y="251"/>
                    </a:lnTo>
                    <a:lnTo>
                      <a:pt x="53" y="251"/>
                    </a:lnTo>
                    <a:lnTo>
                      <a:pt x="53" y="254"/>
                    </a:lnTo>
                    <a:lnTo>
                      <a:pt x="53" y="254"/>
                    </a:lnTo>
                    <a:lnTo>
                      <a:pt x="55" y="257"/>
                    </a:lnTo>
                    <a:lnTo>
                      <a:pt x="55" y="257"/>
                    </a:lnTo>
                    <a:lnTo>
                      <a:pt x="58" y="254"/>
                    </a:lnTo>
                    <a:lnTo>
                      <a:pt x="61" y="254"/>
                    </a:lnTo>
                    <a:lnTo>
                      <a:pt x="64" y="251"/>
                    </a:lnTo>
                    <a:lnTo>
                      <a:pt x="69" y="248"/>
                    </a:lnTo>
                    <a:lnTo>
                      <a:pt x="75" y="248"/>
                    </a:lnTo>
                    <a:lnTo>
                      <a:pt x="75" y="248"/>
                    </a:lnTo>
                    <a:lnTo>
                      <a:pt x="83" y="248"/>
                    </a:lnTo>
                    <a:lnTo>
                      <a:pt x="83" y="248"/>
                    </a:lnTo>
                    <a:lnTo>
                      <a:pt x="83" y="245"/>
                    </a:lnTo>
                    <a:lnTo>
                      <a:pt x="83" y="245"/>
                    </a:lnTo>
                    <a:lnTo>
                      <a:pt x="86" y="245"/>
                    </a:lnTo>
                    <a:lnTo>
                      <a:pt x="86" y="243"/>
                    </a:lnTo>
                    <a:lnTo>
                      <a:pt x="89" y="243"/>
                    </a:lnTo>
                    <a:lnTo>
                      <a:pt x="89" y="240"/>
                    </a:lnTo>
                    <a:lnTo>
                      <a:pt x="92" y="240"/>
                    </a:lnTo>
                    <a:lnTo>
                      <a:pt x="89" y="237"/>
                    </a:lnTo>
                    <a:lnTo>
                      <a:pt x="89" y="237"/>
                    </a:lnTo>
                    <a:lnTo>
                      <a:pt x="89" y="234"/>
                    </a:lnTo>
                    <a:lnTo>
                      <a:pt x="89" y="234"/>
                    </a:lnTo>
                    <a:lnTo>
                      <a:pt x="108" y="231"/>
                    </a:lnTo>
                    <a:lnTo>
                      <a:pt x="108" y="231"/>
                    </a:lnTo>
                    <a:lnTo>
                      <a:pt x="111" y="229"/>
                    </a:lnTo>
                    <a:lnTo>
                      <a:pt x="114" y="229"/>
                    </a:lnTo>
                    <a:lnTo>
                      <a:pt x="120" y="226"/>
                    </a:lnTo>
                    <a:lnTo>
                      <a:pt x="120" y="226"/>
                    </a:lnTo>
                    <a:lnTo>
                      <a:pt x="122" y="220"/>
                    </a:lnTo>
                    <a:lnTo>
                      <a:pt x="125" y="218"/>
                    </a:lnTo>
                    <a:lnTo>
                      <a:pt x="128" y="218"/>
                    </a:lnTo>
                    <a:lnTo>
                      <a:pt x="128" y="215"/>
                    </a:lnTo>
                    <a:lnTo>
                      <a:pt x="131" y="215"/>
                    </a:lnTo>
                    <a:lnTo>
                      <a:pt x="131" y="212"/>
                    </a:lnTo>
                    <a:lnTo>
                      <a:pt x="131" y="209"/>
                    </a:lnTo>
                    <a:lnTo>
                      <a:pt x="133" y="206"/>
                    </a:lnTo>
                    <a:lnTo>
                      <a:pt x="133" y="204"/>
                    </a:lnTo>
                    <a:lnTo>
                      <a:pt x="150" y="201"/>
                    </a:lnTo>
                    <a:lnTo>
                      <a:pt x="147" y="195"/>
                    </a:lnTo>
                    <a:lnTo>
                      <a:pt x="147" y="192"/>
                    </a:lnTo>
                    <a:lnTo>
                      <a:pt x="145" y="192"/>
                    </a:lnTo>
                    <a:lnTo>
                      <a:pt x="145" y="192"/>
                    </a:lnTo>
                    <a:lnTo>
                      <a:pt x="142" y="179"/>
                    </a:lnTo>
                    <a:lnTo>
                      <a:pt x="142" y="173"/>
                    </a:lnTo>
                    <a:lnTo>
                      <a:pt x="136" y="176"/>
                    </a:lnTo>
                    <a:lnTo>
                      <a:pt x="133" y="176"/>
                    </a:lnTo>
                    <a:lnTo>
                      <a:pt x="133" y="167"/>
                    </a:lnTo>
                    <a:lnTo>
                      <a:pt x="136" y="162"/>
                    </a:lnTo>
                    <a:lnTo>
                      <a:pt x="136" y="156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42" y="154"/>
                    </a:lnTo>
                    <a:lnTo>
                      <a:pt x="142" y="151"/>
                    </a:lnTo>
                    <a:lnTo>
                      <a:pt x="139" y="145"/>
                    </a:lnTo>
                    <a:lnTo>
                      <a:pt x="150" y="134"/>
                    </a:lnTo>
                    <a:lnTo>
                      <a:pt x="150" y="128"/>
                    </a:lnTo>
                    <a:lnTo>
                      <a:pt x="150" y="126"/>
                    </a:lnTo>
                    <a:lnTo>
                      <a:pt x="167" y="126"/>
                    </a:lnTo>
                    <a:lnTo>
                      <a:pt x="167" y="64"/>
                    </a:lnTo>
                    <a:lnTo>
                      <a:pt x="164" y="64"/>
                    </a:lnTo>
                    <a:lnTo>
                      <a:pt x="42" y="0"/>
                    </a:lnTo>
                    <a:lnTo>
                      <a:pt x="28" y="6"/>
                    </a:lnTo>
                    <a:lnTo>
                      <a:pt x="28" y="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2" name="Freeform 206"/>
              <p:cNvSpPr>
                <a:spLocks noChangeAspect="1"/>
              </p:cNvSpPr>
              <p:nvPr>
                <p:custDataLst>
                  <p:tags r:id="rId530"/>
                </p:custDataLst>
              </p:nvPr>
            </p:nvSpPr>
            <p:spPr bwMode="gray">
              <a:xfrm>
                <a:off x="5635139" y="2154930"/>
                <a:ext cx="218657" cy="493520"/>
              </a:xfrm>
              <a:custGeom>
                <a:avLst/>
                <a:gdLst>
                  <a:gd name="T0" fmla="*/ 22 w 167"/>
                  <a:gd name="T1" fmla="*/ 67 h 382"/>
                  <a:gd name="T2" fmla="*/ 45 w 167"/>
                  <a:gd name="T3" fmla="*/ 103 h 382"/>
                  <a:gd name="T4" fmla="*/ 45 w 167"/>
                  <a:gd name="T5" fmla="*/ 126 h 382"/>
                  <a:gd name="T6" fmla="*/ 50 w 167"/>
                  <a:gd name="T7" fmla="*/ 153 h 382"/>
                  <a:gd name="T8" fmla="*/ 56 w 167"/>
                  <a:gd name="T9" fmla="*/ 176 h 382"/>
                  <a:gd name="T10" fmla="*/ 61 w 167"/>
                  <a:gd name="T11" fmla="*/ 179 h 382"/>
                  <a:gd name="T12" fmla="*/ 72 w 167"/>
                  <a:gd name="T13" fmla="*/ 195 h 382"/>
                  <a:gd name="T14" fmla="*/ 72 w 167"/>
                  <a:gd name="T15" fmla="*/ 212 h 382"/>
                  <a:gd name="T16" fmla="*/ 64 w 167"/>
                  <a:gd name="T17" fmla="*/ 215 h 382"/>
                  <a:gd name="T18" fmla="*/ 28 w 167"/>
                  <a:gd name="T19" fmla="*/ 268 h 382"/>
                  <a:gd name="T20" fmla="*/ 17 w 167"/>
                  <a:gd name="T21" fmla="*/ 270 h 382"/>
                  <a:gd name="T22" fmla="*/ 11 w 167"/>
                  <a:gd name="T23" fmla="*/ 279 h 382"/>
                  <a:gd name="T24" fmla="*/ 8 w 167"/>
                  <a:gd name="T25" fmla="*/ 282 h 382"/>
                  <a:gd name="T26" fmla="*/ 8 w 167"/>
                  <a:gd name="T27" fmla="*/ 304 h 382"/>
                  <a:gd name="T28" fmla="*/ 11 w 167"/>
                  <a:gd name="T29" fmla="*/ 323 h 382"/>
                  <a:gd name="T30" fmla="*/ 14 w 167"/>
                  <a:gd name="T31" fmla="*/ 326 h 382"/>
                  <a:gd name="T32" fmla="*/ 11 w 167"/>
                  <a:gd name="T33" fmla="*/ 332 h 382"/>
                  <a:gd name="T34" fmla="*/ 8 w 167"/>
                  <a:gd name="T35" fmla="*/ 343 h 382"/>
                  <a:gd name="T36" fmla="*/ 8 w 167"/>
                  <a:gd name="T37" fmla="*/ 351 h 382"/>
                  <a:gd name="T38" fmla="*/ 11 w 167"/>
                  <a:gd name="T39" fmla="*/ 354 h 382"/>
                  <a:gd name="T40" fmla="*/ 28 w 167"/>
                  <a:gd name="T41" fmla="*/ 362 h 382"/>
                  <a:gd name="T42" fmla="*/ 33 w 167"/>
                  <a:gd name="T43" fmla="*/ 365 h 382"/>
                  <a:gd name="T44" fmla="*/ 36 w 167"/>
                  <a:gd name="T45" fmla="*/ 376 h 382"/>
                  <a:gd name="T46" fmla="*/ 36 w 167"/>
                  <a:gd name="T47" fmla="*/ 382 h 382"/>
                  <a:gd name="T48" fmla="*/ 42 w 167"/>
                  <a:gd name="T49" fmla="*/ 376 h 382"/>
                  <a:gd name="T50" fmla="*/ 56 w 167"/>
                  <a:gd name="T51" fmla="*/ 373 h 382"/>
                  <a:gd name="T52" fmla="*/ 64 w 167"/>
                  <a:gd name="T53" fmla="*/ 371 h 382"/>
                  <a:gd name="T54" fmla="*/ 75 w 167"/>
                  <a:gd name="T55" fmla="*/ 362 h 382"/>
                  <a:gd name="T56" fmla="*/ 81 w 167"/>
                  <a:gd name="T57" fmla="*/ 362 h 382"/>
                  <a:gd name="T58" fmla="*/ 92 w 167"/>
                  <a:gd name="T59" fmla="*/ 362 h 382"/>
                  <a:gd name="T60" fmla="*/ 109 w 167"/>
                  <a:gd name="T61" fmla="*/ 360 h 382"/>
                  <a:gd name="T62" fmla="*/ 167 w 167"/>
                  <a:gd name="T63" fmla="*/ 287 h 382"/>
                  <a:gd name="T64" fmla="*/ 161 w 167"/>
                  <a:gd name="T65" fmla="*/ 270 h 382"/>
                  <a:gd name="T66" fmla="*/ 156 w 167"/>
                  <a:gd name="T67" fmla="*/ 240 h 382"/>
                  <a:gd name="T68" fmla="*/ 150 w 167"/>
                  <a:gd name="T69" fmla="*/ 220 h 382"/>
                  <a:gd name="T70" fmla="*/ 145 w 167"/>
                  <a:gd name="T71" fmla="*/ 204 h 382"/>
                  <a:gd name="T72" fmla="*/ 148 w 167"/>
                  <a:gd name="T73" fmla="*/ 181 h 382"/>
                  <a:gd name="T74" fmla="*/ 145 w 167"/>
                  <a:gd name="T75" fmla="*/ 101 h 382"/>
                  <a:gd name="T76" fmla="*/ 125 w 167"/>
                  <a:gd name="T77" fmla="*/ 81 h 382"/>
                  <a:gd name="T78" fmla="*/ 125 w 167"/>
                  <a:gd name="T79" fmla="*/ 53 h 382"/>
                  <a:gd name="T80" fmla="*/ 128 w 167"/>
                  <a:gd name="T81" fmla="*/ 39 h 382"/>
                  <a:gd name="T82" fmla="*/ 128 w 167"/>
                  <a:gd name="T83" fmla="*/ 11 h 382"/>
                  <a:gd name="T84" fmla="*/ 117 w 167"/>
                  <a:gd name="T85" fmla="*/ 0 h 382"/>
                  <a:gd name="T86" fmla="*/ 81 w 167"/>
                  <a:gd name="T87" fmla="*/ 23 h 382"/>
                  <a:gd name="T88" fmla="*/ 61 w 167"/>
                  <a:gd name="T89" fmla="*/ 62 h 382"/>
                  <a:gd name="T90" fmla="*/ 47 w 167"/>
                  <a:gd name="T91" fmla="*/ 59 h 382"/>
                  <a:gd name="T92" fmla="*/ 28 w 167"/>
                  <a:gd name="T93" fmla="*/ 59 h 382"/>
                  <a:gd name="T94" fmla="*/ 11 w 167"/>
                  <a:gd name="T95" fmla="*/ 34 h 382"/>
                  <a:gd name="T96" fmla="*/ 3 w 167"/>
                  <a:gd name="T97" fmla="*/ 42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7" h="382">
                    <a:moveTo>
                      <a:pt x="0" y="45"/>
                    </a:moveTo>
                    <a:lnTo>
                      <a:pt x="0" y="45"/>
                    </a:lnTo>
                    <a:lnTo>
                      <a:pt x="0" y="48"/>
                    </a:lnTo>
                    <a:lnTo>
                      <a:pt x="22" y="67"/>
                    </a:lnTo>
                    <a:lnTo>
                      <a:pt x="31" y="70"/>
                    </a:lnTo>
                    <a:lnTo>
                      <a:pt x="36" y="75"/>
                    </a:lnTo>
                    <a:lnTo>
                      <a:pt x="47" y="95"/>
                    </a:lnTo>
                    <a:lnTo>
                      <a:pt x="45" y="103"/>
                    </a:lnTo>
                    <a:lnTo>
                      <a:pt x="45" y="112"/>
                    </a:lnTo>
                    <a:lnTo>
                      <a:pt x="47" y="114"/>
                    </a:lnTo>
                    <a:lnTo>
                      <a:pt x="47" y="117"/>
                    </a:lnTo>
                    <a:lnTo>
                      <a:pt x="45" y="126"/>
                    </a:lnTo>
                    <a:lnTo>
                      <a:pt x="45" y="128"/>
                    </a:lnTo>
                    <a:lnTo>
                      <a:pt x="53" y="142"/>
                    </a:lnTo>
                    <a:lnTo>
                      <a:pt x="50" y="148"/>
                    </a:lnTo>
                    <a:lnTo>
                      <a:pt x="50" y="153"/>
                    </a:lnTo>
                    <a:lnTo>
                      <a:pt x="47" y="156"/>
                    </a:lnTo>
                    <a:lnTo>
                      <a:pt x="53" y="173"/>
                    </a:lnTo>
                    <a:lnTo>
                      <a:pt x="56" y="176"/>
                    </a:lnTo>
                    <a:lnTo>
                      <a:pt x="56" y="176"/>
                    </a:lnTo>
                    <a:lnTo>
                      <a:pt x="58" y="179"/>
                    </a:lnTo>
                    <a:lnTo>
                      <a:pt x="58" y="179"/>
                    </a:lnTo>
                    <a:lnTo>
                      <a:pt x="61" y="176"/>
                    </a:lnTo>
                    <a:lnTo>
                      <a:pt x="61" y="179"/>
                    </a:lnTo>
                    <a:lnTo>
                      <a:pt x="64" y="181"/>
                    </a:lnTo>
                    <a:lnTo>
                      <a:pt x="67" y="184"/>
                    </a:lnTo>
                    <a:lnTo>
                      <a:pt x="72" y="192"/>
                    </a:lnTo>
                    <a:lnTo>
                      <a:pt x="72" y="195"/>
                    </a:lnTo>
                    <a:lnTo>
                      <a:pt x="72" y="204"/>
                    </a:lnTo>
                    <a:lnTo>
                      <a:pt x="75" y="209"/>
                    </a:lnTo>
                    <a:lnTo>
                      <a:pt x="72" y="209"/>
                    </a:lnTo>
                    <a:lnTo>
                      <a:pt x="72" y="212"/>
                    </a:lnTo>
                    <a:lnTo>
                      <a:pt x="72" y="215"/>
                    </a:lnTo>
                    <a:lnTo>
                      <a:pt x="70" y="212"/>
                    </a:lnTo>
                    <a:lnTo>
                      <a:pt x="67" y="212"/>
                    </a:lnTo>
                    <a:lnTo>
                      <a:pt x="64" y="215"/>
                    </a:lnTo>
                    <a:lnTo>
                      <a:pt x="61" y="226"/>
                    </a:lnTo>
                    <a:lnTo>
                      <a:pt x="33" y="262"/>
                    </a:lnTo>
                    <a:lnTo>
                      <a:pt x="31" y="265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25" y="270"/>
                    </a:lnTo>
                    <a:lnTo>
                      <a:pt x="19" y="270"/>
                    </a:lnTo>
                    <a:lnTo>
                      <a:pt x="17" y="270"/>
                    </a:lnTo>
                    <a:lnTo>
                      <a:pt x="14" y="273"/>
                    </a:lnTo>
                    <a:lnTo>
                      <a:pt x="17" y="276"/>
                    </a:lnTo>
                    <a:lnTo>
                      <a:pt x="17" y="279"/>
                    </a:lnTo>
                    <a:lnTo>
                      <a:pt x="11" y="279"/>
                    </a:lnTo>
                    <a:lnTo>
                      <a:pt x="11" y="279"/>
                    </a:lnTo>
                    <a:lnTo>
                      <a:pt x="11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6" y="290"/>
                    </a:lnTo>
                    <a:lnTo>
                      <a:pt x="6" y="298"/>
                    </a:lnTo>
                    <a:lnTo>
                      <a:pt x="8" y="301"/>
                    </a:lnTo>
                    <a:lnTo>
                      <a:pt x="8" y="304"/>
                    </a:lnTo>
                    <a:lnTo>
                      <a:pt x="8" y="309"/>
                    </a:lnTo>
                    <a:lnTo>
                      <a:pt x="8" y="312"/>
                    </a:lnTo>
                    <a:lnTo>
                      <a:pt x="11" y="315"/>
                    </a:lnTo>
                    <a:lnTo>
                      <a:pt x="11" y="323"/>
                    </a:lnTo>
                    <a:lnTo>
                      <a:pt x="14" y="326"/>
                    </a:lnTo>
                    <a:lnTo>
                      <a:pt x="14" y="326"/>
                    </a:lnTo>
                    <a:lnTo>
                      <a:pt x="17" y="329"/>
                    </a:lnTo>
                    <a:lnTo>
                      <a:pt x="14" y="326"/>
                    </a:lnTo>
                    <a:lnTo>
                      <a:pt x="11" y="326"/>
                    </a:lnTo>
                    <a:lnTo>
                      <a:pt x="11" y="329"/>
                    </a:lnTo>
                    <a:lnTo>
                      <a:pt x="11" y="329"/>
                    </a:lnTo>
                    <a:lnTo>
                      <a:pt x="11" y="332"/>
                    </a:lnTo>
                    <a:lnTo>
                      <a:pt x="11" y="334"/>
                    </a:lnTo>
                    <a:lnTo>
                      <a:pt x="11" y="337"/>
                    </a:lnTo>
                    <a:lnTo>
                      <a:pt x="11" y="343"/>
                    </a:lnTo>
                    <a:lnTo>
                      <a:pt x="8" y="343"/>
                    </a:lnTo>
                    <a:lnTo>
                      <a:pt x="8" y="346"/>
                    </a:lnTo>
                    <a:lnTo>
                      <a:pt x="8" y="346"/>
                    </a:lnTo>
                    <a:lnTo>
                      <a:pt x="11" y="348"/>
                    </a:lnTo>
                    <a:lnTo>
                      <a:pt x="8" y="351"/>
                    </a:lnTo>
                    <a:lnTo>
                      <a:pt x="11" y="351"/>
                    </a:lnTo>
                    <a:lnTo>
                      <a:pt x="11" y="351"/>
                    </a:lnTo>
                    <a:lnTo>
                      <a:pt x="11" y="354"/>
                    </a:lnTo>
                    <a:lnTo>
                      <a:pt x="11" y="354"/>
                    </a:lnTo>
                    <a:lnTo>
                      <a:pt x="11" y="357"/>
                    </a:lnTo>
                    <a:lnTo>
                      <a:pt x="14" y="357"/>
                    </a:lnTo>
                    <a:lnTo>
                      <a:pt x="19" y="360"/>
                    </a:lnTo>
                    <a:lnTo>
                      <a:pt x="28" y="362"/>
                    </a:lnTo>
                    <a:lnTo>
                      <a:pt x="28" y="365"/>
                    </a:lnTo>
                    <a:lnTo>
                      <a:pt x="28" y="365"/>
                    </a:lnTo>
                    <a:lnTo>
                      <a:pt x="31" y="368"/>
                    </a:lnTo>
                    <a:lnTo>
                      <a:pt x="33" y="365"/>
                    </a:lnTo>
                    <a:lnTo>
                      <a:pt x="33" y="368"/>
                    </a:lnTo>
                    <a:lnTo>
                      <a:pt x="33" y="371"/>
                    </a:lnTo>
                    <a:lnTo>
                      <a:pt x="36" y="373"/>
                    </a:lnTo>
                    <a:lnTo>
                      <a:pt x="36" y="376"/>
                    </a:lnTo>
                    <a:lnTo>
                      <a:pt x="39" y="376"/>
                    </a:lnTo>
                    <a:lnTo>
                      <a:pt x="36" y="379"/>
                    </a:lnTo>
                    <a:lnTo>
                      <a:pt x="33" y="382"/>
                    </a:lnTo>
                    <a:lnTo>
                      <a:pt x="36" y="382"/>
                    </a:lnTo>
                    <a:lnTo>
                      <a:pt x="39" y="379"/>
                    </a:lnTo>
                    <a:lnTo>
                      <a:pt x="42" y="373"/>
                    </a:lnTo>
                    <a:lnTo>
                      <a:pt x="42" y="373"/>
                    </a:lnTo>
                    <a:lnTo>
                      <a:pt x="42" y="376"/>
                    </a:lnTo>
                    <a:lnTo>
                      <a:pt x="45" y="379"/>
                    </a:lnTo>
                    <a:lnTo>
                      <a:pt x="50" y="373"/>
                    </a:lnTo>
                    <a:lnTo>
                      <a:pt x="53" y="373"/>
                    </a:lnTo>
                    <a:lnTo>
                      <a:pt x="56" y="373"/>
                    </a:lnTo>
                    <a:lnTo>
                      <a:pt x="56" y="373"/>
                    </a:lnTo>
                    <a:lnTo>
                      <a:pt x="58" y="376"/>
                    </a:lnTo>
                    <a:lnTo>
                      <a:pt x="61" y="371"/>
                    </a:lnTo>
                    <a:lnTo>
                      <a:pt x="64" y="371"/>
                    </a:lnTo>
                    <a:lnTo>
                      <a:pt x="67" y="371"/>
                    </a:lnTo>
                    <a:lnTo>
                      <a:pt x="70" y="368"/>
                    </a:lnTo>
                    <a:lnTo>
                      <a:pt x="72" y="368"/>
                    </a:lnTo>
                    <a:lnTo>
                      <a:pt x="75" y="362"/>
                    </a:lnTo>
                    <a:lnTo>
                      <a:pt x="78" y="365"/>
                    </a:lnTo>
                    <a:lnTo>
                      <a:pt x="81" y="365"/>
                    </a:lnTo>
                    <a:lnTo>
                      <a:pt x="81" y="362"/>
                    </a:lnTo>
                    <a:lnTo>
                      <a:pt x="81" y="362"/>
                    </a:lnTo>
                    <a:lnTo>
                      <a:pt x="83" y="362"/>
                    </a:lnTo>
                    <a:lnTo>
                      <a:pt x="86" y="362"/>
                    </a:lnTo>
                    <a:lnTo>
                      <a:pt x="89" y="362"/>
                    </a:lnTo>
                    <a:lnTo>
                      <a:pt x="92" y="362"/>
                    </a:lnTo>
                    <a:lnTo>
                      <a:pt x="100" y="360"/>
                    </a:lnTo>
                    <a:lnTo>
                      <a:pt x="100" y="360"/>
                    </a:lnTo>
                    <a:lnTo>
                      <a:pt x="106" y="360"/>
                    </a:lnTo>
                    <a:lnTo>
                      <a:pt x="109" y="360"/>
                    </a:lnTo>
                    <a:lnTo>
                      <a:pt x="109" y="357"/>
                    </a:lnTo>
                    <a:lnTo>
                      <a:pt x="109" y="360"/>
                    </a:lnTo>
                    <a:lnTo>
                      <a:pt x="159" y="304"/>
                    </a:lnTo>
                    <a:lnTo>
                      <a:pt x="167" y="287"/>
                    </a:lnTo>
                    <a:lnTo>
                      <a:pt x="167" y="279"/>
                    </a:lnTo>
                    <a:lnTo>
                      <a:pt x="167" y="279"/>
                    </a:lnTo>
                    <a:lnTo>
                      <a:pt x="164" y="273"/>
                    </a:lnTo>
                    <a:lnTo>
                      <a:pt x="161" y="270"/>
                    </a:lnTo>
                    <a:lnTo>
                      <a:pt x="153" y="262"/>
                    </a:lnTo>
                    <a:lnTo>
                      <a:pt x="150" y="259"/>
                    </a:lnTo>
                    <a:lnTo>
                      <a:pt x="150" y="254"/>
                    </a:lnTo>
                    <a:lnTo>
                      <a:pt x="156" y="240"/>
                    </a:lnTo>
                    <a:lnTo>
                      <a:pt x="156" y="234"/>
                    </a:lnTo>
                    <a:lnTo>
                      <a:pt x="150" y="231"/>
                    </a:lnTo>
                    <a:lnTo>
                      <a:pt x="148" y="226"/>
                    </a:lnTo>
                    <a:lnTo>
                      <a:pt x="150" y="220"/>
                    </a:lnTo>
                    <a:lnTo>
                      <a:pt x="148" y="215"/>
                    </a:lnTo>
                    <a:lnTo>
                      <a:pt x="142" y="215"/>
                    </a:lnTo>
                    <a:lnTo>
                      <a:pt x="142" y="209"/>
                    </a:lnTo>
                    <a:lnTo>
                      <a:pt x="145" y="204"/>
                    </a:lnTo>
                    <a:lnTo>
                      <a:pt x="145" y="198"/>
                    </a:lnTo>
                    <a:lnTo>
                      <a:pt x="142" y="195"/>
                    </a:lnTo>
                    <a:lnTo>
                      <a:pt x="145" y="187"/>
                    </a:lnTo>
                    <a:lnTo>
                      <a:pt x="148" y="181"/>
                    </a:lnTo>
                    <a:lnTo>
                      <a:pt x="134" y="140"/>
                    </a:lnTo>
                    <a:lnTo>
                      <a:pt x="134" y="134"/>
                    </a:lnTo>
                    <a:lnTo>
                      <a:pt x="148" y="109"/>
                    </a:lnTo>
                    <a:lnTo>
                      <a:pt x="145" y="101"/>
                    </a:lnTo>
                    <a:lnTo>
                      <a:pt x="136" y="87"/>
                    </a:lnTo>
                    <a:lnTo>
                      <a:pt x="134" y="84"/>
                    </a:lnTo>
                    <a:lnTo>
                      <a:pt x="128" y="84"/>
                    </a:lnTo>
                    <a:lnTo>
                      <a:pt x="125" y="81"/>
                    </a:lnTo>
                    <a:lnTo>
                      <a:pt x="125" y="78"/>
                    </a:lnTo>
                    <a:lnTo>
                      <a:pt x="122" y="67"/>
                    </a:lnTo>
                    <a:lnTo>
                      <a:pt x="125" y="56"/>
                    </a:lnTo>
                    <a:lnTo>
                      <a:pt x="125" y="53"/>
                    </a:lnTo>
                    <a:lnTo>
                      <a:pt x="122" y="53"/>
                    </a:lnTo>
                    <a:lnTo>
                      <a:pt x="131" y="45"/>
                    </a:lnTo>
                    <a:lnTo>
                      <a:pt x="128" y="42"/>
                    </a:lnTo>
                    <a:lnTo>
                      <a:pt x="128" y="39"/>
                    </a:lnTo>
                    <a:lnTo>
                      <a:pt x="131" y="36"/>
                    </a:lnTo>
                    <a:lnTo>
                      <a:pt x="136" y="28"/>
                    </a:lnTo>
                    <a:lnTo>
                      <a:pt x="134" y="17"/>
                    </a:lnTo>
                    <a:lnTo>
                      <a:pt x="128" y="11"/>
                    </a:lnTo>
                    <a:lnTo>
                      <a:pt x="122" y="11"/>
                    </a:lnTo>
                    <a:lnTo>
                      <a:pt x="120" y="9"/>
                    </a:lnTo>
                    <a:lnTo>
                      <a:pt x="117" y="3"/>
                    </a:lnTo>
                    <a:lnTo>
                      <a:pt x="117" y="0"/>
                    </a:lnTo>
                    <a:lnTo>
                      <a:pt x="92" y="9"/>
                    </a:lnTo>
                    <a:lnTo>
                      <a:pt x="86" y="9"/>
                    </a:lnTo>
                    <a:lnTo>
                      <a:pt x="83" y="14"/>
                    </a:lnTo>
                    <a:lnTo>
                      <a:pt x="81" y="23"/>
                    </a:lnTo>
                    <a:lnTo>
                      <a:pt x="81" y="48"/>
                    </a:lnTo>
                    <a:lnTo>
                      <a:pt x="72" y="53"/>
                    </a:lnTo>
                    <a:lnTo>
                      <a:pt x="70" y="59"/>
                    </a:lnTo>
                    <a:lnTo>
                      <a:pt x="61" y="62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3" y="53"/>
                    </a:lnTo>
                    <a:lnTo>
                      <a:pt x="47" y="59"/>
                    </a:lnTo>
                    <a:lnTo>
                      <a:pt x="45" y="62"/>
                    </a:lnTo>
                    <a:lnTo>
                      <a:pt x="39" y="62"/>
                    </a:lnTo>
                    <a:lnTo>
                      <a:pt x="36" y="59"/>
                    </a:lnTo>
                    <a:lnTo>
                      <a:pt x="28" y="59"/>
                    </a:lnTo>
                    <a:lnTo>
                      <a:pt x="28" y="56"/>
                    </a:lnTo>
                    <a:lnTo>
                      <a:pt x="25" y="50"/>
                    </a:lnTo>
                    <a:lnTo>
                      <a:pt x="14" y="34"/>
                    </a:lnTo>
                    <a:lnTo>
                      <a:pt x="11" y="34"/>
                    </a:lnTo>
                    <a:lnTo>
                      <a:pt x="6" y="36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3" y="42"/>
                    </a:lnTo>
                    <a:lnTo>
                      <a:pt x="0" y="42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3" name="Freeform 207"/>
              <p:cNvSpPr>
                <a:spLocks noChangeAspect="1"/>
              </p:cNvSpPr>
              <p:nvPr>
                <p:custDataLst>
                  <p:tags r:id="rId531"/>
                </p:custDataLst>
              </p:nvPr>
            </p:nvSpPr>
            <p:spPr bwMode="gray">
              <a:xfrm>
                <a:off x="5352705" y="3082052"/>
                <a:ext cx="238398" cy="245972"/>
              </a:xfrm>
              <a:custGeom>
                <a:avLst/>
                <a:gdLst>
                  <a:gd name="T0" fmla="*/ 55 w 184"/>
                  <a:gd name="T1" fmla="*/ 8 h 192"/>
                  <a:gd name="T2" fmla="*/ 53 w 184"/>
                  <a:gd name="T3" fmla="*/ 11 h 192"/>
                  <a:gd name="T4" fmla="*/ 53 w 184"/>
                  <a:gd name="T5" fmla="*/ 16 h 192"/>
                  <a:gd name="T6" fmla="*/ 39 w 184"/>
                  <a:gd name="T7" fmla="*/ 14 h 192"/>
                  <a:gd name="T8" fmla="*/ 36 w 184"/>
                  <a:gd name="T9" fmla="*/ 25 h 192"/>
                  <a:gd name="T10" fmla="*/ 30 w 184"/>
                  <a:gd name="T11" fmla="*/ 22 h 192"/>
                  <a:gd name="T12" fmla="*/ 22 w 184"/>
                  <a:gd name="T13" fmla="*/ 16 h 192"/>
                  <a:gd name="T14" fmla="*/ 17 w 184"/>
                  <a:gd name="T15" fmla="*/ 25 h 192"/>
                  <a:gd name="T16" fmla="*/ 5 w 184"/>
                  <a:gd name="T17" fmla="*/ 39 h 192"/>
                  <a:gd name="T18" fmla="*/ 0 w 184"/>
                  <a:gd name="T19" fmla="*/ 47 h 192"/>
                  <a:gd name="T20" fmla="*/ 3 w 184"/>
                  <a:gd name="T21" fmla="*/ 50 h 192"/>
                  <a:gd name="T22" fmla="*/ 3 w 184"/>
                  <a:gd name="T23" fmla="*/ 61 h 192"/>
                  <a:gd name="T24" fmla="*/ 14 w 184"/>
                  <a:gd name="T25" fmla="*/ 67 h 192"/>
                  <a:gd name="T26" fmla="*/ 14 w 184"/>
                  <a:gd name="T27" fmla="*/ 72 h 192"/>
                  <a:gd name="T28" fmla="*/ 22 w 184"/>
                  <a:gd name="T29" fmla="*/ 67 h 192"/>
                  <a:gd name="T30" fmla="*/ 28 w 184"/>
                  <a:gd name="T31" fmla="*/ 61 h 192"/>
                  <a:gd name="T32" fmla="*/ 53 w 184"/>
                  <a:gd name="T33" fmla="*/ 69 h 192"/>
                  <a:gd name="T34" fmla="*/ 69 w 184"/>
                  <a:gd name="T35" fmla="*/ 97 h 192"/>
                  <a:gd name="T36" fmla="*/ 75 w 184"/>
                  <a:gd name="T37" fmla="*/ 100 h 192"/>
                  <a:gd name="T38" fmla="*/ 83 w 184"/>
                  <a:gd name="T39" fmla="*/ 108 h 192"/>
                  <a:gd name="T40" fmla="*/ 108 w 184"/>
                  <a:gd name="T41" fmla="*/ 125 h 192"/>
                  <a:gd name="T42" fmla="*/ 120 w 184"/>
                  <a:gd name="T43" fmla="*/ 136 h 192"/>
                  <a:gd name="T44" fmla="*/ 125 w 184"/>
                  <a:gd name="T45" fmla="*/ 136 h 192"/>
                  <a:gd name="T46" fmla="*/ 128 w 184"/>
                  <a:gd name="T47" fmla="*/ 142 h 192"/>
                  <a:gd name="T48" fmla="*/ 133 w 184"/>
                  <a:gd name="T49" fmla="*/ 147 h 192"/>
                  <a:gd name="T50" fmla="*/ 139 w 184"/>
                  <a:gd name="T51" fmla="*/ 150 h 192"/>
                  <a:gd name="T52" fmla="*/ 145 w 184"/>
                  <a:gd name="T53" fmla="*/ 181 h 192"/>
                  <a:gd name="T54" fmla="*/ 142 w 184"/>
                  <a:gd name="T55" fmla="*/ 192 h 192"/>
                  <a:gd name="T56" fmla="*/ 147 w 184"/>
                  <a:gd name="T57" fmla="*/ 192 h 192"/>
                  <a:gd name="T58" fmla="*/ 153 w 184"/>
                  <a:gd name="T59" fmla="*/ 183 h 192"/>
                  <a:gd name="T60" fmla="*/ 156 w 184"/>
                  <a:gd name="T61" fmla="*/ 175 h 192"/>
                  <a:gd name="T62" fmla="*/ 161 w 184"/>
                  <a:gd name="T63" fmla="*/ 170 h 192"/>
                  <a:gd name="T64" fmla="*/ 158 w 184"/>
                  <a:gd name="T65" fmla="*/ 158 h 192"/>
                  <a:gd name="T66" fmla="*/ 156 w 184"/>
                  <a:gd name="T67" fmla="*/ 147 h 192"/>
                  <a:gd name="T68" fmla="*/ 167 w 184"/>
                  <a:gd name="T69" fmla="*/ 144 h 192"/>
                  <a:gd name="T70" fmla="*/ 181 w 184"/>
                  <a:gd name="T71" fmla="*/ 153 h 192"/>
                  <a:gd name="T72" fmla="*/ 175 w 184"/>
                  <a:gd name="T73" fmla="*/ 136 h 192"/>
                  <a:gd name="T74" fmla="*/ 145 w 184"/>
                  <a:gd name="T75" fmla="*/ 122 h 192"/>
                  <a:gd name="T76" fmla="*/ 142 w 184"/>
                  <a:gd name="T77" fmla="*/ 119 h 192"/>
                  <a:gd name="T78" fmla="*/ 147 w 184"/>
                  <a:gd name="T79" fmla="*/ 114 h 192"/>
                  <a:gd name="T80" fmla="*/ 142 w 184"/>
                  <a:gd name="T81" fmla="*/ 111 h 192"/>
                  <a:gd name="T82" fmla="*/ 133 w 184"/>
                  <a:gd name="T83" fmla="*/ 111 h 192"/>
                  <a:gd name="T84" fmla="*/ 125 w 184"/>
                  <a:gd name="T85" fmla="*/ 108 h 192"/>
                  <a:gd name="T86" fmla="*/ 114 w 184"/>
                  <a:gd name="T87" fmla="*/ 97 h 192"/>
                  <a:gd name="T88" fmla="*/ 103 w 184"/>
                  <a:gd name="T89" fmla="*/ 75 h 192"/>
                  <a:gd name="T90" fmla="*/ 86 w 184"/>
                  <a:gd name="T91" fmla="*/ 58 h 192"/>
                  <a:gd name="T92" fmla="*/ 89 w 184"/>
                  <a:gd name="T93" fmla="*/ 47 h 192"/>
                  <a:gd name="T94" fmla="*/ 86 w 184"/>
                  <a:gd name="T95" fmla="*/ 39 h 192"/>
                  <a:gd name="T96" fmla="*/ 92 w 184"/>
                  <a:gd name="T97" fmla="*/ 36 h 192"/>
                  <a:gd name="T98" fmla="*/ 106 w 184"/>
                  <a:gd name="T99" fmla="*/ 30 h 192"/>
                  <a:gd name="T100" fmla="*/ 108 w 184"/>
                  <a:gd name="T101" fmla="*/ 30 h 192"/>
                  <a:gd name="T102" fmla="*/ 108 w 184"/>
                  <a:gd name="T103" fmla="*/ 33 h 192"/>
                  <a:gd name="T104" fmla="*/ 111 w 184"/>
                  <a:gd name="T105" fmla="*/ 30 h 192"/>
                  <a:gd name="T106" fmla="*/ 111 w 184"/>
                  <a:gd name="T107" fmla="*/ 28 h 192"/>
                  <a:gd name="T108" fmla="*/ 108 w 184"/>
                  <a:gd name="T109" fmla="*/ 25 h 192"/>
                  <a:gd name="T110" fmla="*/ 106 w 184"/>
                  <a:gd name="T111" fmla="*/ 19 h 192"/>
                  <a:gd name="T112" fmla="*/ 106 w 184"/>
                  <a:gd name="T113" fmla="*/ 16 h 192"/>
                  <a:gd name="T114" fmla="*/ 92 w 184"/>
                  <a:gd name="T115" fmla="*/ 8 h 192"/>
                  <a:gd name="T116" fmla="*/ 83 w 184"/>
                  <a:gd name="T117" fmla="*/ 0 h 192"/>
                  <a:gd name="T118" fmla="*/ 81 w 184"/>
                  <a:gd name="T119" fmla="*/ 0 h 192"/>
                  <a:gd name="T120" fmla="*/ 58 w 184"/>
                  <a:gd name="T121" fmla="*/ 5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4" h="192">
                    <a:moveTo>
                      <a:pt x="58" y="5"/>
                    </a:moveTo>
                    <a:lnTo>
                      <a:pt x="55" y="8"/>
                    </a:lnTo>
                    <a:lnTo>
                      <a:pt x="55" y="8"/>
                    </a:lnTo>
                    <a:lnTo>
                      <a:pt x="55" y="11"/>
                    </a:lnTo>
                    <a:lnTo>
                      <a:pt x="53" y="11"/>
                    </a:lnTo>
                    <a:lnTo>
                      <a:pt x="53" y="11"/>
                    </a:lnTo>
                    <a:lnTo>
                      <a:pt x="53" y="14"/>
                    </a:lnTo>
                    <a:lnTo>
                      <a:pt x="53" y="16"/>
                    </a:lnTo>
                    <a:lnTo>
                      <a:pt x="53" y="16"/>
                    </a:lnTo>
                    <a:lnTo>
                      <a:pt x="44" y="16"/>
                    </a:lnTo>
                    <a:lnTo>
                      <a:pt x="42" y="14"/>
                    </a:lnTo>
                    <a:lnTo>
                      <a:pt x="39" y="14"/>
                    </a:lnTo>
                    <a:lnTo>
                      <a:pt x="39" y="16"/>
                    </a:lnTo>
                    <a:lnTo>
                      <a:pt x="36" y="22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5"/>
                    </a:lnTo>
                    <a:lnTo>
                      <a:pt x="30" y="22"/>
                    </a:lnTo>
                    <a:lnTo>
                      <a:pt x="28" y="19"/>
                    </a:lnTo>
                    <a:lnTo>
                      <a:pt x="25" y="14"/>
                    </a:lnTo>
                    <a:lnTo>
                      <a:pt x="22" y="16"/>
                    </a:lnTo>
                    <a:lnTo>
                      <a:pt x="22" y="19"/>
                    </a:lnTo>
                    <a:lnTo>
                      <a:pt x="22" y="22"/>
                    </a:lnTo>
                    <a:lnTo>
                      <a:pt x="17" y="25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5" y="39"/>
                    </a:lnTo>
                    <a:lnTo>
                      <a:pt x="3" y="41"/>
                    </a:lnTo>
                    <a:lnTo>
                      <a:pt x="0" y="44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0" y="50"/>
                    </a:lnTo>
                    <a:lnTo>
                      <a:pt x="3" y="50"/>
                    </a:lnTo>
                    <a:lnTo>
                      <a:pt x="3" y="53"/>
                    </a:lnTo>
                    <a:lnTo>
                      <a:pt x="3" y="55"/>
                    </a:lnTo>
                    <a:lnTo>
                      <a:pt x="3" y="61"/>
                    </a:lnTo>
                    <a:lnTo>
                      <a:pt x="5" y="64"/>
                    </a:lnTo>
                    <a:lnTo>
                      <a:pt x="14" y="64"/>
                    </a:lnTo>
                    <a:lnTo>
                      <a:pt x="14" y="67"/>
                    </a:lnTo>
                    <a:lnTo>
                      <a:pt x="14" y="69"/>
                    </a:lnTo>
                    <a:lnTo>
                      <a:pt x="14" y="69"/>
                    </a:lnTo>
                    <a:lnTo>
                      <a:pt x="14" y="72"/>
                    </a:lnTo>
                    <a:lnTo>
                      <a:pt x="19" y="72"/>
                    </a:lnTo>
                    <a:lnTo>
                      <a:pt x="22" y="69"/>
                    </a:lnTo>
                    <a:lnTo>
                      <a:pt x="22" y="67"/>
                    </a:lnTo>
                    <a:lnTo>
                      <a:pt x="25" y="64"/>
                    </a:lnTo>
                    <a:lnTo>
                      <a:pt x="28" y="64"/>
                    </a:lnTo>
                    <a:lnTo>
                      <a:pt x="28" y="61"/>
                    </a:lnTo>
                    <a:lnTo>
                      <a:pt x="33" y="58"/>
                    </a:lnTo>
                    <a:lnTo>
                      <a:pt x="39" y="58"/>
                    </a:lnTo>
                    <a:lnTo>
                      <a:pt x="53" y="69"/>
                    </a:lnTo>
                    <a:lnTo>
                      <a:pt x="61" y="86"/>
                    </a:lnTo>
                    <a:lnTo>
                      <a:pt x="61" y="89"/>
                    </a:lnTo>
                    <a:lnTo>
                      <a:pt x="69" y="97"/>
                    </a:lnTo>
                    <a:lnTo>
                      <a:pt x="69" y="103"/>
                    </a:lnTo>
                    <a:lnTo>
                      <a:pt x="72" y="100"/>
                    </a:lnTo>
                    <a:lnTo>
                      <a:pt x="75" y="100"/>
                    </a:lnTo>
                    <a:lnTo>
                      <a:pt x="78" y="103"/>
                    </a:lnTo>
                    <a:lnTo>
                      <a:pt x="81" y="108"/>
                    </a:lnTo>
                    <a:lnTo>
                      <a:pt x="83" y="108"/>
                    </a:lnTo>
                    <a:lnTo>
                      <a:pt x="100" y="125"/>
                    </a:lnTo>
                    <a:lnTo>
                      <a:pt x="100" y="125"/>
                    </a:lnTo>
                    <a:lnTo>
                      <a:pt x="108" y="125"/>
                    </a:lnTo>
                    <a:lnTo>
                      <a:pt x="114" y="131"/>
                    </a:lnTo>
                    <a:lnTo>
                      <a:pt x="114" y="133"/>
                    </a:lnTo>
                    <a:lnTo>
                      <a:pt x="120" y="136"/>
                    </a:lnTo>
                    <a:lnTo>
                      <a:pt x="120" y="136"/>
                    </a:lnTo>
                    <a:lnTo>
                      <a:pt x="120" y="139"/>
                    </a:lnTo>
                    <a:lnTo>
                      <a:pt x="125" y="136"/>
                    </a:lnTo>
                    <a:lnTo>
                      <a:pt x="128" y="139"/>
                    </a:lnTo>
                    <a:lnTo>
                      <a:pt x="128" y="139"/>
                    </a:lnTo>
                    <a:lnTo>
                      <a:pt x="128" y="142"/>
                    </a:lnTo>
                    <a:lnTo>
                      <a:pt x="128" y="144"/>
                    </a:lnTo>
                    <a:lnTo>
                      <a:pt x="131" y="147"/>
                    </a:lnTo>
                    <a:lnTo>
                      <a:pt x="133" y="147"/>
                    </a:lnTo>
                    <a:lnTo>
                      <a:pt x="136" y="153"/>
                    </a:lnTo>
                    <a:lnTo>
                      <a:pt x="136" y="150"/>
                    </a:lnTo>
                    <a:lnTo>
                      <a:pt x="139" y="150"/>
                    </a:lnTo>
                    <a:lnTo>
                      <a:pt x="147" y="175"/>
                    </a:lnTo>
                    <a:lnTo>
                      <a:pt x="142" y="178"/>
                    </a:lnTo>
                    <a:lnTo>
                      <a:pt x="145" y="181"/>
                    </a:lnTo>
                    <a:lnTo>
                      <a:pt x="139" y="186"/>
                    </a:lnTo>
                    <a:lnTo>
                      <a:pt x="142" y="192"/>
                    </a:lnTo>
                    <a:lnTo>
                      <a:pt x="142" y="192"/>
                    </a:lnTo>
                    <a:lnTo>
                      <a:pt x="142" y="192"/>
                    </a:lnTo>
                    <a:lnTo>
                      <a:pt x="145" y="192"/>
                    </a:lnTo>
                    <a:lnTo>
                      <a:pt x="147" y="192"/>
                    </a:lnTo>
                    <a:lnTo>
                      <a:pt x="150" y="186"/>
                    </a:lnTo>
                    <a:lnTo>
                      <a:pt x="150" y="183"/>
                    </a:lnTo>
                    <a:lnTo>
                      <a:pt x="153" y="183"/>
                    </a:lnTo>
                    <a:lnTo>
                      <a:pt x="153" y="181"/>
                    </a:lnTo>
                    <a:lnTo>
                      <a:pt x="153" y="175"/>
                    </a:lnTo>
                    <a:lnTo>
                      <a:pt x="156" y="175"/>
                    </a:lnTo>
                    <a:lnTo>
                      <a:pt x="161" y="172"/>
                    </a:lnTo>
                    <a:lnTo>
                      <a:pt x="161" y="172"/>
                    </a:lnTo>
                    <a:lnTo>
                      <a:pt x="161" y="170"/>
                    </a:lnTo>
                    <a:lnTo>
                      <a:pt x="161" y="161"/>
                    </a:lnTo>
                    <a:lnTo>
                      <a:pt x="161" y="161"/>
                    </a:lnTo>
                    <a:lnTo>
                      <a:pt x="158" y="158"/>
                    </a:lnTo>
                    <a:lnTo>
                      <a:pt x="156" y="158"/>
                    </a:lnTo>
                    <a:lnTo>
                      <a:pt x="153" y="156"/>
                    </a:lnTo>
                    <a:lnTo>
                      <a:pt x="156" y="147"/>
                    </a:lnTo>
                    <a:lnTo>
                      <a:pt x="161" y="142"/>
                    </a:lnTo>
                    <a:lnTo>
                      <a:pt x="164" y="139"/>
                    </a:lnTo>
                    <a:lnTo>
                      <a:pt x="167" y="144"/>
                    </a:lnTo>
                    <a:lnTo>
                      <a:pt x="175" y="147"/>
                    </a:lnTo>
                    <a:lnTo>
                      <a:pt x="178" y="153"/>
                    </a:lnTo>
                    <a:lnTo>
                      <a:pt x="181" y="153"/>
                    </a:lnTo>
                    <a:lnTo>
                      <a:pt x="181" y="153"/>
                    </a:lnTo>
                    <a:lnTo>
                      <a:pt x="184" y="150"/>
                    </a:lnTo>
                    <a:lnTo>
                      <a:pt x="175" y="136"/>
                    </a:lnTo>
                    <a:lnTo>
                      <a:pt x="164" y="133"/>
                    </a:lnTo>
                    <a:lnTo>
                      <a:pt x="161" y="131"/>
                    </a:lnTo>
                    <a:lnTo>
                      <a:pt x="145" y="122"/>
                    </a:lnTo>
                    <a:lnTo>
                      <a:pt x="145" y="122"/>
                    </a:lnTo>
                    <a:lnTo>
                      <a:pt x="142" y="119"/>
                    </a:lnTo>
                    <a:lnTo>
                      <a:pt x="142" y="119"/>
                    </a:lnTo>
                    <a:lnTo>
                      <a:pt x="145" y="117"/>
                    </a:lnTo>
                    <a:lnTo>
                      <a:pt x="147" y="117"/>
                    </a:lnTo>
                    <a:lnTo>
                      <a:pt x="147" y="114"/>
                    </a:lnTo>
                    <a:lnTo>
                      <a:pt x="145" y="111"/>
                    </a:lnTo>
                    <a:lnTo>
                      <a:pt x="142" y="111"/>
                    </a:lnTo>
                    <a:lnTo>
                      <a:pt x="142" y="111"/>
                    </a:lnTo>
                    <a:lnTo>
                      <a:pt x="145" y="111"/>
                    </a:lnTo>
                    <a:lnTo>
                      <a:pt x="142" y="111"/>
                    </a:lnTo>
                    <a:lnTo>
                      <a:pt x="133" y="111"/>
                    </a:lnTo>
                    <a:lnTo>
                      <a:pt x="133" y="114"/>
                    </a:lnTo>
                    <a:lnTo>
                      <a:pt x="125" y="108"/>
                    </a:lnTo>
                    <a:lnTo>
                      <a:pt x="125" y="108"/>
                    </a:lnTo>
                    <a:lnTo>
                      <a:pt x="125" y="106"/>
                    </a:lnTo>
                    <a:lnTo>
                      <a:pt x="122" y="106"/>
                    </a:lnTo>
                    <a:lnTo>
                      <a:pt x="114" y="97"/>
                    </a:lnTo>
                    <a:lnTo>
                      <a:pt x="106" y="75"/>
                    </a:lnTo>
                    <a:lnTo>
                      <a:pt x="106" y="75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92" y="67"/>
                    </a:lnTo>
                    <a:lnTo>
                      <a:pt x="86" y="58"/>
                    </a:lnTo>
                    <a:lnTo>
                      <a:pt x="89" y="50"/>
                    </a:lnTo>
                    <a:lnTo>
                      <a:pt x="89" y="47"/>
                    </a:lnTo>
                    <a:lnTo>
                      <a:pt x="89" y="47"/>
                    </a:lnTo>
                    <a:lnTo>
                      <a:pt x="89" y="44"/>
                    </a:lnTo>
                    <a:lnTo>
                      <a:pt x="86" y="44"/>
                    </a:lnTo>
                    <a:lnTo>
                      <a:pt x="86" y="39"/>
                    </a:lnTo>
                    <a:lnTo>
                      <a:pt x="86" y="36"/>
                    </a:lnTo>
                    <a:lnTo>
                      <a:pt x="89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103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11" y="33"/>
                    </a:lnTo>
                    <a:lnTo>
                      <a:pt x="111" y="33"/>
                    </a:lnTo>
                    <a:lnTo>
                      <a:pt x="111" y="30"/>
                    </a:lnTo>
                    <a:lnTo>
                      <a:pt x="111" y="30"/>
                    </a:lnTo>
                    <a:lnTo>
                      <a:pt x="111" y="30"/>
                    </a:lnTo>
                    <a:lnTo>
                      <a:pt x="111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5"/>
                    </a:lnTo>
                    <a:lnTo>
                      <a:pt x="106" y="22"/>
                    </a:lnTo>
                    <a:lnTo>
                      <a:pt x="106" y="19"/>
                    </a:lnTo>
                    <a:lnTo>
                      <a:pt x="106" y="19"/>
                    </a:lnTo>
                    <a:lnTo>
                      <a:pt x="106" y="19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8" y="14"/>
                    </a:lnTo>
                    <a:lnTo>
                      <a:pt x="94" y="11"/>
                    </a:lnTo>
                    <a:lnTo>
                      <a:pt x="92" y="8"/>
                    </a:lnTo>
                    <a:lnTo>
                      <a:pt x="89" y="8"/>
                    </a:lnTo>
                    <a:lnTo>
                      <a:pt x="86" y="5"/>
                    </a:lnTo>
                    <a:lnTo>
                      <a:pt x="83" y="0"/>
                    </a:lnTo>
                    <a:lnTo>
                      <a:pt x="83" y="0"/>
                    </a:lnTo>
                    <a:lnTo>
                      <a:pt x="83" y="0"/>
                    </a:lnTo>
                    <a:lnTo>
                      <a:pt x="81" y="0"/>
                    </a:lnTo>
                    <a:lnTo>
                      <a:pt x="81" y="0"/>
                    </a:lnTo>
                    <a:lnTo>
                      <a:pt x="61" y="5"/>
                    </a:lnTo>
                    <a:lnTo>
                      <a:pt x="58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4" name="Freeform 208"/>
              <p:cNvSpPr>
                <a:spLocks noChangeAspect="1"/>
              </p:cNvSpPr>
              <p:nvPr>
                <p:custDataLst>
                  <p:tags r:id="rId532"/>
                </p:custDataLst>
              </p:nvPr>
            </p:nvSpPr>
            <p:spPr bwMode="gray">
              <a:xfrm>
                <a:off x="5537957" y="3132510"/>
                <a:ext cx="75923" cy="77261"/>
              </a:xfrm>
              <a:custGeom>
                <a:avLst/>
                <a:gdLst>
                  <a:gd name="T0" fmla="*/ 39 w 58"/>
                  <a:gd name="T1" fmla="*/ 58 h 61"/>
                  <a:gd name="T2" fmla="*/ 36 w 58"/>
                  <a:gd name="T3" fmla="*/ 53 h 61"/>
                  <a:gd name="T4" fmla="*/ 30 w 58"/>
                  <a:gd name="T5" fmla="*/ 50 h 61"/>
                  <a:gd name="T6" fmla="*/ 28 w 58"/>
                  <a:gd name="T7" fmla="*/ 50 h 61"/>
                  <a:gd name="T8" fmla="*/ 22 w 58"/>
                  <a:gd name="T9" fmla="*/ 39 h 61"/>
                  <a:gd name="T10" fmla="*/ 14 w 58"/>
                  <a:gd name="T11" fmla="*/ 30 h 61"/>
                  <a:gd name="T12" fmla="*/ 8 w 58"/>
                  <a:gd name="T13" fmla="*/ 25 h 61"/>
                  <a:gd name="T14" fmla="*/ 5 w 58"/>
                  <a:gd name="T15" fmla="*/ 19 h 61"/>
                  <a:gd name="T16" fmla="*/ 5 w 58"/>
                  <a:gd name="T17" fmla="*/ 16 h 61"/>
                  <a:gd name="T18" fmla="*/ 0 w 58"/>
                  <a:gd name="T19" fmla="*/ 11 h 61"/>
                  <a:gd name="T20" fmla="*/ 0 w 58"/>
                  <a:gd name="T21" fmla="*/ 8 h 61"/>
                  <a:gd name="T22" fmla="*/ 0 w 58"/>
                  <a:gd name="T23" fmla="*/ 0 h 61"/>
                  <a:gd name="T24" fmla="*/ 8 w 58"/>
                  <a:gd name="T25" fmla="*/ 5 h 61"/>
                  <a:gd name="T26" fmla="*/ 16 w 58"/>
                  <a:gd name="T27" fmla="*/ 0 h 61"/>
                  <a:gd name="T28" fmla="*/ 22 w 58"/>
                  <a:gd name="T29" fmla="*/ 2 h 61"/>
                  <a:gd name="T30" fmla="*/ 25 w 58"/>
                  <a:gd name="T31" fmla="*/ 2 h 61"/>
                  <a:gd name="T32" fmla="*/ 30 w 58"/>
                  <a:gd name="T33" fmla="*/ 2 h 61"/>
                  <a:gd name="T34" fmla="*/ 33 w 58"/>
                  <a:gd name="T35" fmla="*/ 2 h 61"/>
                  <a:gd name="T36" fmla="*/ 36 w 58"/>
                  <a:gd name="T37" fmla="*/ 2 h 61"/>
                  <a:gd name="T38" fmla="*/ 42 w 58"/>
                  <a:gd name="T39" fmla="*/ 5 h 61"/>
                  <a:gd name="T40" fmla="*/ 44 w 58"/>
                  <a:gd name="T41" fmla="*/ 2 h 61"/>
                  <a:gd name="T42" fmla="*/ 47 w 58"/>
                  <a:gd name="T43" fmla="*/ 8 h 61"/>
                  <a:gd name="T44" fmla="*/ 53 w 58"/>
                  <a:gd name="T45" fmla="*/ 8 h 61"/>
                  <a:gd name="T46" fmla="*/ 55 w 58"/>
                  <a:gd name="T47" fmla="*/ 8 h 61"/>
                  <a:gd name="T48" fmla="*/ 53 w 58"/>
                  <a:gd name="T49" fmla="*/ 16 h 61"/>
                  <a:gd name="T50" fmla="*/ 53 w 58"/>
                  <a:gd name="T51" fmla="*/ 19 h 61"/>
                  <a:gd name="T52" fmla="*/ 53 w 58"/>
                  <a:gd name="T53" fmla="*/ 22 h 61"/>
                  <a:gd name="T54" fmla="*/ 55 w 58"/>
                  <a:gd name="T55" fmla="*/ 25 h 61"/>
                  <a:gd name="T56" fmla="*/ 58 w 58"/>
                  <a:gd name="T57" fmla="*/ 25 h 61"/>
                  <a:gd name="T58" fmla="*/ 58 w 58"/>
                  <a:gd name="T59" fmla="*/ 28 h 61"/>
                  <a:gd name="T60" fmla="*/ 55 w 58"/>
                  <a:gd name="T61" fmla="*/ 28 h 61"/>
                  <a:gd name="T62" fmla="*/ 58 w 58"/>
                  <a:gd name="T63" fmla="*/ 33 h 61"/>
                  <a:gd name="T64" fmla="*/ 55 w 58"/>
                  <a:gd name="T65" fmla="*/ 36 h 61"/>
                  <a:gd name="T66" fmla="*/ 55 w 58"/>
                  <a:gd name="T67" fmla="*/ 36 h 61"/>
                  <a:gd name="T68" fmla="*/ 53 w 58"/>
                  <a:gd name="T69" fmla="*/ 39 h 61"/>
                  <a:gd name="T70" fmla="*/ 50 w 58"/>
                  <a:gd name="T71" fmla="*/ 36 h 61"/>
                  <a:gd name="T72" fmla="*/ 50 w 58"/>
                  <a:gd name="T73" fmla="*/ 39 h 61"/>
                  <a:gd name="T74" fmla="*/ 50 w 58"/>
                  <a:gd name="T75" fmla="*/ 44 h 61"/>
                  <a:gd name="T76" fmla="*/ 50 w 58"/>
                  <a:gd name="T77" fmla="*/ 44 h 61"/>
                  <a:gd name="T78" fmla="*/ 47 w 58"/>
                  <a:gd name="T79" fmla="*/ 41 h 61"/>
                  <a:gd name="T80" fmla="*/ 44 w 58"/>
                  <a:gd name="T81" fmla="*/ 44 h 61"/>
                  <a:gd name="T82" fmla="*/ 42 w 58"/>
                  <a:gd name="T83" fmla="*/ 47 h 61"/>
                  <a:gd name="T84" fmla="*/ 42 w 58"/>
                  <a:gd name="T85" fmla="*/ 53 h 61"/>
                  <a:gd name="T86" fmla="*/ 42 w 58"/>
                  <a:gd name="T87" fmla="*/ 55 h 61"/>
                  <a:gd name="T88" fmla="*/ 42 w 58"/>
                  <a:gd name="T8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8" h="61">
                    <a:moveTo>
                      <a:pt x="42" y="61"/>
                    </a:moveTo>
                    <a:lnTo>
                      <a:pt x="42" y="58"/>
                    </a:lnTo>
                    <a:lnTo>
                      <a:pt x="39" y="58"/>
                    </a:lnTo>
                    <a:lnTo>
                      <a:pt x="39" y="55"/>
                    </a:lnTo>
                    <a:lnTo>
                      <a:pt x="39" y="55"/>
                    </a:lnTo>
                    <a:lnTo>
                      <a:pt x="36" y="53"/>
                    </a:lnTo>
                    <a:lnTo>
                      <a:pt x="33" y="53"/>
                    </a:lnTo>
                    <a:lnTo>
                      <a:pt x="30" y="53"/>
                    </a:lnTo>
                    <a:lnTo>
                      <a:pt x="30" y="50"/>
                    </a:lnTo>
                    <a:lnTo>
                      <a:pt x="28" y="50"/>
                    </a:lnTo>
                    <a:lnTo>
                      <a:pt x="28" y="53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2" y="41"/>
                    </a:lnTo>
                    <a:lnTo>
                      <a:pt x="22" y="39"/>
                    </a:lnTo>
                    <a:lnTo>
                      <a:pt x="19" y="39"/>
                    </a:lnTo>
                    <a:lnTo>
                      <a:pt x="19" y="3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9" y="2"/>
                    </a:lnTo>
                    <a:lnTo>
                      <a:pt x="42" y="2"/>
                    </a:lnTo>
                    <a:lnTo>
                      <a:pt x="42" y="5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50" y="8"/>
                    </a:lnTo>
                    <a:lnTo>
                      <a:pt x="53" y="8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5" y="11"/>
                    </a:lnTo>
                    <a:lnTo>
                      <a:pt x="53" y="16"/>
                    </a:lnTo>
                    <a:lnTo>
                      <a:pt x="53" y="16"/>
                    </a:lnTo>
                    <a:lnTo>
                      <a:pt x="53" y="16"/>
                    </a:lnTo>
                    <a:lnTo>
                      <a:pt x="53" y="16"/>
                    </a:lnTo>
                    <a:lnTo>
                      <a:pt x="53" y="19"/>
                    </a:lnTo>
                    <a:lnTo>
                      <a:pt x="53" y="19"/>
                    </a:lnTo>
                    <a:lnTo>
                      <a:pt x="53" y="19"/>
                    </a:lnTo>
                    <a:lnTo>
                      <a:pt x="53" y="22"/>
                    </a:lnTo>
                    <a:lnTo>
                      <a:pt x="55" y="22"/>
                    </a:lnTo>
                    <a:lnTo>
                      <a:pt x="55" y="22"/>
                    </a:lnTo>
                    <a:lnTo>
                      <a:pt x="55" y="25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8" y="25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3" y="28"/>
                    </a:lnTo>
                    <a:lnTo>
                      <a:pt x="53" y="28"/>
                    </a:lnTo>
                    <a:lnTo>
                      <a:pt x="58" y="33"/>
                    </a:lnTo>
                    <a:lnTo>
                      <a:pt x="58" y="33"/>
                    </a:lnTo>
                    <a:lnTo>
                      <a:pt x="58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3" y="36"/>
                    </a:lnTo>
                    <a:lnTo>
                      <a:pt x="53" y="36"/>
                    </a:lnTo>
                    <a:lnTo>
                      <a:pt x="53" y="39"/>
                    </a:lnTo>
                    <a:lnTo>
                      <a:pt x="50" y="39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9"/>
                    </a:lnTo>
                    <a:lnTo>
                      <a:pt x="50" y="39"/>
                    </a:lnTo>
                    <a:lnTo>
                      <a:pt x="50" y="39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47" y="41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7"/>
                    </a:lnTo>
                    <a:lnTo>
                      <a:pt x="44" y="47"/>
                    </a:lnTo>
                    <a:lnTo>
                      <a:pt x="42" y="47"/>
                    </a:lnTo>
                    <a:lnTo>
                      <a:pt x="42" y="50"/>
                    </a:lnTo>
                    <a:lnTo>
                      <a:pt x="42" y="53"/>
                    </a:lnTo>
                    <a:lnTo>
                      <a:pt x="42" y="53"/>
                    </a:lnTo>
                    <a:lnTo>
                      <a:pt x="42" y="53"/>
                    </a:lnTo>
                    <a:lnTo>
                      <a:pt x="42" y="55"/>
                    </a:lnTo>
                    <a:lnTo>
                      <a:pt x="42" y="55"/>
                    </a:lnTo>
                    <a:lnTo>
                      <a:pt x="42" y="55"/>
                    </a:lnTo>
                    <a:lnTo>
                      <a:pt x="42" y="58"/>
                    </a:lnTo>
                    <a:lnTo>
                      <a:pt x="42" y="6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5" name="Freeform 209"/>
              <p:cNvSpPr>
                <a:spLocks noChangeAspect="1"/>
              </p:cNvSpPr>
              <p:nvPr>
                <p:custDataLst>
                  <p:tags r:id="rId533"/>
                </p:custDataLst>
              </p:nvPr>
            </p:nvSpPr>
            <p:spPr bwMode="gray">
              <a:xfrm>
                <a:off x="5626028" y="3228691"/>
                <a:ext cx="129069" cy="107218"/>
              </a:xfrm>
              <a:custGeom>
                <a:avLst/>
                <a:gdLst>
                  <a:gd name="T0" fmla="*/ 91 w 100"/>
                  <a:gd name="T1" fmla="*/ 19 h 83"/>
                  <a:gd name="T2" fmla="*/ 72 w 100"/>
                  <a:gd name="T3" fmla="*/ 19 h 83"/>
                  <a:gd name="T4" fmla="*/ 66 w 100"/>
                  <a:gd name="T5" fmla="*/ 19 h 83"/>
                  <a:gd name="T6" fmla="*/ 61 w 100"/>
                  <a:gd name="T7" fmla="*/ 22 h 83"/>
                  <a:gd name="T8" fmla="*/ 58 w 100"/>
                  <a:gd name="T9" fmla="*/ 28 h 83"/>
                  <a:gd name="T10" fmla="*/ 64 w 100"/>
                  <a:gd name="T11" fmla="*/ 33 h 83"/>
                  <a:gd name="T12" fmla="*/ 64 w 100"/>
                  <a:gd name="T13" fmla="*/ 30 h 83"/>
                  <a:gd name="T14" fmla="*/ 55 w 100"/>
                  <a:gd name="T15" fmla="*/ 33 h 83"/>
                  <a:gd name="T16" fmla="*/ 61 w 100"/>
                  <a:gd name="T17" fmla="*/ 39 h 83"/>
                  <a:gd name="T18" fmla="*/ 53 w 100"/>
                  <a:gd name="T19" fmla="*/ 33 h 83"/>
                  <a:gd name="T20" fmla="*/ 53 w 100"/>
                  <a:gd name="T21" fmla="*/ 36 h 83"/>
                  <a:gd name="T22" fmla="*/ 55 w 100"/>
                  <a:gd name="T23" fmla="*/ 39 h 83"/>
                  <a:gd name="T24" fmla="*/ 50 w 100"/>
                  <a:gd name="T25" fmla="*/ 33 h 83"/>
                  <a:gd name="T26" fmla="*/ 41 w 100"/>
                  <a:gd name="T27" fmla="*/ 28 h 83"/>
                  <a:gd name="T28" fmla="*/ 39 w 100"/>
                  <a:gd name="T29" fmla="*/ 25 h 83"/>
                  <a:gd name="T30" fmla="*/ 41 w 100"/>
                  <a:gd name="T31" fmla="*/ 39 h 83"/>
                  <a:gd name="T32" fmla="*/ 47 w 100"/>
                  <a:gd name="T33" fmla="*/ 50 h 83"/>
                  <a:gd name="T34" fmla="*/ 47 w 100"/>
                  <a:gd name="T35" fmla="*/ 56 h 83"/>
                  <a:gd name="T36" fmla="*/ 47 w 100"/>
                  <a:gd name="T37" fmla="*/ 53 h 83"/>
                  <a:gd name="T38" fmla="*/ 44 w 100"/>
                  <a:gd name="T39" fmla="*/ 50 h 83"/>
                  <a:gd name="T40" fmla="*/ 44 w 100"/>
                  <a:gd name="T41" fmla="*/ 58 h 83"/>
                  <a:gd name="T42" fmla="*/ 39 w 100"/>
                  <a:gd name="T43" fmla="*/ 58 h 83"/>
                  <a:gd name="T44" fmla="*/ 47 w 100"/>
                  <a:gd name="T45" fmla="*/ 64 h 83"/>
                  <a:gd name="T46" fmla="*/ 50 w 100"/>
                  <a:gd name="T47" fmla="*/ 67 h 83"/>
                  <a:gd name="T48" fmla="*/ 58 w 100"/>
                  <a:gd name="T49" fmla="*/ 72 h 83"/>
                  <a:gd name="T50" fmla="*/ 61 w 100"/>
                  <a:gd name="T51" fmla="*/ 72 h 83"/>
                  <a:gd name="T52" fmla="*/ 58 w 100"/>
                  <a:gd name="T53" fmla="*/ 81 h 83"/>
                  <a:gd name="T54" fmla="*/ 47 w 100"/>
                  <a:gd name="T55" fmla="*/ 78 h 83"/>
                  <a:gd name="T56" fmla="*/ 47 w 100"/>
                  <a:gd name="T57" fmla="*/ 75 h 83"/>
                  <a:gd name="T58" fmla="*/ 44 w 100"/>
                  <a:gd name="T59" fmla="*/ 72 h 83"/>
                  <a:gd name="T60" fmla="*/ 39 w 100"/>
                  <a:gd name="T61" fmla="*/ 72 h 83"/>
                  <a:gd name="T62" fmla="*/ 33 w 100"/>
                  <a:gd name="T63" fmla="*/ 69 h 83"/>
                  <a:gd name="T64" fmla="*/ 25 w 100"/>
                  <a:gd name="T65" fmla="*/ 69 h 83"/>
                  <a:gd name="T66" fmla="*/ 19 w 100"/>
                  <a:gd name="T67" fmla="*/ 69 h 83"/>
                  <a:gd name="T68" fmla="*/ 16 w 100"/>
                  <a:gd name="T69" fmla="*/ 69 h 83"/>
                  <a:gd name="T70" fmla="*/ 14 w 100"/>
                  <a:gd name="T71" fmla="*/ 61 h 83"/>
                  <a:gd name="T72" fmla="*/ 14 w 100"/>
                  <a:gd name="T73" fmla="*/ 58 h 83"/>
                  <a:gd name="T74" fmla="*/ 11 w 100"/>
                  <a:gd name="T75" fmla="*/ 58 h 83"/>
                  <a:gd name="T76" fmla="*/ 2 w 100"/>
                  <a:gd name="T77" fmla="*/ 50 h 83"/>
                  <a:gd name="T78" fmla="*/ 2 w 100"/>
                  <a:gd name="T79" fmla="*/ 44 h 83"/>
                  <a:gd name="T80" fmla="*/ 2 w 100"/>
                  <a:gd name="T81" fmla="*/ 44 h 83"/>
                  <a:gd name="T82" fmla="*/ 5 w 100"/>
                  <a:gd name="T83" fmla="*/ 39 h 83"/>
                  <a:gd name="T84" fmla="*/ 8 w 100"/>
                  <a:gd name="T85" fmla="*/ 33 h 83"/>
                  <a:gd name="T86" fmla="*/ 14 w 100"/>
                  <a:gd name="T87" fmla="*/ 28 h 83"/>
                  <a:gd name="T88" fmla="*/ 25 w 100"/>
                  <a:gd name="T89" fmla="*/ 19 h 83"/>
                  <a:gd name="T90" fmla="*/ 33 w 100"/>
                  <a:gd name="T91" fmla="*/ 14 h 83"/>
                  <a:gd name="T92" fmla="*/ 41 w 100"/>
                  <a:gd name="T93" fmla="*/ 8 h 83"/>
                  <a:gd name="T94" fmla="*/ 75 w 100"/>
                  <a:gd name="T95" fmla="*/ 8 h 83"/>
                  <a:gd name="T96" fmla="*/ 89 w 100"/>
                  <a:gd name="T97" fmla="*/ 11 h 83"/>
                  <a:gd name="T98" fmla="*/ 94 w 100"/>
                  <a:gd name="T99" fmla="*/ 0 h 83"/>
                  <a:gd name="T100" fmla="*/ 97 w 100"/>
                  <a:gd name="T101" fmla="*/ 3 h 83"/>
                  <a:gd name="T102" fmla="*/ 100 w 100"/>
                  <a:gd name="T103" fmla="*/ 8 h 83"/>
                  <a:gd name="T104" fmla="*/ 97 w 100"/>
                  <a:gd name="T105" fmla="*/ 1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" h="83">
                    <a:moveTo>
                      <a:pt x="91" y="22"/>
                    </a:moveTo>
                    <a:lnTo>
                      <a:pt x="91" y="19"/>
                    </a:lnTo>
                    <a:lnTo>
                      <a:pt x="78" y="17"/>
                    </a:lnTo>
                    <a:lnTo>
                      <a:pt x="72" y="19"/>
                    </a:lnTo>
                    <a:lnTo>
                      <a:pt x="69" y="19"/>
                    </a:lnTo>
                    <a:lnTo>
                      <a:pt x="66" y="19"/>
                    </a:lnTo>
                    <a:lnTo>
                      <a:pt x="64" y="22"/>
                    </a:lnTo>
                    <a:lnTo>
                      <a:pt x="61" y="22"/>
                    </a:lnTo>
                    <a:lnTo>
                      <a:pt x="55" y="25"/>
                    </a:lnTo>
                    <a:lnTo>
                      <a:pt x="58" y="28"/>
                    </a:lnTo>
                    <a:lnTo>
                      <a:pt x="61" y="28"/>
                    </a:lnTo>
                    <a:lnTo>
                      <a:pt x="64" y="33"/>
                    </a:lnTo>
                    <a:lnTo>
                      <a:pt x="66" y="33"/>
                    </a:lnTo>
                    <a:lnTo>
                      <a:pt x="64" y="30"/>
                    </a:lnTo>
                    <a:lnTo>
                      <a:pt x="58" y="30"/>
                    </a:lnTo>
                    <a:lnTo>
                      <a:pt x="55" y="33"/>
                    </a:lnTo>
                    <a:lnTo>
                      <a:pt x="61" y="33"/>
                    </a:lnTo>
                    <a:lnTo>
                      <a:pt x="61" y="39"/>
                    </a:lnTo>
                    <a:lnTo>
                      <a:pt x="55" y="33"/>
                    </a:lnTo>
                    <a:lnTo>
                      <a:pt x="53" y="33"/>
                    </a:lnTo>
                    <a:lnTo>
                      <a:pt x="53" y="33"/>
                    </a:lnTo>
                    <a:lnTo>
                      <a:pt x="53" y="36"/>
                    </a:lnTo>
                    <a:lnTo>
                      <a:pt x="55" y="39"/>
                    </a:lnTo>
                    <a:lnTo>
                      <a:pt x="55" y="39"/>
                    </a:lnTo>
                    <a:lnTo>
                      <a:pt x="50" y="36"/>
                    </a:lnTo>
                    <a:lnTo>
                      <a:pt x="50" y="33"/>
                    </a:lnTo>
                    <a:lnTo>
                      <a:pt x="44" y="28"/>
                    </a:lnTo>
                    <a:lnTo>
                      <a:pt x="41" y="28"/>
                    </a:lnTo>
                    <a:lnTo>
                      <a:pt x="44" y="25"/>
                    </a:lnTo>
                    <a:lnTo>
                      <a:pt x="39" y="25"/>
                    </a:lnTo>
                    <a:lnTo>
                      <a:pt x="39" y="39"/>
                    </a:lnTo>
                    <a:lnTo>
                      <a:pt x="41" y="39"/>
                    </a:lnTo>
                    <a:lnTo>
                      <a:pt x="41" y="44"/>
                    </a:lnTo>
                    <a:lnTo>
                      <a:pt x="47" y="50"/>
                    </a:lnTo>
                    <a:lnTo>
                      <a:pt x="50" y="56"/>
                    </a:lnTo>
                    <a:lnTo>
                      <a:pt x="47" y="56"/>
                    </a:lnTo>
                    <a:lnTo>
                      <a:pt x="47" y="56"/>
                    </a:lnTo>
                    <a:lnTo>
                      <a:pt x="47" y="53"/>
                    </a:lnTo>
                    <a:lnTo>
                      <a:pt x="47" y="50"/>
                    </a:lnTo>
                    <a:lnTo>
                      <a:pt x="44" y="50"/>
                    </a:lnTo>
                    <a:lnTo>
                      <a:pt x="44" y="53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39" y="58"/>
                    </a:lnTo>
                    <a:lnTo>
                      <a:pt x="39" y="61"/>
                    </a:lnTo>
                    <a:lnTo>
                      <a:pt x="47" y="64"/>
                    </a:lnTo>
                    <a:lnTo>
                      <a:pt x="50" y="64"/>
                    </a:lnTo>
                    <a:lnTo>
                      <a:pt x="50" y="67"/>
                    </a:lnTo>
                    <a:lnTo>
                      <a:pt x="53" y="67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61" y="72"/>
                    </a:lnTo>
                    <a:lnTo>
                      <a:pt x="61" y="83"/>
                    </a:lnTo>
                    <a:lnTo>
                      <a:pt x="58" y="81"/>
                    </a:lnTo>
                    <a:lnTo>
                      <a:pt x="55" y="78"/>
                    </a:lnTo>
                    <a:lnTo>
                      <a:pt x="47" y="78"/>
                    </a:lnTo>
                    <a:lnTo>
                      <a:pt x="44" y="78"/>
                    </a:lnTo>
                    <a:lnTo>
                      <a:pt x="47" y="75"/>
                    </a:lnTo>
                    <a:lnTo>
                      <a:pt x="47" y="75"/>
                    </a:lnTo>
                    <a:lnTo>
                      <a:pt x="44" y="72"/>
                    </a:lnTo>
                    <a:lnTo>
                      <a:pt x="41" y="69"/>
                    </a:lnTo>
                    <a:lnTo>
                      <a:pt x="39" y="72"/>
                    </a:lnTo>
                    <a:lnTo>
                      <a:pt x="36" y="69"/>
                    </a:lnTo>
                    <a:lnTo>
                      <a:pt x="33" y="69"/>
                    </a:lnTo>
                    <a:lnTo>
                      <a:pt x="27" y="69"/>
                    </a:lnTo>
                    <a:lnTo>
                      <a:pt x="25" y="69"/>
                    </a:lnTo>
                    <a:lnTo>
                      <a:pt x="19" y="69"/>
                    </a:lnTo>
                    <a:lnTo>
                      <a:pt x="19" y="69"/>
                    </a:lnTo>
                    <a:lnTo>
                      <a:pt x="19" y="69"/>
                    </a:lnTo>
                    <a:lnTo>
                      <a:pt x="16" y="69"/>
                    </a:lnTo>
                    <a:lnTo>
                      <a:pt x="11" y="61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4" y="58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5" y="50"/>
                    </a:lnTo>
                    <a:lnTo>
                      <a:pt x="2" y="5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5" y="39"/>
                    </a:lnTo>
                    <a:lnTo>
                      <a:pt x="5" y="36"/>
                    </a:lnTo>
                    <a:lnTo>
                      <a:pt x="8" y="33"/>
                    </a:lnTo>
                    <a:lnTo>
                      <a:pt x="11" y="30"/>
                    </a:lnTo>
                    <a:lnTo>
                      <a:pt x="14" y="28"/>
                    </a:lnTo>
                    <a:lnTo>
                      <a:pt x="14" y="19"/>
                    </a:lnTo>
                    <a:lnTo>
                      <a:pt x="25" y="19"/>
                    </a:lnTo>
                    <a:lnTo>
                      <a:pt x="27" y="14"/>
                    </a:lnTo>
                    <a:lnTo>
                      <a:pt x="33" y="14"/>
                    </a:lnTo>
                    <a:lnTo>
                      <a:pt x="39" y="14"/>
                    </a:lnTo>
                    <a:lnTo>
                      <a:pt x="41" y="8"/>
                    </a:lnTo>
                    <a:lnTo>
                      <a:pt x="72" y="5"/>
                    </a:lnTo>
                    <a:lnTo>
                      <a:pt x="75" y="8"/>
                    </a:lnTo>
                    <a:lnTo>
                      <a:pt x="83" y="11"/>
                    </a:lnTo>
                    <a:lnTo>
                      <a:pt x="89" y="11"/>
                    </a:lnTo>
                    <a:lnTo>
                      <a:pt x="94" y="5"/>
                    </a:lnTo>
                    <a:lnTo>
                      <a:pt x="94" y="0"/>
                    </a:lnTo>
                    <a:lnTo>
                      <a:pt x="97" y="0"/>
                    </a:lnTo>
                    <a:lnTo>
                      <a:pt x="97" y="3"/>
                    </a:lnTo>
                    <a:lnTo>
                      <a:pt x="100" y="5"/>
                    </a:lnTo>
                    <a:lnTo>
                      <a:pt x="100" y="8"/>
                    </a:lnTo>
                    <a:lnTo>
                      <a:pt x="97" y="11"/>
                    </a:lnTo>
                    <a:lnTo>
                      <a:pt x="97" y="19"/>
                    </a:lnTo>
                    <a:lnTo>
                      <a:pt x="91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6" name="Freeform 210"/>
              <p:cNvSpPr>
                <a:spLocks noChangeAspect="1"/>
              </p:cNvSpPr>
              <p:nvPr>
                <p:custDataLst>
                  <p:tags r:id="rId534"/>
                </p:custDataLst>
              </p:nvPr>
            </p:nvSpPr>
            <p:spPr bwMode="gray">
              <a:xfrm>
                <a:off x="5925164" y="3406863"/>
                <a:ext cx="36444" cy="44148"/>
              </a:xfrm>
              <a:custGeom>
                <a:avLst/>
                <a:gdLst>
                  <a:gd name="T0" fmla="*/ 11 w 28"/>
                  <a:gd name="T1" fmla="*/ 31 h 34"/>
                  <a:gd name="T2" fmla="*/ 11 w 28"/>
                  <a:gd name="T3" fmla="*/ 28 h 34"/>
                  <a:gd name="T4" fmla="*/ 14 w 28"/>
                  <a:gd name="T5" fmla="*/ 28 h 34"/>
                  <a:gd name="T6" fmla="*/ 14 w 28"/>
                  <a:gd name="T7" fmla="*/ 25 h 34"/>
                  <a:gd name="T8" fmla="*/ 16 w 28"/>
                  <a:gd name="T9" fmla="*/ 25 h 34"/>
                  <a:gd name="T10" fmla="*/ 16 w 28"/>
                  <a:gd name="T11" fmla="*/ 22 h 34"/>
                  <a:gd name="T12" fmla="*/ 16 w 28"/>
                  <a:gd name="T13" fmla="*/ 22 h 34"/>
                  <a:gd name="T14" fmla="*/ 16 w 28"/>
                  <a:gd name="T15" fmla="*/ 22 h 34"/>
                  <a:gd name="T16" fmla="*/ 16 w 28"/>
                  <a:gd name="T17" fmla="*/ 22 h 34"/>
                  <a:gd name="T18" fmla="*/ 16 w 28"/>
                  <a:gd name="T19" fmla="*/ 20 h 34"/>
                  <a:gd name="T20" fmla="*/ 16 w 28"/>
                  <a:gd name="T21" fmla="*/ 20 h 34"/>
                  <a:gd name="T22" fmla="*/ 16 w 28"/>
                  <a:gd name="T23" fmla="*/ 17 h 34"/>
                  <a:gd name="T24" fmla="*/ 22 w 28"/>
                  <a:gd name="T25" fmla="*/ 17 h 34"/>
                  <a:gd name="T26" fmla="*/ 22 w 28"/>
                  <a:gd name="T27" fmla="*/ 20 h 34"/>
                  <a:gd name="T28" fmla="*/ 22 w 28"/>
                  <a:gd name="T29" fmla="*/ 17 h 34"/>
                  <a:gd name="T30" fmla="*/ 25 w 28"/>
                  <a:gd name="T31" fmla="*/ 17 h 34"/>
                  <a:gd name="T32" fmla="*/ 22 w 28"/>
                  <a:gd name="T33" fmla="*/ 17 h 34"/>
                  <a:gd name="T34" fmla="*/ 22 w 28"/>
                  <a:gd name="T35" fmla="*/ 17 h 34"/>
                  <a:gd name="T36" fmla="*/ 22 w 28"/>
                  <a:gd name="T37" fmla="*/ 17 h 34"/>
                  <a:gd name="T38" fmla="*/ 22 w 28"/>
                  <a:gd name="T39" fmla="*/ 14 h 34"/>
                  <a:gd name="T40" fmla="*/ 22 w 28"/>
                  <a:gd name="T41" fmla="*/ 14 h 34"/>
                  <a:gd name="T42" fmla="*/ 25 w 28"/>
                  <a:gd name="T43" fmla="*/ 14 h 34"/>
                  <a:gd name="T44" fmla="*/ 25 w 28"/>
                  <a:gd name="T45" fmla="*/ 11 h 34"/>
                  <a:gd name="T46" fmla="*/ 28 w 28"/>
                  <a:gd name="T47" fmla="*/ 11 h 34"/>
                  <a:gd name="T48" fmla="*/ 28 w 28"/>
                  <a:gd name="T49" fmla="*/ 11 h 34"/>
                  <a:gd name="T50" fmla="*/ 28 w 28"/>
                  <a:gd name="T51" fmla="*/ 11 h 34"/>
                  <a:gd name="T52" fmla="*/ 28 w 28"/>
                  <a:gd name="T53" fmla="*/ 11 h 34"/>
                  <a:gd name="T54" fmla="*/ 28 w 28"/>
                  <a:gd name="T55" fmla="*/ 8 h 34"/>
                  <a:gd name="T56" fmla="*/ 25 w 28"/>
                  <a:gd name="T57" fmla="*/ 8 h 34"/>
                  <a:gd name="T58" fmla="*/ 28 w 28"/>
                  <a:gd name="T59" fmla="*/ 6 h 34"/>
                  <a:gd name="T60" fmla="*/ 25 w 28"/>
                  <a:gd name="T61" fmla="*/ 6 h 34"/>
                  <a:gd name="T62" fmla="*/ 25 w 28"/>
                  <a:gd name="T63" fmla="*/ 6 h 34"/>
                  <a:gd name="T64" fmla="*/ 22 w 28"/>
                  <a:gd name="T65" fmla="*/ 6 h 34"/>
                  <a:gd name="T66" fmla="*/ 22 w 28"/>
                  <a:gd name="T67" fmla="*/ 3 h 34"/>
                  <a:gd name="T68" fmla="*/ 25 w 28"/>
                  <a:gd name="T69" fmla="*/ 3 h 34"/>
                  <a:gd name="T70" fmla="*/ 25 w 28"/>
                  <a:gd name="T71" fmla="*/ 3 h 34"/>
                  <a:gd name="T72" fmla="*/ 25 w 28"/>
                  <a:gd name="T73" fmla="*/ 3 h 34"/>
                  <a:gd name="T74" fmla="*/ 25 w 28"/>
                  <a:gd name="T75" fmla="*/ 3 h 34"/>
                  <a:gd name="T76" fmla="*/ 25 w 28"/>
                  <a:gd name="T77" fmla="*/ 3 h 34"/>
                  <a:gd name="T78" fmla="*/ 22 w 28"/>
                  <a:gd name="T79" fmla="*/ 3 h 34"/>
                  <a:gd name="T80" fmla="*/ 22 w 28"/>
                  <a:gd name="T81" fmla="*/ 0 h 34"/>
                  <a:gd name="T82" fmla="*/ 22 w 28"/>
                  <a:gd name="T83" fmla="*/ 0 h 34"/>
                  <a:gd name="T84" fmla="*/ 22 w 28"/>
                  <a:gd name="T85" fmla="*/ 0 h 34"/>
                  <a:gd name="T86" fmla="*/ 16 w 28"/>
                  <a:gd name="T87" fmla="*/ 0 h 34"/>
                  <a:gd name="T88" fmla="*/ 16 w 28"/>
                  <a:gd name="T89" fmla="*/ 6 h 34"/>
                  <a:gd name="T90" fmla="*/ 14 w 28"/>
                  <a:gd name="T91" fmla="*/ 8 h 34"/>
                  <a:gd name="T92" fmla="*/ 11 w 28"/>
                  <a:gd name="T93" fmla="*/ 14 h 34"/>
                  <a:gd name="T94" fmla="*/ 8 w 28"/>
                  <a:gd name="T95" fmla="*/ 17 h 34"/>
                  <a:gd name="T96" fmla="*/ 8 w 28"/>
                  <a:gd name="T97" fmla="*/ 17 h 34"/>
                  <a:gd name="T98" fmla="*/ 8 w 28"/>
                  <a:gd name="T99" fmla="*/ 17 h 34"/>
                  <a:gd name="T100" fmla="*/ 0 w 28"/>
                  <a:gd name="T101" fmla="*/ 31 h 34"/>
                  <a:gd name="T102" fmla="*/ 2 w 28"/>
                  <a:gd name="T103" fmla="*/ 34 h 34"/>
                  <a:gd name="T104" fmla="*/ 5 w 28"/>
                  <a:gd name="T105" fmla="*/ 34 h 34"/>
                  <a:gd name="T106" fmla="*/ 5 w 28"/>
                  <a:gd name="T107" fmla="*/ 34 h 34"/>
                  <a:gd name="T108" fmla="*/ 5 w 28"/>
                  <a:gd name="T109" fmla="*/ 34 h 34"/>
                  <a:gd name="T110" fmla="*/ 8 w 28"/>
                  <a:gd name="T111" fmla="*/ 34 h 34"/>
                  <a:gd name="T112" fmla="*/ 8 w 28"/>
                  <a:gd name="T113" fmla="*/ 34 h 34"/>
                  <a:gd name="T114" fmla="*/ 8 w 28"/>
                  <a:gd name="T115" fmla="*/ 28 h 34"/>
                  <a:gd name="T116" fmla="*/ 8 w 28"/>
                  <a:gd name="T117" fmla="*/ 28 h 34"/>
                  <a:gd name="T118" fmla="*/ 11 w 28"/>
                  <a:gd name="T119" fmla="*/ 28 h 34"/>
                  <a:gd name="T120" fmla="*/ 11 w 28"/>
                  <a:gd name="T121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" h="34">
                    <a:moveTo>
                      <a:pt x="11" y="31"/>
                    </a:moveTo>
                    <a:lnTo>
                      <a:pt x="11" y="28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16" y="25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7"/>
                    </a:lnTo>
                    <a:lnTo>
                      <a:pt x="22" y="17"/>
                    </a:lnTo>
                    <a:lnTo>
                      <a:pt x="22" y="20"/>
                    </a:lnTo>
                    <a:lnTo>
                      <a:pt x="22" y="17"/>
                    </a:lnTo>
                    <a:lnTo>
                      <a:pt x="25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8" y="11"/>
                    </a:lnTo>
                    <a:lnTo>
                      <a:pt x="28" y="11"/>
                    </a:lnTo>
                    <a:lnTo>
                      <a:pt x="28" y="11"/>
                    </a:lnTo>
                    <a:lnTo>
                      <a:pt x="28" y="11"/>
                    </a:lnTo>
                    <a:lnTo>
                      <a:pt x="28" y="8"/>
                    </a:lnTo>
                    <a:lnTo>
                      <a:pt x="25" y="8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0" y="31"/>
                    </a:lnTo>
                    <a:lnTo>
                      <a:pt x="2" y="34"/>
                    </a:lnTo>
                    <a:lnTo>
                      <a:pt x="5" y="34"/>
                    </a:lnTo>
                    <a:lnTo>
                      <a:pt x="5" y="34"/>
                    </a:lnTo>
                    <a:lnTo>
                      <a:pt x="5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1" y="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7" name="Freeform 211"/>
              <p:cNvSpPr>
                <a:spLocks noChangeAspect="1"/>
              </p:cNvSpPr>
              <p:nvPr>
                <p:custDataLst>
                  <p:tags r:id="rId535"/>
                </p:custDataLst>
              </p:nvPr>
            </p:nvSpPr>
            <p:spPr bwMode="gray">
              <a:xfrm>
                <a:off x="6353369" y="3603955"/>
                <a:ext cx="7592" cy="15767"/>
              </a:xfrm>
              <a:custGeom>
                <a:avLst/>
                <a:gdLst>
                  <a:gd name="T0" fmla="*/ 0 w 6"/>
                  <a:gd name="T1" fmla="*/ 6 h 11"/>
                  <a:gd name="T2" fmla="*/ 0 w 6"/>
                  <a:gd name="T3" fmla="*/ 6 h 11"/>
                  <a:gd name="T4" fmla="*/ 3 w 6"/>
                  <a:gd name="T5" fmla="*/ 9 h 11"/>
                  <a:gd name="T6" fmla="*/ 0 w 6"/>
                  <a:gd name="T7" fmla="*/ 9 h 11"/>
                  <a:gd name="T8" fmla="*/ 3 w 6"/>
                  <a:gd name="T9" fmla="*/ 9 h 11"/>
                  <a:gd name="T10" fmla="*/ 0 w 6"/>
                  <a:gd name="T11" fmla="*/ 11 h 11"/>
                  <a:gd name="T12" fmla="*/ 3 w 6"/>
                  <a:gd name="T13" fmla="*/ 11 h 11"/>
                  <a:gd name="T14" fmla="*/ 3 w 6"/>
                  <a:gd name="T15" fmla="*/ 11 h 11"/>
                  <a:gd name="T16" fmla="*/ 3 w 6"/>
                  <a:gd name="T17" fmla="*/ 11 h 11"/>
                  <a:gd name="T18" fmla="*/ 6 w 6"/>
                  <a:gd name="T19" fmla="*/ 9 h 11"/>
                  <a:gd name="T20" fmla="*/ 6 w 6"/>
                  <a:gd name="T21" fmla="*/ 6 h 11"/>
                  <a:gd name="T22" fmla="*/ 6 w 6"/>
                  <a:gd name="T23" fmla="*/ 6 h 11"/>
                  <a:gd name="T24" fmla="*/ 6 w 6"/>
                  <a:gd name="T25" fmla="*/ 3 h 11"/>
                  <a:gd name="T26" fmla="*/ 6 w 6"/>
                  <a:gd name="T27" fmla="*/ 3 h 11"/>
                  <a:gd name="T28" fmla="*/ 6 w 6"/>
                  <a:gd name="T29" fmla="*/ 0 h 11"/>
                  <a:gd name="T30" fmla="*/ 6 w 6"/>
                  <a:gd name="T31" fmla="*/ 0 h 11"/>
                  <a:gd name="T32" fmla="*/ 3 w 6"/>
                  <a:gd name="T33" fmla="*/ 0 h 11"/>
                  <a:gd name="T34" fmla="*/ 3 w 6"/>
                  <a:gd name="T35" fmla="*/ 0 h 11"/>
                  <a:gd name="T36" fmla="*/ 0 w 6"/>
                  <a:gd name="T3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11">
                    <a:moveTo>
                      <a:pt x="0" y="6"/>
                    </a:moveTo>
                    <a:lnTo>
                      <a:pt x="0" y="6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8" name="Freeform 212"/>
              <p:cNvSpPr>
                <a:spLocks noChangeAspect="1"/>
              </p:cNvSpPr>
              <p:nvPr>
                <p:custDataLst>
                  <p:tags r:id="rId536"/>
                </p:custDataLst>
              </p:nvPr>
            </p:nvSpPr>
            <p:spPr bwMode="gray">
              <a:xfrm>
                <a:off x="6353369" y="3603955"/>
                <a:ext cx="7592" cy="15767"/>
              </a:xfrm>
              <a:custGeom>
                <a:avLst/>
                <a:gdLst>
                  <a:gd name="T0" fmla="*/ 0 w 6"/>
                  <a:gd name="T1" fmla="*/ 6 h 11"/>
                  <a:gd name="T2" fmla="*/ 0 w 6"/>
                  <a:gd name="T3" fmla="*/ 6 h 11"/>
                  <a:gd name="T4" fmla="*/ 3 w 6"/>
                  <a:gd name="T5" fmla="*/ 9 h 11"/>
                  <a:gd name="T6" fmla="*/ 0 w 6"/>
                  <a:gd name="T7" fmla="*/ 9 h 11"/>
                  <a:gd name="T8" fmla="*/ 3 w 6"/>
                  <a:gd name="T9" fmla="*/ 9 h 11"/>
                  <a:gd name="T10" fmla="*/ 0 w 6"/>
                  <a:gd name="T11" fmla="*/ 11 h 11"/>
                  <a:gd name="T12" fmla="*/ 3 w 6"/>
                  <a:gd name="T13" fmla="*/ 11 h 11"/>
                  <a:gd name="T14" fmla="*/ 3 w 6"/>
                  <a:gd name="T15" fmla="*/ 11 h 11"/>
                  <a:gd name="T16" fmla="*/ 3 w 6"/>
                  <a:gd name="T17" fmla="*/ 11 h 11"/>
                  <a:gd name="T18" fmla="*/ 6 w 6"/>
                  <a:gd name="T19" fmla="*/ 9 h 11"/>
                  <a:gd name="T20" fmla="*/ 6 w 6"/>
                  <a:gd name="T21" fmla="*/ 6 h 11"/>
                  <a:gd name="T22" fmla="*/ 6 w 6"/>
                  <a:gd name="T23" fmla="*/ 6 h 11"/>
                  <a:gd name="T24" fmla="*/ 6 w 6"/>
                  <a:gd name="T25" fmla="*/ 3 h 11"/>
                  <a:gd name="T26" fmla="*/ 6 w 6"/>
                  <a:gd name="T27" fmla="*/ 3 h 11"/>
                  <a:gd name="T28" fmla="*/ 6 w 6"/>
                  <a:gd name="T29" fmla="*/ 0 h 11"/>
                  <a:gd name="T30" fmla="*/ 6 w 6"/>
                  <a:gd name="T31" fmla="*/ 0 h 11"/>
                  <a:gd name="T32" fmla="*/ 3 w 6"/>
                  <a:gd name="T33" fmla="*/ 0 h 11"/>
                  <a:gd name="T34" fmla="*/ 3 w 6"/>
                  <a:gd name="T35" fmla="*/ 0 h 11"/>
                  <a:gd name="T36" fmla="*/ 0 w 6"/>
                  <a:gd name="T3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11">
                    <a:moveTo>
                      <a:pt x="0" y="6"/>
                    </a:moveTo>
                    <a:lnTo>
                      <a:pt x="0" y="6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9" name="Freeform 217"/>
              <p:cNvSpPr>
                <a:spLocks noChangeAspect="1"/>
              </p:cNvSpPr>
              <p:nvPr>
                <p:custDataLst>
                  <p:tags r:id="rId537"/>
                </p:custDataLst>
              </p:nvPr>
            </p:nvSpPr>
            <p:spPr bwMode="gray">
              <a:xfrm>
                <a:off x="4872873" y="3870422"/>
                <a:ext cx="65294" cy="18921"/>
              </a:xfrm>
              <a:custGeom>
                <a:avLst/>
                <a:gdLst>
                  <a:gd name="T0" fmla="*/ 3 w 50"/>
                  <a:gd name="T1" fmla="*/ 14 h 14"/>
                  <a:gd name="T2" fmla="*/ 3 w 50"/>
                  <a:gd name="T3" fmla="*/ 11 h 14"/>
                  <a:gd name="T4" fmla="*/ 17 w 50"/>
                  <a:gd name="T5" fmla="*/ 9 h 14"/>
                  <a:gd name="T6" fmla="*/ 17 w 50"/>
                  <a:gd name="T7" fmla="*/ 9 h 14"/>
                  <a:gd name="T8" fmla="*/ 17 w 50"/>
                  <a:gd name="T9" fmla="*/ 9 h 14"/>
                  <a:gd name="T10" fmla="*/ 20 w 50"/>
                  <a:gd name="T11" fmla="*/ 9 h 14"/>
                  <a:gd name="T12" fmla="*/ 20 w 50"/>
                  <a:gd name="T13" fmla="*/ 9 h 14"/>
                  <a:gd name="T14" fmla="*/ 23 w 50"/>
                  <a:gd name="T15" fmla="*/ 9 h 14"/>
                  <a:gd name="T16" fmla="*/ 25 w 50"/>
                  <a:gd name="T17" fmla="*/ 6 h 14"/>
                  <a:gd name="T18" fmla="*/ 28 w 50"/>
                  <a:gd name="T19" fmla="*/ 6 h 14"/>
                  <a:gd name="T20" fmla="*/ 28 w 50"/>
                  <a:gd name="T21" fmla="*/ 6 h 14"/>
                  <a:gd name="T22" fmla="*/ 31 w 50"/>
                  <a:gd name="T23" fmla="*/ 6 h 14"/>
                  <a:gd name="T24" fmla="*/ 31 w 50"/>
                  <a:gd name="T25" fmla="*/ 6 h 14"/>
                  <a:gd name="T26" fmla="*/ 34 w 50"/>
                  <a:gd name="T27" fmla="*/ 6 h 14"/>
                  <a:gd name="T28" fmla="*/ 36 w 50"/>
                  <a:gd name="T29" fmla="*/ 9 h 14"/>
                  <a:gd name="T30" fmla="*/ 36 w 50"/>
                  <a:gd name="T31" fmla="*/ 9 h 14"/>
                  <a:gd name="T32" fmla="*/ 39 w 50"/>
                  <a:gd name="T33" fmla="*/ 9 h 14"/>
                  <a:gd name="T34" fmla="*/ 42 w 50"/>
                  <a:gd name="T35" fmla="*/ 9 h 14"/>
                  <a:gd name="T36" fmla="*/ 42 w 50"/>
                  <a:gd name="T37" fmla="*/ 9 h 14"/>
                  <a:gd name="T38" fmla="*/ 45 w 50"/>
                  <a:gd name="T39" fmla="*/ 9 h 14"/>
                  <a:gd name="T40" fmla="*/ 48 w 50"/>
                  <a:gd name="T41" fmla="*/ 9 h 14"/>
                  <a:gd name="T42" fmla="*/ 50 w 50"/>
                  <a:gd name="T43" fmla="*/ 6 h 14"/>
                  <a:gd name="T44" fmla="*/ 50 w 50"/>
                  <a:gd name="T45" fmla="*/ 6 h 14"/>
                  <a:gd name="T46" fmla="*/ 50 w 50"/>
                  <a:gd name="T47" fmla="*/ 6 h 14"/>
                  <a:gd name="T48" fmla="*/ 48 w 50"/>
                  <a:gd name="T49" fmla="*/ 6 h 14"/>
                  <a:gd name="T50" fmla="*/ 48 w 50"/>
                  <a:gd name="T51" fmla="*/ 6 h 14"/>
                  <a:gd name="T52" fmla="*/ 48 w 50"/>
                  <a:gd name="T53" fmla="*/ 3 h 14"/>
                  <a:gd name="T54" fmla="*/ 45 w 50"/>
                  <a:gd name="T55" fmla="*/ 3 h 14"/>
                  <a:gd name="T56" fmla="*/ 42 w 50"/>
                  <a:gd name="T57" fmla="*/ 6 h 14"/>
                  <a:gd name="T58" fmla="*/ 39 w 50"/>
                  <a:gd name="T59" fmla="*/ 6 h 14"/>
                  <a:gd name="T60" fmla="*/ 39 w 50"/>
                  <a:gd name="T61" fmla="*/ 6 h 14"/>
                  <a:gd name="T62" fmla="*/ 36 w 50"/>
                  <a:gd name="T63" fmla="*/ 3 h 14"/>
                  <a:gd name="T64" fmla="*/ 36 w 50"/>
                  <a:gd name="T65" fmla="*/ 3 h 14"/>
                  <a:gd name="T66" fmla="*/ 34 w 50"/>
                  <a:gd name="T67" fmla="*/ 3 h 14"/>
                  <a:gd name="T68" fmla="*/ 31 w 50"/>
                  <a:gd name="T69" fmla="*/ 0 h 14"/>
                  <a:gd name="T70" fmla="*/ 31 w 50"/>
                  <a:gd name="T71" fmla="*/ 0 h 14"/>
                  <a:gd name="T72" fmla="*/ 28 w 50"/>
                  <a:gd name="T73" fmla="*/ 0 h 14"/>
                  <a:gd name="T74" fmla="*/ 25 w 50"/>
                  <a:gd name="T75" fmla="*/ 0 h 14"/>
                  <a:gd name="T76" fmla="*/ 25 w 50"/>
                  <a:gd name="T77" fmla="*/ 0 h 14"/>
                  <a:gd name="T78" fmla="*/ 23 w 50"/>
                  <a:gd name="T79" fmla="*/ 3 h 14"/>
                  <a:gd name="T80" fmla="*/ 23 w 50"/>
                  <a:gd name="T81" fmla="*/ 3 h 14"/>
                  <a:gd name="T82" fmla="*/ 6 w 50"/>
                  <a:gd name="T83" fmla="*/ 3 h 14"/>
                  <a:gd name="T84" fmla="*/ 6 w 50"/>
                  <a:gd name="T85" fmla="*/ 6 h 14"/>
                  <a:gd name="T86" fmla="*/ 6 w 50"/>
                  <a:gd name="T87" fmla="*/ 6 h 14"/>
                  <a:gd name="T88" fmla="*/ 3 w 50"/>
                  <a:gd name="T89" fmla="*/ 6 h 14"/>
                  <a:gd name="T90" fmla="*/ 3 w 50"/>
                  <a:gd name="T91" fmla="*/ 6 h 14"/>
                  <a:gd name="T92" fmla="*/ 3 w 50"/>
                  <a:gd name="T93" fmla="*/ 9 h 14"/>
                  <a:gd name="T94" fmla="*/ 0 w 50"/>
                  <a:gd name="T95" fmla="*/ 9 h 14"/>
                  <a:gd name="T96" fmla="*/ 3 w 50"/>
                  <a:gd name="T97" fmla="*/ 11 h 14"/>
                  <a:gd name="T98" fmla="*/ 3 w 50"/>
                  <a:gd name="T99" fmla="*/ 14 h 14"/>
                  <a:gd name="T100" fmla="*/ 3 w 50"/>
                  <a:gd name="T10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14">
                    <a:moveTo>
                      <a:pt x="3" y="14"/>
                    </a:moveTo>
                    <a:lnTo>
                      <a:pt x="3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0" y="9"/>
                    </a:lnTo>
                    <a:lnTo>
                      <a:pt x="23" y="9"/>
                    </a:lnTo>
                    <a:lnTo>
                      <a:pt x="25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34" y="6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9" y="9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3"/>
                    </a:lnTo>
                    <a:lnTo>
                      <a:pt x="45" y="3"/>
                    </a:lnTo>
                    <a:lnTo>
                      <a:pt x="42" y="6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4" y="3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3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0" name="Freeform 218"/>
              <p:cNvSpPr>
                <a:spLocks noChangeAspect="1"/>
              </p:cNvSpPr>
              <p:nvPr>
                <p:custDataLst>
                  <p:tags r:id="rId538"/>
                </p:custDataLst>
              </p:nvPr>
            </p:nvSpPr>
            <p:spPr bwMode="gray">
              <a:xfrm>
                <a:off x="4872873" y="3870422"/>
                <a:ext cx="65294" cy="18921"/>
              </a:xfrm>
              <a:custGeom>
                <a:avLst/>
                <a:gdLst>
                  <a:gd name="T0" fmla="*/ 3 w 50"/>
                  <a:gd name="T1" fmla="*/ 14 h 14"/>
                  <a:gd name="T2" fmla="*/ 3 w 50"/>
                  <a:gd name="T3" fmla="*/ 11 h 14"/>
                  <a:gd name="T4" fmla="*/ 17 w 50"/>
                  <a:gd name="T5" fmla="*/ 9 h 14"/>
                  <a:gd name="T6" fmla="*/ 17 w 50"/>
                  <a:gd name="T7" fmla="*/ 9 h 14"/>
                  <a:gd name="T8" fmla="*/ 17 w 50"/>
                  <a:gd name="T9" fmla="*/ 9 h 14"/>
                  <a:gd name="T10" fmla="*/ 20 w 50"/>
                  <a:gd name="T11" fmla="*/ 9 h 14"/>
                  <a:gd name="T12" fmla="*/ 20 w 50"/>
                  <a:gd name="T13" fmla="*/ 9 h 14"/>
                  <a:gd name="T14" fmla="*/ 23 w 50"/>
                  <a:gd name="T15" fmla="*/ 9 h 14"/>
                  <a:gd name="T16" fmla="*/ 25 w 50"/>
                  <a:gd name="T17" fmla="*/ 6 h 14"/>
                  <a:gd name="T18" fmla="*/ 28 w 50"/>
                  <a:gd name="T19" fmla="*/ 6 h 14"/>
                  <a:gd name="T20" fmla="*/ 28 w 50"/>
                  <a:gd name="T21" fmla="*/ 6 h 14"/>
                  <a:gd name="T22" fmla="*/ 31 w 50"/>
                  <a:gd name="T23" fmla="*/ 6 h 14"/>
                  <a:gd name="T24" fmla="*/ 31 w 50"/>
                  <a:gd name="T25" fmla="*/ 6 h 14"/>
                  <a:gd name="T26" fmla="*/ 34 w 50"/>
                  <a:gd name="T27" fmla="*/ 6 h 14"/>
                  <a:gd name="T28" fmla="*/ 36 w 50"/>
                  <a:gd name="T29" fmla="*/ 9 h 14"/>
                  <a:gd name="T30" fmla="*/ 36 w 50"/>
                  <a:gd name="T31" fmla="*/ 9 h 14"/>
                  <a:gd name="T32" fmla="*/ 39 w 50"/>
                  <a:gd name="T33" fmla="*/ 9 h 14"/>
                  <a:gd name="T34" fmla="*/ 42 w 50"/>
                  <a:gd name="T35" fmla="*/ 9 h 14"/>
                  <a:gd name="T36" fmla="*/ 42 w 50"/>
                  <a:gd name="T37" fmla="*/ 9 h 14"/>
                  <a:gd name="T38" fmla="*/ 45 w 50"/>
                  <a:gd name="T39" fmla="*/ 9 h 14"/>
                  <a:gd name="T40" fmla="*/ 48 w 50"/>
                  <a:gd name="T41" fmla="*/ 9 h 14"/>
                  <a:gd name="T42" fmla="*/ 50 w 50"/>
                  <a:gd name="T43" fmla="*/ 6 h 14"/>
                  <a:gd name="T44" fmla="*/ 50 w 50"/>
                  <a:gd name="T45" fmla="*/ 6 h 14"/>
                  <a:gd name="T46" fmla="*/ 50 w 50"/>
                  <a:gd name="T47" fmla="*/ 6 h 14"/>
                  <a:gd name="T48" fmla="*/ 48 w 50"/>
                  <a:gd name="T49" fmla="*/ 6 h 14"/>
                  <a:gd name="T50" fmla="*/ 48 w 50"/>
                  <a:gd name="T51" fmla="*/ 6 h 14"/>
                  <a:gd name="T52" fmla="*/ 48 w 50"/>
                  <a:gd name="T53" fmla="*/ 3 h 14"/>
                  <a:gd name="T54" fmla="*/ 45 w 50"/>
                  <a:gd name="T55" fmla="*/ 3 h 14"/>
                  <a:gd name="T56" fmla="*/ 42 w 50"/>
                  <a:gd name="T57" fmla="*/ 6 h 14"/>
                  <a:gd name="T58" fmla="*/ 39 w 50"/>
                  <a:gd name="T59" fmla="*/ 6 h 14"/>
                  <a:gd name="T60" fmla="*/ 39 w 50"/>
                  <a:gd name="T61" fmla="*/ 6 h 14"/>
                  <a:gd name="T62" fmla="*/ 36 w 50"/>
                  <a:gd name="T63" fmla="*/ 3 h 14"/>
                  <a:gd name="T64" fmla="*/ 36 w 50"/>
                  <a:gd name="T65" fmla="*/ 3 h 14"/>
                  <a:gd name="T66" fmla="*/ 34 w 50"/>
                  <a:gd name="T67" fmla="*/ 3 h 14"/>
                  <a:gd name="T68" fmla="*/ 31 w 50"/>
                  <a:gd name="T69" fmla="*/ 0 h 14"/>
                  <a:gd name="T70" fmla="*/ 31 w 50"/>
                  <a:gd name="T71" fmla="*/ 0 h 14"/>
                  <a:gd name="T72" fmla="*/ 28 w 50"/>
                  <a:gd name="T73" fmla="*/ 0 h 14"/>
                  <a:gd name="T74" fmla="*/ 25 w 50"/>
                  <a:gd name="T75" fmla="*/ 0 h 14"/>
                  <a:gd name="T76" fmla="*/ 25 w 50"/>
                  <a:gd name="T77" fmla="*/ 0 h 14"/>
                  <a:gd name="T78" fmla="*/ 23 w 50"/>
                  <a:gd name="T79" fmla="*/ 3 h 14"/>
                  <a:gd name="T80" fmla="*/ 23 w 50"/>
                  <a:gd name="T81" fmla="*/ 3 h 14"/>
                  <a:gd name="T82" fmla="*/ 6 w 50"/>
                  <a:gd name="T83" fmla="*/ 3 h 14"/>
                  <a:gd name="T84" fmla="*/ 6 w 50"/>
                  <a:gd name="T85" fmla="*/ 6 h 14"/>
                  <a:gd name="T86" fmla="*/ 6 w 50"/>
                  <a:gd name="T87" fmla="*/ 6 h 14"/>
                  <a:gd name="T88" fmla="*/ 3 w 50"/>
                  <a:gd name="T89" fmla="*/ 6 h 14"/>
                  <a:gd name="T90" fmla="*/ 3 w 50"/>
                  <a:gd name="T91" fmla="*/ 6 h 14"/>
                  <a:gd name="T92" fmla="*/ 3 w 50"/>
                  <a:gd name="T93" fmla="*/ 9 h 14"/>
                  <a:gd name="T94" fmla="*/ 0 w 50"/>
                  <a:gd name="T95" fmla="*/ 9 h 14"/>
                  <a:gd name="T96" fmla="*/ 3 w 50"/>
                  <a:gd name="T97" fmla="*/ 11 h 14"/>
                  <a:gd name="T98" fmla="*/ 3 w 50"/>
                  <a:gd name="T99" fmla="*/ 14 h 14"/>
                  <a:gd name="T100" fmla="*/ 3 w 50"/>
                  <a:gd name="T10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14">
                    <a:moveTo>
                      <a:pt x="3" y="14"/>
                    </a:moveTo>
                    <a:lnTo>
                      <a:pt x="3" y="11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0" y="9"/>
                    </a:lnTo>
                    <a:lnTo>
                      <a:pt x="23" y="9"/>
                    </a:lnTo>
                    <a:lnTo>
                      <a:pt x="25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34" y="6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9" y="9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45" y="9"/>
                    </a:lnTo>
                    <a:lnTo>
                      <a:pt x="48" y="9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3"/>
                    </a:lnTo>
                    <a:lnTo>
                      <a:pt x="45" y="3"/>
                    </a:lnTo>
                    <a:lnTo>
                      <a:pt x="42" y="6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4" y="3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3" y="3"/>
                    </a:lnTo>
                    <a:lnTo>
                      <a:pt x="23" y="3"/>
                    </a:lnTo>
                    <a:lnTo>
                      <a:pt x="6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3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1" name="Freeform 219"/>
              <p:cNvSpPr>
                <a:spLocks noChangeAspect="1"/>
              </p:cNvSpPr>
              <p:nvPr>
                <p:custDataLst>
                  <p:tags r:id="rId539"/>
                </p:custDataLst>
              </p:nvPr>
            </p:nvSpPr>
            <p:spPr bwMode="gray">
              <a:xfrm>
                <a:off x="4877429" y="3890921"/>
                <a:ext cx="60739" cy="37842"/>
              </a:xfrm>
              <a:custGeom>
                <a:avLst/>
                <a:gdLst>
                  <a:gd name="T0" fmla="*/ 47 w 47"/>
                  <a:gd name="T1" fmla="*/ 0 h 28"/>
                  <a:gd name="T2" fmla="*/ 47 w 47"/>
                  <a:gd name="T3" fmla="*/ 3 h 28"/>
                  <a:gd name="T4" fmla="*/ 47 w 47"/>
                  <a:gd name="T5" fmla="*/ 6 h 28"/>
                  <a:gd name="T6" fmla="*/ 47 w 47"/>
                  <a:gd name="T7" fmla="*/ 6 h 28"/>
                  <a:gd name="T8" fmla="*/ 47 w 47"/>
                  <a:gd name="T9" fmla="*/ 8 h 28"/>
                  <a:gd name="T10" fmla="*/ 47 w 47"/>
                  <a:gd name="T11" fmla="*/ 8 h 28"/>
                  <a:gd name="T12" fmla="*/ 45 w 47"/>
                  <a:gd name="T13" fmla="*/ 8 h 28"/>
                  <a:gd name="T14" fmla="*/ 45 w 47"/>
                  <a:gd name="T15" fmla="*/ 8 h 28"/>
                  <a:gd name="T16" fmla="*/ 45 w 47"/>
                  <a:gd name="T17" fmla="*/ 8 h 28"/>
                  <a:gd name="T18" fmla="*/ 47 w 47"/>
                  <a:gd name="T19" fmla="*/ 11 h 28"/>
                  <a:gd name="T20" fmla="*/ 47 w 47"/>
                  <a:gd name="T21" fmla="*/ 11 h 28"/>
                  <a:gd name="T22" fmla="*/ 47 w 47"/>
                  <a:gd name="T23" fmla="*/ 17 h 28"/>
                  <a:gd name="T24" fmla="*/ 45 w 47"/>
                  <a:gd name="T25" fmla="*/ 17 h 28"/>
                  <a:gd name="T26" fmla="*/ 45 w 47"/>
                  <a:gd name="T27" fmla="*/ 17 h 28"/>
                  <a:gd name="T28" fmla="*/ 39 w 47"/>
                  <a:gd name="T29" fmla="*/ 17 h 28"/>
                  <a:gd name="T30" fmla="*/ 33 w 47"/>
                  <a:gd name="T31" fmla="*/ 19 h 28"/>
                  <a:gd name="T32" fmla="*/ 31 w 47"/>
                  <a:gd name="T33" fmla="*/ 22 h 28"/>
                  <a:gd name="T34" fmla="*/ 28 w 47"/>
                  <a:gd name="T35" fmla="*/ 28 h 28"/>
                  <a:gd name="T36" fmla="*/ 28 w 47"/>
                  <a:gd name="T37" fmla="*/ 28 h 28"/>
                  <a:gd name="T38" fmla="*/ 25 w 47"/>
                  <a:gd name="T39" fmla="*/ 28 h 28"/>
                  <a:gd name="T40" fmla="*/ 25 w 47"/>
                  <a:gd name="T41" fmla="*/ 28 h 28"/>
                  <a:gd name="T42" fmla="*/ 25 w 47"/>
                  <a:gd name="T43" fmla="*/ 28 h 28"/>
                  <a:gd name="T44" fmla="*/ 25 w 47"/>
                  <a:gd name="T45" fmla="*/ 28 h 28"/>
                  <a:gd name="T46" fmla="*/ 22 w 47"/>
                  <a:gd name="T47" fmla="*/ 28 h 28"/>
                  <a:gd name="T48" fmla="*/ 22 w 47"/>
                  <a:gd name="T49" fmla="*/ 25 h 28"/>
                  <a:gd name="T50" fmla="*/ 20 w 47"/>
                  <a:gd name="T51" fmla="*/ 22 h 28"/>
                  <a:gd name="T52" fmla="*/ 22 w 47"/>
                  <a:gd name="T53" fmla="*/ 19 h 28"/>
                  <a:gd name="T54" fmla="*/ 20 w 47"/>
                  <a:gd name="T55" fmla="*/ 17 h 28"/>
                  <a:gd name="T56" fmla="*/ 22 w 47"/>
                  <a:gd name="T57" fmla="*/ 17 h 28"/>
                  <a:gd name="T58" fmla="*/ 28 w 47"/>
                  <a:gd name="T59" fmla="*/ 17 h 28"/>
                  <a:gd name="T60" fmla="*/ 28 w 47"/>
                  <a:gd name="T61" fmla="*/ 14 h 28"/>
                  <a:gd name="T62" fmla="*/ 20 w 47"/>
                  <a:gd name="T63" fmla="*/ 17 h 28"/>
                  <a:gd name="T64" fmla="*/ 17 w 47"/>
                  <a:gd name="T65" fmla="*/ 17 h 28"/>
                  <a:gd name="T66" fmla="*/ 14 w 47"/>
                  <a:gd name="T67" fmla="*/ 17 h 28"/>
                  <a:gd name="T68" fmla="*/ 14 w 47"/>
                  <a:gd name="T69" fmla="*/ 17 h 28"/>
                  <a:gd name="T70" fmla="*/ 14 w 47"/>
                  <a:gd name="T71" fmla="*/ 14 h 28"/>
                  <a:gd name="T72" fmla="*/ 11 w 47"/>
                  <a:gd name="T73" fmla="*/ 14 h 28"/>
                  <a:gd name="T74" fmla="*/ 8 w 47"/>
                  <a:gd name="T75" fmla="*/ 14 h 28"/>
                  <a:gd name="T76" fmla="*/ 8 w 47"/>
                  <a:gd name="T77" fmla="*/ 14 h 28"/>
                  <a:gd name="T78" fmla="*/ 6 w 47"/>
                  <a:gd name="T79" fmla="*/ 11 h 28"/>
                  <a:gd name="T80" fmla="*/ 0 w 47"/>
                  <a:gd name="T81" fmla="*/ 8 h 28"/>
                  <a:gd name="T82" fmla="*/ 0 w 47"/>
                  <a:gd name="T83" fmla="*/ 6 h 28"/>
                  <a:gd name="T84" fmla="*/ 0 w 47"/>
                  <a:gd name="T85" fmla="*/ 6 h 28"/>
                  <a:gd name="T86" fmla="*/ 0 w 47"/>
                  <a:gd name="T87" fmla="*/ 6 h 28"/>
                  <a:gd name="T88" fmla="*/ 3 w 47"/>
                  <a:gd name="T89" fmla="*/ 6 h 28"/>
                  <a:gd name="T90" fmla="*/ 3 w 47"/>
                  <a:gd name="T91" fmla="*/ 6 h 28"/>
                  <a:gd name="T92" fmla="*/ 8 w 47"/>
                  <a:gd name="T93" fmla="*/ 6 h 28"/>
                  <a:gd name="T94" fmla="*/ 17 w 47"/>
                  <a:gd name="T95" fmla="*/ 6 h 28"/>
                  <a:gd name="T96" fmla="*/ 25 w 47"/>
                  <a:gd name="T97" fmla="*/ 0 h 28"/>
                  <a:gd name="T98" fmla="*/ 47 w 47"/>
                  <a:gd name="T9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7" h="28">
                    <a:moveTo>
                      <a:pt x="47" y="0"/>
                    </a:moveTo>
                    <a:lnTo>
                      <a:pt x="47" y="3"/>
                    </a:lnTo>
                    <a:lnTo>
                      <a:pt x="47" y="6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45" y="8"/>
                    </a:lnTo>
                    <a:lnTo>
                      <a:pt x="45" y="8"/>
                    </a:lnTo>
                    <a:lnTo>
                      <a:pt x="45" y="8"/>
                    </a:lnTo>
                    <a:lnTo>
                      <a:pt x="47" y="11"/>
                    </a:lnTo>
                    <a:lnTo>
                      <a:pt x="47" y="11"/>
                    </a:lnTo>
                    <a:lnTo>
                      <a:pt x="47" y="17"/>
                    </a:lnTo>
                    <a:lnTo>
                      <a:pt x="45" y="17"/>
                    </a:lnTo>
                    <a:lnTo>
                      <a:pt x="45" y="17"/>
                    </a:lnTo>
                    <a:lnTo>
                      <a:pt x="39" y="17"/>
                    </a:lnTo>
                    <a:lnTo>
                      <a:pt x="33" y="19"/>
                    </a:lnTo>
                    <a:lnTo>
                      <a:pt x="31" y="2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2" y="28"/>
                    </a:lnTo>
                    <a:lnTo>
                      <a:pt x="22" y="25"/>
                    </a:lnTo>
                    <a:lnTo>
                      <a:pt x="20" y="22"/>
                    </a:lnTo>
                    <a:lnTo>
                      <a:pt x="22" y="19"/>
                    </a:lnTo>
                    <a:lnTo>
                      <a:pt x="20" y="17"/>
                    </a:lnTo>
                    <a:lnTo>
                      <a:pt x="22" y="17"/>
                    </a:lnTo>
                    <a:lnTo>
                      <a:pt x="28" y="17"/>
                    </a:lnTo>
                    <a:lnTo>
                      <a:pt x="28" y="14"/>
                    </a:lnTo>
                    <a:lnTo>
                      <a:pt x="20" y="17"/>
                    </a:lnTo>
                    <a:lnTo>
                      <a:pt x="17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1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8" y="6"/>
                    </a:lnTo>
                    <a:lnTo>
                      <a:pt x="17" y="6"/>
                    </a:lnTo>
                    <a:lnTo>
                      <a:pt x="25" y="0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2" name="Freeform 220"/>
              <p:cNvSpPr>
                <a:spLocks noChangeAspect="1"/>
              </p:cNvSpPr>
              <p:nvPr>
                <p:custDataLst>
                  <p:tags r:id="rId540"/>
                </p:custDataLst>
              </p:nvPr>
            </p:nvSpPr>
            <p:spPr bwMode="gray">
              <a:xfrm>
                <a:off x="4982202" y="3979218"/>
                <a:ext cx="83515" cy="80413"/>
              </a:xfrm>
              <a:custGeom>
                <a:avLst/>
                <a:gdLst>
                  <a:gd name="T0" fmla="*/ 3 w 64"/>
                  <a:gd name="T1" fmla="*/ 25 h 64"/>
                  <a:gd name="T2" fmla="*/ 3 w 64"/>
                  <a:gd name="T3" fmla="*/ 22 h 64"/>
                  <a:gd name="T4" fmla="*/ 3 w 64"/>
                  <a:gd name="T5" fmla="*/ 19 h 64"/>
                  <a:gd name="T6" fmla="*/ 5 w 64"/>
                  <a:gd name="T7" fmla="*/ 19 h 64"/>
                  <a:gd name="T8" fmla="*/ 11 w 64"/>
                  <a:gd name="T9" fmla="*/ 17 h 64"/>
                  <a:gd name="T10" fmla="*/ 14 w 64"/>
                  <a:gd name="T11" fmla="*/ 14 h 64"/>
                  <a:gd name="T12" fmla="*/ 14 w 64"/>
                  <a:gd name="T13" fmla="*/ 11 h 64"/>
                  <a:gd name="T14" fmla="*/ 17 w 64"/>
                  <a:gd name="T15" fmla="*/ 8 h 64"/>
                  <a:gd name="T16" fmla="*/ 19 w 64"/>
                  <a:gd name="T17" fmla="*/ 5 h 64"/>
                  <a:gd name="T18" fmla="*/ 19 w 64"/>
                  <a:gd name="T19" fmla="*/ 3 h 64"/>
                  <a:gd name="T20" fmla="*/ 19 w 64"/>
                  <a:gd name="T21" fmla="*/ 3 h 64"/>
                  <a:gd name="T22" fmla="*/ 22 w 64"/>
                  <a:gd name="T23" fmla="*/ 0 h 64"/>
                  <a:gd name="T24" fmla="*/ 25 w 64"/>
                  <a:gd name="T25" fmla="*/ 3 h 64"/>
                  <a:gd name="T26" fmla="*/ 28 w 64"/>
                  <a:gd name="T27" fmla="*/ 0 h 64"/>
                  <a:gd name="T28" fmla="*/ 28 w 64"/>
                  <a:gd name="T29" fmla="*/ 0 h 64"/>
                  <a:gd name="T30" fmla="*/ 30 w 64"/>
                  <a:gd name="T31" fmla="*/ 3 h 64"/>
                  <a:gd name="T32" fmla="*/ 33 w 64"/>
                  <a:gd name="T33" fmla="*/ 8 h 64"/>
                  <a:gd name="T34" fmla="*/ 33 w 64"/>
                  <a:gd name="T35" fmla="*/ 11 h 64"/>
                  <a:gd name="T36" fmla="*/ 33 w 64"/>
                  <a:gd name="T37" fmla="*/ 17 h 64"/>
                  <a:gd name="T38" fmla="*/ 30 w 64"/>
                  <a:gd name="T39" fmla="*/ 19 h 64"/>
                  <a:gd name="T40" fmla="*/ 33 w 64"/>
                  <a:gd name="T41" fmla="*/ 19 h 64"/>
                  <a:gd name="T42" fmla="*/ 36 w 64"/>
                  <a:gd name="T43" fmla="*/ 19 h 64"/>
                  <a:gd name="T44" fmla="*/ 39 w 64"/>
                  <a:gd name="T45" fmla="*/ 22 h 64"/>
                  <a:gd name="T46" fmla="*/ 42 w 64"/>
                  <a:gd name="T47" fmla="*/ 19 h 64"/>
                  <a:gd name="T48" fmla="*/ 44 w 64"/>
                  <a:gd name="T49" fmla="*/ 17 h 64"/>
                  <a:gd name="T50" fmla="*/ 44 w 64"/>
                  <a:gd name="T51" fmla="*/ 14 h 64"/>
                  <a:gd name="T52" fmla="*/ 47 w 64"/>
                  <a:gd name="T53" fmla="*/ 17 h 64"/>
                  <a:gd name="T54" fmla="*/ 50 w 64"/>
                  <a:gd name="T55" fmla="*/ 19 h 64"/>
                  <a:gd name="T56" fmla="*/ 50 w 64"/>
                  <a:gd name="T57" fmla="*/ 22 h 64"/>
                  <a:gd name="T58" fmla="*/ 50 w 64"/>
                  <a:gd name="T59" fmla="*/ 28 h 64"/>
                  <a:gd name="T60" fmla="*/ 47 w 64"/>
                  <a:gd name="T61" fmla="*/ 30 h 64"/>
                  <a:gd name="T62" fmla="*/ 47 w 64"/>
                  <a:gd name="T63" fmla="*/ 33 h 64"/>
                  <a:gd name="T64" fmla="*/ 47 w 64"/>
                  <a:gd name="T65" fmla="*/ 33 h 64"/>
                  <a:gd name="T66" fmla="*/ 50 w 64"/>
                  <a:gd name="T67" fmla="*/ 33 h 64"/>
                  <a:gd name="T68" fmla="*/ 53 w 64"/>
                  <a:gd name="T69" fmla="*/ 36 h 64"/>
                  <a:gd name="T70" fmla="*/ 55 w 64"/>
                  <a:gd name="T71" fmla="*/ 36 h 64"/>
                  <a:gd name="T72" fmla="*/ 58 w 64"/>
                  <a:gd name="T73" fmla="*/ 39 h 64"/>
                  <a:gd name="T74" fmla="*/ 58 w 64"/>
                  <a:gd name="T75" fmla="*/ 42 h 64"/>
                  <a:gd name="T76" fmla="*/ 61 w 64"/>
                  <a:gd name="T77" fmla="*/ 42 h 64"/>
                  <a:gd name="T78" fmla="*/ 64 w 64"/>
                  <a:gd name="T79" fmla="*/ 44 h 64"/>
                  <a:gd name="T80" fmla="*/ 64 w 64"/>
                  <a:gd name="T81" fmla="*/ 47 h 64"/>
                  <a:gd name="T82" fmla="*/ 64 w 64"/>
                  <a:gd name="T83" fmla="*/ 50 h 64"/>
                  <a:gd name="T84" fmla="*/ 64 w 64"/>
                  <a:gd name="T85" fmla="*/ 50 h 64"/>
                  <a:gd name="T86" fmla="*/ 64 w 64"/>
                  <a:gd name="T87" fmla="*/ 53 h 64"/>
                  <a:gd name="T88" fmla="*/ 61 w 64"/>
                  <a:gd name="T89" fmla="*/ 56 h 64"/>
                  <a:gd name="T90" fmla="*/ 61 w 64"/>
                  <a:gd name="T91" fmla="*/ 58 h 64"/>
                  <a:gd name="T92" fmla="*/ 55 w 64"/>
                  <a:gd name="T93" fmla="*/ 64 h 64"/>
                  <a:gd name="T94" fmla="*/ 42 w 64"/>
                  <a:gd name="T95" fmla="*/ 58 h 64"/>
                  <a:gd name="T96" fmla="*/ 33 w 64"/>
                  <a:gd name="T97" fmla="*/ 53 h 64"/>
                  <a:gd name="T98" fmla="*/ 11 w 64"/>
                  <a:gd name="T99" fmla="*/ 36 h 64"/>
                  <a:gd name="T100" fmla="*/ 5 w 64"/>
                  <a:gd name="T101" fmla="*/ 30 h 64"/>
                  <a:gd name="T102" fmla="*/ 5 w 64"/>
                  <a:gd name="T103" fmla="*/ 28 h 64"/>
                  <a:gd name="T104" fmla="*/ 3 w 64"/>
                  <a:gd name="T105" fmla="*/ 25 h 64"/>
                  <a:gd name="T106" fmla="*/ 0 w 64"/>
                  <a:gd name="T107" fmla="*/ 25 h 64"/>
                  <a:gd name="T108" fmla="*/ 0 w 64"/>
                  <a:gd name="T109" fmla="*/ 2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4" h="64">
                    <a:moveTo>
                      <a:pt x="0" y="25"/>
                    </a:moveTo>
                    <a:lnTo>
                      <a:pt x="3" y="25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11" y="17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1"/>
                    </a:lnTo>
                    <a:lnTo>
                      <a:pt x="14" y="8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30" y="5"/>
                    </a:lnTo>
                    <a:lnTo>
                      <a:pt x="33" y="8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33" y="19"/>
                    </a:lnTo>
                    <a:lnTo>
                      <a:pt x="33" y="19"/>
                    </a:lnTo>
                    <a:lnTo>
                      <a:pt x="33" y="17"/>
                    </a:lnTo>
                    <a:lnTo>
                      <a:pt x="36" y="19"/>
                    </a:lnTo>
                    <a:lnTo>
                      <a:pt x="39" y="22"/>
                    </a:lnTo>
                    <a:lnTo>
                      <a:pt x="39" y="22"/>
                    </a:lnTo>
                    <a:lnTo>
                      <a:pt x="39" y="19"/>
                    </a:lnTo>
                    <a:lnTo>
                      <a:pt x="42" y="19"/>
                    </a:lnTo>
                    <a:lnTo>
                      <a:pt x="42" y="19"/>
                    </a:lnTo>
                    <a:lnTo>
                      <a:pt x="44" y="17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7" y="14"/>
                    </a:lnTo>
                    <a:lnTo>
                      <a:pt x="47" y="17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8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7" y="33"/>
                    </a:lnTo>
                    <a:lnTo>
                      <a:pt x="47" y="33"/>
                    </a:lnTo>
                    <a:lnTo>
                      <a:pt x="47" y="33"/>
                    </a:lnTo>
                    <a:lnTo>
                      <a:pt x="47" y="33"/>
                    </a:lnTo>
                    <a:lnTo>
                      <a:pt x="50" y="33"/>
                    </a:lnTo>
                    <a:lnTo>
                      <a:pt x="50" y="33"/>
                    </a:lnTo>
                    <a:lnTo>
                      <a:pt x="50" y="33"/>
                    </a:lnTo>
                    <a:lnTo>
                      <a:pt x="53" y="36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8" y="36"/>
                    </a:lnTo>
                    <a:lnTo>
                      <a:pt x="58" y="39"/>
                    </a:lnTo>
                    <a:lnTo>
                      <a:pt x="58" y="39"/>
                    </a:lnTo>
                    <a:lnTo>
                      <a:pt x="58" y="42"/>
                    </a:lnTo>
                    <a:lnTo>
                      <a:pt x="61" y="42"/>
                    </a:lnTo>
                    <a:lnTo>
                      <a:pt x="61" y="42"/>
                    </a:lnTo>
                    <a:lnTo>
                      <a:pt x="64" y="42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7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3"/>
                    </a:lnTo>
                    <a:lnTo>
                      <a:pt x="64" y="53"/>
                    </a:lnTo>
                    <a:lnTo>
                      <a:pt x="61" y="53"/>
                    </a:lnTo>
                    <a:lnTo>
                      <a:pt x="61" y="56"/>
                    </a:lnTo>
                    <a:lnTo>
                      <a:pt x="61" y="56"/>
                    </a:lnTo>
                    <a:lnTo>
                      <a:pt x="61" y="58"/>
                    </a:lnTo>
                    <a:lnTo>
                      <a:pt x="61" y="64"/>
                    </a:lnTo>
                    <a:lnTo>
                      <a:pt x="55" y="64"/>
                    </a:lnTo>
                    <a:lnTo>
                      <a:pt x="55" y="61"/>
                    </a:lnTo>
                    <a:lnTo>
                      <a:pt x="42" y="58"/>
                    </a:lnTo>
                    <a:lnTo>
                      <a:pt x="39" y="56"/>
                    </a:lnTo>
                    <a:lnTo>
                      <a:pt x="33" y="53"/>
                    </a:lnTo>
                    <a:lnTo>
                      <a:pt x="17" y="36"/>
                    </a:lnTo>
                    <a:lnTo>
                      <a:pt x="11" y="36"/>
                    </a:lnTo>
                    <a:lnTo>
                      <a:pt x="8" y="30"/>
                    </a:lnTo>
                    <a:lnTo>
                      <a:pt x="5" y="30"/>
                    </a:lnTo>
                    <a:lnTo>
                      <a:pt x="5" y="30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3" name="Freeform 221"/>
              <p:cNvSpPr>
                <a:spLocks noChangeAspect="1"/>
              </p:cNvSpPr>
              <p:nvPr>
                <p:custDataLst>
                  <p:tags r:id="rId541"/>
                </p:custDataLst>
              </p:nvPr>
            </p:nvSpPr>
            <p:spPr bwMode="gray">
              <a:xfrm>
                <a:off x="5152270" y="3924031"/>
                <a:ext cx="89589" cy="134023"/>
              </a:xfrm>
              <a:custGeom>
                <a:avLst/>
                <a:gdLst>
                  <a:gd name="T0" fmla="*/ 66 w 69"/>
                  <a:gd name="T1" fmla="*/ 81 h 103"/>
                  <a:gd name="T2" fmla="*/ 55 w 69"/>
                  <a:gd name="T3" fmla="*/ 28 h 103"/>
                  <a:gd name="T4" fmla="*/ 53 w 69"/>
                  <a:gd name="T5" fmla="*/ 17 h 103"/>
                  <a:gd name="T6" fmla="*/ 47 w 69"/>
                  <a:gd name="T7" fmla="*/ 8 h 103"/>
                  <a:gd name="T8" fmla="*/ 47 w 69"/>
                  <a:gd name="T9" fmla="*/ 6 h 103"/>
                  <a:gd name="T10" fmla="*/ 50 w 69"/>
                  <a:gd name="T11" fmla="*/ 3 h 103"/>
                  <a:gd name="T12" fmla="*/ 47 w 69"/>
                  <a:gd name="T13" fmla="*/ 3 h 103"/>
                  <a:gd name="T14" fmla="*/ 44 w 69"/>
                  <a:gd name="T15" fmla="*/ 0 h 103"/>
                  <a:gd name="T16" fmla="*/ 36 w 69"/>
                  <a:gd name="T17" fmla="*/ 6 h 103"/>
                  <a:gd name="T18" fmla="*/ 5 w 69"/>
                  <a:gd name="T19" fmla="*/ 3 h 103"/>
                  <a:gd name="T20" fmla="*/ 2 w 69"/>
                  <a:gd name="T21" fmla="*/ 8 h 103"/>
                  <a:gd name="T22" fmla="*/ 5 w 69"/>
                  <a:gd name="T23" fmla="*/ 11 h 103"/>
                  <a:gd name="T24" fmla="*/ 5 w 69"/>
                  <a:gd name="T25" fmla="*/ 14 h 103"/>
                  <a:gd name="T26" fmla="*/ 5 w 69"/>
                  <a:gd name="T27" fmla="*/ 20 h 103"/>
                  <a:gd name="T28" fmla="*/ 8 w 69"/>
                  <a:gd name="T29" fmla="*/ 28 h 103"/>
                  <a:gd name="T30" fmla="*/ 8 w 69"/>
                  <a:gd name="T31" fmla="*/ 28 h 103"/>
                  <a:gd name="T32" fmla="*/ 5 w 69"/>
                  <a:gd name="T33" fmla="*/ 33 h 103"/>
                  <a:gd name="T34" fmla="*/ 8 w 69"/>
                  <a:gd name="T35" fmla="*/ 33 h 103"/>
                  <a:gd name="T36" fmla="*/ 11 w 69"/>
                  <a:gd name="T37" fmla="*/ 47 h 103"/>
                  <a:gd name="T38" fmla="*/ 11 w 69"/>
                  <a:gd name="T39" fmla="*/ 47 h 103"/>
                  <a:gd name="T40" fmla="*/ 8 w 69"/>
                  <a:gd name="T41" fmla="*/ 50 h 103"/>
                  <a:gd name="T42" fmla="*/ 5 w 69"/>
                  <a:gd name="T43" fmla="*/ 56 h 103"/>
                  <a:gd name="T44" fmla="*/ 2 w 69"/>
                  <a:gd name="T45" fmla="*/ 64 h 103"/>
                  <a:gd name="T46" fmla="*/ 0 w 69"/>
                  <a:gd name="T47" fmla="*/ 67 h 103"/>
                  <a:gd name="T48" fmla="*/ 2 w 69"/>
                  <a:gd name="T49" fmla="*/ 86 h 103"/>
                  <a:gd name="T50" fmla="*/ 5 w 69"/>
                  <a:gd name="T51" fmla="*/ 86 h 103"/>
                  <a:gd name="T52" fmla="*/ 8 w 69"/>
                  <a:gd name="T53" fmla="*/ 95 h 103"/>
                  <a:gd name="T54" fmla="*/ 5 w 69"/>
                  <a:gd name="T55" fmla="*/ 95 h 103"/>
                  <a:gd name="T56" fmla="*/ 2 w 69"/>
                  <a:gd name="T57" fmla="*/ 95 h 103"/>
                  <a:gd name="T58" fmla="*/ 19 w 69"/>
                  <a:gd name="T59" fmla="*/ 103 h 103"/>
                  <a:gd name="T60" fmla="*/ 39 w 69"/>
                  <a:gd name="T61" fmla="*/ 95 h 103"/>
                  <a:gd name="T62" fmla="*/ 61 w 69"/>
                  <a:gd name="T63" fmla="*/ 86 h 103"/>
                  <a:gd name="T64" fmla="*/ 64 w 69"/>
                  <a:gd name="T65" fmla="*/ 86 h 103"/>
                  <a:gd name="T66" fmla="*/ 69 w 69"/>
                  <a:gd name="T67" fmla="*/ 8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9" h="103">
                    <a:moveTo>
                      <a:pt x="69" y="81"/>
                    </a:moveTo>
                    <a:lnTo>
                      <a:pt x="66" y="81"/>
                    </a:lnTo>
                    <a:lnTo>
                      <a:pt x="61" y="72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3" y="17"/>
                    </a:lnTo>
                    <a:lnTo>
                      <a:pt x="50" y="11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47" y="6"/>
                    </a:lnTo>
                    <a:lnTo>
                      <a:pt x="47" y="6"/>
                    </a:lnTo>
                    <a:lnTo>
                      <a:pt x="50" y="3"/>
                    </a:lnTo>
                    <a:lnTo>
                      <a:pt x="50" y="3"/>
                    </a:lnTo>
                    <a:lnTo>
                      <a:pt x="47" y="3"/>
                    </a:lnTo>
                    <a:lnTo>
                      <a:pt x="44" y="3"/>
                    </a:lnTo>
                    <a:lnTo>
                      <a:pt x="44" y="0"/>
                    </a:lnTo>
                    <a:lnTo>
                      <a:pt x="41" y="3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5" y="3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5" y="20"/>
                    </a:lnTo>
                    <a:lnTo>
                      <a:pt x="5" y="25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1"/>
                    </a:lnTo>
                    <a:lnTo>
                      <a:pt x="5" y="33"/>
                    </a:lnTo>
                    <a:lnTo>
                      <a:pt x="5" y="33"/>
                    </a:lnTo>
                    <a:lnTo>
                      <a:pt x="8" y="33"/>
                    </a:lnTo>
                    <a:lnTo>
                      <a:pt x="8" y="33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8" y="47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5" y="56"/>
                    </a:lnTo>
                    <a:lnTo>
                      <a:pt x="2" y="61"/>
                    </a:lnTo>
                    <a:lnTo>
                      <a:pt x="2" y="64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5" y="86"/>
                    </a:lnTo>
                    <a:lnTo>
                      <a:pt x="5" y="86"/>
                    </a:lnTo>
                    <a:lnTo>
                      <a:pt x="8" y="95"/>
                    </a:lnTo>
                    <a:lnTo>
                      <a:pt x="5" y="95"/>
                    </a:lnTo>
                    <a:lnTo>
                      <a:pt x="5" y="95"/>
                    </a:lnTo>
                    <a:lnTo>
                      <a:pt x="2" y="95"/>
                    </a:lnTo>
                    <a:lnTo>
                      <a:pt x="2" y="95"/>
                    </a:lnTo>
                    <a:lnTo>
                      <a:pt x="0" y="98"/>
                    </a:lnTo>
                    <a:lnTo>
                      <a:pt x="19" y="103"/>
                    </a:lnTo>
                    <a:lnTo>
                      <a:pt x="28" y="98"/>
                    </a:lnTo>
                    <a:lnTo>
                      <a:pt x="39" y="95"/>
                    </a:lnTo>
                    <a:lnTo>
                      <a:pt x="53" y="86"/>
                    </a:lnTo>
                    <a:lnTo>
                      <a:pt x="61" y="86"/>
                    </a:lnTo>
                    <a:lnTo>
                      <a:pt x="61" y="86"/>
                    </a:lnTo>
                    <a:lnTo>
                      <a:pt x="64" y="86"/>
                    </a:lnTo>
                    <a:lnTo>
                      <a:pt x="66" y="81"/>
                    </a:lnTo>
                    <a:lnTo>
                      <a:pt x="69" y="8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4" name="Freeform 222"/>
              <p:cNvSpPr>
                <a:spLocks noChangeAspect="1"/>
              </p:cNvSpPr>
              <p:nvPr>
                <p:custDataLst>
                  <p:tags r:id="rId542"/>
                </p:custDataLst>
              </p:nvPr>
            </p:nvSpPr>
            <p:spPr bwMode="gray">
              <a:xfrm>
                <a:off x="5273746" y="3870422"/>
                <a:ext cx="235361" cy="193939"/>
              </a:xfrm>
              <a:custGeom>
                <a:avLst/>
                <a:gdLst>
                  <a:gd name="T0" fmla="*/ 13 w 181"/>
                  <a:gd name="T1" fmla="*/ 23 h 151"/>
                  <a:gd name="T2" fmla="*/ 13 w 181"/>
                  <a:gd name="T3" fmla="*/ 20 h 151"/>
                  <a:gd name="T4" fmla="*/ 19 w 181"/>
                  <a:gd name="T5" fmla="*/ 17 h 151"/>
                  <a:gd name="T6" fmla="*/ 25 w 181"/>
                  <a:gd name="T7" fmla="*/ 3 h 151"/>
                  <a:gd name="T8" fmla="*/ 55 w 181"/>
                  <a:gd name="T9" fmla="*/ 6 h 151"/>
                  <a:gd name="T10" fmla="*/ 64 w 181"/>
                  <a:gd name="T11" fmla="*/ 14 h 151"/>
                  <a:gd name="T12" fmla="*/ 69 w 181"/>
                  <a:gd name="T13" fmla="*/ 11 h 151"/>
                  <a:gd name="T14" fmla="*/ 80 w 181"/>
                  <a:gd name="T15" fmla="*/ 9 h 151"/>
                  <a:gd name="T16" fmla="*/ 103 w 181"/>
                  <a:gd name="T17" fmla="*/ 17 h 151"/>
                  <a:gd name="T18" fmla="*/ 116 w 181"/>
                  <a:gd name="T19" fmla="*/ 9 h 151"/>
                  <a:gd name="T20" fmla="*/ 144 w 181"/>
                  <a:gd name="T21" fmla="*/ 11 h 151"/>
                  <a:gd name="T22" fmla="*/ 150 w 181"/>
                  <a:gd name="T23" fmla="*/ 9 h 151"/>
                  <a:gd name="T24" fmla="*/ 153 w 181"/>
                  <a:gd name="T25" fmla="*/ 6 h 151"/>
                  <a:gd name="T26" fmla="*/ 158 w 181"/>
                  <a:gd name="T27" fmla="*/ 6 h 151"/>
                  <a:gd name="T28" fmla="*/ 161 w 181"/>
                  <a:gd name="T29" fmla="*/ 0 h 151"/>
                  <a:gd name="T30" fmla="*/ 161 w 181"/>
                  <a:gd name="T31" fmla="*/ 0 h 151"/>
                  <a:gd name="T32" fmla="*/ 169 w 181"/>
                  <a:gd name="T33" fmla="*/ 11 h 151"/>
                  <a:gd name="T34" fmla="*/ 175 w 181"/>
                  <a:gd name="T35" fmla="*/ 23 h 151"/>
                  <a:gd name="T36" fmla="*/ 178 w 181"/>
                  <a:gd name="T37" fmla="*/ 23 h 151"/>
                  <a:gd name="T38" fmla="*/ 181 w 181"/>
                  <a:gd name="T39" fmla="*/ 25 h 151"/>
                  <a:gd name="T40" fmla="*/ 175 w 181"/>
                  <a:gd name="T41" fmla="*/ 39 h 151"/>
                  <a:gd name="T42" fmla="*/ 169 w 181"/>
                  <a:gd name="T43" fmla="*/ 42 h 151"/>
                  <a:gd name="T44" fmla="*/ 155 w 181"/>
                  <a:gd name="T45" fmla="*/ 81 h 151"/>
                  <a:gd name="T46" fmla="*/ 147 w 181"/>
                  <a:gd name="T47" fmla="*/ 87 h 151"/>
                  <a:gd name="T48" fmla="*/ 133 w 181"/>
                  <a:gd name="T49" fmla="*/ 117 h 151"/>
                  <a:gd name="T50" fmla="*/ 125 w 181"/>
                  <a:gd name="T51" fmla="*/ 114 h 151"/>
                  <a:gd name="T52" fmla="*/ 125 w 181"/>
                  <a:gd name="T53" fmla="*/ 114 h 151"/>
                  <a:gd name="T54" fmla="*/ 119 w 181"/>
                  <a:gd name="T55" fmla="*/ 109 h 151"/>
                  <a:gd name="T56" fmla="*/ 105 w 181"/>
                  <a:gd name="T57" fmla="*/ 112 h 151"/>
                  <a:gd name="T58" fmla="*/ 100 w 181"/>
                  <a:gd name="T59" fmla="*/ 117 h 151"/>
                  <a:gd name="T60" fmla="*/ 94 w 181"/>
                  <a:gd name="T61" fmla="*/ 131 h 151"/>
                  <a:gd name="T62" fmla="*/ 89 w 181"/>
                  <a:gd name="T63" fmla="*/ 140 h 151"/>
                  <a:gd name="T64" fmla="*/ 89 w 181"/>
                  <a:gd name="T65" fmla="*/ 145 h 151"/>
                  <a:gd name="T66" fmla="*/ 86 w 181"/>
                  <a:gd name="T67" fmla="*/ 142 h 151"/>
                  <a:gd name="T68" fmla="*/ 83 w 181"/>
                  <a:gd name="T69" fmla="*/ 148 h 151"/>
                  <a:gd name="T70" fmla="*/ 66 w 181"/>
                  <a:gd name="T71" fmla="*/ 145 h 151"/>
                  <a:gd name="T72" fmla="*/ 66 w 181"/>
                  <a:gd name="T73" fmla="*/ 148 h 151"/>
                  <a:gd name="T74" fmla="*/ 64 w 181"/>
                  <a:gd name="T75" fmla="*/ 151 h 151"/>
                  <a:gd name="T76" fmla="*/ 61 w 181"/>
                  <a:gd name="T77" fmla="*/ 151 h 151"/>
                  <a:gd name="T78" fmla="*/ 58 w 181"/>
                  <a:gd name="T79" fmla="*/ 151 h 151"/>
                  <a:gd name="T80" fmla="*/ 52 w 181"/>
                  <a:gd name="T81" fmla="*/ 151 h 151"/>
                  <a:gd name="T82" fmla="*/ 50 w 181"/>
                  <a:gd name="T83" fmla="*/ 151 h 151"/>
                  <a:gd name="T84" fmla="*/ 47 w 181"/>
                  <a:gd name="T85" fmla="*/ 148 h 151"/>
                  <a:gd name="T86" fmla="*/ 41 w 181"/>
                  <a:gd name="T87" fmla="*/ 142 h 151"/>
                  <a:gd name="T88" fmla="*/ 41 w 181"/>
                  <a:gd name="T89" fmla="*/ 134 h 151"/>
                  <a:gd name="T90" fmla="*/ 39 w 181"/>
                  <a:gd name="T91" fmla="*/ 134 h 151"/>
                  <a:gd name="T92" fmla="*/ 36 w 181"/>
                  <a:gd name="T93" fmla="*/ 128 h 151"/>
                  <a:gd name="T94" fmla="*/ 36 w 181"/>
                  <a:gd name="T95" fmla="*/ 126 h 151"/>
                  <a:gd name="T96" fmla="*/ 33 w 181"/>
                  <a:gd name="T97" fmla="*/ 123 h 151"/>
                  <a:gd name="T98" fmla="*/ 0 w 181"/>
                  <a:gd name="T99" fmla="*/ 120 h 151"/>
                  <a:gd name="T100" fmla="*/ 0 w 181"/>
                  <a:gd name="T101" fmla="*/ 84 h 151"/>
                  <a:gd name="T102" fmla="*/ 5 w 181"/>
                  <a:gd name="T103" fmla="*/ 67 h 151"/>
                  <a:gd name="T104" fmla="*/ 13 w 181"/>
                  <a:gd name="T105" fmla="*/ 62 h 151"/>
                  <a:gd name="T106" fmla="*/ 13 w 181"/>
                  <a:gd name="T107" fmla="*/ 59 h 151"/>
                  <a:gd name="T108" fmla="*/ 13 w 181"/>
                  <a:gd name="T109" fmla="*/ 59 h 151"/>
                  <a:gd name="T110" fmla="*/ 13 w 181"/>
                  <a:gd name="T111" fmla="*/ 56 h 151"/>
                  <a:gd name="T112" fmla="*/ 16 w 181"/>
                  <a:gd name="T113" fmla="*/ 53 h 151"/>
                  <a:gd name="T114" fmla="*/ 13 w 181"/>
                  <a:gd name="T115" fmla="*/ 42 h 151"/>
                  <a:gd name="T116" fmla="*/ 11 w 181"/>
                  <a:gd name="T117" fmla="*/ 39 h 151"/>
                  <a:gd name="T118" fmla="*/ 13 w 181"/>
                  <a:gd name="T119" fmla="*/ 3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1" h="151">
                    <a:moveTo>
                      <a:pt x="13" y="34"/>
                    </a:moveTo>
                    <a:lnTo>
                      <a:pt x="13" y="23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19" y="17"/>
                    </a:lnTo>
                    <a:lnTo>
                      <a:pt x="22" y="6"/>
                    </a:lnTo>
                    <a:lnTo>
                      <a:pt x="25" y="3"/>
                    </a:lnTo>
                    <a:lnTo>
                      <a:pt x="44" y="0"/>
                    </a:lnTo>
                    <a:lnTo>
                      <a:pt x="55" y="6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69" y="11"/>
                    </a:lnTo>
                    <a:lnTo>
                      <a:pt x="78" y="9"/>
                    </a:lnTo>
                    <a:lnTo>
                      <a:pt x="80" y="9"/>
                    </a:lnTo>
                    <a:lnTo>
                      <a:pt x="91" y="14"/>
                    </a:lnTo>
                    <a:lnTo>
                      <a:pt x="103" y="17"/>
                    </a:lnTo>
                    <a:lnTo>
                      <a:pt x="105" y="17"/>
                    </a:lnTo>
                    <a:lnTo>
                      <a:pt x="116" y="9"/>
                    </a:lnTo>
                    <a:lnTo>
                      <a:pt x="139" y="9"/>
                    </a:lnTo>
                    <a:lnTo>
                      <a:pt x="144" y="11"/>
                    </a:lnTo>
                    <a:lnTo>
                      <a:pt x="150" y="11"/>
                    </a:lnTo>
                    <a:lnTo>
                      <a:pt x="150" y="9"/>
                    </a:lnTo>
                    <a:lnTo>
                      <a:pt x="153" y="6"/>
                    </a:lnTo>
                    <a:lnTo>
                      <a:pt x="153" y="6"/>
                    </a:lnTo>
                    <a:lnTo>
                      <a:pt x="155" y="6"/>
                    </a:lnTo>
                    <a:lnTo>
                      <a:pt x="158" y="6"/>
                    </a:lnTo>
                    <a:lnTo>
                      <a:pt x="158" y="6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61" y="0"/>
                    </a:lnTo>
                    <a:lnTo>
                      <a:pt x="167" y="9"/>
                    </a:lnTo>
                    <a:lnTo>
                      <a:pt x="169" y="11"/>
                    </a:lnTo>
                    <a:lnTo>
                      <a:pt x="172" y="20"/>
                    </a:lnTo>
                    <a:lnTo>
                      <a:pt x="175" y="23"/>
                    </a:lnTo>
                    <a:lnTo>
                      <a:pt x="175" y="23"/>
                    </a:lnTo>
                    <a:lnTo>
                      <a:pt x="178" y="23"/>
                    </a:lnTo>
                    <a:lnTo>
                      <a:pt x="181" y="25"/>
                    </a:lnTo>
                    <a:lnTo>
                      <a:pt x="181" y="25"/>
                    </a:lnTo>
                    <a:lnTo>
                      <a:pt x="181" y="34"/>
                    </a:lnTo>
                    <a:lnTo>
                      <a:pt x="175" y="39"/>
                    </a:lnTo>
                    <a:lnTo>
                      <a:pt x="175" y="39"/>
                    </a:lnTo>
                    <a:lnTo>
                      <a:pt x="169" y="42"/>
                    </a:lnTo>
                    <a:lnTo>
                      <a:pt x="167" y="45"/>
                    </a:lnTo>
                    <a:lnTo>
                      <a:pt x="155" y="81"/>
                    </a:lnTo>
                    <a:lnTo>
                      <a:pt x="150" y="81"/>
                    </a:lnTo>
                    <a:lnTo>
                      <a:pt x="147" y="87"/>
                    </a:lnTo>
                    <a:lnTo>
                      <a:pt x="133" y="117"/>
                    </a:lnTo>
                    <a:lnTo>
                      <a:pt x="133" y="117"/>
                    </a:lnTo>
                    <a:lnTo>
                      <a:pt x="128" y="117"/>
                    </a:lnTo>
                    <a:lnTo>
                      <a:pt x="125" y="114"/>
                    </a:lnTo>
                    <a:lnTo>
                      <a:pt x="125" y="114"/>
                    </a:lnTo>
                    <a:lnTo>
                      <a:pt x="125" y="114"/>
                    </a:lnTo>
                    <a:lnTo>
                      <a:pt x="125" y="112"/>
                    </a:lnTo>
                    <a:lnTo>
                      <a:pt x="119" y="109"/>
                    </a:lnTo>
                    <a:lnTo>
                      <a:pt x="105" y="112"/>
                    </a:lnTo>
                    <a:lnTo>
                      <a:pt x="105" y="112"/>
                    </a:lnTo>
                    <a:lnTo>
                      <a:pt x="103" y="114"/>
                    </a:lnTo>
                    <a:lnTo>
                      <a:pt x="100" y="117"/>
                    </a:lnTo>
                    <a:lnTo>
                      <a:pt x="97" y="123"/>
                    </a:lnTo>
                    <a:lnTo>
                      <a:pt x="94" y="131"/>
                    </a:lnTo>
                    <a:lnTo>
                      <a:pt x="91" y="134"/>
                    </a:lnTo>
                    <a:lnTo>
                      <a:pt x="89" y="140"/>
                    </a:lnTo>
                    <a:lnTo>
                      <a:pt x="89" y="142"/>
                    </a:lnTo>
                    <a:lnTo>
                      <a:pt x="89" y="145"/>
                    </a:lnTo>
                    <a:lnTo>
                      <a:pt x="86" y="142"/>
                    </a:lnTo>
                    <a:lnTo>
                      <a:pt x="86" y="142"/>
                    </a:lnTo>
                    <a:lnTo>
                      <a:pt x="83" y="145"/>
                    </a:lnTo>
                    <a:lnTo>
                      <a:pt x="83" y="148"/>
                    </a:lnTo>
                    <a:lnTo>
                      <a:pt x="75" y="148"/>
                    </a:lnTo>
                    <a:lnTo>
                      <a:pt x="66" y="145"/>
                    </a:lnTo>
                    <a:lnTo>
                      <a:pt x="66" y="148"/>
                    </a:lnTo>
                    <a:lnTo>
                      <a:pt x="66" y="148"/>
                    </a:lnTo>
                    <a:lnTo>
                      <a:pt x="64" y="148"/>
                    </a:lnTo>
                    <a:lnTo>
                      <a:pt x="64" y="151"/>
                    </a:lnTo>
                    <a:lnTo>
                      <a:pt x="64" y="151"/>
                    </a:lnTo>
                    <a:lnTo>
                      <a:pt x="61" y="151"/>
                    </a:lnTo>
                    <a:lnTo>
                      <a:pt x="61" y="148"/>
                    </a:lnTo>
                    <a:lnTo>
                      <a:pt x="58" y="151"/>
                    </a:lnTo>
                    <a:lnTo>
                      <a:pt x="58" y="151"/>
                    </a:lnTo>
                    <a:lnTo>
                      <a:pt x="52" y="151"/>
                    </a:lnTo>
                    <a:lnTo>
                      <a:pt x="52" y="151"/>
                    </a:lnTo>
                    <a:lnTo>
                      <a:pt x="50" y="151"/>
                    </a:lnTo>
                    <a:lnTo>
                      <a:pt x="50" y="151"/>
                    </a:lnTo>
                    <a:lnTo>
                      <a:pt x="47" y="148"/>
                    </a:lnTo>
                    <a:lnTo>
                      <a:pt x="44" y="145"/>
                    </a:lnTo>
                    <a:lnTo>
                      <a:pt x="41" y="142"/>
                    </a:lnTo>
                    <a:lnTo>
                      <a:pt x="41" y="134"/>
                    </a:lnTo>
                    <a:lnTo>
                      <a:pt x="41" y="134"/>
                    </a:lnTo>
                    <a:lnTo>
                      <a:pt x="41" y="134"/>
                    </a:lnTo>
                    <a:lnTo>
                      <a:pt x="39" y="134"/>
                    </a:lnTo>
                    <a:lnTo>
                      <a:pt x="39" y="131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36" y="126"/>
                    </a:lnTo>
                    <a:lnTo>
                      <a:pt x="33" y="126"/>
                    </a:lnTo>
                    <a:lnTo>
                      <a:pt x="33" y="123"/>
                    </a:lnTo>
                    <a:lnTo>
                      <a:pt x="22" y="120"/>
                    </a:lnTo>
                    <a:lnTo>
                      <a:pt x="0" y="120"/>
                    </a:lnTo>
                    <a:lnTo>
                      <a:pt x="0" y="117"/>
                    </a:lnTo>
                    <a:lnTo>
                      <a:pt x="0" y="84"/>
                    </a:lnTo>
                    <a:lnTo>
                      <a:pt x="5" y="75"/>
                    </a:lnTo>
                    <a:lnTo>
                      <a:pt x="5" y="67"/>
                    </a:lnTo>
                    <a:lnTo>
                      <a:pt x="13" y="62"/>
                    </a:lnTo>
                    <a:lnTo>
                      <a:pt x="13" y="62"/>
                    </a:lnTo>
                    <a:lnTo>
                      <a:pt x="13" y="62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3" y="59"/>
                    </a:lnTo>
                    <a:lnTo>
                      <a:pt x="11" y="56"/>
                    </a:lnTo>
                    <a:lnTo>
                      <a:pt x="13" y="56"/>
                    </a:lnTo>
                    <a:lnTo>
                      <a:pt x="13" y="53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3" y="42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11" y="36"/>
                    </a:lnTo>
                    <a:lnTo>
                      <a:pt x="13" y="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5" name="Freeform 223"/>
              <p:cNvSpPr>
                <a:spLocks noChangeAspect="1"/>
              </p:cNvSpPr>
              <p:nvPr>
                <p:custDataLst>
                  <p:tags r:id="rId543"/>
                </p:custDataLst>
              </p:nvPr>
            </p:nvSpPr>
            <p:spPr bwMode="gray">
              <a:xfrm>
                <a:off x="5440777" y="4075400"/>
                <a:ext cx="153365" cy="175019"/>
              </a:xfrm>
              <a:custGeom>
                <a:avLst/>
                <a:gdLst>
                  <a:gd name="T0" fmla="*/ 115 w 117"/>
                  <a:gd name="T1" fmla="*/ 3 h 136"/>
                  <a:gd name="T2" fmla="*/ 98 w 117"/>
                  <a:gd name="T3" fmla="*/ 0 h 136"/>
                  <a:gd name="T4" fmla="*/ 78 w 117"/>
                  <a:gd name="T5" fmla="*/ 11 h 136"/>
                  <a:gd name="T6" fmla="*/ 76 w 117"/>
                  <a:gd name="T7" fmla="*/ 17 h 136"/>
                  <a:gd name="T8" fmla="*/ 76 w 117"/>
                  <a:gd name="T9" fmla="*/ 33 h 136"/>
                  <a:gd name="T10" fmla="*/ 67 w 117"/>
                  <a:gd name="T11" fmla="*/ 28 h 136"/>
                  <a:gd name="T12" fmla="*/ 59 w 117"/>
                  <a:gd name="T13" fmla="*/ 25 h 136"/>
                  <a:gd name="T14" fmla="*/ 34 w 117"/>
                  <a:gd name="T15" fmla="*/ 25 h 136"/>
                  <a:gd name="T16" fmla="*/ 31 w 117"/>
                  <a:gd name="T17" fmla="*/ 39 h 136"/>
                  <a:gd name="T18" fmla="*/ 37 w 117"/>
                  <a:gd name="T19" fmla="*/ 33 h 136"/>
                  <a:gd name="T20" fmla="*/ 51 w 117"/>
                  <a:gd name="T21" fmla="*/ 39 h 136"/>
                  <a:gd name="T22" fmla="*/ 45 w 117"/>
                  <a:gd name="T23" fmla="*/ 53 h 136"/>
                  <a:gd name="T24" fmla="*/ 48 w 117"/>
                  <a:gd name="T25" fmla="*/ 70 h 136"/>
                  <a:gd name="T26" fmla="*/ 39 w 117"/>
                  <a:gd name="T27" fmla="*/ 95 h 136"/>
                  <a:gd name="T28" fmla="*/ 28 w 117"/>
                  <a:gd name="T29" fmla="*/ 92 h 136"/>
                  <a:gd name="T30" fmla="*/ 23 w 117"/>
                  <a:gd name="T31" fmla="*/ 86 h 136"/>
                  <a:gd name="T32" fmla="*/ 9 w 117"/>
                  <a:gd name="T33" fmla="*/ 97 h 136"/>
                  <a:gd name="T34" fmla="*/ 6 w 117"/>
                  <a:gd name="T35" fmla="*/ 103 h 136"/>
                  <a:gd name="T36" fmla="*/ 9 w 117"/>
                  <a:gd name="T37" fmla="*/ 114 h 136"/>
                  <a:gd name="T38" fmla="*/ 0 w 117"/>
                  <a:gd name="T39" fmla="*/ 114 h 136"/>
                  <a:gd name="T40" fmla="*/ 0 w 117"/>
                  <a:gd name="T41" fmla="*/ 120 h 136"/>
                  <a:gd name="T42" fmla="*/ 9 w 117"/>
                  <a:gd name="T43" fmla="*/ 128 h 136"/>
                  <a:gd name="T44" fmla="*/ 20 w 117"/>
                  <a:gd name="T45" fmla="*/ 134 h 136"/>
                  <a:gd name="T46" fmla="*/ 25 w 117"/>
                  <a:gd name="T47" fmla="*/ 128 h 136"/>
                  <a:gd name="T48" fmla="*/ 28 w 117"/>
                  <a:gd name="T49" fmla="*/ 131 h 136"/>
                  <a:gd name="T50" fmla="*/ 37 w 117"/>
                  <a:gd name="T51" fmla="*/ 134 h 136"/>
                  <a:gd name="T52" fmla="*/ 42 w 117"/>
                  <a:gd name="T53" fmla="*/ 128 h 136"/>
                  <a:gd name="T54" fmla="*/ 51 w 117"/>
                  <a:gd name="T55" fmla="*/ 128 h 136"/>
                  <a:gd name="T56" fmla="*/ 53 w 117"/>
                  <a:gd name="T57" fmla="*/ 134 h 136"/>
                  <a:gd name="T58" fmla="*/ 70 w 117"/>
                  <a:gd name="T59" fmla="*/ 123 h 136"/>
                  <a:gd name="T60" fmla="*/ 81 w 117"/>
                  <a:gd name="T61" fmla="*/ 92 h 136"/>
                  <a:gd name="T62" fmla="*/ 103 w 117"/>
                  <a:gd name="T63" fmla="*/ 70 h 136"/>
                  <a:gd name="T64" fmla="*/ 117 w 117"/>
                  <a:gd name="T65" fmla="*/ 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7" h="136">
                    <a:moveTo>
                      <a:pt x="117" y="0"/>
                    </a:moveTo>
                    <a:lnTo>
                      <a:pt x="115" y="3"/>
                    </a:lnTo>
                    <a:lnTo>
                      <a:pt x="106" y="6"/>
                    </a:lnTo>
                    <a:lnTo>
                      <a:pt x="98" y="0"/>
                    </a:lnTo>
                    <a:lnTo>
                      <a:pt x="92" y="3"/>
                    </a:lnTo>
                    <a:lnTo>
                      <a:pt x="78" y="11"/>
                    </a:lnTo>
                    <a:lnTo>
                      <a:pt x="78" y="14"/>
                    </a:lnTo>
                    <a:lnTo>
                      <a:pt x="76" y="17"/>
                    </a:lnTo>
                    <a:lnTo>
                      <a:pt x="78" y="31"/>
                    </a:lnTo>
                    <a:lnTo>
                      <a:pt x="76" y="33"/>
                    </a:lnTo>
                    <a:lnTo>
                      <a:pt x="76" y="33"/>
                    </a:lnTo>
                    <a:lnTo>
                      <a:pt x="67" y="28"/>
                    </a:lnTo>
                    <a:lnTo>
                      <a:pt x="64" y="28"/>
                    </a:lnTo>
                    <a:lnTo>
                      <a:pt x="59" y="25"/>
                    </a:lnTo>
                    <a:lnTo>
                      <a:pt x="53" y="25"/>
                    </a:lnTo>
                    <a:lnTo>
                      <a:pt x="34" y="25"/>
                    </a:lnTo>
                    <a:lnTo>
                      <a:pt x="31" y="28"/>
                    </a:lnTo>
                    <a:lnTo>
                      <a:pt x="31" y="39"/>
                    </a:lnTo>
                    <a:lnTo>
                      <a:pt x="34" y="42"/>
                    </a:lnTo>
                    <a:lnTo>
                      <a:pt x="37" y="33"/>
                    </a:lnTo>
                    <a:lnTo>
                      <a:pt x="45" y="36"/>
                    </a:lnTo>
                    <a:lnTo>
                      <a:pt x="51" y="39"/>
                    </a:lnTo>
                    <a:lnTo>
                      <a:pt x="51" y="45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48" y="70"/>
                    </a:lnTo>
                    <a:lnTo>
                      <a:pt x="45" y="95"/>
                    </a:lnTo>
                    <a:lnTo>
                      <a:pt x="39" y="95"/>
                    </a:lnTo>
                    <a:lnTo>
                      <a:pt x="34" y="92"/>
                    </a:lnTo>
                    <a:lnTo>
                      <a:pt x="28" y="92"/>
                    </a:lnTo>
                    <a:lnTo>
                      <a:pt x="25" y="89"/>
                    </a:lnTo>
                    <a:lnTo>
                      <a:pt x="23" y="86"/>
                    </a:lnTo>
                    <a:lnTo>
                      <a:pt x="17" y="92"/>
                    </a:lnTo>
                    <a:lnTo>
                      <a:pt x="9" y="97"/>
                    </a:lnTo>
                    <a:lnTo>
                      <a:pt x="6" y="100"/>
                    </a:lnTo>
                    <a:lnTo>
                      <a:pt x="6" y="103"/>
                    </a:lnTo>
                    <a:lnTo>
                      <a:pt x="9" y="111"/>
                    </a:lnTo>
                    <a:lnTo>
                      <a:pt x="9" y="114"/>
                    </a:lnTo>
                    <a:lnTo>
                      <a:pt x="3" y="111"/>
                    </a:lnTo>
                    <a:lnTo>
                      <a:pt x="0" y="114"/>
                    </a:lnTo>
                    <a:lnTo>
                      <a:pt x="0" y="117"/>
                    </a:lnTo>
                    <a:lnTo>
                      <a:pt x="0" y="120"/>
                    </a:lnTo>
                    <a:lnTo>
                      <a:pt x="3" y="123"/>
                    </a:lnTo>
                    <a:lnTo>
                      <a:pt x="9" y="128"/>
                    </a:lnTo>
                    <a:lnTo>
                      <a:pt x="14" y="136"/>
                    </a:lnTo>
                    <a:lnTo>
                      <a:pt x="20" y="134"/>
                    </a:lnTo>
                    <a:lnTo>
                      <a:pt x="23" y="128"/>
                    </a:lnTo>
                    <a:lnTo>
                      <a:pt x="25" y="128"/>
                    </a:lnTo>
                    <a:lnTo>
                      <a:pt x="28" y="128"/>
                    </a:lnTo>
                    <a:lnTo>
                      <a:pt x="28" y="131"/>
                    </a:lnTo>
                    <a:lnTo>
                      <a:pt x="34" y="134"/>
                    </a:lnTo>
                    <a:lnTo>
                      <a:pt x="37" y="134"/>
                    </a:lnTo>
                    <a:lnTo>
                      <a:pt x="39" y="128"/>
                    </a:lnTo>
                    <a:lnTo>
                      <a:pt x="42" y="128"/>
                    </a:lnTo>
                    <a:lnTo>
                      <a:pt x="48" y="125"/>
                    </a:lnTo>
                    <a:lnTo>
                      <a:pt x="51" y="128"/>
                    </a:lnTo>
                    <a:lnTo>
                      <a:pt x="51" y="131"/>
                    </a:lnTo>
                    <a:lnTo>
                      <a:pt x="53" y="134"/>
                    </a:lnTo>
                    <a:lnTo>
                      <a:pt x="59" y="131"/>
                    </a:lnTo>
                    <a:lnTo>
                      <a:pt x="70" y="123"/>
                    </a:lnTo>
                    <a:lnTo>
                      <a:pt x="78" y="111"/>
                    </a:lnTo>
                    <a:lnTo>
                      <a:pt x="81" y="92"/>
                    </a:lnTo>
                    <a:lnTo>
                      <a:pt x="92" y="75"/>
                    </a:lnTo>
                    <a:lnTo>
                      <a:pt x="103" y="70"/>
                    </a:lnTo>
                    <a:lnTo>
                      <a:pt x="106" y="28"/>
                    </a:lnTo>
                    <a:lnTo>
                      <a:pt x="117" y="6"/>
                    </a:lnTo>
                    <a:lnTo>
                      <a:pt x="11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6" name="Freeform 224"/>
              <p:cNvSpPr>
                <a:spLocks noChangeAspect="1"/>
              </p:cNvSpPr>
              <p:nvPr>
                <p:custDataLst>
                  <p:tags r:id="rId544"/>
                </p:custDataLst>
              </p:nvPr>
            </p:nvSpPr>
            <p:spPr bwMode="gray">
              <a:xfrm>
                <a:off x="5407370" y="4106936"/>
                <a:ext cx="39480" cy="25227"/>
              </a:xfrm>
              <a:custGeom>
                <a:avLst/>
                <a:gdLst>
                  <a:gd name="T0" fmla="*/ 30 w 30"/>
                  <a:gd name="T1" fmla="*/ 0 h 20"/>
                  <a:gd name="T2" fmla="*/ 5 w 30"/>
                  <a:gd name="T3" fmla="*/ 0 h 20"/>
                  <a:gd name="T4" fmla="*/ 5 w 30"/>
                  <a:gd name="T5" fmla="*/ 3 h 20"/>
                  <a:gd name="T6" fmla="*/ 2 w 30"/>
                  <a:gd name="T7" fmla="*/ 6 h 20"/>
                  <a:gd name="T8" fmla="*/ 2 w 30"/>
                  <a:gd name="T9" fmla="*/ 8 h 20"/>
                  <a:gd name="T10" fmla="*/ 0 w 30"/>
                  <a:gd name="T11" fmla="*/ 14 h 20"/>
                  <a:gd name="T12" fmla="*/ 2 w 30"/>
                  <a:gd name="T13" fmla="*/ 17 h 20"/>
                  <a:gd name="T14" fmla="*/ 2 w 30"/>
                  <a:gd name="T15" fmla="*/ 17 h 20"/>
                  <a:gd name="T16" fmla="*/ 2 w 30"/>
                  <a:gd name="T17" fmla="*/ 20 h 20"/>
                  <a:gd name="T18" fmla="*/ 2 w 30"/>
                  <a:gd name="T19" fmla="*/ 17 h 20"/>
                  <a:gd name="T20" fmla="*/ 30 w 30"/>
                  <a:gd name="T21" fmla="*/ 17 h 20"/>
                  <a:gd name="T22" fmla="*/ 27 w 30"/>
                  <a:gd name="T23" fmla="*/ 14 h 20"/>
                  <a:gd name="T24" fmla="*/ 27 w 30"/>
                  <a:gd name="T25" fmla="*/ 3 h 20"/>
                  <a:gd name="T26" fmla="*/ 30 w 30"/>
                  <a:gd name="T2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20">
                    <a:moveTo>
                      <a:pt x="30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20"/>
                    </a:lnTo>
                    <a:lnTo>
                      <a:pt x="2" y="17"/>
                    </a:lnTo>
                    <a:lnTo>
                      <a:pt x="30" y="17"/>
                    </a:lnTo>
                    <a:lnTo>
                      <a:pt x="27" y="14"/>
                    </a:lnTo>
                    <a:lnTo>
                      <a:pt x="27" y="3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7" name="Freeform 225"/>
              <p:cNvSpPr>
                <a:spLocks noChangeAspect="1"/>
              </p:cNvSpPr>
              <p:nvPr>
                <p:custDataLst>
                  <p:tags r:id="rId545"/>
                </p:custDataLst>
              </p:nvPr>
            </p:nvSpPr>
            <p:spPr bwMode="gray">
              <a:xfrm>
                <a:off x="5957051" y="3783703"/>
                <a:ext cx="135143" cy="118255"/>
              </a:xfrm>
              <a:custGeom>
                <a:avLst/>
                <a:gdLst>
                  <a:gd name="T0" fmla="*/ 28 w 103"/>
                  <a:gd name="T1" fmla="*/ 6 h 92"/>
                  <a:gd name="T2" fmla="*/ 14 w 103"/>
                  <a:gd name="T3" fmla="*/ 14 h 92"/>
                  <a:gd name="T4" fmla="*/ 8 w 103"/>
                  <a:gd name="T5" fmla="*/ 14 h 92"/>
                  <a:gd name="T6" fmla="*/ 0 w 103"/>
                  <a:gd name="T7" fmla="*/ 62 h 92"/>
                  <a:gd name="T8" fmla="*/ 5 w 103"/>
                  <a:gd name="T9" fmla="*/ 62 h 92"/>
                  <a:gd name="T10" fmla="*/ 5 w 103"/>
                  <a:gd name="T11" fmla="*/ 62 h 92"/>
                  <a:gd name="T12" fmla="*/ 8 w 103"/>
                  <a:gd name="T13" fmla="*/ 59 h 92"/>
                  <a:gd name="T14" fmla="*/ 11 w 103"/>
                  <a:gd name="T15" fmla="*/ 59 h 92"/>
                  <a:gd name="T16" fmla="*/ 11 w 103"/>
                  <a:gd name="T17" fmla="*/ 62 h 92"/>
                  <a:gd name="T18" fmla="*/ 19 w 103"/>
                  <a:gd name="T19" fmla="*/ 51 h 92"/>
                  <a:gd name="T20" fmla="*/ 25 w 103"/>
                  <a:gd name="T21" fmla="*/ 56 h 92"/>
                  <a:gd name="T22" fmla="*/ 25 w 103"/>
                  <a:gd name="T23" fmla="*/ 56 h 92"/>
                  <a:gd name="T24" fmla="*/ 30 w 103"/>
                  <a:gd name="T25" fmla="*/ 59 h 92"/>
                  <a:gd name="T26" fmla="*/ 36 w 103"/>
                  <a:gd name="T27" fmla="*/ 59 h 92"/>
                  <a:gd name="T28" fmla="*/ 36 w 103"/>
                  <a:gd name="T29" fmla="*/ 56 h 92"/>
                  <a:gd name="T30" fmla="*/ 42 w 103"/>
                  <a:gd name="T31" fmla="*/ 56 h 92"/>
                  <a:gd name="T32" fmla="*/ 42 w 103"/>
                  <a:gd name="T33" fmla="*/ 59 h 92"/>
                  <a:gd name="T34" fmla="*/ 44 w 103"/>
                  <a:gd name="T35" fmla="*/ 59 h 92"/>
                  <a:gd name="T36" fmla="*/ 47 w 103"/>
                  <a:gd name="T37" fmla="*/ 56 h 92"/>
                  <a:gd name="T38" fmla="*/ 50 w 103"/>
                  <a:gd name="T39" fmla="*/ 59 h 92"/>
                  <a:gd name="T40" fmla="*/ 53 w 103"/>
                  <a:gd name="T41" fmla="*/ 59 h 92"/>
                  <a:gd name="T42" fmla="*/ 55 w 103"/>
                  <a:gd name="T43" fmla="*/ 59 h 92"/>
                  <a:gd name="T44" fmla="*/ 64 w 103"/>
                  <a:gd name="T45" fmla="*/ 62 h 92"/>
                  <a:gd name="T46" fmla="*/ 80 w 103"/>
                  <a:gd name="T47" fmla="*/ 78 h 92"/>
                  <a:gd name="T48" fmla="*/ 89 w 103"/>
                  <a:gd name="T49" fmla="*/ 87 h 92"/>
                  <a:gd name="T50" fmla="*/ 92 w 103"/>
                  <a:gd name="T51" fmla="*/ 90 h 92"/>
                  <a:gd name="T52" fmla="*/ 100 w 103"/>
                  <a:gd name="T53" fmla="*/ 84 h 92"/>
                  <a:gd name="T54" fmla="*/ 97 w 103"/>
                  <a:gd name="T55" fmla="*/ 84 h 92"/>
                  <a:gd name="T56" fmla="*/ 94 w 103"/>
                  <a:gd name="T57" fmla="*/ 78 h 92"/>
                  <a:gd name="T58" fmla="*/ 92 w 103"/>
                  <a:gd name="T59" fmla="*/ 78 h 92"/>
                  <a:gd name="T60" fmla="*/ 92 w 103"/>
                  <a:gd name="T61" fmla="*/ 76 h 92"/>
                  <a:gd name="T62" fmla="*/ 89 w 103"/>
                  <a:gd name="T63" fmla="*/ 73 h 92"/>
                  <a:gd name="T64" fmla="*/ 86 w 103"/>
                  <a:gd name="T65" fmla="*/ 70 h 92"/>
                  <a:gd name="T66" fmla="*/ 83 w 103"/>
                  <a:gd name="T67" fmla="*/ 67 h 92"/>
                  <a:gd name="T68" fmla="*/ 80 w 103"/>
                  <a:gd name="T69" fmla="*/ 67 h 92"/>
                  <a:gd name="T70" fmla="*/ 80 w 103"/>
                  <a:gd name="T71" fmla="*/ 67 h 92"/>
                  <a:gd name="T72" fmla="*/ 75 w 103"/>
                  <a:gd name="T73" fmla="*/ 56 h 92"/>
                  <a:gd name="T74" fmla="*/ 69 w 103"/>
                  <a:gd name="T75" fmla="*/ 56 h 92"/>
                  <a:gd name="T76" fmla="*/ 67 w 103"/>
                  <a:gd name="T77" fmla="*/ 53 h 92"/>
                  <a:gd name="T78" fmla="*/ 64 w 103"/>
                  <a:gd name="T79" fmla="*/ 51 h 92"/>
                  <a:gd name="T80" fmla="*/ 61 w 103"/>
                  <a:gd name="T81" fmla="*/ 51 h 92"/>
                  <a:gd name="T82" fmla="*/ 58 w 103"/>
                  <a:gd name="T83" fmla="*/ 51 h 92"/>
                  <a:gd name="T84" fmla="*/ 55 w 103"/>
                  <a:gd name="T85" fmla="*/ 48 h 92"/>
                  <a:gd name="T86" fmla="*/ 55 w 103"/>
                  <a:gd name="T87" fmla="*/ 45 h 92"/>
                  <a:gd name="T88" fmla="*/ 55 w 103"/>
                  <a:gd name="T89" fmla="*/ 42 h 92"/>
                  <a:gd name="T90" fmla="*/ 53 w 103"/>
                  <a:gd name="T91" fmla="*/ 42 h 92"/>
                  <a:gd name="T92" fmla="*/ 50 w 103"/>
                  <a:gd name="T93" fmla="*/ 42 h 92"/>
                  <a:gd name="T94" fmla="*/ 53 w 103"/>
                  <a:gd name="T95" fmla="*/ 45 h 92"/>
                  <a:gd name="T96" fmla="*/ 50 w 103"/>
                  <a:gd name="T97" fmla="*/ 48 h 92"/>
                  <a:gd name="T98" fmla="*/ 50 w 103"/>
                  <a:gd name="T99" fmla="*/ 45 h 92"/>
                  <a:gd name="T100" fmla="*/ 47 w 103"/>
                  <a:gd name="T101" fmla="*/ 45 h 92"/>
                  <a:gd name="T102" fmla="*/ 47 w 103"/>
                  <a:gd name="T103" fmla="*/ 39 h 92"/>
                  <a:gd name="T104" fmla="*/ 44 w 103"/>
                  <a:gd name="T105" fmla="*/ 39 h 92"/>
                  <a:gd name="T106" fmla="*/ 44 w 103"/>
                  <a:gd name="T107" fmla="*/ 37 h 92"/>
                  <a:gd name="T108" fmla="*/ 42 w 103"/>
                  <a:gd name="T109" fmla="*/ 34 h 92"/>
                  <a:gd name="T110" fmla="*/ 30 w 103"/>
                  <a:gd name="T111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92">
                    <a:moveTo>
                      <a:pt x="30" y="0"/>
                    </a:moveTo>
                    <a:lnTo>
                      <a:pt x="28" y="6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4"/>
                    </a:lnTo>
                    <a:lnTo>
                      <a:pt x="0" y="56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5" y="62"/>
                    </a:lnTo>
                    <a:lnTo>
                      <a:pt x="5" y="62"/>
                    </a:lnTo>
                    <a:lnTo>
                      <a:pt x="5" y="62"/>
                    </a:lnTo>
                    <a:lnTo>
                      <a:pt x="8" y="62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11" y="59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4" y="65"/>
                    </a:lnTo>
                    <a:lnTo>
                      <a:pt x="19" y="51"/>
                    </a:lnTo>
                    <a:lnTo>
                      <a:pt x="22" y="56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8" y="59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36" y="59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9" y="56"/>
                    </a:lnTo>
                    <a:lnTo>
                      <a:pt x="42" y="56"/>
                    </a:lnTo>
                    <a:lnTo>
                      <a:pt x="42" y="59"/>
                    </a:lnTo>
                    <a:lnTo>
                      <a:pt x="42" y="59"/>
                    </a:lnTo>
                    <a:lnTo>
                      <a:pt x="42" y="59"/>
                    </a:lnTo>
                    <a:lnTo>
                      <a:pt x="44" y="59"/>
                    </a:lnTo>
                    <a:lnTo>
                      <a:pt x="44" y="56"/>
                    </a:lnTo>
                    <a:lnTo>
                      <a:pt x="47" y="56"/>
                    </a:lnTo>
                    <a:lnTo>
                      <a:pt x="47" y="59"/>
                    </a:lnTo>
                    <a:lnTo>
                      <a:pt x="50" y="59"/>
                    </a:lnTo>
                    <a:lnTo>
                      <a:pt x="50" y="59"/>
                    </a:lnTo>
                    <a:lnTo>
                      <a:pt x="53" y="59"/>
                    </a:lnTo>
                    <a:lnTo>
                      <a:pt x="53" y="59"/>
                    </a:lnTo>
                    <a:lnTo>
                      <a:pt x="55" y="59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72" y="73"/>
                    </a:lnTo>
                    <a:lnTo>
                      <a:pt x="80" y="78"/>
                    </a:lnTo>
                    <a:lnTo>
                      <a:pt x="83" y="84"/>
                    </a:lnTo>
                    <a:lnTo>
                      <a:pt x="89" y="87"/>
                    </a:lnTo>
                    <a:lnTo>
                      <a:pt x="92" y="92"/>
                    </a:lnTo>
                    <a:lnTo>
                      <a:pt x="92" y="90"/>
                    </a:lnTo>
                    <a:lnTo>
                      <a:pt x="103" y="84"/>
                    </a:lnTo>
                    <a:lnTo>
                      <a:pt x="100" y="84"/>
                    </a:lnTo>
                    <a:lnTo>
                      <a:pt x="97" y="84"/>
                    </a:lnTo>
                    <a:lnTo>
                      <a:pt x="97" y="84"/>
                    </a:lnTo>
                    <a:lnTo>
                      <a:pt x="97" y="81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6"/>
                    </a:lnTo>
                    <a:lnTo>
                      <a:pt x="89" y="73"/>
                    </a:lnTo>
                    <a:lnTo>
                      <a:pt x="89" y="73"/>
                    </a:lnTo>
                    <a:lnTo>
                      <a:pt x="86" y="73"/>
                    </a:lnTo>
                    <a:lnTo>
                      <a:pt x="86" y="70"/>
                    </a:lnTo>
                    <a:lnTo>
                      <a:pt x="86" y="67"/>
                    </a:lnTo>
                    <a:lnTo>
                      <a:pt x="83" y="67"/>
                    </a:lnTo>
                    <a:lnTo>
                      <a:pt x="83" y="67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80" y="67"/>
                    </a:lnTo>
                    <a:lnTo>
                      <a:pt x="80" y="65"/>
                    </a:lnTo>
                    <a:lnTo>
                      <a:pt x="75" y="56"/>
                    </a:lnTo>
                    <a:lnTo>
                      <a:pt x="72" y="56"/>
                    </a:lnTo>
                    <a:lnTo>
                      <a:pt x="69" y="56"/>
                    </a:lnTo>
                    <a:lnTo>
                      <a:pt x="67" y="53"/>
                    </a:lnTo>
                    <a:lnTo>
                      <a:pt x="67" y="53"/>
                    </a:lnTo>
                    <a:lnTo>
                      <a:pt x="64" y="53"/>
                    </a:lnTo>
                    <a:lnTo>
                      <a:pt x="64" y="51"/>
                    </a:lnTo>
                    <a:lnTo>
                      <a:pt x="61" y="51"/>
                    </a:lnTo>
                    <a:lnTo>
                      <a:pt x="61" y="51"/>
                    </a:lnTo>
                    <a:lnTo>
                      <a:pt x="58" y="51"/>
                    </a:lnTo>
                    <a:lnTo>
                      <a:pt x="58" y="51"/>
                    </a:lnTo>
                    <a:lnTo>
                      <a:pt x="58" y="51"/>
                    </a:lnTo>
                    <a:lnTo>
                      <a:pt x="55" y="48"/>
                    </a:lnTo>
                    <a:lnTo>
                      <a:pt x="55" y="48"/>
                    </a:lnTo>
                    <a:lnTo>
                      <a:pt x="55" y="45"/>
                    </a:lnTo>
                    <a:lnTo>
                      <a:pt x="55" y="45"/>
                    </a:lnTo>
                    <a:lnTo>
                      <a:pt x="55" y="42"/>
                    </a:lnTo>
                    <a:lnTo>
                      <a:pt x="53" y="42"/>
                    </a:lnTo>
                    <a:lnTo>
                      <a:pt x="53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5"/>
                    </a:lnTo>
                    <a:lnTo>
                      <a:pt x="53" y="45"/>
                    </a:lnTo>
                    <a:lnTo>
                      <a:pt x="53" y="48"/>
                    </a:lnTo>
                    <a:lnTo>
                      <a:pt x="50" y="48"/>
                    </a:lnTo>
                    <a:lnTo>
                      <a:pt x="50" y="48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47" y="45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4" y="39"/>
                    </a:lnTo>
                    <a:lnTo>
                      <a:pt x="44" y="39"/>
                    </a:lnTo>
                    <a:lnTo>
                      <a:pt x="44" y="37"/>
                    </a:lnTo>
                    <a:lnTo>
                      <a:pt x="44" y="37"/>
                    </a:lnTo>
                    <a:lnTo>
                      <a:pt x="42" y="34"/>
                    </a:lnTo>
                    <a:lnTo>
                      <a:pt x="36" y="9"/>
                    </a:lnTo>
                    <a:lnTo>
                      <a:pt x="30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8" name="Freeform 226"/>
              <p:cNvSpPr>
                <a:spLocks noChangeAspect="1"/>
              </p:cNvSpPr>
              <p:nvPr>
                <p:custDataLst>
                  <p:tags r:id="rId546"/>
                </p:custDataLst>
              </p:nvPr>
            </p:nvSpPr>
            <p:spPr bwMode="gray">
              <a:xfrm>
                <a:off x="5809762" y="4196808"/>
                <a:ext cx="33406" cy="39418"/>
              </a:xfrm>
              <a:custGeom>
                <a:avLst/>
                <a:gdLst>
                  <a:gd name="T0" fmla="*/ 22 w 25"/>
                  <a:gd name="T1" fmla="*/ 0 h 30"/>
                  <a:gd name="T2" fmla="*/ 22 w 25"/>
                  <a:gd name="T3" fmla="*/ 0 h 30"/>
                  <a:gd name="T4" fmla="*/ 22 w 25"/>
                  <a:gd name="T5" fmla="*/ 0 h 30"/>
                  <a:gd name="T6" fmla="*/ 22 w 25"/>
                  <a:gd name="T7" fmla="*/ 0 h 30"/>
                  <a:gd name="T8" fmla="*/ 19 w 25"/>
                  <a:gd name="T9" fmla="*/ 0 h 30"/>
                  <a:gd name="T10" fmla="*/ 16 w 25"/>
                  <a:gd name="T11" fmla="*/ 0 h 30"/>
                  <a:gd name="T12" fmla="*/ 14 w 25"/>
                  <a:gd name="T13" fmla="*/ 0 h 30"/>
                  <a:gd name="T14" fmla="*/ 14 w 25"/>
                  <a:gd name="T15" fmla="*/ 0 h 30"/>
                  <a:gd name="T16" fmla="*/ 11 w 25"/>
                  <a:gd name="T17" fmla="*/ 2 h 30"/>
                  <a:gd name="T18" fmla="*/ 11 w 25"/>
                  <a:gd name="T19" fmla="*/ 2 h 30"/>
                  <a:gd name="T20" fmla="*/ 11 w 25"/>
                  <a:gd name="T21" fmla="*/ 5 h 30"/>
                  <a:gd name="T22" fmla="*/ 8 w 25"/>
                  <a:gd name="T23" fmla="*/ 5 h 30"/>
                  <a:gd name="T24" fmla="*/ 8 w 25"/>
                  <a:gd name="T25" fmla="*/ 5 h 30"/>
                  <a:gd name="T26" fmla="*/ 5 w 25"/>
                  <a:gd name="T27" fmla="*/ 5 h 30"/>
                  <a:gd name="T28" fmla="*/ 5 w 25"/>
                  <a:gd name="T29" fmla="*/ 5 h 30"/>
                  <a:gd name="T30" fmla="*/ 2 w 25"/>
                  <a:gd name="T31" fmla="*/ 2 h 30"/>
                  <a:gd name="T32" fmla="*/ 2 w 25"/>
                  <a:gd name="T33" fmla="*/ 2 h 30"/>
                  <a:gd name="T34" fmla="*/ 0 w 25"/>
                  <a:gd name="T35" fmla="*/ 2 h 30"/>
                  <a:gd name="T36" fmla="*/ 0 w 25"/>
                  <a:gd name="T37" fmla="*/ 2 h 30"/>
                  <a:gd name="T38" fmla="*/ 0 w 25"/>
                  <a:gd name="T39" fmla="*/ 5 h 30"/>
                  <a:gd name="T40" fmla="*/ 0 w 25"/>
                  <a:gd name="T41" fmla="*/ 5 h 30"/>
                  <a:gd name="T42" fmla="*/ 2 w 25"/>
                  <a:gd name="T43" fmla="*/ 8 h 30"/>
                  <a:gd name="T44" fmla="*/ 2 w 25"/>
                  <a:gd name="T45" fmla="*/ 14 h 30"/>
                  <a:gd name="T46" fmla="*/ 2 w 25"/>
                  <a:gd name="T47" fmla="*/ 16 h 30"/>
                  <a:gd name="T48" fmla="*/ 5 w 25"/>
                  <a:gd name="T49" fmla="*/ 28 h 30"/>
                  <a:gd name="T50" fmla="*/ 8 w 25"/>
                  <a:gd name="T51" fmla="*/ 30 h 30"/>
                  <a:gd name="T52" fmla="*/ 8 w 25"/>
                  <a:gd name="T53" fmla="*/ 30 h 30"/>
                  <a:gd name="T54" fmla="*/ 16 w 25"/>
                  <a:gd name="T55" fmla="*/ 28 h 30"/>
                  <a:gd name="T56" fmla="*/ 25 w 25"/>
                  <a:gd name="T57" fmla="*/ 14 h 30"/>
                  <a:gd name="T58" fmla="*/ 25 w 25"/>
                  <a:gd name="T59" fmla="*/ 11 h 30"/>
                  <a:gd name="T60" fmla="*/ 25 w 25"/>
                  <a:gd name="T61" fmla="*/ 8 h 30"/>
                  <a:gd name="T62" fmla="*/ 25 w 25"/>
                  <a:gd name="T63" fmla="*/ 8 h 30"/>
                  <a:gd name="T64" fmla="*/ 22 w 25"/>
                  <a:gd name="T65" fmla="*/ 8 h 30"/>
                  <a:gd name="T66" fmla="*/ 22 w 25"/>
                  <a:gd name="T67" fmla="*/ 5 h 30"/>
                  <a:gd name="T68" fmla="*/ 22 w 25"/>
                  <a:gd name="T69" fmla="*/ 2 h 30"/>
                  <a:gd name="T70" fmla="*/ 22 w 25"/>
                  <a:gd name="T71" fmla="*/ 2 h 30"/>
                  <a:gd name="T72" fmla="*/ 22 w 25"/>
                  <a:gd name="T7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" h="3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5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6" y="28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5" y="8"/>
                    </a:lnTo>
                    <a:lnTo>
                      <a:pt x="22" y="8"/>
                    </a:lnTo>
                    <a:lnTo>
                      <a:pt x="22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9" name="Freeform 227"/>
              <p:cNvSpPr>
                <a:spLocks noChangeAspect="1"/>
              </p:cNvSpPr>
              <p:nvPr>
                <p:custDataLst>
                  <p:tags r:id="rId547"/>
                </p:custDataLst>
              </p:nvPr>
            </p:nvSpPr>
            <p:spPr bwMode="gray">
              <a:xfrm>
                <a:off x="5809762" y="4196808"/>
                <a:ext cx="33406" cy="39418"/>
              </a:xfrm>
              <a:custGeom>
                <a:avLst/>
                <a:gdLst>
                  <a:gd name="T0" fmla="*/ 22 w 25"/>
                  <a:gd name="T1" fmla="*/ 0 h 30"/>
                  <a:gd name="T2" fmla="*/ 22 w 25"/>
                  <a:gd name="T3" fmla="*/ 0 h 30"/>
                  <a:gd name="T4" fmla="*/ 22 w 25"/>
                  <a:gd name="T5" fmla="*/ 0 h 30"/>
                  <a:gd name="T6" fmla="*/ 22 w 25"/>
                  <a:gd name="T7" fmla="*/ 0 h 30"/>
                  <a:gd name="T8" fmla="*/ 19 w 25"/>
                  <a:gd name="T9" fmla="*/ 0 h 30"/>
                  <a:gd name="T10" fmla="*/ 16 w 25"/>
                  <a:gd name="T11" fmla="*/ 0 h 30"/>
                  <a:gd name="T12" fmla="*/ 14 w 25"/>
                  <a:gd name="T13" fmla="*/ 0 h 30"/>
                  <a:gd name="T14" fmla="*/ 14 w 25"/>
                  <a:gd name="T15" fmla="*/ 0 h 30"/>
                  <a:gd name="T16" fmla="*/ 11 w 25"/>
                  <a:gd name="T17" fmla="*/ 2 h 30"/>
                  <a:gd name="T18" fmla="*/ 11 w 25"/>
                  <a:gd name="T19" fmla="*/ 2 h 30"/>
                  <a:gd name="T20" fmla="*/ 11 w 25"/>
                  <a:gd name="T21" fmla="*/ 5 h 30"/>
                  <a:gd name="T22" fmla="*/ 8 w 25"/>
                  <a:gd name="T23" fmla="*/ 5 h 30"/>
                  <a:gd name="T24" fmla="*/ 8 w 25"/>
                  <a:gd name="T25" fmla="*/ 5 h 30"/>
                  <a:gd name="T26" fmla="*/ 5 w 25"/>
                  <a:gd name="T27" fmla="*/ 5 h 30"/>
                  <a:gd name="T28" fmla="*/ 5 w 25"/>
                  <a:gd name="T29" fmla="*/ 5 h 30"/>
                  <a:gd name="T30" fmla="*/ 2 w 25"/>
                  <a:gd name="T31" fmla="*/ 2 h 30"/>
                  <a:gd name="T32" fmla="*/ 2 w 25"/>
                  <a:gd name="T33" fmla="*/ 2 h 30"/>
                  <a:gd name="T34" fmla="*/ 0 w 25"/>
                  <a:gd name="T35" fmla="*/ 2 h 30"/>
                  <a:gd name="T36" fmla="*/ 0 w 25"/>
                  <a:gd name="T37" fmla="*/ 2 h 30"/>
                  <a:gd name="T38" fmla="*/ 0 w 25"/>
                  <a:gd name="T39" fmla="*/ 5 h 30"/>
                  <a:gd name="T40" fmla="*/ 0 w 25"/>
                  <a:gd name="T41" fmla="*/ 5 h 30"/>
                  <a:gd name="T42" fmla="*/ 2 w 25"/>
                  <a:gd name="T43" fmla="*/ 8 h 30"/>
                  <a:gd name="T44" fmla="*/ 2 w 25"/>
                  <a:gd name="T45" fmla="*/ 14 h 30"/>
                  <a:gd name="T46" fmla="*/ 2 w 25"/>
                  <a:gd name="T47" fmla="*/ 16 h 30"/>
                  <a:gd name="T48" fmla="*/ 5 w 25"/>
                  <a:gd name="T49" fmla="*/ 28 h 30"/>
                  <a:gd name="T50" fmla="*/ 8 w 25"/>
                  <a:gd name="T51" fmla="*/ 30 h 30"/>
                  <a:gd name="T52" fmla="*/ 8 w 25"/>
                  <a:gd name="T53" fmla="*/ 30 h 30"/>
                  <a:gd name="T54" fmla="*/ 16 w 25"/>
                  <a:gd name="T55" fmla="*/ 28 h 30"/>
                  <a:gd name="T56" fmla="*/ 25 w 25"/>
                  <a:gd name="T57" fmla="*/ 14 h 30"/>
                  <a:gd name="T58" fmla="*/ 25 w 25"/>
                  <a:gd name="T59" fmla="*/ 11 h 30"/>
                  <a:gd name="T60" fmla="*/ 25 w 25"/>
                  <a:gd name="T61" fmla="*/ 8 h 30"/>
                  <a:gd name="T62" fmla="*/ 25 w 25"/>
                  <a:gd name="T63" fmla="*/ 8 h 30"/>
                  <a:gd name="T64" fmla="*/ 22 w 25"/>
                  <a:gd name="T65" fmla="*/ 8 h 30"/>
                  <a:gd name="T66" fmla="*/ 22 w 25"/>
                  <a:gd name="T67" fmla="*/ 5 h 30"/>
                  <a:gd name="T68" fmla="*/ 22 w 25"/>
                  <a:gd name="T69" fmla="*/ 2 h 30"/>
                  <a:gd name="T70" fmla="*/ 22 w 25"/>
                  <a:gd name="T71" fmla="*/ 2 h 30"/>
                  <a:gd name="T72" fmla="*/ 22 w 25"/>
                  <a:gd name="T7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" h="30">
                    <a:moveTo>
                      <a:pt x="22" y="0"/>
                    </a:move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5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6" y="28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5" y="8"/>
                    </a:lnTo>
                    <a:lnTo>
                      <a:pt x="22" y="8"/>
                    </a:lnTo>
                    <a:lnTo>
                      <a:pt x="22" y="5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0" name="Freeform 228"/>
              <p:cNvSpPr>
                <a:spLocks noChangeAspect="1"/>
              </p:cNvSpPr>
              <p:nvPr>
                <p:custDataLst>
                  <p:tags r:id="rId548"/>
                </p:custDataLst>
              </p:nvPr>
            </p:nvSpPr>
            <p:spPr bwMode="gray">
              <a:xfrm>
                <a:off x="5881128" y="4335561"/>
                <a:ext cx="63776" cy="159250"/>
              </a:xfrm>
              <a:custGeom>
                <a:avLst/>
                <a:gdLst>
                  <a:gd name="T0" fmla="*/ 17 w 50"/>
                  <a:gd name="T1" fmla="*/ 6 h 123"/>
                  <a:gd name="T2" fmla="*/ 14 w 50"/>
                  <a:gd name="T3" fmla="*/ 3 h 123"/>
                  <a:gd name="T4" fmla="*/ 11 w 50"/>
                  <a:gd name="T5" fmla="*/ 6 h 123"/>
                  <a:gd name="T6" fmla="*/ 9 w 50"/>
                  <a:gd name="T7" fmla="*/ 3 h 123"/>
                  <a:gd name="T8" fmla="*/ 3 w 50"/>
                  <a:gd name="T9" fmla="*/ 3 h 123"/>
                  <a:gd name="T10" fmla="*/ 3 w 50"/>
                  <a:gd name="T11" fmla="*/ 3 h 123"/>
                  <a:gd name="T12" fmla="*/ 9 w 50"/>
                  <a:gd name="T13" fmla="*/ 6 h 123"/>
                  <a:gd name="T14" fmla="*/ 11 w 50"/>
                  <a:gd name="T15" fmla="*/ 11 h 123"/>
                  <a:gd name="T16" fmla="*/ 14 w 50"/>
                  <a:gd name="T17" fmla="*/ 20 h 123"/>
                  <a:gd name="T18" fmla="*/ 14 w 50"/>
                  <a:gd name="T19" fmla="*/ 23 h 123"/>
                  <a:gd name="T20" fmla="*/ 11 w 50"/>
                  <a:gd name="T21" fmla="*/ 25 h 123"/>
                  <a:gd name="T22" fmla="*/ 11 w 50"/>
                  <a:gd name="T23" fmla="*/ 25 h 123"/>
                  <a:gd name="T24" fmla="*/ 9 w 50"/>
                  <a:gd name="T25" fmla="*/ 36 h 123"/>
                  <a:gd name="T26" fmla="*/ 9 w 50"/>
                  <a:gd name="T27" fmla="*/ 48 h 123"/>
                  <a:gd name="T28" fmla="*/ 11 w 50"/>
                  <a:gd name="T29" fmla="*/ 50 h 123"/>
                  <a:gd name="T30" fmla="*/ 9 w 50"/>
                  <a:gd name="T31" fmla="*/ 50 h 123"/>
                  <a:gd name="T32" fmla="*/ 6 w 50"/>
                  <a:gd name="T33" fmla="*/ 53 h 123"/>
                  <a:gd name="T34" fmla="*/ 3 w 50"/>
                  <a:gd name="T35" fmla="*/ 67 h 123"/>
                  <a:gd name="T36" fmla="*/ 0 w 50"/>
                  <a:gd name="T37" fmla="*/ 70 h 123"/>
                  <a:gd name="T38" fmla="*/ 3 w 50"/>
                  <a:gd name="T39" fmla="*/ 73 h 123"/>
                  <a:gd name="T40" fmla="*/ 6 w 50"/>
                  <a:gd name="T41" fmla="*/ 73 h 123"/>
                  <a:gd name="T42" fmla="*/ 6 w 50"/>
                  <a:gd name="T43" fmla="*/ 75 h 123"/>
                  <a:gd name="T44" fmla="*/ 11 w 50"/>
                  <a:gd name="T45" fmla="*/ 81 h 123"/>
                  <a:gd name="T46" fmla="*/ 14 w 50"/>
                  <a:gd name="T47" fmla="*/ 84 h 123"/>
                  <a:gd name="T48" fmla="*/ 25 w 50"/>
                  <a:gd name="T49" fmla="*/ 81 h 123"/>
                  <a:gd name="T50" fmla="*/ 28 w 50"/>
                  <a:gd name="T51" fmla="*/ 95 h 123"/>
                  <a:gd name="T52" fmla="*/ 25 w 50"/>
                  <a:gd name="T53" fmla="*/ 98 h 123"/>
                  <a:gd name="T54" fmla="*/ 25 w 50"/>
                  <a:gd name="T55" fmla="*/ 103 h 123"/>
                  <a:gd name="T56" fmla="*/ 25 w 50"/>
                  <a:gd name="T57" fmla="*/ 106 h 123"/>
                  <a:gd name="T58" fmla="*/ 28 w 50"/>
                  <a:gd name="T59" fmla="*/ 112 h 123"/>
                  <a:gd name="T60" fmla="*/ 34 w 50"/>
                  <a:gd name="T61" fmla="*/ 117 h 123"/>
                  <a:gd name="T62" fmla="*/ 36 w 50"/>
                  <a:gd name="T63" fmla="*/ 120 h 123"/>
                  <a:gd name="T64" fmla="*/ 36 w 50"/>
                  <a:gd name="T65" fmla="*/ 123 h 123"/>
                  <a:gd name="T66" fmla="*/ 39 w 50"/>
                  <a:gd name="T67" fmla="*/ 123 h 123"/>
                  <a:gd name="T68" fmla="*/ 39 w 50"/>
                  <a:gd name="T69" fmla="*/ 120 h 123"/>
                  <a:gd name="T70" fmla="*/ 39 w 50"/>
                  <a:gd name="T71" fmla="*/ 117 h 123"/>
                  <a:gd name="T72" fmla="*/ 39 w 50"/>
                  <a:gd name="T73" fmla="*/ 112 h 123"/>
                  <a:gd name="T74" fmla="*/ 39 w 50"/>
                  <a:gd name="T75" fmla="*/ 112 h 123"/>
                  <a:gd name="T76" fmla="*/ 48 w 50"/>
                  <a:gd name="T77" fmla="*/ 106 h 123"/>
                  <a:gd name="T78" fmla="*/ 50 w 50"/>
                  <a:gd name="T79" fmla="*/ 98 h 123"/>
                  <a:gd name="T80" fmla="*/ 50 w 50"/>
                  <a:gd name="T81" fmla="*/ 89 h 123"/>
                  <a:gd name="T82" fmla="*/ 34 w 50"/>
                  <a:gd name="T83" fmla="*/ 67 h 123"/>
                  <a:gd name="T84" fmla="*/ 34 w 50"/>
                  <a:gd name="T85" fmla="*/ 70 h 123"/>
                  <a:gd name="T86" fmla="*/ 34 w 50"/>
                  <a:gd name="T87" fmla="*/ 73 h 123"/>
                  <a:gd name="T88" fmla="*/ 39 w 50"/>
                  <a:gd name="T89" fmla="*/ 78 h 123"/>
                  <a:gd name="T90" fmla="*/ 39 w 50"/>
                  <a:gd name="T91" fmla="*/ 81 h 123"/>
                  <a:gd name="T92" fmla="*/ 36 w 50"/>
                  <a:gd name="T93" fmla="*/ 78 h 123"/>
                  <a:gd name="T94" fmla="*/ 34 w 50"/>
                  <a:gd name="T95" fmla="*/ 75 h 123"/>
                  <a:gd name="T96" fmla="*/ 34 w 50"/>
                  <a:gd name="T97" fmla="*/ 75 h 123"/>
                  <a:gd name="T98" fmla="*/ 31 w 50"/>
                  <a:gd name="T99" fmla="*/ 78 h 123"/>
                  <a:gd name="T100" fmla="*/ 28 w 50"/>
                  <a:gd name="T101" fmla="*/ 78 h 123"/>
                  <a:gd name="T102" fmla="*/ 28 w 50"/>
                  <a:gd name="T103" fmla="*/ 75 h 123"/>
                  <a:gd name="T104" fmla="*/ 28 w 50"/>
                  <a:gd name="T105" fmla="*/ 70 h 123"/>
                  <a:gd name="T106" fmla="*/ 25 w 50"/>
                  <a:gd name="T107" fmla="*/ 64 h 123"/>
                  <a:gd name="T108" fmla="*/ 25 w 50"/>
                  <a:gd name="T109" fmla="*/ 62 h 123"/>
                  <a:gd name="T110" fmla="*/ 20 w 50"/>
                  <a:gd name="T111" fmla="*/ 48 h 123"/>
                  <a:gd name="T112" fmla="*/ 23 w 50"/>
                  <a:gd name="T113" fmla="*/ 36 h 123"/>
                  <a:gd name="T114" fmla="*/ 23 w 50"/>
                  <a:gd name="T115" fmla="*/ 20 h 123"/>
                  <a:gd name="T116" fmla="*/ 23 w 50"/>
                  <a:gd name="T117" fmla="*/ 17 h 123"/>
                  <a:gd name="T118" fmla="*/ 17 w 50"/>
                  <a:gd name="T119" fmla="*/ 11 h 123"/>
                  <a:gd name="T120" fmla="*/ 20 w 50"/>
                  <a:gd name="T121" fmla="*/ 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" h="123">
                    <a:moveTo>
                      <a:pt x="17" y="6"/>
                    </a:moveTo>
                    <a:lnTo>
                      <a:pt x="17" y="6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4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31"/>
                    </a:lnTo>
                    <a:lnTo>
                      <a:pt x="9" y="36"/>
                    </a:lnTo>
                    <a:lnTo>
                      <a:pt x="9" y="48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6" y="53"/>
                    </a:lnTo>
                    <a:lnTo>
                      <a:pt x="6" y="53"/>
                    </a:lnTo>
                    <a:lnTo>
                      <a:pt x="6" y="53"/>
                    </a:lnTo>
                    <a:lnTo>
                      <a:pt x="3" y="67"/>
                    </a:lnTo>
                    <a:lnTo>
                      <a:pt x="0" y="67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6" y="73"/>
                    </a:lnTo>
                    <a:lnTo>
                      <a:pt x="6" y="75"/>
                    </a:lnTo>
                    <a:lnTo>
                      <a:pt x="6" y="75"/>
                    </a:lnTo>
                    <a:lnTo>
                      <a:pt x="9" y="75"/>
                    </a:lnTo>
                    <a:lnTo>
                      <a:pt x="11" y="81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5" y="81"/>
                    </a:lnTo>
                    <a:lnTo>
                      <a:pt x="25" y="81"/>
                    </a:lnTo>
                    <a:lnTo>
                      <a:pt x="28" y="84"/>
                    </a:lnTo>
                    <a:lnTo>
                      <a:pt x="28" y="95"/>
                    </a:lnTo>
                    <a:lnTo>
                      <a:pt x="28" y="98"/>
                    </a:lnTo>
                    <a:lnTo>
                      <a:pt x="25" y="98"/>
                    </a:lnTo>
                    <a:lnTo>
                      <a:pt x="28" y="101"/>
                    </a:lnTo>
                    <a:lnTo>
                      <a:pt x="25" y="103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4" y="117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6" y="123"/>
                    </a:lnTo>
                    <a:lnTo>
                      <a:pt x="36" y="123"/>
                    </a:lnTo>
                    <a:lnTo>
                      <a:pt x="36" y="123"/>
                    </a:lnTo>
                    <a:lnTo>
                      <a:pt x="39" y="123"/>
                    </a:lnTo>
                    <a:lnTo>
                      <a:pt x="39" y="123"/>
                    </a:lnTo>
                    <a:lnTo>
                      <a:pt x="39" y="120"/>
                    </a:lnTo>
                    <a:lnTo>
                      <a:pt x="39" y="117"/>
                    </a:lnTo>
                    <a:lnTo>
                      <a:pt x="39" y="117"/>
                    </a:lnTo>
                    <a:lnTo>
                      <a:pt x="39" y="114"/>
                    </a:lnTo>
                    <a:lnTo>
                      <a:pt x="39" y="112"/>
                    </a:lnTo>
                    <a:lnTo>
                      <a:pt x="39" y="112"/>
                    </a:lnTo>
                    <a:lnTo>
                      <a:pt x="39" y="112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48" y="101"/>
                    </a:lnTo>
                    <a:lnTo>
                      <a:pt x="50" y="98"/>
                    </a:lnTo>
                    <a:lnTo>
                      <a:pt x="48" y="95"/>
                    </a:lnTo>
                    <a:lnTo>
                      <a:pt x="50" y="89"/>
                    </a:lnTo>
                    <a:lnTo>
                      <a:pt x="50" y="84"/>
                    </a:lnTo>
                    <a:lnTo>
                      <a:pt x="34" y="67"/>
                    </a:lnTo>
                    <a:lnTo>
                      <a:pt x="34" y="67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3"/>
                    </a:lnTo>
                    <a:lnTo>
                      <a:pt x="36" y="73"/>
                    </a:lnTo>
                    <a:lnTo>
                      <a:pt x="39" y="78"/>
                    </a:lnTo>
                    <a:lnTo>
                      <a:pt x="39" y="81"/>
                    </a:lnTo>
                    <a:lnTo>
                      <a:pt x="39" y="81"/>
                    </a:lnTo>
                    <a:lnTo>
                      <a:pt x="36" y="81"/>
                    </a:lnTo>
                    <a:lnTo>
                      <a:pt x="36" y="78"/>
                    </a:lnTo>
                    <a:lnTo>
                      <a:pt x="34" y="78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8" y="70"/>
                    </a:lnTo>
                    <a:lnTo>
                      <a:pt x="25" y="67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5" y="62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5"/>
                    </a:lnTo>
                    <a:lnTo>
                      <a:pt x="23" y="36"/>
                    </a:lnTo>
                    <a:lnTo>
                      <a:pt x="23" y="23"/>
                    </a:lnTo>
                    <a:lnTo>
                      <a:pt x="23" y="20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7" y="6"/>
                    </a:lnTo>
                    <a:lnTo>
                      <a:pt x="20" y="3"/>
                    </a:lnTo>
                    <a:lnTo>
                      <a:pt x="17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1" name="Freeform 229"/>
              <p:cNvSpPr>
                <a:spLocks noChangeAspect="1"/>
              </p:cNvSpPr>
              <p:nvPr>
                <p:custDataLst>
                  <p:tags r:id="rId549"/>
                </p:custDataLst>
              </p:nvPr>
            </p:nvSpPr>
            <p:spPr bwMode="gray">
              <a:xfrm>
                <a:off x="5881128" y="4335561"/>
                <a:ext cx="63776" cy="159250"/>
              </a:xfrm>
              <a:custGeom>
                <a:avLst/>
                <a:gdLst>
                  <a:gd name="T0" fmla="*/ 17 w 50"/>
                  <a:gd name="T1" fmla="*/ 6 h 123"/>
                  <a:gd name="T2" fmla="*/ 14 w 50"/>
                  <a:gd name="T3" fmla="*/ 3 h 123"/>
                  <a:gd name="T4" fmla="*/ 11 w 50"/>
                  <a:gd name="T5" fmla="*/ 6 h 123"/>
                  <a:gd name="T6" fmla="*/ 9 w 50"/>
                  <a:gd name="T7" fmla="*/ 3 h 123"/>
                  <a:gd name="T8" fmla="*/ 3 w 50"/>
                  <a:gd name="T9" fmla="*/ 3 h 123"/>
                  <a:gd name="T10" fmla="*/ 3 w 50"/>
                  <a:gd name="T11" fmla="*/ 3 h 123"/>
                  <a:gd name="T12" fmla="*/ 9 w 50"/>
                  <a:gd name="T13" fmla="*/ 6 h 123"/>
                  <a:gd name="T14" fmla="*/ 11 w 50"/>
                  <a:gd name="T15" fmla="*/ 11 h 123"/>
                  <a:gd name="T16" fmla="*/ 14 w 50"/>
                  <a:gd name="T17" fmla="*/ 20 h 123"/>
                  <a:gd name="T18" fmla="*/ 14 w 50"/>
                  <a:gd name="T19" fmla="*/ 23 h 123"/>
                  <a:gd name="T20" fmla="*/ 11 w 50"/>
                  <a:gd name="T21" fmla="*/ 25 h 123"/>
                  <a:gd name="T22" fmla="*/ 11 w 50"/>
                  <a:gd name="T23" fmla="*/ 25 h 123"/>
                  <a:gd name="T24" fmla="*/ 9 w 50"/>
                  <a:gd name="T25" fmla="*/ 36 h 123"/>
                  <a:gd name="T26" fmla="*/ 9 w 50"/>
                  <a:gd name="T27" fmla="*/ 48 h 123"/>
                  <a:gd name="T28" fmla="*/ 11 w 50"/>
                  <a:gd name="T29" fmla="*/ 50 h 123"/>
                  <a:gd name="T30" fmla="*/ 9 w 50"/>
                  <a:gd name="T31" fmla="*/ 50 h 123"/>
                  <a:gd name="T32" fmla="*/ 6 w 50"/>
                  <a:gd name="T33" fmla="*/ 53 h 123"/>
                  <a:gd name="T34" fmla="*/ 3 w 50"/>
                  <a:gd name="T35" fmla="*/ 67 h 123"/>
                  <a:gd name="T36" fmla="*/ 0 w 50"/>
                  <a:gd name="T37" fmla="*/ 70 h 123"/>
                  <a:gd name="T38" fmla="*/ 3 w 50"/>
                  <a:gd name="T39" fmla="*/ 73 h 123"/>
                  <a:gd name="T40" fmla="*/ 6 w 50"/>
                  <a:gd name="T41" fmla="*/ 73 h 123"/>
                  <a:gd name="T42" fmla="*/ 6 w 50"/>
                  <a:gd name="T43" fmla="*/ 75 h 123"/>
                  <a:gd name="T44" fmla="*/ 11 w 50"/>
                  <a:gd name="T45" fmla="*/ 81 h 123"/>
                  <a:gd name="T46" fmla="*/ 14 w 50"/>
                  <a:gd name="T47" fmla="*/ 84 h 123"/>
                  <a:gd name="T48" fmla="*/ 25 w 50"/>
                  <a:gd name="T49" fmla="*/ 81 h 123"/>
                  <a:gd name="T50" fmla="*/ 28 w 50"/>
                  <a:gd name="T51" fmla="*/ 95 h 123"/>
                  <a:gd name="T52" fmla="*/ 25 w 50"/>
                  <a:gd name="T53" fmla="*/ 98 h 123"/>
                  <a:gd name="T54" fmla="*/ 25 w 50"/>
                  <a:gd name="T55" fmla="*/ 103 h 123"/>
                  <a:gd name="T56" fmla="*/ 25 w 50"/>
                  <a:gd name="T57" fmla="*/ 106 h 123"/>
                  <a:gd name="T58" fmla="*/ 28 w 50"/>
                  <a:gd name="T59" fmla="*/ 112 h 123"/>
                  <a:gd name="T60" fmla="*/ 34 w 50"/>
                  <a:gd name="T61" fmla="*/ 117 h 123"/>
                  <a:gd name="T62" fmla="*/ 36 w 50"/>
                  <a:gd name="T63" fmla="*/ 120 h 123"/>
                  <a:gd name="T64" fmla="*/ 36 w 50"/>
                  <a:gd name="T65" fmla="*/ 123 h 123"/>
                  <a:gd name="T66" fmla="*/ 39 w 50"/>
                  <a:gd name="T67" fmla="*/ 123 h 123"/>
                  <a:gd name="T68" fmla="*/ 39 w 50"/>
                  <a:gd name="T69" fmla="*/ 120 h 123"/>
                  <a:gd name="T70" fmla="*/ 39 w 50"/>
                  <a:gd name="T71" fmla="*/ 117 h 123"/>
                  <a:gd name="T72" fmla="*/ 39 w 50"/>
                  <a:gd name="T73" fmla="*/ 112 h 123"/>
                  <a:gd name="T74" fmla="*/ 39 w 50"/>
                  <a:gd name="T75" fmla="*/ 112 h 123"/>
                  <a:gd name="T76" fmla="*/ 48 w 50"/>
                  <a:gd name="T77" fmla="*/ 106 h 123"/>
                  <a:gd name="T78" fmla="*/ 50 w 50"/>
                  <a:gd name="T79" fmla="*/ 98 h 123"/>
                  <a:gd name="T80" fmla="*/ 50 w 50"/>
                  <a:gd name="T81" fmla="*/ 89 h 123"/>
                  <a:gd name="T82" fmla="*/ 34 w 50"/>
                  <a:gd name="T83" fmla="*/ 67 h 123"/>
                  <a:gd name="T84" fmla="*/ 34 w 50"/>
                  <a:gd name="T85" fmla="*/ 70 h 123"/>
                  <a:gd name="T86" fmla="*/ 34 w 50"/>
                  <a:gd name="T87" fmla="*/ 73 h 123"/>
                  <a:gd name="T88" fmla="*/ 39 w 50"/>
                  <a:gd name="T89" fmla="*/ 78 h 123"/>
                  <a:gd name="T90" fmla="*/ 39 w 50"/>
                  <a:gd name="T91" fmla="*/ 81 h 123"/>
                  <a:gd name="T92" fmla="*/ 36 w 50"/>
                  <a:gd name="T93" fmla="*/ 78 h 123"/>
                  <a:gd name="T94" fmla="*/ 34 w 50"/>
                  <a:gd name="T95" fmla="*/ 75 h 123"/>
                  <a:gd name="T96" fmla="*/ 34 w 50"/>
                  <a:gd name="T97" fmla="*/ 75 h 123"/>
                  <a:gd name="T98" fmla="*/ 31 w 50"/>
                  <a:gd name="T99" fmla="*/ 78 h 123"/>
                  <a:gd name="T100" fmla="*/ 28 w 50"/>
                  <a:gd name="T101" fmla="*/ 78 h 123"/>
                  <a:gd name="T102" fmla="*/ 28 w 50"/>
                  <a:gd name="T103" fmla="*/ 75 h 123"/>
                  <a:gd name="T104" fmla="*/ 28 w 50"/>
                  <a:gd name="T105" fmla="*/ 70 h 123"/>
                  <a:gd name="T106" fmla="*/ 25 w 50"/>
                  <a:gd name="T107" fmla="*/ 64 h 123"/>
                  <a:gd name="T108" fmla="*/ 25 w 50"/>
                  <a:gd name="T109" fmla="*/ 62 h 123"/>
                  <a:gd name="T110" fmla="*/ 20 w 50"/>
                  <a:gd name="T111" fmla="*/ 48 h 123"/>
                  <a:gd name="T112" fmla="*/ 23 w 50"/>
                  <a:gd name="T113" fmla="*/ 36 h 123"/>
                  <a:gd name="T114" fmla="*/ 23 w 50"/>
                  <a:gd name="T115" fmla="*/ 20 h 123"/>
                  <a:gd name="T116" fmla="*/ 23 w 50"/>
                  <a:gd name="T117" fmla="*/ 17 h 123"/>
                  <a:gd name="T118" fmla="*/ 17 w 50"/>
                  <a:gd name="T119" fmla="*/ 11 h 123"/>
                  <a:gd name="T120" fmla="*/ 20 w 50"/>
                  <a:gd name="T121" fmla="*/ 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" h="123">
                    <a:moveTo>
                      <a:pt x="17" y="6"/>
                    </a:moveTo>
                    <a:lnTo>
                      <a:pt x="17" y="6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9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11" y="11"/>
                    </a:lnTo>
                    <a:lnTo>
                      <a:pt x="11" y="14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31"/>
                    </a:lnTo>
                    <a:lnTo>
                      <a:pt x="9" y="36"/>
                    </a:lnTo>
                    <a:lnTo>
                      <a:pt x="9" y="48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9" y="50"/>
                    </a:lnTo>
                    <a:lnTo>
                      <a:pt x="6" y="53"/>
                    </a:lnTo>
                    <a:lnTo>
                      <a:pt x="6" y="53"/>
                    </a:lnTo>
                    <a:lnTo>
                      <a:pt x="6" y="53"/>
                    </a:lnTo>
                    <a:lnTo>
                      <a:pt x="3" y="67"/>
                    </a:lnTo>
                    <a:lnTo>
                      <a:pt x="0" y="67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6" y="73"/>
                    </a:lnTo>
                    <a:lnTo>
                      <a:pt x="6" y="75"/>
                    </a:lnTo>
                    <a:lnTo>
                      <a:pt x="6" y="75"/>
                    </a:lnTo>
                    <a:lnTo>
                      <a:pt x="9" y="75"/>
                    </a:lnTo>
                    <a:lnTo>
                      <a:pt x="11" y="81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25" y="81"/>
                    </a:lnTo>
                    <a:lnTo>
                      <a:pt x="25" y="81"/>
                    </a:lnTo>
                    <a:lnTo>
                      <a:pt x="28" y="84"/>
                    </a:lnTo>
                    <a:lnTo>
                      <a:pt x="28" y="95"/>
                    </a:lnTo>
                    <a:lnTo>
                      <a:pt x="28" y="98"/>
                    </a:lnTo>
                    <a:lnTo>
                      <a:pt x="25" y="98"/>
                    </a:lnTo>
                    <a:lnTo>
                      <a:pt x="28" y="101"/>
                    </a:lnTo>
                    <a:lnTo>
                      <a:pt x="25" y="103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4" y="117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6" y="123"/>
                    </a:lnTo>
                    <a:lnTo>
                      <a:pt x="36" y="123"/>
                    </a:lnTo>
                    <a:lnTo>
                      <a:pt x="36" y="123"/>
                    </a:lnTo>
                    <a:lnTo>
                      <a:pt x="39" y="123"/>
                    </a:lnTo>
                    <a:lnTo>
                      <a:pt x="39" y="123"/>
                    </a:lnTo>
                    <a:lnTo>
                      <a:pt x="39" y="120"/>
                    </a:lnTo>
                    <a:lnTo>
                      <a:pt x="39" y="117"/>
                    </a:lnTo>
                    <a:lnTo>
                      <a:pt x="39" y="117"/>
                    </a:lnTo>
                    <a:lnTo>
                      <a:pt x="39" y="114"/>
                    </a:lnTo>
                    <a:lnTo>
                      <a:pt x="39" y="112"/>
                    </a:lnTo>
                    <a:lnTo>
                      <a:pt x="39" y="112"/>
                    </a:lnTo>
                    <a:lnTo>
                      <a:pt x="39" y="112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48" y="101"/>
                    </a:lnTo>
                    <a:lnTo>
                      <a:pt x="50" y="98"/>
                    </a:lnTo>
                    <a:lnTo>
                      <a:pt x="48" y="95"/>
                    </a:lnTo>
                    <a:lnTo>
                      <a:pt x="50" y="89"/>
                    </a:lnTo>
                    <a:lnTo>
                      <a:pt x="50" y="84"/>
                    </a:lnTo>
                    <a:lnTo>
                      <a:pt x="34" y="67"/>
                    </a:lnTo>
                    <a:lnTo>
                      <a:pt x="34" y="67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3"/>
                    </a:lnTo>
                    <a:lnTo>
                      <a:pt x="36" y="73"/>
                    </a:lnTo>
                    <a:lnTo>
                      <a:pt x="39" y="78"/>
                    </a:lnTo>
                    <a:lnTo>
                      <a:pt x="39" y="81"/>
                    </a:lnTo>
                    <a:lnTo>
                      <a:pt x="39" y="81"/>
                    </a:lnTo>
                    <a:lnTo>
                      <a:pt x="36" y="81"/>
                    </a:lnTo>
                    <a:lnTo>
                      <a:pt x="36" y="78"/>
                    </a:lnTo>
                    <a:lnTo>
                      <a:pt x="34" y="78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8" y="70"/>
                    </a:lnTo>
                    <a:lnTo>
                      <a:pt x="25" y="67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5" y="62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5"/>
                    </a:lnTo>
                    <a:lnTo>
                      <a:pt x="23" y="36"/>
                    </a:lnTo>
                    <a:lnTo>
                      <a:pt x="23" y="23"/>
                    </a:lnTo>
                    <a:lnTo>
                      <a:pt x="23" y="20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7" y="6"/>
                    </a:lnTo>
                    <a:lnTo>
                      <a:pt x="20" y="3"/>
                    </a:lnTo>
                    <a:lnTo>
                      <a:pt x="17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2" name="Freeform 230"/>
              <p:cNvSpPr>
                <a:spLocks noChangeAspect="1"/>
              </p:cNvSpPr>
              <p:nvPr>
                <p:custDataLst>
                  <p:tags r:id="rId550"/>
                </p:custDataLst>
              </p:nvPr>
            </p:nvSpPr>
            <p:spPr bwMode="gray">
              <a:xfrm>
                <a:off x="6026900" y="3178238"/>
                <a:ext cx="138180" cy="69377"/>
              </a:xfrm>
              <a:custGeom>
                <a:avLst/>
                <a:gdLst>
                  <a:gd name="T0" fmla="*/ 27 w 105"/>
                  <a:gd name="T1" fmla="*/ 44 h 53"/>
                  <a:gd name="T2" fmla="*/ 33 w 105"/>
                  <a:gd name="T3" fmla="*/ 44 h 53"/>
                  <a:gd name="T4" fmla="*/ 39 w 105"/>
                  <a:gd name="T5" fmla="*/ 44 h 53"/>
                  <a:gd name="T6" fmla="*/ 41 w 105"/>
                  <a:gd name="T7" fmla="*/ 42 h 53"/>
                  <a:gd name="T8" fmla="*/ 50 w 105"/>
                  <a:gd name="T9" fmla="*/ 50 h 53"/>
                  <a:gd name="T10" fmla="*/ 55 w 105"/>
                  <a:gd name="T11" fmla="*/ 53 h 53"/>
                  <a:gd name="T12" fmla="*/ 61 w 105"/>
                  <a:gd name="T13" fmla="*/ 50 h 53"/>
                  <a:gd name="T14" fmla="*/ 69 w 105"/>
                  <a:gd name="T15" fmla="*/ 50 h 53"/>
                  <a:gd name="T16" fmla="*/ 83 w 105"/>
                  <a:gd name="T17" fmla="*/ 44 h 53"/>
                  <a:gd name="T18" fmla="*/ 89 w 105"/>
                  <a:gd name="T19" fmla="*/ 47 h 53"/>
                  <a:gd name="T20" fmla="*/ 97 w 105"/>
                  <a:gd name="T21" fmla="*/ 50 h 53"/>
                  <a:gd name="T22" fmla="*/ 105 w 105"/>
                  <a:gd name="T23" fmla="*/ 50 h 53"/>
                  <a:gd name="T24" fmla="*/ 100 w 105"/>
                  <a:gd name="T25" fmla="*/ 44 h 53"/>
                  <a:gd name="T26" fmla="*/ 97 w 105"/>
                  <a:gd name="T27" fmla="*/ 42 h 53"/>
                  <a:gd name="T28" fmla="*/ 100 w 105"/>
                  <a:gd name="T29" fmla="*/ 36 h 53"/>
                  <a:gd name="T30" fmla="*/ 94 w 105"/>
                  <a:gd name="T31" fmla="*/ 33 h 53"/>
                  <a:gd name="T32" fmla="*/ 92 w 105"/>
                  <a:gd name="T33" fmla="*/ 25 h 53"/>
                  <a:gd name="T34" fmla="*/ 89 w 105"/>
                  <a:gd name="T35" fmla="*/ 22 h 53"/>
                  <a:gd name="T36" fmla="*/ 83 w 105"/>
                  <a:gd name="T37" fmla="*/ 22 h 53"/>
                  <a:gd name="T38" fmla="*/ 78 w 105"/>
                  <a:gd name="T39" fmla="*/ 19 h 53"/>
                  <a:gd name="T40" fmla="*/ 75 w 105"/>
                  <a:gd name="T41" fmla="*/ 17 h 53"/>
                  <a:gd name="T42" fmla="*/ 64 w 105"/>
                  <a:gd name="T43" fmla="*/ 22 h 53"/>
                  <a:gd name="T44" fmla="*/ 61 w 105"/>
                  <a:gd name="T45" fmla="*/ 19 h 53"/>
                  <a:gd name="T46" fmla="*/ 41 w 105"/>
                  <a:gd name="T47" fmla="*/ 8 h 53"/>
                  <a:gd name="T48" fmla="*/ 27 w 105"/>
                  <a:gd name="T49" fmla="*/ 8 h 53"/>
                  <a:gd name="T50" fmla="*/ 16 w 105"/>
                  <a:gd name="T51" fmla="*/ 3 h 53"/>
                  <a:gd name="T52" fmla="*/ 8 w 105"/>
                  <a:gd name="T53" fmla="*/ 3 h 53"/>
                  <a:gd name="T54" fmla="*/ 0 w 105"/>
                  <a:gd name="T55" fmla="*/ 3 h 53"/>
                  <a:gd name="T56" fmla="*/ 16 w 105"/>
                  <a:gd name="T57" fmla="*/ 11 h 53"/>
                  <a:gd name="T58" fmla="*/ 25 w 105"/>
                  <a:gd name="T59" fmla="*/ 19 h 53"/>
                  <a:gd name="T60" fmla="*/ 27 w 105"/>
                  <a:gd name="T61" fmla="*/ 33 h 53"/>
                  <a:gd name="T62" fmla="*/ 25 w 105"/>
                  <a:gd name="T63" fmla="*/ 4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5" h="53">
                    <a:moveTo>
                      <a:pt x="25" y="42"/>
                    </a:moveTo>
                    <a:lnTo>
                      <a:pt x="27" y="44"/>
                    </a:lnTo>
                    <a:lnTo>
                      <a:pt x="27" y="44"/>
                    </a:lnTo>
                    <a:lnTo>
                      <a:pt x="33" y="44"/>
                    </a:lnTo>
                    <a:lnTo>
                      <a:pt x="39" y="44"/>
                    </a:lnTo>
                    <a:lnTo>
                      <a:pt x="39" y="44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44" y="42"/>
                    </a:lnTo>
                    <a:lnTo>
                      <a:pt x="50" y="50"/>
                    </a:lnTo>
                    <a:lnTo>
                      <a:pt x="53" y="50"/>
                    </a:lnTo>
                    <a:lnTo>
                      <a:pt x="55" y="53"/>
                    </a:lnTo>
                    <a:lnTo>
                      <a:pt x="61" y="53"/>
                    </a:lnTo>
                    <a:lnTo>
                      <a:pt x="61" y="50"/>
                    </a:lnTo>
                    <a:lnTo>
                      <a:pt x="66" y="50"/>
                    </a:lnTo>
                    <a:lnTo>
                      <a:pt x="69" y="50"/>
                    </a:lnTo>
                    <a:lnTo>
                      <a:pt x="72" y="50"/>
                    </a:lnTo>
                    <a:lnTo>
                      <a:pt x="83" y="44"/>
                    </a:lnTo>
                    <a:lnTo>
                      <a:pt x="89" y="47"/>
                    </a:lnTo>
                    <a:lnTo>
                      <a:pt x="89" y="47"/>
                    </a:lnTo>
                    <a:lnTo>
                      <a:pt x="94" y="50"/>
                    </a:lnTo>
                    <a:lnTo>
                      <a:pt x="97" y="50"/>
                    </a:lnTo>
                    <a:lnTo>
                      <a:pt x="103" y="53"/>
                    </a:lnTo>
                    <a:lnTo>
                      <a:pt x="105" y="50"/>
                    </a:lnTo>
                    <a:lnTo>
                      <a:pt x="103" y="47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7" y="42"/>
                    </a:lnTo>
                    <a:lnTo>
                      <a:pt x="97" y="39"/>
                    </a:lnTo>
                    <a:lnTo>
                      <a:pt x="100" y="36"/>
                    </a:lnTo>
                    <a:lnTo>
                      <a:pt x="97" y="33"/>
                    </a:lnTo>
                    <a:lnTo>
                      <a:pt x="94" y="33"/>
                    </a:lnTo>
                    <a:lnTo>
                      <a:pt x="89" y="31"/>
                    </a:lnTo>
                    <a:lnTo>
                      <a:pt x="92" y="25"/>
                    </a:lnTo>
                    <a:lnTo>
                      <a:pt x="89" y="22"/>
                    </a:lnTo>
                    <a:lnTo>
                      <a:pt x="89" y="22"/>
                    </a:lnTo>
                    <a:lnTo>
                      <a:pt x="86" y="22"/>
                    </a:lnTo>
                    <a:lnTo>
                      <a:pt x="83" y="22"/>
                    </a:lnTo>
                    <a:lnTo>
                      <a:pt x="83" y="19"/>
                    </a:lnTo>
                    <a:lnTo>
                      <a:pt x="78" y="19"/>
                    </a:lnTo>
                    <a:lnTo>
                      <a:pt x="75" y="19"/>
                    </a:lnTo>
                    <a:lnTo>
                      <a:pt x="75" y="17"/>
                    </a:lnTo>
                    <a:lnTo>
                      <a:pt x="72" y="17"/>
                    </a:lnTo>
                    <a:lnTo>
                      <a:pt x="64" y="22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47" y="8"/>
                    </a:lnTo>
                    <a:lnTo>
                      <a:pt x="41" y="8"/>
                    </a:lnTo>
                    <a:lnTo>
                      <a:pt x="36" y="8"/>
                    </a:lnTo>
                    <a:lnTo>
                      <a:pt x="27" y="8"/>
                    </a:lnTo>
                    <a:lnTo>
                      <a:pt x="16" y="5"/>
                    </a:lnTo>
                    <a:lnTo>
                      <a:pt x="16" y="3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5" y="8"/>
                    </a:lnTo>
                    <a:lnTo>
                      <a:pt x="16" y="11"/>
                    </a:lnTo>
                    <a:lnTo>
                      <a:pt x="22" y="17"/>
                    </a:lnTo>
                    <a:lnTo>
                      <a:pt x="25" y="19"/>
                    </a:lnTo>
                    <a:lnTo>
                      <a:pt x="25" y="31"/>
                    </a:lnTo>
                    <a:lnTo>
                      <a:pt x="27" y="33"/>
                    </a:lnTo>
                    <a:lnTo>
                      <a:pt x="27" y="39"/>
                    </a:lnTo>
                    <a:lnTo>
                      <a:pt x="25" y="42"/>
                    </a:lnTo>
                    <a:lnTo>
                      <a:pt x="25" y="4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3" name="Freeform 231"/>
              <p:cNvSpPr>
                <a:spLocks noChangeAspect="1"/>
              </p:cNvSpPr>
              <p:nvPr>
                <p:custDataLst>
                  <p:tags r:id="rId551"/>
                </p:custDataLst>
              </p:nvPr>
            </p:nvSpPr>
            <p:spPr bwMode="gray">
              <a:xfrm>
                <a:off x="6658578" y="3271262"/>
                <a:ext cx="4557" cy="7884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3 h 6"/>
                  <a:gd name="T4" fmla="*/ 0 w 3"/>
                  <a:gd name="T5" fmla="*/ 0 h 6"/>
                  <a:gd name="T6" fmla="*/ 0 w 3"/>
                  <a:gd name="T7" fmla="*/ 0 h 6"/>
                  <a:gd name="T8" fmla="*/ 0 w 3"/>
                  <a:gd name="T9" fmla="*/ 6 h 6"/>
                  <a:gd name="T10" fmla="*/ 3 w 3"/>
                  <a:gd name="T11" fmla="*/ 6 h 6"/>
                  <a:gd name="T12" fmla="*/ 3 w 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4" name="Freeform 232"/>
              <p:cNvSpPr>
                <a:spLocks noChangeAspect="1"/>
              </p:cNvSpPr>
              <p:nvPr>
                <p:custDataLst>
                  <p:tags r:id="rId552"/>
                </p:custDataLst>
              </p:nvPr>
            </p:nvSpPr>
            <p:spPr bwMode="gray">
              <a:xfrm>
                <a:off x="6658578" y="3271262"/>
                <a:ext cx="4557" cy="7884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3 h 6"/>
                  <a:gd name="T4" fmla="*/ 0 w 3"/>
                  <a:gd name="T5" fmla="*/ 0 h 6"/>
                  <a:gd name="T6" fmla="*/ 0 w 3"/>
                  <a:gd name="T7" fmla="*/ 0 h 6"/>
                  <a:gd name="T8" fmla="*/ 0 w 3"/>
                  <a:gd name="T9" fmla="*/ 6 h 6"/>
                  <a:gd name="T10" fmla="*/ 3 w 3"/>
                  <a:gd name="T11" fmla="*/ 6 h 6"/>
                  <a:gd name="T12" fmla="*/ 3 w 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5" name="Freeform 233"/>
              <p:cNvSpPr>
                <a:spLocks noChangeAspect="1"/>
              </p:cNvSpPr>
              <p:nvPr>
                <p:custDataLst>
                  <p:tags r:id="rId553"/>
                </p:custDataLst>
              </p:nvPr>
            </p:nvSpPr>
            <p:spPr bwMode="gray">
              <a:xfrm>
                <a:off x="6669208" y="3275993"/>
                <a:ext cx="7592" cy="3154"/>
              </a:xfrm>
              <a:custGeom>
                <a:avLst/>
                <a:gdLst>
                  <a:gd name="T0" fmla="*/ 6 w 6"/>
                  <a:gd name="T1" fmla="*/ 3 h 3"/>
                  <a:gd name="T2" fmla="*/ 3 w 6"/>
                  <a:gd name="T3" fmla="*/ 0 h 3"/>
                  <a:gd name="T4" fmla="*/ 0 w 6"/>
                  <a:gd name="T5" fmla="*/ 0 h 3"/>
                  <a:gd name="T6" fmla="*/ 3 w 6"/>
                  <a:gd name="T7" fmla="*/ 3 h 3"/>
                  <a:gd name="T8" fmla="*/ 6 w 6"/>
                  <a:gd name="T9" fmla="*/ 3 h 3"/>
                  <a:gd name="T10" fmla="*/ 6 w 6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6" name="Freeform 234"/>
              <p:cNvSpPr>
                <a:spLocks noChangeAspect="1"/>
              </p:cNvSpPr>
              <p:nvPr>
                <p:custDataLst>
                  <p:tags r:id="rId554"/>
                </p:custDataLst>
              </p:nvPr>
            </p:nvSpPr>
            <p:spPr bwMode="gray">
              <a:xfrm>
                <a:off x="6669208" y="3275993"/>
                <a:ext cx="7592" cy="3154"/>
              </a:xfrm>
              <a:custGeom>
                <a:avLst/>
                <a:gdLst>
                  <a:gd name="T0" fmla="*/ 6 w 6"/>
                  <a:gd name="T1" fmla="*/ 3 h 3"/>
                  <a:gd name="T2" fmla="*/ 3 w 6"/>
                  <a:gd name="T3" fmla="*/ 0 h 3"/>
                  <a:gd name="T4" fmla="*/ 0 w 6"/>
                  <a:gd name="T5" fmla="*/ 0 h 3"/>
                  <a:gd name="T6" fmla="*/ 3 w 6"/>
                  <a:gd name="T7" fmla="*/ 3 h 3"/>
                  <a:gd name="T8" fmla="*/ 6 w 6"/>
                  <a:gd name="T9" fmla="*/ 3 h 3"/>
                  <a:gd name="T10" fmla="*/ 6 w 6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7" name="Freeform 235"/>
              <p:cNvSpPr>
                <a:spLocks noChangeAspect="1"/>
              </p:cNvSpPr>
              <p:nvPr>
                <p:custDataLst>
                  <p:tags r:id="rId555"/>
                </p:custDataLst>
              </p:nvPr>
            </p:nvSpPr>
            <p:spPr bwMode="gray">
              <a:xfrm>
                <a:off x="6114971" y="3279146"/>
                <a:ext cx="387207" cy="351612"/>
              </a:xfrm>
              <a:custGeom>
                <a:avLst/>
                <a:gdLst>
                  <a:gd name="T0" fmla="*/ 271 w 298"/>
                  <a:gd name="T1" fmla="*/ 273 h 273"/>
                  <a:gd name="T2" fmla="*/ 254 w 298"/>
                  <a:gd name="T3" fmla="*/ 270 h 273"/>
                  <a:gd name="T4" fmla="*/ 232 w 298"/>
                  <a:gd name="T5" fmla="*/ 270 h 273"/>
                  <a:gd name="T6" fmla="*/ 198 w 298"/>
                  <a:gd name="T7" fmla="*/ 242 h 273"/>
                  <a:gd name="T8" fmla="*/ 179 w 298"/>
                  <a:gd name="T9" fmla="*/ 242 h 273"/>
                  <a:gd name="T10" fmla="*/ 170 w 298"/>
                  <a:gd name="T11" fmla="*/ 248 h 273"/>
                  <a:gd name="T12" fmla="*/ 159 w 298"/>
                  <a:gd name="T13" fmla="*/ 250 h 273"/>
                  <a:gd name="T14" fmla="*/ 148 w 298"/>
                  <a:gd name="T15" fmla="*/ 248 h 273"/>
                  <a:gd name="T16" fmla="*/ 145 w 298"/>
                  <a:gd name="T17" fmla="*/ 242 h 273"/>
                  <a:gd name="T18" fmla="*/ 131 w 298"/>
                  <a:gd name="T19" fmla="*/ 234 h 273"/>
                  <a:gd name="T20" fmla="*/ 117 w 298"/>
                  <a:gd name="T21" fmla="*/ 228 h 273"/>
                  <a:gd name="T22" fmla="*/ 106 w 298"/>
                  <a:gd name="T23" fmla="*/ 209 h 273"/>
                  <a:gd name="T24" fmla="*/ 95 w 298"/>
                  <a:gd name="T25" fmla="*/ 195 h 273"/>
                  <a:gd name="T26" fmla="*/ 90 w 298"/>
                  <a:gd name="T27" fmla="*/ 186 h 273"/>
                  <a:gd name="T28" fmla="*/ 84 w 298"/>
                  <a:gd name="T29" fmla="*/ 189 h 273"/>
                  <a:gd name="T30" fmla="*/ 81 w 298"/>
                  <a:gd name="T31" fmla="*/ 186 h 273"/>
                  <a:gd name="T32" fmla="*/ 76 w 298"/>
                  <a:gd name="T33" fmla="*/ 181 h 273"/>
                  <a:gd name="T34" fmla="*/ 73 w 298"/>
                  <a:gd name="T35" fmla="*/ 178 h 273"/>
                  <a:gd name="T36" fmla="*/ 73 w 298"/>
                  <a:gd name="T37" fmla="*/ 184 h 273"/>
                  <a:gd name="T38" fmla="*/ 59 w 298"/>
                  <a:gd name="T39" fmla="*/ 181 h 273"/>
                  <a:gd name="T40" fmla="*/ 53 w 298"/>
                  <a:gd name="T41" fmla="*/ 170 h 273"/>
                  <a:gd name="T42" fmla="*/ 39 w 298"/>
                  <a:gd name="T43" fmla="*/ 139 h 273"/>
                  <a:gd name="T44" fmla="*/ 26 w 298"/>
                  <a:gd name="T45" fmla="*/ 125 h 273"/>
                  <a:gd name="T46" fmla="*/ 20 w 298"/>
                  <a:gd name="T47" fmla="*/ 120 h 273"/>
                  <a:gd name="T48" fmla="*/ 20 w 298"/>
                  <a:gd name="T49" fmla="*/ 114 h 273"/>
                  <a:gd name="T50" fmla="*/ 23 w 298"/>
                  <a:gd name="T51" fmla="*/ 103 h 273"/>
                  <a:gd name="T52" fmla="*/ 31 w 298"/>
                  <a:gd name="T53" fmla="*/ 92 h 273"/>
                  <a:gd name="T54" fmla="*/ 34 w 298"/>
                  <a:gd name="T55" fmla="*/ 81 h 273"/>
                  <a:gd name="T56" fmla="*/ 17 w 298"/>
                  <a:gd name="T57" fmla="*/ 69 h 273"/>
                  <a:gd name="T58" fmla="*/ 9 w 298"/>
                  <a:gd name="T59" fmla="*/ 47 h 273"/>
                  <a:gd name="T60" fmla="*/ 3 w 298"/>
                  <a:gd name="T61" fmla="*/ 17 h 273"/>
                  <a:gd name="T62" fmla="*/ 6 w 298"/>
                  <a:gd name="T63" fmla="*/ 0 h 273"/>
                  <a:gd name="T64" fmla="*/ 45 w 298"/>
                  <a:gd name="T65" fmla="*/ 11 h 273"/>
                  <a:gd name="T66" fmla="*/ 62 w 298"/>
                  <a:gd name="T67" fmla="*/ 8 h 273"/>
                  <a:gd name="T68" fmla="*/ 59 w 298"/>
                  <a:gd name="T69" fmla="*/ 19 h 273"/>
                  <a:gd name="T70" fmla="*/ 65 w 298"/>
                  <a:gd name="T71" fmla="*/ 25 h 273"/>
                  <a:gd name="T72" fmla="*/ 73 w 298"/>
                  <a:gd name="T73" fmla="*/ 28 h 273"/>
                  <a:gd name="T74" fmla="*/ 81 w 298"/>
                  <a:gd name="T75" fmla="*/ 47 h 273"/>
                  <a:gd name="T76" fmla="*/ 95 w 298"/>
                  <a:gd name="T77" fmla="*/ 50 h 273"/>
                  <a:gd name="T78" fmla="*/ 120 w 298"/>
                  <a:gd name="T79" fmla="*/ 64 h 273"/>
                  <a:gd name="T80" fmla="*/ 142 w 298"/>
                  <a:gd name="T81" fmla="*/ 61 h 273"/>
                  <a:gd name="T82" fmla="*/ 154 w 298"/>
                  <a:gd name="T83" fmla="*/ 53 h 273"/>
                  <a:gd name="T84" fmla="*/ 176 w 298"/>
                  <a:gd name="T85" fmla="*/ 36 h 273"/>
                  <a:gd name="T86" fmla="*/ 190 w 298"/>
                  <a:gd name="T87" fmla="*/ 36 h 273"/>
                  <a:gd name="T88" fmla="*/ 201 w 298"/>
                  <a:gd name="T89" fmla="*/ 30 h 273"/>
                  <a:gd name="T90" fmla="*/ 229 w 298"/>
                  <a:gd name="T91" fmla="*/ 44 h 273"/>
                  <a:gd name="T92" fmla="*/ 237 w 298"/>
                  <a:gd name="T93" fmla="*/ 50 h 273"/>
                  <a:gd name="T94" fmla="*/ 265 w 298"/>
                  <a:gd name="T95" fmla="*/ 64 h 273"/>
                  <a:gd name="T96" fmla="*/ 268 w 298"/>
                  <a:gd name="T97" fmla="*/ 81 h 273"/>
                  <a:gd name="T98" fmla="*/ 259 w 298"/>
                  <a:gd name="T99" fmla="*/ 108 h 273"/>
                  <a:gd name="T100" fmla="*/ 259 w 298"/>
                  <a:gd name="T101" fmla="*/ 120 h 273"/>
                  <a:gd name="T102" fmla="*/ 259 w 298"/>
                  <a:gd name="T103" fmla="*/ 142 h 273"/>
                  <a:gd name="T104" fmla="*/ 268 w 298"/>
                  <a:gd name="T105" fmla="*/ 161 h 273"/>
                  <a:gd name="T106" fmla="*/ 273 w 298"/>
                  <a:gd name="T107" fmla="*/ 172 h 273"/>
                  <a:gd name="T108" fmla="*/ 273 w 298"/>
                  <a:gd name="T109" fmla="*/ 211 h 273"/>
                  <a:gd name="T110" fmla="*/ 290 w 298"/>
                  <a:gd name="T111" fmla="*/ 220 h 273"/>
                  <a:gd name="T112" fmla="*/ 298 w 298"/>
                  <a:gd name="T113" fmla="*/ 239 h 273"/>
                  <a:gd name="T114" fmla="*/ 293 w 298"/>
                  <a:gd name="T115" fmla="*/ 248 h 273"/>
                  <a:gd name="T116" fmla="*/ 273 w 298"/>
                  <a:gd name="T117" fmla="*/ 273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8" h="273">
                    <a:moveTo>
                      <a:pt x="273" y="273"/>
                    </a:moveTo>
                    <a:lnTo>
                      <a:pt x="271" y="273"/>
                    </a:lnTo>
                    <a:lnTo>
                      <a:pt x="271" y="273"/>
                    </a:lnTo>
                    <a:lnTo>
                      <a:pt x="257" y="270"/>
                    </a:lnTo>
                    <a:lnTo>
                      <a:pt x="254" y="270"/>
                    </a:lnTo>
                    <a:lnTo>
                      <a:pt x="254" y="270"/>
                    </a:lnTo>
                    <a:lnTo>
                      <a:pt x="234" y="267"/>
                    </a:lnTo>
                    <a:lnTo>
                      <a:pt x="234" y="267"/>
                    </a:lnTo>
                    <a:lnTo>
                      <a:pt x="232" y="270"/>
                    </a:lnTo>
                    <a:lnTo>
                      <a:pt x="229" y="267"/>
                    </a:lnTo>
                    <a:lnTo>
                      <a:pt x="206" y="264"/>
                    </a:lnTo>
                    <a:lnTo>
                      <a:pt x="198" y="242"/>
                    </a:lnTo>
                    <a:lnTo>
                      <a:pt x="193" y="239"/>
                    </a:lnTo>
                    <a:lnTo>
                      <a:pt x="190" y="239"/>
                    </a:lnTo>
                    <a:lnTo>
                      <a:pt x="179" y="242"/>
                    </a:lnTo>
                    <a:lnTo>
                      <a:pt x="176" y="245"/>
                    </a:lnTo>
                    <a:lnTo>
                      <a:pt x="173" y="248"/>
                    </a:lnTo>
                    <a:lnTo>
                      <a:pt x="170" y="248"/>
                    </a:lnTo>
                    <a:lnTo>
                      <a:pt x="168" y="250"/>
                    </a:lnTo>
                    <a:lnTo>
                      <a:pt x="162" y="250"/>
                    </a:lnTo>
                    <a:lnTo>
                      <a:pt x="159" y="250"/>
                    </a:lnTo>
                    <a:lnTo>
                      <a:pt x="156" y="248"/>
                    </a:lnTo>
                    <a:lnTo>
                      <a:pt x="154" y="248"/>
                    </a:lnTo>
                    <a:lnTo>
                      <a:pt x="148" y="248"/>
                    </a:lnTo>
                    <a:lnTo>
                      <a:pt x="145" y="245"/>
                    </a:lnTo>
                    <a:lnTo>
                      <a:pt x="145" y="245"/>
                    </a:lnTo>
                    <a:lnTo>
                      <a:pt x="145" y="242"/>
                    </a:lnTo>
                    <a:lnTo>
                      <a:pt x="134" y="239"/>
                    </a:lnTo>
                    <a:lnTo>
                      <a:pt x="131" y="237"/>
                    </a:lnTo>
                    <a:lnTo>
                      <a:pt x="131" y="234"/>
                    </a:lnTo>
                    <a:lnTo>
                      <a:pt x="129" y="231"/>
                    </a:lnTo>
                    <a:lnTo>
                      <a:pt x="120" y="228"/>
                    </a:lnTo>
                    <a:lnTo>
                      <a:pt x="117" y="228"/>
                    </a:lnTo>
                    <a:lnTo>
                      <a:pt x="115" y="225"/>
                    </a:lnTo>
                    <a:lnTo>
                      <a:pt x="112" y="223"/>
                    </a:lnTo>
                    <a:lnTo>
                      <a:pt x="106" y="209"/>
                    </a:lnTo>
                    <a:lnTo>
                      <a:pt x="101" y="203"/>
                    </a:lnTo>
                    <a:lnTo>
                      <a:pt x="98" y="198"/>
                    </a:lnTo>
                    <a:lnTo>
                      <a:pt x="95" y="195"/>
                    </a:lnTo>
                    <a:lnTo>
                      <a:pt x="92" y="192"/>
                    </a:lnTo>
                    <a:lnTo>
                      <a:pt x="92" y="189"/>
                    </a:lnTo>
                    <a:lnTo>
                      <a:pt x="90" y="186"/>
                    </a:lnTo>
                    <a:lnTo>
                      <a:pt x="90" y="186"/>
                    </a:lnTo>
                    <a:lnTo>
                      <a:pt x="87" y="186"/>
                    </a:lnTo>
                    <a:lnTo>
                      <a:pt x="84" y="189"/>
                    </a:lnTo>
                    <a:lnTo>
                      <a:pt x="84" y="189"/>
                    </a:lnTo>
                    <a:lnTo>
                      <a:pt x="81" y="189"/>
                    </a:lnTo>
                    <a:lnTo>
                      <a:pt x="81" y="186"/>
                    </a:lnTo>
                    <a:lnTo>
                      <a:pt x="78" y="186"/>
                    </a:lnTo>
                    <a:lnTo>
                      <a:pt x="78" y="184"/>
                    </a:lnTo>
                    <a:lnTo>
                      <a:pt x="76" y="181"/>
                    </a:lnTo>
                    <a:lnTo>
                      <a:pt x="76" y="178"/>
                    </a:lnTo>
                    <a:lnTo>
                      <a:pt x="73" y="178"/>
                    </a:lnTo>
                    <a:lnTo>
                      <a:pt x="73" y="178"/>
                    </a:lnTo>
                    <a:lnTo>
                      <a:pt x="73" y="181"/>
                    </a:lnTo>
                    <a:lnTo>
                      <a:pt x="73" y="184"/>
                    </a:lnTo>
                    <a:lnTo>
                      <a:pt x="73" y="184"/>
                    </a:lnTo>
                    <a:lnTo>
                      <a:pt x="70" y="184"/>
                    </a:lnTo>
                    <a:lnTo>
                      <a:pt x="70" y="186"/>
                    </a:lnTo>
                    <a:lnTo>
                      <a:pt x="59" y="181"/>
                    </a:lnTo>
                    <a:lnTo>
                      <a:pt x="59" y="178"/>
                    </a:lnTo>
                    <a:lnTo>
                      <a:pt x="56" y="172"/>
                    </a:lnTo>
                    <a:lnTo>
                      <a:pt x="53" y="170"/>
                    </a:lnTo>
                    <a:lnTo>
                      <a:pt x="56" y="156"/>
                    </a:lnTo>
                    <a:lnTo>
                      <a:pt x="48" y="142"/>
                    </a:lnTo>
                    <a:lnTo>
                      <a:pt x="39" y="139"/>
                    </a:lnTo>
                    <a:lnTo>
                      <a:pt x="28" y="131"/>
                    </a:lnTo>
                    <a:lnTo>
                      <a:pt x="28" y="128"/>
                    </a:lnTo>
                    <a:lnTo>
                      <a:pt x="26" y="125"/>
                    </a:lnTo>
                    <a:lnTo>
                      <a:pt x="26" y="122"/>
                    </a:lnTo>
                    <a:lnTo>
                      <a:pt x="23" y="120"/>
                    </a:lnTo>
                    <a:lnTo>
                      <a:pt x="20" y="120"/>
                    </a:lnTo>
                    <a:lnTo>
                      <a:pt x="20" y="120"/>
                    </a:lnTo>
                    <a:lnTo>
                      <a:pt x="20" y="114"/>
                    </a:lnTo>
                    <a:lnTo>
                      <a:pt x="20" y="114"/>
                    </a:lnTo>
                    <a:lnTo>
                      <a:pt x="20" y="111"/>
                    </a:lnTo>
                    <a:lnTo>
                      <a:pt x="23" y="106"/>
                    </a:lnTo>
                    <a:lnTo>
                      <a:pt x="23" y="103"/>
                    </a:lnTo>
                    <a:lnTo>
                      <a:pt x="26" y="103"/>
                    </a:lnTo>
                    <a:lnTo>
                      <a:pt x="26" y="100"/>
                    </a:lnTo>
                    <a:lnTo>
                      <a:pt x="31" y="92"/>
                    </a:lnTo>
                    <a:lnTo>
                      <a:pt x="31" y="86"/>
                    </a:lnTo>
                    <a:lnTo>
                      <a:pt x="31" y="81"/>
                    </a:lnTo>
                    <a:lnTo>
                      <a:pt x="34" y="81"/>
                    </a:lnTo>
                    <a:lnTo>
                      <a:pt x="23" y="78"/>
                    </a:lnTo>
                    <a:lnTo>
                      <a:pt x="20" y="75"/>
                    </a:lnTo>
                    <a:lnTo>
                      <a:pt x="17" y="69"/>
                    </a:lnTo>
                    <a:lnTo>
                      <a:pt x="14" y="67"/>
                    </a:lnTo>
                    <a:lnTo>
                      <a:pt x="12" y="61"/>
                    </a:lnTo>
                    <a:lnTo>
                      <a:pt x="9" y="47"/>
                    </a:lnTo>
                    <a:lnTo>
                      <a:pt x="6" y="42"/>
                    </a:lnTo>
                    <a:lnTo>
                      <a:pt x="3" y="39"/>
                    </a:lnTo>
                    <a:lnTo>
                      <a:pt x="3" y="17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6" y="0"/>
                    </a:lnTo>
                    <a:lnTo>
                      <a:pt x="20" y="19"/>
                    </a:lnTo>
                    <a:lnTo>
                      <a:pt x="39" y="19"/>
                    </a:lnTo>
                    <a:lnTo>
                      <a:pt x="45" y="11"/>
                    </a:lnTo>
                    <a:lnTo>
                      <a:pt x="51" y="5"/>
                    </a:lnTo>
                    <a:lnTo>
                      <a:pt x="59" y="5"/>
                    </a:lnTo>
                    <a:lnTo>
                      <a:pt x="62" y="8"/>
                    </a:lnTo>
                    <a:lnTo>
                      <a:pt x="62" y="11"/>
                    </a:lnTo>
                    <a:lnTo>
                      <a:pt x="65" y="17"/>
                    </a:lnTo>
                    <a:lnTo>
                      <a:pt x="59" y="19"/>
                    </a:lnTo>
                    <a:lnTo>
                      <a:pt x="59" y="22"/>
                    </a:lnTo>
                    <a:lnTo>
                      <a:pt x="62" y="22"/>
                    </a:lnTo>
                    <a:lnTo>
                      <a:pt x="65" y="25"/>
                    </a:lnTo>
                    <a:lnTo>
                      <a:pt x="67" y="25"/>
                    </a:lnTo>
                    <a:lnTo>
                      <a:pt x="67" y="28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76" y="44"/>
                    </a:lnTo>
                    <a:lnTo>
                      <a:pt x="81" y="47"/>
                    </a:lnTo>
                    <a:lnTo>
                      <a:pt x="87" y="50"/>
                    </a:lnTo>
                    <a:lnTo>
                      <a:pt x="92" y="50"/>
                    </a:lnTo>
                    <a:lnTo>
                      <a:pt x="95" y="50"/>
                    </a:lnTo>
                    <a:lnTo>
                      <a:pt x="98" y="56"/>
                    </a:lnTo>
                    <a:lnTo>
                      <a:pt x="106" y="61"/>
                    </a:lnTo>
                    <a:lnTo>
                      <a:pt x="120" y="64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2" y="61"/>
                    </a:lnTo>
                    <a:lnTo>
                      <a:pt x="148" y="61"/>
                    </a:lnTo>
                    <a:lnTo>
                      <a:pt x="154" y="58"/>
                    </a:lnTo>
                    <a:lnTo>
                      <a:pt x="154" y="53"/>
                    </a:lnTo>
                    <a:lnTo>
                      <a:pt x="151" y="47"/>
                    </a:lnTo>
                    <a:lnTo>
                      <a:pt x="162" y="47"/>
                    </a:lnTo>
                    <a:lnTo>
                      <a:pt x="176" y="36"/>
                    </a:lnTo>
                    <a:lnTo>
                      <a:pt x="181" y="33"/>
                    </a:lnTo>
                    <a:lnTo>
                      <a:pt x="187" y="36"/>
                    </a:lnTo>
                    <a:lnTo>
                      <a:pt x="190" y="36"/>
                    </a:lnTo>
                    <a:lnTo>
                      <a:pt x="190" y="33"/>
                    </a:lnTo>
                    <a:lnTo>
                      <a:pt x="190" y="30"/>
                    </a:lnTo>
                    <a:lnTo>
                      <a:pt x="201" y="30"/>
                    </a:lnTo>
                    <a:lnTo>
                      <a:pt x="206" y="39"/>
                    </a:lnTo>
                    <a:lnTo>
                      <a:pt x="226" y="44"/>
                    </a:lnTo>
                    <a:lnTo>
                      <a:pt x="229" y="44"/>
                    </a:lnTo>
                    <a:lnTo>
                      <a:pt x="232" y="44"/>
                    </a:lnTo>
                    <a:lnTo>
                      <a:pt x="234" y="44"/>
                    </a:lnTo>
                    <a:lnTo>
                      <a:pt x="237" y="50"/>
                    </a:lnTo>
                    <a:lnTo>
                      <a:pt x="240" y="53"/>
                    </a:lnTo>
                    <a:lnTo>
                      <a:pt x="257" y="64"/>
                    </a:lnTo>
                    <a:lnTo>
                      <a:pt x="265" y="64"/>
                    </a:lnTo>
                    <a:lnTo>
                      <a:pt x="265" y="67"/>
                    </a:lnTo>
                    <a:lnTo>
                      <a:pt x="265" y="78"/>
                    </a:lnTo>
                    <a:lnTo>
                      <a:pt x="268" y="81"/>
                    </a:lnTo>
                    <a:lnTo>
                      <a:pt x="265" y="97"/>
                    </a:lnTo>
                    <a:lnTo>
                      <a:pt x="259" y="106"/>
                    </a:lnTo>
                    <a:lnTo>
                      <a:pt x="259" y="108"/>
                    </a:lnTo>
                    <a:lnTo>
                      <a:pt x="254" y="111"/>
                    </a:lnTo>
                    <a:lnTo>
                      <a:pt x="254" y="120"/>
                    </a:lnTo>
                    <a:lnTo>
                      <a:pt x="259" y="120"/>
                    </a:lnTo>
                    <a:lnTo>
                      <a:pt x="259" y="125"/>
                    </a:lnTo>
                    <a:lnTo>
                      <a:pt x="257" y="134"/>
                    </a:lnTo>
                    <a:lnTo>
                      <a:pt x="259" y="142"/>
                    </a:lnTo>
                    <a:lnTo>
                      <a:pt x="259" y="156"/>
                    </a:lnTo>
                    <a:lnTo>
                      <a:pt x="262" y="159"/>
                    </a:lnTo>
                    <a:lnTo>
                      <a:pt x="268" y="161"/>
                    </a:lnTo>
                    <a:lnTo>
                      <a:pt x="271" y="161"/>
                    </a:lnTo>
                    <a:lnTo>
                      <a:pt x="273" y="167"/>
                    </a:lnTo>
                    <a:lnTo>
                      <a:pt x="273" y="172"/>
                    </a:lnTo>
                    <a:lnTo>
                      <a:pt x="259" y="192"/>
                    </a:lnTo>
                    <a:lnTo>
                      <a:pt x="268" y="200"/>
                    </a:lnTo>
                    <a:lnTo>
                      <a:pt x="273" y="211"/>
                    </a:lnTo>
                    <a:lnTo>
                      <a:pt x="282" y="217"/>
                    </a:lnTo>
                    <a:lnTo>
                      <a:pt x="287" y="220"/>
                    </a:lnTo>
                    <a:lnTo>
                      <a:pt x="290" y="220"/>
                    </a:lnTo>
                    <a:lnTo>
                      <a:pt x="290" y="237"/>
                    </a:lnTo>
                    <a:lnTo>
                      <a:pt x="296" y="237"/>
                    </a:lnTo>
                    <a:lnTo>
                      <a:pt x="298" y="239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3" y="248"/>
                    </a:lnTo>
                    <a:lnTo>
                      <a:pt x="282" y="250"/>
                    </a:lnTo>
                    <a:lnTo>
                      <a:pt x="276" y="256"/>
                    </a:lnTo>
                    <a:lnTo>
                      <a:pt x="273" y="27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8" name="Freeform 236"/>
              <p:cNvSpPr>
                <a:spLocks noChangeAspect="1"/>
              </p:cNvSpPr>
              <p:nvPr>
                <p:custDataLst>
                  <p:tags r:id="rId556"/>
                </p:custDataLst>
              </p:nvPr>
            </p:nvSpPr>
            <p:spPr bwMode="gray">
              <a:xfrm>
                <a:off x="5714098" y="3484122"/>
                <a:ext cx="229288" cy="220743"/>
              </a:xfrm>
              <a:custGeom>
                <a:avLst/>
                <a:gdLst>
                  <a:gd name="T0" fmla="*/ 9 w 176"/>
                  <a:gd name="T1" fmla="*/ 47 h 172"/>
                  <a:gd name="T2" fmla="*/ 3 w 176"/>
                  <a:gd name="T3" fmla="*/ 39 h 172"/>
                  <a:gd name="T4" fmla="*/ 0 w 176"/>
                  <a:gd name="T5" fmla="*/ 27 h 172"/>
                  <a:gd name="T6" fmla="*/ 3 w 176"/>
                  <a:gd name="T7" fmla="*/ 25 h 172"/>
                  <a:gd name="T8" fmla="*/ 3 w 176"/>
                  <a:gd name="T9" fmla="*/ 25 h 172"/>
                  <a:gd name="T10" fmla="*/ 3 w 176"/>
                  <a:gd name="T11" fmla="*/ 5 h 172"/>
                  <a:gd name="T12" fmla="*/ 6 w 176"/>
                  <a:gd name="T13" fmla="*/ 2 h 172"/>
                  <a:gd name="T14" fmla="*/ 9 w 176"/>
                  <a:gd name="T15" fmla="*/ 0 h 172"/>
                  <a:gd name="T16" fmla="*/ 11 w 176"/>
                  <a:gd name="T17" fmla="*/ 2 h 172"/>
                  <a:gd name="T18" fmla="*/ 36 w 176"/>
                  <a:gd name="T19" fmla="*/ 2 h 172"/>
                  <a:gd name="T20" fmla="*/ 50 w 176"/>
                  <a:gd name="T21" fmla="*/ 8 h 172"/>
                  <a:gd name="T22" fmla="*/ 61 w 176"/>
                  <a:gd name="T23" fmla="*/ 11 h 172"/>
                  <a:gd name="T24" fmla="*/ 89 w 176"/>
                  <a:gd name="T25" fmla="*/ 2 h 172"/>
                  <a:gd name="T26" fmla="*/ 95 w 176"/>
                  <a:gd name="T27" fmla="*/ 2 h 172"/>
                  <a:gd name="T28" fmla="*/ 92 w 176"/>
                  <a:gd name="T29" fmla="*/ 5 h 172"/>
                  <a:gd name="T30" fmla="*/ 98 w 176"/>
                  <a:gd name="T31" fmla="*/ 5 h 172"/>
                  <a:gd name="T32" fmla="*/ 100 w 176"/>
                  <a:gd name="T33" fmla="*/ 2 h 172"/>
                  <a:gd name="T34" fmla="*/ 112 w 176"/>
                  <a:gd name="T35" fmla="*/ 2 h 172"/>
                  <a:gd name="T36" fmla="*/ 114 w 176"/>
                  <a:gd name="T37" fmla="*/ 2 h 172"/>
                  <a:gd name="T38" fmla="*/ 117 w 176"/>
                  <a:gd name="T39" fmla="*/ 5 h 172"/>
                  <a:gd name="T40" fmla="*/ 120 w 176"/>
                  <a:gd name="T41" fmla="*/ 8 h 172"/>
                  <a:gd name="T42" fmla="*/ 126 w 176"/>
                  <a:gd name="T43" fmla="*/ 11 h 172"/>
                  <a:gd name="T44" fmla="*/ 131 w 176"/>
                  <a:gd name="T45" fmla="*/ 11 h 172"/>
                  <a:gd name="T46" fmla="*/ 134 w 176"/>
                  <a:gd name="T47" fmla="*/ 11 h 172"/>
                  <a:gd name="T48" fmla="*/ 148 w 176"/>
                  <a:gd name="T49" fmla="*/ 5 h 172"/>
                  <a:gd name="T50" fmla="*/ 153 w 176"/>
                  <a:gd name="T51" fmla="*/ 64 h 172"/>
                  <a:gd name="T52" fmla="*/ 153 w 176"/>
                  <a:gd name="T53" fmla="*/ 66 h 172"/>
                  <a:gd name="T54" fmla="*/ 151 w 176"/>
                  <a:gd name="T55" fmla="*/ 69 h 172"/>
                  <a:gd name="T56" fmla="*/ 137 w 176"/>
                  <a:gd name="T57" fmla="*/ 52 h 172"/>
                  <a:gd name="T58" fmla="*/ 128 w 176"/>
                  <a:gd name="T59" fmla="*/ 39 h 172"/>
                  <a:gd name="T60" fmla="*/ 126 w 176"/>
                  <a:gd name="T61" fmla="*/ 30 h 172"/>
                  <a:gd name="T62" fmla="*/ 126 w 176"/>
                  <a:gd name="T63" fmla="*/ 30 h 172"/>
                  <a:gd name="T64" fmla="*/ 123 w 176"/>
                  <a:gd name="T65" fmla="*/ 33 h 172"/>
                  <a:gd name="T66" fmla="*/ 123 w 176"/>
                  <a:gd name="T67" fmla="*/ 36 h 172"/>
                  <a:gd name="T68" fmla="*/ 126 w 176"/>
                  <a:gd name="T69" fmla="*/ 41 h 172"/>
                  <a:gd name="T70" fmla="*/ 126 w 176"/>
                  <a:gd name="T71" fmla="*/ 47 h 172"/>
                  <a:gd name="T72" fmla="*/ 137 w 176"/>
                  <a:gd name="T73" fmla="*/ 66 h 172"/>
                  <a:gd name="T74" fmla="*/ 139 w 176"/>
                  <a:gd name="T75" fmla="*/ 72 h 172"/>
                  <a:gd name="T76" fmla="*/ 173 w 176"/>
                  <a:gd name="T77" fmla="*/ 133 h 172"/>
                  <a:gd name="T78" fmla="*/ 176 w 176"/>
                  <a:gd name="T79" fmla="*/ 136 h 172"/>
                  <a:gd name="T80" fmla="*/ 170 w 176"/>
                  <a:gd name="T81" fmla="*/ 136 h 172"/>
                  <a:gd name="T82" fmla="*/ 170 w 176"/>
                  <a:gd name="T83" fmla="*/ 136 h 172"/>
                  <a:gd name="T84" fmla="*/ 170 w 176"/>
                  <a:gd name="T85" fmla="*/ 144 h 172"/>
                  <a:gd name="T86" fmla="*/ 164 w 176"/>
                  <a:gd name="T87" fmla="*/ 156 h 172"/>
                  <a:gd name="T88" fmla="*/ 159 w 176"/>
                  <a:gd name="T89" fmla="*/ 161 h 172"/>
                  <a:gd name="T90" fmla="*/ 148 w 176"/>
                  <a:gd name="T91" fmla="*/ 172 h 172"/>
                  <a:gd name="T92" fmla="*/ 134 w 176"/>
                  <a:gd name="T93" fmla="*/ 167 h 172"/>
                  <a:gd name="T94" fmla="*/ 109 w 176"/>
                  <a:gd name="T95" fmla="*/ 164 h 172"/>
                  <a:gd name="T96" fmla="*/ 109 w 176"/>
                  <a:gd name="T97" fmla="*/ 164 h 172"/>
                  <a:gd name="T98" fmla="*/ 103 w 176"/>
                  <a:gd name="T99" fmla="*/ 167 h 172"/>
                  <a:gd name="T100" fmla="*/ 9 w 176"/>
                  <a:gd name="T101" fmla="*/ 1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6" h="172">
                    <a:moveTo>
                      <a:pt x="9" y="156"/>
                    </a:moveTo>
                    <a:lnTo>
                      <a:pt x="9" y="47"/>
                    </a:lnTo>
                    <a:lnTo>
                      <a:pt x="3" y="41"/>
                    </a:lnTo>
                    <a:lnTo>
                      <a:pt x="3" y="39"/>
                    </a:lnTo>
                    <a:lnTo>
                      <a:pt x="0" y="33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20" y="0"/>
                    </a:lnTo>
                    <a:lnTo>
                      <a:pt x="36" y="2"/>
                    </a:lnTo>
                    <a:lnTo>
                      <a:pt x="45" y="8"/>
                    </a:lnTo>
                    <a:lnTo>
                      <a:pt x="50" y="8"/>
                    </a:lnTo>
                    <a:lnTo>
                      <a:pt x="53" y="11"/>
                    </a:lnTo>
                    <a:lnTo>
                      <a:pt x="61" y="11"/>
                    </a:lnTo>
                    <a:lnTo>
                      <a:pt x="70" y="13"/>
                    </a:lnTo>
                    <a:lnTo>
                      <a:pt x="89" y="2"/>
                    </a:lnTo>
                    <a:lnTo>
                      <a:pt x="95" y="2"/>
                    </a:lnTo>
                    <a:lnTo>
                      <a:pt x="95" y="2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8" y="5"/>
                    </a:lnTo>
                    <a:lnTo>
                      <a:pt x="100" y="2"/>
                    </a:lnTo>
                    <a:lnTo>
                      <a:pt x="100" y="2"/>
                    </a:lnTo>
                    <a:lnTo>
                      <a:pt x="103" y="2"/>
                    </a:lnTo>
                    <a:lnTo>
                      <a:pt x="112" y="2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7" y="5"/>
                    </a:lnTo>
                    <a:lnTo>
                      <a:pt x="117" y="5"/>
                    </a:lnTo>
                    <a:lnTo>
                      <a:pt x="120" y="8"/>
                    </a:lnTo>
                    <a:lnTo>
                      <a:pt x="123" y="8"/>
                    </a:lnTo>
                    <a:lnTo>
                      <a:pt x="126" y="11"/>
                    </a:lnTo>
                    <a:lnTo>
                      <a:pt x="131" y="11"/>
                    </a:lnTo>
                    <a:lnTo>
                      <a:pt x="131" y="11"/>
                    </a:lnTo>
                    <a:lnTo>
                      <a:pt x="131" y="11"/>
                    </a:lnTo>
                    <a:lnTo>
                      <a:pt x="134" y="11"/>
                    </a:lnTo>
                    <a:lnTo>
                      <a:pt x="139" y="11"/>
                    </a:lnTo>
                    <a:lnTo>
                      <a:pt x="148" y="5"/>
                    </a:lnTo>
                    <a:lnTo>
                      <a:pt x="159" y="41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3" y="66"/>
                    </a:lnTo>
                    <a:lnTo>
                      <a:pt x="153" y="66"/>
                    </a:lnTo>
                    <a:lnTo>
                      <a:pt x="151" y="69"/>
                    </a:lnTo>
                    <a:lnTo>
                      <a:pt x="148" y="69"/>
                    </a:lnTo>
                    <a:lnTo>
                      <a:pt x="137" y="52"/>
                    </a:lnTo>
                    <a:lnTo>
                      <a:pt x="134" y="50"/>
                    </a:lnTo>
                    <a:lnTo>
                      <a:pt x="128" y="39"/>
                    </a:lnTo>
                    <a:lnTo>
                      <a:pt x="126" y="33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3" y="30"/>
                    </a:lnTo>
                    <a:lnTo>
                      <a:pt x="123" y="33"/>
                    </a:lnTo>
                    <a:lnTo>
                      <a:pt x="123" y="33"/>
                    </a:lnTo>
                    <a:lnTo>
                      <a:pt x="123" y="36"/>
                    </a:lnTo>
                    <a:lnTo>
                      <a:pt x="123" y="39"/>
                    </a:lnTo>
                    <a:lnTo>
                      <a:pt x="126" y="41"/>
                    </a:lnTo>
                    <a:lnTo>
                      <a:pt x="126" y="44"/>
                    </a:lnTo>
                    <a:lnTo>
                      <a:pt x="126" y="47"/>
                    </a:lnTo>
                    <a:lnTo>
                      <a:pt x="131" y="58"/>
                    </a:lnTo>
                    <a:lnTo>
                      <a:pt x="137" y="66"/>
                    </a:lnTo>
                    <a:lnTo>
                      <a:pt x="139" y="66"/>
                    </a:lnTo>
                    <a:lnTo>
                      <a:pt x="139" y="72"/>
                    </a:lnTo>
                    <a:lnTo>
                      <a:pt x="164" y="125"/>
                    </a:lnTo>
                    <a:lnTo>
                      <a:pt x="173" y="133"/>
                    </a:lnTo>
                    <a:lnTo>
                      <a:pt x="173" y="133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70" y="136"/>
                    </a:lnTo>
                    <a:lnTo>
                      <a:pt x="170" y="136"/>
                    </a:lnTo>
                    <a:lnTo>
                      <a:pt x="170" y="136"/>
                    </a:lnTo>
                    <a:lnTo>
                      <a:pt x="170" y="139"/>
                    </a:lnTo>
                    <a:lnTo>
                      <a:pt x="170" y="144"/>
                    </a:lnTo>
                    <a:lnTo>
                      <a:pt x="173" y="150"/>
                    </a:lnTo>
                    <a:lnTo>
                      <a:pt x="164" y="156"/>
                    </a:lnTo>
                    <a:lnTo>
                      <a:pt x="162" y="153"/>
                    </a:lnTo>
                    <a:lnTo>
                      <a:pt x="159" y="161"/>
                    </a:lnTo>
                    <a:lnTo>
                      <a:pt x="151" y="164"/>
                    </a:lnTo>
                    <a:lnTo>
                      <a:pt x="148" y="172"/>
                    </a:lnTo>
                    <a:lnTo>
                      <a:pt x="139" y="172"/>
                    </a:lnTo>
                    <a:lnTo>
                      <a:pt x="134" y="167"/>
                    </a:lnTo>
                    <a:lnTo>
                      <a:pt x="109" y="167"/>
                    </a:lnTo>
                    <a:lnTo>
                      <a:pt x="109" y="164"/>
                    </a:lnTo>
                    <a:lnTo>
                      <a:pt x="109" y="164"/>
                    </a:lnTo>
                    <a:lnTo>
                      <a:pt x="109" y="164"/>
                    </a:lnTo>
                    <a:lnTo>
                      <a:pt x="106" y="164"/>
                    </a:lnTo>
                    <a:lnTo>
                      <a:pt x="103" y="167"/>
                    </a:lnTo>
                    <a:lnTo>
                      <a:pt x="9" y="167"/>
                    </a:lnTo>
                    <a:lnTo>
                      <a:pt x="9" y="1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9" name="Freeform 237"/>
              <p:cNvSpPr>
                <a:spLocks noChangeAspect="1"/>
              </p:cNvSpPr>
              <p:nvPr>
                <p:custDataLst>
                  <p:tags r:id="rId557"/>
                </p:custDataLst>
              </p:nvPr>
            </p:nvSpPr>
            <p:spPr bwMode="gray">
              <a:xfrm>
                <a:off x="5044460" y="3351676"/>
                <a:ext cx="408465" cy="411528"/>
              </a:xfrm>
              <a:custGeom>
                <a:avLst/>
                <a:gdLst>
                  <a:gd name="T0" fmla="*/ 11 w 315"/>
                  <a:gd name="T1" fmla="*/ 144 h 320"/>
                  <a:gd name="T2" fmla="*/ 22 w 315"/>
                  <a:gd name="T3" fmla="*/ 139 h 320"/>
                  <a:gd name="T4" fmla="*/ 28 w 315"/>
                  <a:gd name="T5" fmla="*/ 139 h 320"/>
                  <a:gd name="T6" fmla="*/ 31 w 315"/>
                  <a:gd name="T7" fmla="*/ 133 h 320"/>
                  <a:gd name="T8" fmla="*/ 50 w 315"/>
                  <a:gd name="T9" fmla="*/ 130 h 320"/>
                  <a:gd name="T10" fmla="*/ 56 w 315"/>
                  <a:gd name="T11" fmla="*/ 125 h 320"/>
                  <a:gd name="T12" fmla="*/ 70 w 315"/>
                  <a:gd name="T13" fmla="*/ 116 h 320"/>
                  <a:gd name="T14" fmla="*/ 75 w 315"/>
                  <a:gd name="T15" fmla="*/ 111 h 320"/>
                  <a:gd name="T16" fmla="*/ 73 w 315"/>
                  <a:gd name="T17" fmla="*/ 111 h 320"/>
                  <a:gd name="T18" fmla="*/ 73 w 315"/>
                  <a:gd name="T19" fmla="*/ 105 h 320"/>
                  <a:gd name="T20" fmla="*/ 75 w 315"/>
                  <a:gd name="T21" fmla="*/ 100 h 320"/>
                  <a:gd name="T22" fmla="*/ 86 w 315"/>
                  <a:gd name="T23" fmla="*/ 97 h 320"/>
                  <a:gd name="T24" fmla="*/ 89 w 315"/>
                  <a:gd name="T25" fmla="*/ 94 h 320"/>
                  <a:gd name="T26" fmla="*/ 103 w 315"/>
                  <a:gd name="T27" fmla="*/ 91 h 320"/>
                  <a:gd name="T28" fmla="*/ 114 w 315"/>
                  <a:gd name="T29" fmla="*/ 91 h 320"/>
                  <a:gd name="T30" fmla="*/ 117 w 315"/>
                  <a:gd name="T31" fmla="*/ 86 h 320"/>
                  <a:gd name="T32" fmla="*/ 112 w 315"/>
                  <a:gd name="T33" fmla="*/ 78 h 320"/>
                  <a:gd name="T34" fmla="*/ 112 w 315"/>
                  <a:gd name="T35" fmla="*/ 69 h 320"/>
                  <a:gd name="T36" fmla="*/ 109 w 315"/>
                  <a:gd name="T37" fmla="*/ 58 h 320"/>
                  <a:gd name="T38" fmla="*/ 106 w 315"/>
                  <a:gd name="T39" fmla="*/ 47 h 320"/>
                  <a:gd name="T40" fmla="*/ 106 w 315"/>
                  <a:gd name="T41" fmla="*/ 44 h 320"/>
                  <a:gd name="T42" fmla="*/ 103 w 315"/>
                  <a:gd name="T43" fmla="*/ 41 h 320"/>
                  <a:gd name="T44" fmla="*/ 117 w 315"/>
                  <a:gd name="T45" fmla="*/ 27 h 320"/>
                  <a:gd name="T46" fmla="*/ 131 w 315"/>
                  <a:gd name="T47" fmla="*/ 25 h 320"/>
                  <a:gd name="T48" fmla="*/ 145 w 315"/>
                  <a:gd name="T49" fmla="*/ 13 h 320"/>
                  <a:gd name="T50" fmla="*/ 184 w 315"/>
                  <a:gd name="T51" fmla="*/ 5 h 320"/>
                  <a:gd name="T52" fmla="*/ 195 w 315"/>
                  <a:gd name="T53" fmla="*/ 2 h 320"/>
                  <a:gd name="T54" fmla="*/ 228 w 315"/>
                  <a:gd name="T55" fmla="*/ 2 h 320"/>
                  <a:gd name="T56" fmla="*/ 242 w 315"/>
                  <a:gd name="T57" fmla="*/ 2 h 320"/>
                  <a:gd name="T58" fmla="*/ 256 w 315"/>
                  <a:gd name="T59" fmla="*/ 5 h 320"/>
                  <a:gd name="T60" fmla="*/ 267 w 315"/>
                  <a:gd name="T61" fmla="*/ 2 h 320"/>
                  <a:gd name="T62" fmla="*/ 265 w 315"/>
                  <a:gd name="T63" fmla="*/ 11 h 320"/>
                  <a:gd name="T64" fmla="*/ 262 w 315"/>
                  <a:gd name="T65" fmla="*/ 47 h 320"/>
                  <a:gd name="T66" fmla="*/ 251 w 315"/>
                  <a:gd name="T67" fmla="*/ 58 h 320"/>
                  <a:gd name="T68" fmla="*/ 251 w 315"/>
                  <a:gd name="T69" fmla="*/ 72 h 320"/>
                  <a:gd name="T70" fmla="*/ 259 w 315"/>
                  <a:gd name="T71" fmla="*/ 89 h 320"/>
                  <a:gd name="T72" fmla="*/ 279 w 315"/>
                  <a:gd name="T73" fmla="*/ 128 h 320"/>
                  <a:gd name="T74" fmla="*/ 284 w 315"/>
                  <a:gd name="T75" fmla="*/ 194 h 320"/>
                  <a:gd name="T76" fmla="*/ 287 w 315"/>
                  <a:gd name="T77" fmla="*/ 214 h 320"/>
                  <a:gd name="T78" fmla="*/ 309 w 315"/>
                  <a:gd name="T79" fmla="*/ 231 h 320"/>
                  <a:gd name="T80" fmla="*/ 187 w 315"/>
                  <a:gd name="T81" fmla="*/ 320 h 320"/>
                  <a:gd name="T82" fmla="*/ 181 w 315"/>
                  <a:gd name="T83" fmla="*/ 314 h 320"/>
                  <a:gd name="T84" fmla="*/ 184 w 315"/>
                  <a:gd name="T85" fmla="*/ 311 h 320"/>
                  <a:gd name="T86" fmla="*/ 184 w 315"/>
                  <a:gd name="T87" fmla="*/ 306 h 320"/>
                  <a:gd name="T88" fmla="*/ 178 w 315"/>
                  <a:gd name="T89" fmla="*/ 303 h 320"/>
                  <a:gd name="T90" fmla="*/ 170 w 315"/>
                  <a:gd name="T91" fmla="*/ 303 h 320"/>
                  <a:gd name="T92" fmla="*/ 164 w 315"/>
                  <a:gd name="T93" fmla="*/ 300 h 320"/>
                  <a:gd name="T94" fmla="*/ 159 w 315"/>
                  <a:gd name="T95" fmla="*/ 292 h 320"/>
                  <a:gd name="T96" fmla="*/ 150 w 315"/>
                  <a:gd name="T97" fmla="*/ 289 h 320"/>
                  <a:gd name="T98" fmla="*/ 56 w 315"/>
                  <a:gd name="T99" fmla="*/ 22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5" h="320">
                    <a:moveTo>
                      <a:pt x="56" y="220"/>
                    </a:moveTo>
                    <a:lnTo>
                      <a:pt x="0" y="181"/>
                    </a:lnTo>
                    <a:lnTo>
                      <a:pt x="0" y="153"/>
                    </a:lnTo>
                    <a:lnTo>
                      <a:pt x="11" y="144"/>
                    </a:lnTo>
                    <a:lnTo>
                      <a:pt x="17" y="144"/>
                    </a:lnTo>
                    <a:lnTo>
                      <a:pt x="17" y="142"/>
                    </a:lnTo>
                    <a:lnTo>
                      <a:pt x="20" y="142"/>
                    </a:lnTo>
                    <a:lnTo>
                      <a:pt x="22" y="139"/>
                    </a:lnTo>
                    <a:lnTo>
                      <a:pt x="22" y="139"/>
                    </a:lnTo>
                    <a:lnTo>
                      <a:pt x="25" y="139"/>
                    </a:lnTo>
                    <a:lnTo>
                      <a:pt x="25" y="139"/>
                    </a:lnTo>
                    <a:lnTo>
                      <a:pt x="28" y="139"/>
                    </a:lnTo>
                    <a:lnTo>
                      <a:pt x="31" y="139"/>
                    </a:lnTo>
                    <a:lnTo>
                      <a:pt x="31" y="139"/>
                    </a:lnTo>
                    <a:lnTo>
                      <a:pt x="31" y="136"/>
                    </a:lnTo>
                    <a:lnTo>
                      <a:pt x="31" y="133"/>
                    </a:lnTo>
                    <a:lnTo>
                      <a:pt x="36" y="136"/>
                    </a:lnTo>
                    <a:lnTo>
                      <a:pt x="36" y="133"/>
                    </a:lnTo>
                    <a:lnTo>
                      <a:pt x="45" y="133"/>
                    </a:lnTo>
                    <a:lnTo>
                      <a:pt x="50" y="130"/>
                    </a:lnTo>
                    <a:lnTo>
                      <a:pt x="53" y="128"/>
                    </a:lnTo>
                    <a:lnTo>
                      <a:pt x="53" y="128"/>
                    </a:lnTo>
                    <a:lnTo>
                      <a:pt x="53" y="125"/>
                    </a:lnTo>
                    <a:lnTo>
                      <a:pt x="56" y="125"/>
                    </a:lnTo>
                    <a:lnTo>
                      <a:pt x="59" y="122"/>
                    </a:lnTo>
                    <a:lnTo>
                      <a:pt x="61" y="119"/>
                    </a:lnTo>
                    <a:lnTo>
                      <a:pt x="64" y="119"/>
                    </a:lnTo>
                    <a:lnTo>
                      <a:pt x="70" y="116"/>
                    </a:lnTo>
                    <a:lnTo>
                      <a:pt x="78" y="114"/>
                    </a:lnTo>
                    <a:lnTo>
                      <a:pt x="78" y="114"/>
                    </a:lnTo>
                    <a:lnTo>
                      <a:pt x="78" y="111"/>
                    </a:lnTo>
                    <a:lnTo>
                      <a:pt x="75" y="111"/>
                    </a:lnTo>
                    <a:lnTo>
                      <a:pt x="75" y="111"/>
                    </a:lnTo>
                    <a:lnTo>
                      <a:pt x="75" y="111"/>
                    </a:lnTo>
                    <a:lnTo>
                      <a:pt x="75" y="111"/>
                    </a:lnTo>
                    <a:lnTo>
                      <a:pt x="73" y="111"/>
                    </a:lnTo>
                    <a:lnTo>
                      <a:pt x="75" y="108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3" y="105"/>
                    </a:lnTo>
                    <a:lnTo>
                      <a:pt x="73" y="105"/>
                    </a:lnTo>
                    <a:lnTo>
                      <a:pt x="73" y="103"/>
                    </a:lnTo>
                    <a:lnTo>
                      <a:pt x="73" y="103"/>
                    </a:lnTo>
                    <a:lnTo>
                      <a:pt x="75" y="100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86" y="100"/>
                    </a:lnTo>
                    <a:lnTo>
                      <a:pt x="86" y="97"/>
                    </a:lnTo>
                    <a:lnTo>
                      <a:pt x="86" y="97"/>
                    </a:lnTo>
                    <a:lnTo>
                      <a:pt x="86" y="94"/>
                    </a:lnTo>
                    <a:lnTo>
                      <a:pt x="89" y="94"/>
                    </a:lnTo>
                    <a:lnTo>
                      <a:pt x="89" y="94"/>
                    </a:lnTo>
                    <a:lnTo>
                      <a:pt x="92" y="94"/>
                    </a:lnTo>
                    <a:lnTo>
                      <a:pt x="92" y="94"/>
                    </a:lnTo>
                    <a:lnTo>
                      <a:pt x="92" y="91"/>
                    </a:lnTo>
                    <a:lnTo>
                      <a:pt x="103" y="91"/>
                    </a:lnTo>
                    <a:lnTo>
                      <a:pt x="106" y="91"/>
                    </a:lnTo>
                    <a:lnTo>
                      <a:pt x="112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91"/>
                    </a:lnTo>
                    <a:lnTo>
                      <a:pt x="114" y="89"/>
                    </a:lnTo>
                    <a:lnTo>
                      <a:pt x="117" y="86"/>
                    </a:lnTo>
                    <a:lnTo>
                      <a:pt x="117" y="86"/>
                    </a:lnTo>
                    <a:lnTo>
                      <a:pt x="117" y="86"/>
                    </a:lnTo>
                    <a:lnTo>
                      <a:pt x="112" y="80"/>
                    </a:lnTo>
                    <a:lnTo>
                      <a:pt x="112" y="78"/>
                    </a:lnTo>
                    <a:lnTo>
                      <a:pt x="112" y="75"/>
                    </a:lnTo>
                    <a:lnTo>
                      <a:pt x="109" y="72"/>
                    </a:lnTo>
                    <a:lnTo>
                      <a:pt x="109" y="69"/>
                    </a:lnTo>
                    <a:lnTo>
                      <a:pt x="112" y="69"/>
                    </a:lnTo>
                    <a:lnTo>
                      <a:pt x="109" y="66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09" y="58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06" y="47"/>
                    </a:lnTo>
                    <a:lnTo>
                      <a:pt x="106" y="47"/>
                    </a:lnTo>
                    <a:lnTo>
                      <a:pt x="109" y="47"/>
                    </a:lnTo>
                    <a:lnTo>
                      <a:pt x="109" y="47"/>
                    </a:lnTo>
                    <a:lnTo>
                      <a:pt x="106" y="47"/>
                    </a:lnTo>
                    <a:lnTo>
                      <a:pt x="106" y="44"/>
                    </a:lnTo>
                    <a:lnTo>
                      <a:pt x="106" y="44"/>
                    </a:lnTo>
                    <a:lnTo>
                      <a:pt x="103" y="44"/>
                    </a:lnTo>
                    <a:lnTo>
                      <a:pt x="103" y="41"/>
                    </a:lnTo>
                    <a:lnTo>
                      <a:pt x="103" y="41"/>
                    </a:lnTo>
                    <a:lnTo>
                      <a:pt x="103" y="39"/>
                    </a:lnTo>
                    <a:lnTo>
                      <a:pt x="103" y="39"/>
                    </a:lnTo>
                    <a:lnTo>
                      <a:pt x="112" y="36"/>
                    </a:lnTo>
                    <a:lnTo>
                      <a:pt x="117" y="27"/>
                    </a:lnTo>
                    <a:lnTo>
                      <a:pt x="120" y="25"/>
                    </a:lnTo>
                    <a:lnTo>
                      <a:pt x="125" y="25"/>
                    </a:lnTo>
                    <a:lnTo>
                      <a:pt x="128" y="22"/>
                    </a:lnTo>
                    <a:lnTo>
                      <a:pt x="131" y="25"/>
                    </a:lnTo>
                    <a:lnTo>
                      <a:pt x="134" y="22"/>
                    </a:lnTo>
                    <a:lnTo>
                      <a:pt x="139" y="19"/>
                    </a:lnTo>
                    <a:lnTo>
                      <a:pt x="142" y="16"/>
                    </a:lnTo>
                    <a:lnTo>
                      <a:pt x="145" y="13"/>
                    </a:lnTo>
                    <a:lnTo>
                      <a:pt x="156" y="11"/>
                    </a:lnTo>
                    <a:lnTo>
                      <a:pt x="176" y="8"/>
                    </a:lnTo>
                    <a:lnTo>
                      <a:pt x="181" y="5"/>
                    </a:lnTo>
                    <a:lnTo>
                      <a:pt x="184" y="5"/>
                    </a:lnTo>
                    <a:lnTo>
                      <a:pt x="187" y="5"/>
                    </a:lnTo>
                    <a:lnTo>
                      <a:pt x="187" y="5"/>
                    </a:lnTo>
                    <a:lnTo>
                      <a:pt x="189" y="5"/>
                    </a:lnTo>
                    <a:lnTo>
                      <a:pt x="195" y="2"/>
                    </a:lnTo>
                    <a:lnTo>
                      <a:pt x="212" y="5"/>
                    </a:lnTo>
                    <a:lnTo>
                      <a:pt x="212" y="5"/>
                    </a:lnTo>
                    <a:lnTo>
                      <a:pt x="217" y="8"/>
                    </a:lnTo>
                    <a:lnTo>
                      <a:pt x="228" y="2"/>
                    </a:lnTo>
                    <a:lnTo>
                      <a:pt x="231" y="0"/>
                    </a:lnTo>
                    <a:lnTo>
                      <a:pt x="237" y="2"/>
                    </a:lnTo>
                    <a:lnTo>
                      <a:pt x="240" y="2"/>
                    </a:lnTo>
                    <a:lnTo>
                      <a:pt x="242" y="2"/>
                    </a:lnTo>
                    <a:lnTo>
                      <a:pt x="245" y="2"/>
                    </a:lnTo>
                    <a:lnTo>
                      <a:pt x="248" y="0"/>
                    </a:lnTo>
                    <a:lnTo>
                      <a:pt x="254" y="2"/>
                    </a:lnTo>
                    <a:lnTo>
                      <a:pt x="256" y="5"/>
                    </a:lnTo>
                    <a:lnTo>
                      <a:pt x="259" y="2"/>
                    </a:lnTo>
                    <a:lnTo>
                      <a:pt x="262" y="2"/>
                    </a:lnTo>
                    <a:lnTo>
                      <a:pt x="265" y="2"/>
                    </a:lnTo>
                    <a:lnTo>
                      <a:pt x="267" y="2"/>
                    </a:lnTo>
                    <a:lnTo>
                      <a:pt x="267" y="5"/>
                    </a:lnTo>
                    <a:lnTo>
                      <a:pt x="262" y="11"/>
                    </a:lnTo>
                    <a:lnTo>
                      <a:pt x="262" y="11"/>
                    </a:lnTo>
                    <a:lnTo>
                      <a:pt x="265" y="11"/>
                    </a:lnTo>
                    <a:lnTo>
                      <a:pt x="265" y="13"/>
                    </a:lnTo>
                    <a:lnTo>
                      <a:pt x="262" y="33"/>
                    </a:lnTo>
                    <a:lnTo>
                      <a:pt x="265" y="36"/>
                    </a:lnTo>
                    <a:lnTo>
                      <a:pt x="262" y="47"/>
                    </a:lnTo>
                    <a:lnTo>
                      <a:pt x="256" y="52"/>
                    </a:lnTo>
                    <a:lnTo>
                      <a:pt x="254" y="55"/>
                    </a:lnTo>
                    <a:lnTo>
                      <a:pt x="254" y="55"/>
                    </a:lnTo>
                    <a:lnTo>
                      <a:pt x="251" y="58"/>
                    </a:lnTo>
                    <a:lnTo>
                      <a:pt x="251" y="58"/>
                    </a:lnTo>
                    <a:lnTo>
                      <a:pt x="248" y="61"/>
                    </a:lnTo>
                    <a:lnTo>
                      <a:pt x="248" y="61"/>
                    </a:lnTo>
                    <a:lnTo>
                      <a:pt x="251" y="72"/>
                    </a:lnTo>
                    <a:lnTo>
                      <a:pt x="256" y="75"/>
                    </a:lnTo>
                    <a:lnTo>
                      <a:pt x="259" y="78"/>
                    </a:lnTo>
                    <a:lnTo>
                      <a:pt x="259" y="83"/>
                    </a:lnTo>
                    <a:lnTo>
                      <a:pt x="259" y="89"/>
                    </a:lnTo>
                    <a:lnTo>
                      <a:pt x="273" y="94"/>
                    </a:lnTo>
                    <a:lnTo>
                      <a:pt x="273" y="94"/>
                    </a:lnTo>
                    <a:lnTo>
                      <a:pt x="279" y="128"/>
                    </a:lnTo>
                    <a:lnTo>
                      <a:pt x="279" y="128"/>
                    </a:lnTo>
                    <a:lnTo>
                      <a:pt x="276" y="130"/>
                    </a:lnTo>
                    <a:lnTo>
                      <a:pt x="276" y="133"/>
                    </a:lnTo>
                    <a:lnTo>
                      <a:pt x="281" y="144"/>
                    </a:lnTo>
                    <a:lnTo>
                      <a:pt x="284" y="194"/>
                    </a:lnTo>
                    <a:lnTo>
                      <a:pt x="279" y="197"/>
                    </a:lnTo>
                    <a:lnTo>
                      <a:pt x="276" y="200"/>
                    </a:lnTo>
                    <a:lnTo>
                      <a:pt x="279" y="203"/>
                    </a:lnTo>
                    <a:lnTo>
                      <a:pt x="287" y="214"/>
                    </a:lnTo>
                    <a:lnTo>
                      <a:pt x="287" y="222"/>
                    </a:lnTo>
                    <a:lnTo>
                      <a:pt x="292" y="228"/>
                    </a:lnTo>
                    <a:lnTo>
                      <a:pt x="301" y="228"/>
                    </a:lnTo>
                    <a:lnTo>
                      <a:pt x="309" y="231"/>
                    </a:lnTo>
                    <a:lnTo>
                      <a:pt x="315" y="245"/>
                    </a:lnTo>
                    <a:lnTo>
                      <a:pt x="315" y="245"/>
                    </a:lnTo>
                    <a:lnTo>
                      <a:pt x="220" y="311"/>
                    </a:lnTo>
                    <a:lnTo>
                      <a:pt x="187" y="320"/>
                    </a:lnTo>
                    <a:lnTo>
                      <a:pt x="184" y="320"/>
                    </a:lnTo>
                    <a:lnTo>
                      <a:pt x="181" y="317"/>
                    </a:lnTo>
                    <a:lnTo>
                      <a:pt x="181" y="317"/>
                    </a:lnTo>
                    <a:lnTo>
                      <a:pt x="181" y="314"/>
                    </a:lnTo>
                    <a:lnTo>
                      <a:pt x="181" y="314"/>
                    </a:lnTo>
                    <a:lnTo>
                      <a:pt x="181" y="311"/>
                    </a:lnTo>
                    <a:lnTo>
                      <a:pt x="184" y="311"/>
                    </a:lnTo>
                    <a:lnTo>
                      <a:pt x="184" y="311"/>
                    </a:lnTo>
                    <a:lnTo>
                      <a:pt x="181" y="311"/>
                    </a:lnTo>
                    <a:lnTo>
                      <a:pt x="181" y="309"/>
                    </a:lnTo>
                    <a:lnTo>
                      <a:pt x="184" y="309"/>
                    </a:lnTo>
                    <a:lnTo>
                      <a:pt x="184" y="306"/>
                    </a:lnTo>
                    <a:lnTo>
                      <a:pt x="181" y="306"/>
                    </a:lnTo>
                    <a:lnTo>
                      <a:pt x="181" y="306"/>
                    </a:lnTo>
                    <a:lnTo>
                      <a:pt x="181" y="306"/>
                    </a:lnTo>
                    <a:lnTo>
                      <a:pt x="178" y="303"/>
                    </a:lnTo>
                    <a:lnTo>
                      <a:pt x="176" y="303"/>
                    </a:lnTo>
                    <a:lnTo>
                      <a:pt x="176" y="303"/>
                    </a:lnTo>
                    <a:lnTo>
                      <a:pt x="173" y="303"/>
                    </a:lnTo>
                    <a:lnTo>
                      <a:pt x="170" y="303"/>
                    </a:lnTo>
                    <a:lnTo>
                      <a:pt x="170" y="300"/>
                    </a:lnTo>
                    <a:lnTo>
                      <a:pt x="167" y="300"/>
                    </a:lnTo>
                    <a:lnTo>
                      <a:pt x="167" y="300"/>
                    </a:lnTo>
                    <a:lnTo>
                      <a:pt x="164" y="300"/>
                    </a:lnTo>
                    <a:lnTo>
                      <a:pt x="162" y="297"/>
                    </a:lnTo>
                    <a:lnTo>
                      <a:pt x="159" y="297"/>
                    </a:lnTo>
                    <a:lnTo>
                      <a:pt x="159" y="295"/>
                    </a:lnTo>
                    <a:lnTo>
                      <a:pt x="159" y="292"/>
                    </a:lnTo>
                    <a:lnTo>
                      <a:pt x="153" y="292"/>
                    </a:lnTo>
                    <a:lnTo>
                      <a:pt x="153" y="292"/>
                    </a:lnTo>
                    <a:lnTo>
                      <a:pt x="150" y="289"/>
                    </a:lnTo>
                    <a:lnTo>
                      <a:pt x="150" y="289"/>
                    </a:lnTo>
                    <a:lnTo>
                      <a:pt x="150" y="286"/>
                    </a:lnTo>
                    <a:lnTo>
                      <a:pt x="150" y="284"/>
                    </a:lnTo>
                    <a:lnTo>
                      <a:pt x="150" y="284"/>
                    </a:lnTo>
                    <a:lnTo>
                      <a:pt x="56" y="2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0" name="Freeform 238"/>
              <p:cNvSpPr>
                <a:spLocks noChangeAspect="1"/>
              </p:cNvSpPr>
              <p:nvPr>
                <p:custDataLst>
                  <p:tags r:id="rId558"/>
                </p:custDataLst>
              </p:nvPr>
            </p:nvSpPr>
            <p:spPr bwMode="gray">
              <a:xfrm>
                <a:off x="5540994" y="3034751"/>
                <a:ext cx="138180" cy="83567"/>
              </a:xfrm>
              <a:custGeom>
                <a:avLst/>
                <a:gdLst>
                  <a:gd name="T0" fmla="*/ 16 w 105"/>
                  <a:gd name="T1" fmla="*/ 11 h 64"/>
                  <a:gd name="T2" fmla="*/ 27 w 105"/>
                  <a:gd name="T3" fmla="*/ 19 h 64"/>
                  <a:gd name="T4" fmla="*/ 39 w 105"/>
                  <a:gd name="T5" fmla="*/ 19 h 64"/>
                  <a:gd name="T6" fmla="*/ 41 w 105"/>
                  <a:gd name="T7" fmla="*/ 13 h 64"/>
                  <a:gd name="T8" fmla="*/ 55 w 105"/>
                  <a:gd name="T9" fmla="*/ 8 h 64"/>
                  <a:gd name="T10" fmla="*/ 61 w 105"/>
                  <a:gd name="T11" fmla="*/ 11 h 64"/>
                  <a:gd name="T12" fmla="*/ 66 w 105"/>
                  <a:gd name="T13" fmla="*/ 8 h 64"/>
                  <a:gd name="T14" fmla="*/ 69 w 105"/>
                  <a:gd name="T15" fmla="*/ 5 h 64"/>
                  <a:gd name="T16" fmla="*/ 75 w 105"/>
                  <a:gd name="T17" fmla="*/ 2 h 64"/>
                  <a:gd name="T18" fmla="*/ 78 w 105"/>
                  <a:gd name="T19" fmla="*/ 2 h 64"/>
                  <a:gd name="T20" fmla="*/ 80 w 105"/>
                  <a:gd name="T21" fmla="*/ 0 h 64"/>
                  <a:gd name="T22" fmla="*/ 86 w 105"/>
                  <a:gd name="T23" fmla="*/ 2 h 64"/>
                  <a:gd name="T24" fmla="*/ 91 w 105"/>
                  <a:gd name="T25" fmla="*/ 5 h 64"/>
                  <a:gd name="T26" fmla="*/ 94 w 105"/>
                  <a:gd name="T27" fmla="*/ 5 h 64"/>
                  <a:gd name="T28" fmla="*/ 105 w 105"/>
                  <a:gd name="T29" fmla="*/ 11 h 64"/>
                  <a:gd name="T30" fmla="*/ 105 w 105"/>
                  <a:gd name="T31" fmla="*/ 13 h 64"/>
                  <a:gd name="T32" fmla="*/ 103 w 105"/>
                  <a:gd name="T33" fmla="*/ 19 h 64"/>
                  <a:gd name="T34" fmla="*/ 100 w 105"/>
                  <a:gd name="T35" fmla="*/ 19 h 64"/>
                  <a:gd name="T36" fmla="*/ 97 w 105"/>
                  <a:gd name="T37" fmla="*/ 19 h 64"/>
                  <a:gd name="T38" fmla="*/ 94 w 105"/>
                  <a:gd name="T39" fmla="*/ 25 h 64"/>
                  <a:gd name="T40" fmla="*/ 94 w 105"/>
                  <a:gd name="T41" fmla="*/ 25 h 64"/>
                  <a:gd name="T42" fmla="*/ 91 w 105"/>
                  <a:gd name="T43" fmla="*/ 27 h 64"/>
                  <a:gd name="T44" fmla="*/ 91 w 105"/>
                  <a:gd name="T45" fmla="*/ 33 h 64"/>
                  <a:gd name="T46" fmla="*/ 80 w 105"/>
                  <a:gd name="T47" fmla="*/ 52 h 64"/>
                  <a:gd name="T48" fmla="*/ 66 w 105"/>
                  <a:gd name="T49" fmla="*/ 55 h 64"/>
                  <a:gd name="T50" fmla="*/ 64 w 105"/>
                  <a:gd name="T51" fmla="*/ 55 h 64"/>
                  <a:gd name="T52" fmla="*/ 64 w 105"/>
                  <a:gd name="T53" fmla="*/ 55 h 64"/>
                  <a:gd name="T54" fmla="*/ 61 w 105"/>
                  <a:gd name="T55" fmla="*/ 55 h 64"/>
                  <a:gd name="T56" fmla="*/ 55 w 105"/>
                  <a:gd name="T57" fmla="*/ 55 h 64"/>
                  <a:gd name="T58" fmla="*/ 52 w 105"/>
                  <a:gd name="T59" fmla="*/ 58 h 64"/>
                  <a:gd name="T60" fmla="*/ 47 w 105"/>
                  <a:gd name="T61" fmla="*/ 58 h 64"/>
                  <a:gd name="T62" fmla="*/ 47 w 105"/>
                  <a:gd name="T63" fmla="*/ 61 h 64"/>
                  <a:gd name="T64" fmla="*/ 41 w 105"/>
                  <a:gd name="T65" fmla="*/ 61 h 64"/>
                  <a:gd name="T66" fmla="*/ 39 w 105"/>
                  <a:gd name="T67" fmla="*/ 64 h 64"/>
                  <a:gd name="T68" fmla="*/ 30 w 105"/>
                  <a:gd name="T69" fmla="*/ 64 h 64"/>
                  <a:gd name="T70" fmla="*/ 25 w 105"/>
                  <a:gd name="T71" fmla="*/ 61 h 64"/>
                  <a:gd name="T72" fmla="*/ 22 w 105"/>
                  <a:gd name="T73" fmla="*/ 61 h 64"/>
                  <a:gd name="T74" fmla="*/ 19 w 105"/>
                  <a:gd name="T75" fmla="*/ 55 h 64"/>
                  <a:gd name="T76" fmla="*/ 16 w 105"/>
                  <a:gd name="T77" fmla="*/ 55 h 64"/>
                  <a:gd name="T78" fmla="*/ 13 w 105"/>
                  <a:gd name="T79" fmla="*/ 50 h 64"/>
                  <a:gd name="T80" fmla="*/ 8 w 105"/>
                  <a:gd name="T81" fmla="*/ 50 h 64"/>
                  <a:gd name="T82" fmla="*/ 5 w 105"/>
                  <a:gd name="T83" fmla="*/ 41 h 64"/>
                  <a:gd name="T84" fmla="*/ 2 w 105"/>
                  <a:gd name="T85" fmla="*/ 38 h 64"/>
                  <a:gd name="T86" fmla="*/ 0 w 105"/>
                  <a:gd name="T87" fmla="*/ 38 h 64"/>
                  <a:gd name="T88" fmla="*/ 2 w 105"/>
                  <a:gd name="T89" fmla="*/ 36 h 64"/>
                  <a:gd name="T90" fmla="*/ 8 w 105"/>
                  <a:gd name="T91" fmla="*/ 36 h 64"/>
                  <a:gd name="T92" fmla="*/ 5 w 105"/>
                  <a:gd name="T93" fmla="*/ 30 h 64"/>
                  <a:gd name="T94" fmla="*/ 8 w 105"/>
                  <a:gd name="T95" fmla="*/ 25 h 64"/>
                  <a:gd name="T96" fmla="*/ 8 w 105"/>
                  <a:gd name="T97" fmla="*/ 22 h 64"/>
                  <a:gd name="T98" fmla="*/ 8 w 105"/>
                  <a:gd name="T99" fmla="*/ 19 h 64"/>
                  <a:gd name="T100" fmla="*/ 16 w 105"/>
                  <a:gd name="T101" fmla="*/ 19 h 64"/>
                  <a:gd name="T102" fmla="*/ 16 w 105"/>
                  <a:gd name="T103" fmla="*/ 19 h 64"/>
                  <a:gd name="T104" fmla="*/ 16 w 105"/>
                  <a:gd name="T105" fmla="*/ 1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5" h="64">
                    <a:moveTo>
                      <a:pt x="16" y="11"/>
                    </a:moveTo>
                    <a:lnTo>
                      <a:pt x="27" y="19"/>
                    </a:lnTo>
                    <a:lnTo>
                      <a:pt x="39" y="19"/>
                    </a:lnTo>
                    <a:lnTo>
                      <a:pt x="41" y="13"/>
                    </a:lnTo>
                    <a:lnTo>
                      <a:pt x="55" y="8"/>
                    </a:lnTo>
                    <a:lnTo>
                      <a:pt x="61" y="11"/>
                    </a:lnTo>
                    <a:lnTo>
                      <a:pt x="66" y="8"/>
                    </a:lnTo>
                    <a:lnTo>
                      <a:pt x="69" y="5"/>
                    </a:lnTo>
                    <a:lnTo>
                      <a:pt x="75" y="2"/>
                    </a:lnTo>
                    <a:lnTo>
                      <a:pt x="78" y="2"/>
                    </a:lnTo>
                    <a:lnTo>
                      <a:pt x="80" y="0"/>
                    </a:lnTo>
                    <a:lnTo>
                      <a:pt x="86" y="2"/>
                    </a:lnTo>
                    <a:lnTo>
                      <a:pt x="91" y="5"/>
                    </a:lnTo>
                    <a:lnTo>
                      <a:pt x="94" y="5"/>
                    </a:lnTo>
                    <a:lnTo>
                      <a:pt x="105" y="11"/>
                    </a:lnTo>
                    <a:lnTo>
                      <a:pt x="105" y="13"/>
                    </a:lnTo>
                    <a:lnTo>
                      <a:pt x="103" y="19"/>
                    </a:lnTo>
                    <a:lnTo>
                      <a:pt x="100" y="19"/>
                    </a:lnTo>
                    <a:lnTo>
                      <a:pt x="97" y="19"/>
                    </a:lnTo>
                    <a:lnTo>
                      <a:pt x="94" y="25"/>
                    </a:lnTo>
                    <a:lnTo>
                      <a:pt x="94" y="25"/>
                    </a:lnTo>
                    <a:lnTo>
                      <a:pt x="91" y="27"/>
                    </a:lnTo>
                    <a:lnTo>
                      <a:pt x="91" y="33"/>
                    </a:lnTo>
                    <a:lnTo>
                      <a:pt x="80" y="52"/>
                    </a:lnTo>
                    <a:lnTo>
                      <a:pt x="66" y="55"/>
                    </a:lnTo>
                    <a:lnTo>
                      <a:pt x="64" y="55"/>
                    </a:lnTo>
                    <a:lnTo>
                      <a:pt x="64" y="55"/>
                    </a:lnTo>
                    <a:lnTo>
                      <a:pt x="61" y="55"/>
                    </a:lnTo>
                    <a:lnTo>
                      <a:pt x="55" y="55"/>
                    </a:lnTo>
                    <a:lnTo>
                      <a:pt x="52" y="58"/>
                    </a:lnTo>
                    <a:lnTo>
                      <a:pt x="47" y="58"/>
                    </a:lnTo>
                    <a:lnTo>
                      <a:pt x="47" y="61"/>
                    </a:lnTo>
                    <a:lnTo>
                      <a:pt x="41" y="61"/>
                    </a:lnTo>
                    <a:lnTo>
                      <a:pt x="39" y="64"/>
                    </a:lnTo>
                    <a:lnTo>
                      <a:pt x="30" y="64"/>
                    </a:lnTo>
                    <a:lnTo>
                      <a:pt x="25" y="61"/>
                    </a:lnTo>
                    <a:lnTo>
                      <a:pt x="22" y="61"/>
                    </a:lnTo>
                    <a:lnTo>
                      <a:pt x="19" y="55"/>
                    </a:lnTo>
                    <a:lnTo>
                      <a:pt x="16" y="55"/>
                    </a:lnTo>
                    <a:lnTo>
                      <a:pt x="13" y="50"/>
                    </a:lnTo>
                    <a:lnTo>
                      <a:pt x="8" y="50"/>
                    </a:lnTo>
                    <a:lnTo>
                      <a:pt x="5" y="41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8" y="36"/>
                    </a:lnTo>
                    <a:lnTo>
                      <a:pt x="5" y="30"/>
                    </a:lnTo>
                    <a:lnTo>
                      <a:pt x="8" y="25"/>
                    </a:lnTo>
                    <a:lnTo>
                      <a:pt x="8" y="22"/>
                    </a:lnTo>
                    <a:lnTo>
                      <a:pt x="8" y="19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6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1" name="Freeform 239"/>
              <p:cNvSpPr>
                <a:spLocks noChangeAspect="1"/>
              </p:cNvSpPr>
              <p:nvPr>
                <p:custDataLst>
                  <p:tags r:id="rId559"/>
                </p:custDataLst>
              </p:nvPr>
            </p:nvSpPr>
            <p:spPr bwMode="gray">
              <a:xfrm>
                <a:off x="4717991" y="2347292"/>
                <a:ext cx="224731" cy="149790"/>
              </a:xfrm>
              <a:custGeom>
                <a:avLst/>
                <a:gdLst>
                  <a:gd name="T0" fmla="*/ 64 w 172"/>
                  <a:gd name="T1" fmla="*/ 106 h 117"/>
                  <a:gd name="T2" fmla="*/ 33 w 172"/>
                  <a:gd name="T3" fmla="*/ 100 h 117"/>
                  <a:gd name="T4" fmla="*/ 33 w 172"/>
                  <a:gd name="T5" fmla="*/ 97 h 117"/>
                  <a:gd name="T6" fmla="*/ 39 w 172"/>
                  <a:gd name="T7" fmla="*/ 83 h 117"/>
                  <a:gd name="T8" fmla="*/ 39 w 172"/>
                  <a:gd name="T9" fmla="*/ 78 h 117"/>
                  <a:gd name="T10" fmla="*/ 30 w 172"/>
                  <a:gd name="T11" fmla="*/ 67 h 117"/>
                  <a:gd name="T12" fmla="*/ 13 w 172"/>
                  <a:gd name="T13" fmla="*/ 69 h 117"/>
                  <a:gd name="T14" fmla="*/ 22 w 172"/>
                  <a:gd name="T15" fmla="*/ 61 h 117"/>
                  <a:gd name="T16" fmla="*/ 33 w 172"/>
                  <a:gd name="T17" fmla="*/ 58 h 117"/>
                  <a:gd name="T18" fmla="*/ 39 w 172"/>
                  <a:gd name="T19" fmla="*/ 56 h 117"/>
                  <a:gd name="T20" fmla="*/ 41 w 172"/>
                  <a:gd name="T21" fmla="*/ 44 h 117"/>
                  <a:gd name="T22" fmla="*/ 36 w 172"/>
                  <a:gd name="T23" fmla="*/ 42 h 117"/>
                  <a:gd name="T24" fmla="*/ 22 w 172"/>
                  <a:gd name="T25" fmla="*/ 39 h 117"/>
                  <a:gd name="T26" fmla="*/ 8 w 172"/>
                  <a:gd name="T27" fmla="*/ 42 h 117"/>
                  <a:gd name="T28" fmla="*/ 11 w 172"/>
                  <a:gd name="T29" fmla="*/ 39 h 117"/>
                  <a:gd name="T30" fmla="*/ 5 w 172"/>
                  <a:gd name="T31" fmla="*/ 28 h 117"/>
                  <a:gd name="T32" fmla="*/ 19 w 172"/>
                  <a:gd name="T33" fmla="*/ 33 h 117"/>
                  <a:gd name="T34" fmla="*/ 13 w 172"/>
                  <a:gd name="T35" fmla="*/ 25 h 117"/>
                  <a:gd name="T36" fmla="*/ 13 w 172"/>
                  <a:gd name="T37" fmla="*/ 19 h 117"/>
                  <a:gd name="T38" fmla="*/ 22 w 172"/>
                  <a:gd name="T39" fmla="*/ 22 h 117"/>
                  <a:gd name="T40" fmla="*/ 30 w 172"/>
                  <a:gd name="T41" fmla="*/ 28 h 117"/>
                  <a:gd name="T42" fmla="*/ 33 w 172"/>
                  <a:gd name="T43" fmla="*/ 19 h 117"/>
                  <a:gd name="T44" fmla="*/ 33 w 172"/>
                  <a:gd name="T45" fmla="*/ 11 h 117"/>
                  <a:gd name="T46" fmla="*/ 22 w 172"/>
                  <a:gd name="T47" fmla="*/ 8 h 117"/>
                  <a:gd name="T48" fmla="*/ 25 w 172"/>
                  <a:gd name="T49" fmla="*/ 3 h 117"/>
                  <a:gd name="T50" fmla="*/ 36 w 172"/>
                  <a:gd name="T51" fmla="*/ 11 h 117"/>
                  <a:gd name="T52" fmla="*/ 47 w 172"/>
                  <a:gd name="T53" fmla="*/ 25 h 117"/>
                  <a:gd name="T54" fmla="*/ 47 w 172"/>
                  <a:gd name="T55" fmla="*/ 33 h 117"/>
                  <a:gd name="T56" fmla="*/ 50 w 172"/>
                  <a:gd name="T57" fmla="*/ 36 h 117"/>
                  <a:gd name="T58" fmla="*/ 52 w 172"/>
                  <a:gd name="T59" fmla="*/ 47 h 117"/>
                  <a:gd name="T60" fmla="*/ 61 w 172"/>
                  <a:gd name="T61" fmla="*/ 36 h 117"/>
                  <a:gd name="T62" fmla="*/ 66 w 172"/>
                  <a:gd name="T63" fmla="*/ 17 h 117"/>
                  <a:gd name="T64" fmla="*/ 80 w 172"/>
                  <a:gd name="T65" fmla="*/ 31 h 117"/>
                  <a:gd name="T66" fmla="*/ 86 w 172"/>
                  <a:gd name="T67" fmla="*/ 17 h 117"/>
                  <a:gd name="T68" fmla="*/ 94 w 172"/>
                  <a:gd name="T69" fmla="*/ 19 h 117"/>
                  <a:gd name="T70" fmla="*/ 97 w 172"/>
                  <a:gd name="T71" fmla="*/ 19 h 117"/>
                  <a:gd name="T72" fmla="*/ 108 w 172"/>
                  <a:gd name="T73" fmla="*/ 22 h 117"/>
                  <a:gd name="T74" fmla="*/ 117 w 172"/>
                  <a:gd name="T75" fmla="*/ 14 h 117"/>
                  <a:gd name="T76" fmla="*/ 125 w 172"/>
                  <a:gd name="T77" fmla="*/ 5 h 117"/>
                  <a:gd name="T78" fmla="*/ 133 w 172"/>
                  <a:gd name="T79" fmla="*/ 5 h 117"/>
                  <a:gd name="T80" fmla="*/ 142 w 172"/>
                  <a:gd name="T81" fmla="*/ 17 h 117"/>
                  <a:gd name="T82" fmla="*/ 150 w 172"/>
                  <a:gd name="T83" fmla="*/ 8 h 117"/>
                  <a:gd name="T84" fmla="*/ 147 w 172"/>
                  <a:gd name="T85" fmla="*/ 19 h 117"/>
                  <a:gd name="T86" fmla="*/ 153 w 172"/>
                  <a:gd name="T87" fmla="*/ 33 h 117"/>
                  <a:gd name="T88" fmla="*/ 164 w 172"/>
                  <a:gd name="T89" fmla="*/ 33 h 117"/>
                  <a:gd name="T90" fmla="*/ 169 w 172"/>
                  <a:gd name="T91" fmla="*/ 53 h 117"/>
                  <a:gd name="T92" fmla="*/ 167 w 172"/>
                  <a:gd name="T93" fmla="*/ 61 h 117"/>
                  <a:gd name="T94" fmla="*/ 158 w 172"/>
                  <a:gd name="T95" fmla="*/ 69 h 117"/>
                  <a:gd name="T96" fmla="*/ 161 w 172"/>
                  <a:gd name="T97" fmla="*/ 72 h 117"/>
                  <a:gd name="T98" fmla="*/ 147 w 172"/>
                  <a:gd name="T99" fmla="*/ 83 h 117"/>
                  <a:gd name="T100" fmla="*/ 119 w 172"/>
                  <a:gd name="T101" fmla="*/ 100 h 117"/>
                  <a:gd name="T102" fmla="*/ 114 w 172"/>
                  <a:gd name="T103" fmla="*/ 103 h 117"/>
                  <a:gd name="T104" fmla="*/ 89 w 172"/>
                  <a:gd name="T105" fmla="*/ 117 h 117"/>
                  <a:gd name="T106" fmla="*/ 72 w 172"/>
                  <a:gd name="T107" fmla="*/ 11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2" h="117">
                    <a:moveTo>
                      <a:pt x="72" y="111"/>
                    </a:moveTo>
                    <a:lnTo>
                      <a:pt x="69" y="111"/>
                    </a:lnTo>
                    <a:lnTo>
                      <a:pt x="69" y="111"/>
                    </a:lnTo>
                    <a:lnTo>
                      <a:pt x="66" y="111"/>
                    </a:lnTo>
                    <a:lnTo>
                      <a:pt x="64" y="106"/>
                    </a:lnTo>
                    <a:lnTo>
                      <a:pt x="52" y="100"/>
                    </a:lnTo>
                    <a:lnTo>
                      <a:pt x="47" y="103"/>
                    </a:lnTo>
                    <a:lnTo>
                      <a:pt x="44" y="100"/>
                    </a:lnTo>
                    <a:lnTo>
                      <a:pt x="41" y="103"/>
                    </a:lnTo>
                    <a:lnTo>
                      <a:pt x="33" y="100"/>
                    </a:lnTo>
                    <a:lnTo>
                      <a:pt x="30" y="103"/>
                    </a:lnTo>
                    <a:lnTo>
                      <a:pt x="30" y="103"/>
                    </a:lnTo>
                    <a:lnTo>
                      <a:pt x="30" y="97"/>
                    </a:lnTo>
                    <a:lnTo>
                      <a:pt x="27" y="95"/>
                    </a:lnTo>
                    <a:lnTo>
                      <a:pt x="33" y="97"/>
                    </a:lnTo>
                    <a:lnTo>
                      <a:pt x="33" y="95"/>
                    </a:lnTo>
                    <a:lnTo>
                      <a:pt x="41" y="89"/>
                    </a:lnTo>
                    <a:lnTo>
                      <a:pt x="41" y="83"/>
                    </a:lnTo>
                    <a:lnTo>
                      <a:pt x="36" y="86"/>
                    </a:lnTo>
                    <a:lnTo>
                      <a:pt x="39" y="83"/>
                    </a:lnTo>
                    <a:lnTo>
                      <a:pt x="41" y="81"/>
                    </a:lnTo>
                    <a:lnTo>
                      <a:pt x="41" y="78"/>
                    </a:lnTo>
                    <a:lnTo>
                      <a:pt x="41" y="75"/>
                    </a:lnTo>
                    <a:lnTo>
                      <a:pt x="39" y="75"/>
                    </a:lnTo>
                    <a:lnTo>
                      <a:pt x="39" y="78"/>
                    </a:lnTo>
                    <a:lnTo>
                      <a:pt x="36" y="78"/>
                    </a:lnTo>
                    <a:lnTo>
                      <a:pt x="36" y="75"/>
                    </a:lnTo>
                    <a:lnTo>
                      <a:pt x="33" y="75"/>
                    </a:lnTo>
                    <a:lnTo>
                      <a:pt x="33" y="67"/>
                    </a:lnTo>
                    <a:lnTo>
                      <a:pt x="30" y="67"/>
                    </a:lnTo>
                    <a:lnTo>
                      <a:pt x="27" y="67"/>
                    </a:lnTo>
                    <a:lnTo>
                      <a:pt x="25" y="67"/>
                    </a:lnTo>
                    <a:lnTo>
                      <a:pt x="22" y="67"/>
                    </a:lnTo>
                    <a:lnTo>
                      <a:pt x="16" y="67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8" y="67"/>
                    </a:lnTo>
                    <a:lnTo>
                      <a:pt x="11" y="64"/>
                    </a:lnTo>
                    <a:lnTo>
                      <a:pt x="19" y="61"/>
                    </a:lnTo>
                    <a:lnTo>
                      <a:pt x="22" y="61"/>
                    </a:lnTo>
                    <a:lnTo>
                      <a:pt x="25" y="61"/>
                    </a:lnTo>
                    <a:lnTo>
                      <a:pt x="27" y="58"/>
                    </a:lnTo>
                    <a:lnTo>
                      <a:pt x="27" y="58"/>
                    </a:lnTo>
                    <a:lnTo>
                      <a:pt x="30" y="58"/>
                    </a:lnTo>
                    <a:lnTo>
                      <a:pt x="33" y="58"/>
                    </a:lnTo>
                    <a:lnTo>
                      <a:pt x="41" y="58"/>
                    </a:lnTo>
                    <a:lnTo>
                      <a:pt x="44" y="53"/>
                    </a:lnTo>
                    <a:lnTo>
                      <a:pt x="41" y="53"/>
                    </a:lnTo>
                    <a:lnTo>
                      <a:pt x="39" y="56"/>
                    </a:lnTo>
                    <a:lnTo>
                      <a:pt x="39" y="56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33" y="50"/>
                    </a:lnTo>
                    <a:lnTo>
                      <a:pt x="36" y="47"/>
                    </a:lnTo>
                    <a:lnTo>
                      <a:pt x="41" y="44"/>
                    </a:lnTo>
                    <a:lnTo>
                      <a:pt x="41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39"/>
                    </a:lnTo>
                    <a:lnTo>
                      <a:pt x="33" y="39"/>
                    </a:lnTo>
                    <a:lnTo>
                      <a:pt x="33" y="39"/>
                    </a:lnTo>
                    <a:lnTo>
                      <a:pt x="25" y="36"/>
                    </a:lnTo>
                    <a:lnTo>
                      <a:pt x="22" y="39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3" y="44"/>
                    </a:lnTo>
                    <a:lnTo>
                      <a:pt x="11" y="44"/>
                    </a:lnTo>
                    <a:lnTo>
                      <a:pt x="8" y="42"/>
                    </a:lnTo>
                    <a:lnTo>
                      <a:pt x="0" y="42"/>
                    </a:lnTo>
                    <a:lnTo>
                      <a:pt x="2" y="36"/>
                    </a:lnTo>
                    <a:lnTo>
                      <a:pt x="5" y="39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8" y="36"/>
                    </a:lnTo>
                    <a:lnTo>
                      <a:pt x="11" y="36"/>
                    </a:lnTo>
                    <a:lnTo>
                      <a:pt x="11" y="33"/>
                    </a:lnTo>
                    <a:lnTo>
                      <a:pt x="8" y="33"/>
                    </a:lnTo>
                    <a:lnTo>
                      <a:pt x="5" y="28"/>
                    </a:lnTo>
                    <a:lnTo>
                      <a:pt x="13" y="33"/>
                    </a:lnTo>
                    <a:lnTo>
                      <a:pt x="16" y="36"/>
                    </a:lnTo>
                    <a:lnTo>
                      <a:pt x="19" y="33"/>
                    </a:lnTo>
                    <a:lnTo>
                      <a:pt x="16" y="33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13" y="31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3" y="25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3" y="22"/>
                    </a:lnTo>
                    <a:lnTo>
                      <a:pt x="16" y="22"/>
                    </a:lnTo>
                    <a:lnTo>
                      <a:pt x="13" y="19"/>
                    </a:lnTo>
                    <a:lnTo>
                      <a:pt x="16" y="19"/>
                    </a:lnTo>
                    <a:lnTo>
                      <a:pt x="13" y="17"/>
                    </a:lnTo>
                    <a:lnTo>
                      <a:pt x="16" y="14"/>
                    </a:lnTo>
                    <a:lnTo>
                      <a:pt x="22" y="17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5" y="22"/>
                    </a:lnTo>
                    <a:lnTo>
                      <a:pt x="27" y="22"/>
                    </a:lnTo>
                    <a:lnTo>
                      <a:pt x="27" y="25"/>
                    </a:lnTo>
                    <a:lnTo>
                      <a:pt x="30" y="28"/>
                    </a:lnTo>
                    <a:lnTo>
                      <a:pt x="30" y="25"/>
                    </a:lnTo>
                    <a:lnTo>
                      <a:pt x="33" y="28"/>
                    </a:lnTo>
                    <a:lnTo>
                      <a:pt x="33" y="25"/>
                    </a:lnTo>
                    <a:lnTo>
                      <a:pt x="33" y="19"/>
                    </a:lnTo>
                    <a:lnTo>
                      <a:pt x="33" y="19"/>
                    </a:lnTo>
                    <a:lnTo>
                      <a:pt x="25" y="14"/>
                    </a:lnTo>
                    <a:lnTo>
                      <a:pt x="27" y="11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3" y="11"/>
                    </a:lnTo>
                    <a:lnTo>
                      <a:pt x="30" y="11"/>
                    </a:lnTo>
                    <a:lnTo>
                      <a:pt x="27" y="8"/>
                    </a:lnTo>
                    <a:lnTo>
                      <a:pt x="27" y="8"/>
                    </a:lnTo>
                    <a:lnTo>
                      <a:pt x="25" y="11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7" y="5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33" y="5"/>
                    </a:lnTo>
                    <a:lnTo>
                      <a:pt x="36" y="11"/>
                    </a:lnTo>
                    <a:lnTo>
                      <a:pt x="39" y="11"/>
                    </a:lnTo>
                    <a:lnTo>
                      <a:pt x="44" y="19"/>
                    </a:lnTo>
                    <a:lnTo>
                      <a:pt x="47" y="19"/>
                    </a:lnTo>
                    <a:lnTo>
                      <a:pt x="50" y="22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47" y="33"/>
                    </a:lnTo>
                    <a:lnTo>
                      <a:pt x="47" y="33"/>
                    </a:lnTo>
                    <a:lnTo>
                      <a:pt x="44" y="31"/>
                    </a:lnTo>
                    <a:lnTo>
                      <a:pt x="44" y="36"/>
                    </a:lnTo>
                    <a:lnTo>
                      <a:pt x="47" y="36"/>
                    </a:lnTo>
                    <a:lnTo>
                      <a:pt x="47" y="39"/>
                    </a:lnTo>
                    <a:lnTo>
                      <a:pt x="50" y="36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2" y="44"/>
                    </a:lnTo>
                    <a:lnTo>
                      <a:pt x="52" y="50"/>
                    </a:lnTo>
                    <a:lnTo>
                      <a:pt x="52" y="47"/>
                    </a:lnTo>
                    <a:lnTo>
                      <a:pt x="52" y="44"/>
                    </a:lnTo>
                    <a:lnTo>
                      <a:pt x="58" y="44"/>
                    </a:lnTo>
                    <a:lnTo>
                      <a:pt x="58" y="39"/>
                    </a:lnTo>
                    <a:lnTo>
                      <a:pt x="58" y="33"/>
                    </a:lnTo>
                    <a:lnTo>
                      <a:pt x="61" y="36"/>
                    </a:lnTo>
                    <a:lnTo>
                      <a:pt x="64" y="42"/>
                    </a:lnTo>
                    <a:lnTo>
                      <a:pt x="64" y="39"/>
                    </a:lnTo>
                    <a:lnTo>
                      <a:pt x="66" y="28"/>
                    </a:lnTo>
                    <a:lnTo>
                      <a:pt x="64" y="19"/>
                    </a:lnTo>
                    <a:lnTo>
                      <a:pt x="66" y="17"/>
                    </a:lnTo>
                    <a:lnTo>
                      <a:pt x="69" y="19"/>
                    </a:lnTo>
                    <a:lnTo>
                      <a:pt x="75" y="28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80" y="31"/>
                    </a:lnTo>
                    <a:lnTo>
                      <a:pt x="80" y="22"/>
                    </a:lnTo>
                    <a:lnTo>
                      <a:pt x="80" y="19"/>
                    </a:lnTo>
                    <a:lnTo>
                      <a:pt x="83" y="19"/>
                    </a:lnTo>
                    <a:lnTo>
                      <a:pt x="86" y="19"/>
                    </a:lnTo>
                    <a:lnTo>
                      <a:pt x="86" y="17"/>
                    </a:lnTo>
                    <a:lnTo>
                      <a:pt x="91" y="14"/>
                    </a:lnTo>
                    <a:lnTo>
                      <a:pt x="91" y="17"/>
                    </a:lnTo>
                    <a:lnTo>
                      <a:pt x="91" y="17"/>
                    </a:lnTo>
                    <a:lnTo>
                      <a:pt x="91" y="19"/>
                    </a:lnTo>
                    <a:lnTo>
                      <a:pt x="94" y="19"/>
                    </a:lnTo>
                    <a:lnTo>
                      <a:pt x="94" y="22"/>
                    </a:lnTo>
                    <a:lnTo>
                      <a:pt x="97" y="25"/>
                    </a:lnTo>
                    <a:lnTo>
                      <a:pt x="100" y="36"/>
                    </a:lnTo>
                    <a:lnTo>
                      <a:pt x="100" y="28"/>
                    </a:lnTo>
                    <a:lnTo>
                      <a:pt x="97" y="19"/>
                    </a:lnTo>
                    <a:lnTo>
                      <a:pt x="97" y="17"/>
                    </a:lnTo>
                    <a:lnTo>
                      <a:pt x="100" y="14"/>
                    </a:lnTo>
                    <a:lnTo>
                      <a:pt x="103" y="17"/>
                    </a:lnTo>
                    <a:lnTo>
                      <a:pt x="105" y="19"/>
                    </a:lnTo>
                    <a:lnTo>
                      <a:pt x="108" y="22"/>
                    </a:lnTo>
                    <a:lnTo>
                      <a:pt x="111" y="22"/>
                    </a:lnTo>
                    <a:lnTo>
                      <a:pt x="111" y="19"/>
                    </a:lnTo>
                    <a:lnTo>
                      <a:pt x="114" y="17"/>
                    </a:lnTo>
                    <a:lnTo>
                      <a:pt x="114" y="17"/>
                    </a:lnTo>
                    <a:lnTo>
                      <a:pt x="117" y="14"/>
                    </a:lnTo>
                    <a:lnTo>
                      <a:pt x="117" y="17"/>
                    </a:lnTo>
                    <a:lnTo>
                      <a:pt x="119" y="17"/>
                    </a:lnTo>
                    <a:lnTo>
                      <a:pt x="122" y="17"/>
                    </a:lnTo>
                    <a:lnTo>
                      <a:pt x="125" y="17"/>
                    </a:lnTo>
                    <a:lnTo>
                      <a:pt x="125" y="5"/>
                    </a:lnTo>
                    <a:lnTo>
                      <a:pt x="125" y="3"/>
                    </a:lnTo>
                    <a:lnTo>
                      <a:pt x="128" y="3"/>
                    </a:lnTo>
                    <a:lnTo>
                      <a:pt x="130" y="0"/>
                    </a:lnTo>
                    <a:lnTo>
                      <a:pt x="130" y="3"/>
                    </a:lnTo>
                    <a:lnTo>
                      <a:pt x="133" y="5"/>
                    </a:lnTo>
                    <a:lnTo>
                      <a:pt x="136" y="8"/>
                    </a:lnTo>
                    <a:lnTo>
                      <a:pt x="136" y="11"/>
                    </a:lnTo>
                    <a:lnTo>
                      <a:pt x="136" y="11"/>
                    </a:lnTo>
                    <a:lnTo>
                      <a:pt x="142" y="17"/>
                    </a:lnTo>
                    <a:lnTo>
                      <a:pt x="142" y="17"/>
                    </a:lnTo>
                    <a:lnTo>
                      <a:pt x="142" y="14"/>
                    </a:lnTo>
                    <a:lnTo>
                      <a:pt x="142" y="11"/>
                    </a:lnTo>
                    <a:lnTo>
                      <a:pt x="147" y="11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5" y="5"/>
                    </a:lnTo>
                    <a:lnTo>
                      <a:pt x="155" y="8"/>
                    </a:lnTo>
                    <a:lnTo>
                      <a:pt x="150" y="11"/>
                    </a:lnTo>
                    <a:lnTo>
                      <a:pt x="147" y="19"/>
                    </a:lnTo>
                    <a:lnTo>
                      <a:pt x="147" y="19"/>
                    </a:lnTo>
                    <a:lnTo>
                      <a:pt x="150" y="22"/>
                    </a:lnTo>
                    <a:lnTo>
                      <a:pt x="153" y="19"/>
                    </a:lnTo>
                    <a:lnTo>
                      <a:pt x="153" y="25"/>
                    </a:lnTo>
                    <a:lnTo>
                      <a:pt x="153" y="31"/>
                    </a:lnTo>
                    <a:lnTo>
                      <a:pt x="153" y="33"/>
                    </a:lnTo>
                    <a:lnTo>
                      <a:pt x="158" y="31"/>
                    </a:lnTo>
                    <a:lnTo>
                      <a:pt x="158" y="33"/>
                    </a:lnTo>
                    <a:lnTo>
                      <a:pt x="158" y="36"/>
                    </a:lnTo>
                    <a:lnTo>
                      <a:pt x="164" y="39"/>
                    </a:lnTo>
                    <a:lnTo>
                      <a:pt x="164" y="33"/>
                    </a:lnTo>
                    <a:lnTo>
                      <a:pt x="167" y="36"/>
                    </a:lnTo>
                    <a:lnTo>
                      <a:pt x="169" y="44"/>
                    </a:lnTo>
                    <a:lnTo>
                      <a:pt x="169" y="47"/>
                    </a:lnTo>
                    <a:lnTo>
                      <a:pt x="167" y="47"/>
                    </a:lnTo>
                    <a:lnTo>
                      <a:pt x="169" y="53"/>
                    </a:lnTo>
                    <a:lnTo>
                      <a:pt x="169" y="53"/>
                    </a:lnTo>
                    <a:lnTo>
                      <a:pt x="172" y="50"/>
                    </a:lnTo>
                    <a:lnTo>
                      <a:pt x="172" y="56"/>
                    </a:lnTo>
                    <a:lnTo>
                      <a:pt x="169" y="58"/>
                    </a:lnTo>
                    <a:lnTo>
                      <a:pt x="167" y="61"/>
                    </a:lnTo>
                    <a:lnTo>
                      <a:pt x="167" y="64"/>
                    </a:lnTo>
                    <a:lnTo>
                      <a:pt x="167" y="64"/>
                    </a:lnTo>
                    <a:lnTo>
                      <a:pt x="164" y="67"/>
                    </a:lnTo>
                    <a:lnTo>
                      <a:pt x="158" y="69"/>
                    </a:lnTo>
                    <a:lnTo>
                      <a:pt x="158" y="69"/>
                    </a:lnTo>
                    <a:lnTo>
                      <a:pt x="155" y="69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8" y="72"/>
                    </a:lnTo>
                    <a:lnTo>
                      <a:pt x="161" y="72"/>
                    </a:lnTo>
                    <a:lnTo>
                      <a:pt x="155" y="81"/>
                    </a:lnTo>
                    <a:lnTo>
                      <a:pt x="150" y="83"/>
                    </a:lnTo>
                    <a:lnTo>
                      <a:pt x="150" y="86"/>
                    </a:lnTo>
                    <a:lnTo>
                      <a:pt x="147" y="83"/>
                    </a:lnTo>
                    <a:lnTo>
                      <a:pt x="147" y="83"/>
                    </a:lnTo>
                    <a:lnTo>
                      <a:pt x="144" y="81"/>
                    </a:lnTo>
                    <a:lnTo>
                      <a:pt x="142" y="81"/>
                    </a:lnTo>
                    <a:lnTo>
                      <a:pt x="142" y="83"/>
                    </a:lnTo>
                    <a:lnTo>
                      <a:pt x="125" y="100"/>
                    </a:lnTo>
                    <a:lnTo>
                      <a:pt x="119" y="100"/>
                    </a:lnTo>
                    <a:lnTo>
                      <a:pt x="117" y="100"/>
                    </a:lnTo>
                    <a:lnTo>
                      <a:pt x="117" y="97"/>
                    </a:lnTo>
                    <a:lnTo>
                      <a:pt x="114" y="100"/>
                    </a:lnTo>
                    <a:lnTo>
                      <a:pt x="114" y="100"/>
                    </a:lnTo>
                    <a:lnTo>
                      <a:pt x="114" y="103"/>
                    </a:lnTo>
                    <a:lnTo>
                      <a:pt x="108" y="106"/>
                    </a:lnTo>
                    <a:lnTo>
                      <a:pt x="100" y="114"/>
                    </a:lnTo>
                    <a:lnTo>
                      <a:pt x="94" y="117"/>
                    </a:lnTo>
                    <a:lnTo>
                      <a:pt x="91" y="117"/>
                    </a:lnTo>
                    <a:lnTo>
                      <a:pt x="89" y="117"/>
                    </a:lnTo>
                    <a:lnTo>
                      <a:pt x="86" y="117"/>
                    </a:lnTo>
                    <a:lnTo>
                      <a:pt x="83" y="114"/>
                    </a:lnTo>
                    <a:lnTo>
                      <a:pt x="80" y="114"/>
                    </a:lnTo>
                    <a:lnTo>
                      <a:pt x="75" y="111"/>
                    </a:lnTo>
                    <a:lnTo>
                      <a:pt x="72" y="1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2" name="Freeform 240"/>
              <p:cNvSpPr>
                <a:spLocks noChangeAspect="1"/>
              </p:cNvSpPr>
              <p:nvPr>
                <p:custDataLst>
                  <p:tags r:id="rId560"/>
                </p:custDataLst>
              </p:nvPr>
            </p:nvSpPr>
            <p:spPr bwMode="gray">
              <a:xfrm>
                <a:off x="6587211" y="3247610"/>
                <a:ext cx="151845" cy="113525"/>
              </a:xfrm>
              <a:custGeom>
                <a:avLst/>
                <a:gdLst>
                  <a:gd name="T0" fmla="*/ 12 w 117"/>
                  <a:gd name="T1" fmla="*/ 83 h 89"/>
                  <a:gd name="T2" fmla="*/ 20 w 117"/>
                  <a:gd name="T3" fmla="*/ 78 h 89"/>
                  <a:gd name="T4" fmla="*/ 23 w 117"/>
                  <a:gd name="T5" fmla="*/ 78 h 89"/>
                  <a:gd name="T6" fmla="*/ 31 w 117"/>
                  <a:gd name="T7" fmla="*/ 81 h 89"/>
                  <a:gd name="T8" fmla="*/ 31 w 117"/>
                  <a:gd name="T9" fmla="*/ 78 h 89"/>
                  <a:gd name="T10" fmla="*/ 34 w 117"/>
                  <a:gd name="T11" fmla="*/ 69 h 89"/>
                  <a:gd name="T12" fmla="*/ 39 w 117"/>
                  <a:gd name="T13" fmla="*/ 69 h 89"/>
                  <a:gd name="T14" fmla="*/ 42 w 117"/>
                  <a:gd name="T15" fmla="*/ 72 h 89"/>
                  <a:gd name="T16" fmla="*/ 45 w 117"/>
                  <a:gd name="T17" fmla="*/ 67 h 89"/>
                  <a:gd name="T18" fmla="*/ 51 w 117"/>
                  <a:gd name="T19" fmla="*/ 55 h 89"/>
                  <a:gd name="T20" fmla="*/ 53 w 117"/>
                  <a:gd name="T21" fmla="*/ 55 h 89"/>
                  <a:gd name="T22" fmla="*/ 62 w 117"/>
                  <a:gd name="T23" fmla="*/ 58 h 89"/>
                  <a:gd name="T24" fmla="*/ 59 w 117"/>
                  <a:gd name="T25" fmla="*/ 64 h 89"/>
                  <a:gd name="T26" fmla="*/ 64 w 117"/>
                  <a:gd name="T27" fmla="*/ 64 h 89"/>
                  <a:gd name="T28" fmla="*/ 64 w 117"/>
                  <a:gd name="T29" fmla="*/ 67 h 89"/>
                  <a:gd name="T30" fmla="*/ 64 w 117"/>
                  <a:gd name="T31" fmla="*/ 72 h 89"/>
                  <a:gd name="T32" fmla="*/ 62 w 117"/>
                  <a:gd name="T33" fmla="*/ 81 h 89"/>
                  <a:gd name="T34" fmla="*/ 67 w 117"/>
                  <a:gd name="T35" fmla="*/ 89 h 89"/>
                  <a:gd name="T36" fmla="*/ 84 w 117"/>
                  <a:gd name="T37" fmla="*/ 83 h 89"/>
                  <a:gd name="T38" fmla="*/ 87 w 117"/>
                  <a:gd name="T39" fmla="*/ 78 h 89"/>
                  <a:gd name="T40" fmla="*/ 92 w 117"/>
                  <a:gd name="T41" fmla="*/ 75 h 89"/>
                  <a:gd name="T42" fmla="*/ 95 w 117"/>
                  <a:gd name="T43" fmla="*/ 75 h 89"/>
                  <a:gd name="T44" fmla="*/ 101 w 117"/>
                  <a:gd name="T45" fmla="*/ 78 h 89"/>
                  <a:gd name="T46" fmla="*/ 103 w 117"/>
                  <a:gd name="T47" fmla="*/ 78 h 89"/>
                  <a:gd name="T48" fmla="*/ 112 w 117"/>
                  <a:gd name="T49" fmla="*/ 75 h 89"/>
                  <a:gd name="T50" fmla="*/ 117 w 117"/>
                  <a:gd name="T51" fmla="*/ 78 h 89"/>
                  <a:gd name="T52" fmla="*/ 117 w 117"/>
                  <a:gd name="T53" fmla="*/ 78 h 89"/>
                  <a:gd name="T54" fmla="*/ 115 w 117"/>
                  <a:gd name="T55" fmla="*/ 61 h 89"/>
                  <a:gd name="T56" fmla="*/ 109 w 117"/>
                  <a:gd name="T57" fmla="*/ 53 h 89"/>
                  <a:gd name="T58" fmla="*/ 98 w 117"/>
                  <a:gd name="T59" fmla="*/ 42 h 89"/>
                  <a:gd name="T60" fmla="*/ 95 w 117"/>
                  <a:gd name="T61" fmla="*/ 36 h 89"/>
                  <a:gd name="T62" fmla="*/ 84 w 117"/>
                  <a:gd name="T63" fmla="*/ 36 h 89"/>
                  <a:gd name="T64" fmla="*/ 73 w 117"/>
                  <a:gd name="T65" fmla="*/ 36 h 89"/>
                  <a:gd name="T66" fmla="*/ 64 w 117"/>
                  <a:gd name="T67" fmla="*/ 33 h 89"/>
                  <a:gd name="T68" fmla="*/ 53 w 117"/>
                  <a:gd name="T69" fmla="*/ 33 h 89"/>
                  <a:gd name="T70" fmla="*/ 39 w 117"/>
                  <a:gd name="T71" fmla="*/ 33 h 89"/>
                  <a:gd name="T72" fmla="*/ 31 w 117"/>
                  <a:gd name="T73" fmla="*/ 30 h 89"/>
                  <a:gd name="T74" fmla="*/ 37 w 117"/>
                  <a:gd name="T75" fmla="*/ 19 h 89"/>
                  <a:gd name="T76" fmla="*/ 51 w 117"/>
                  <a:gd name="T77" fmla="*/ 22 h 89"/>
                  <a:gd name="T78" fmla="*/ 56 w 117"/>
                  <a:gd name="T79" fmla="*/ 16 h 89"/>
                  <a:gd name="T80" fmla="*/ 51 w 117"/>
                  <a:gd name="T81" fmla="*/ 19 h 89"/>
                  <a:gd name="T82" fmla="*/ 51 w 117"/>
                  <a:gd name="T83" fmla="*/ 8 h 89"/>
                  <a:gd name="T84" fmla="*/ 51 w 117"/>
                  <a:gd name="T85" fmla="*/ 3 h 89"/>
                  <a:gd name="T86" fmla="*/ 48 w 117"/>
                  <a:gd name="T87" fmla="*/ 3 h 89"/>
                  <a:gd name="T88" fmla="*/ 34 w 117"/>
                  <a:gd name="T89" fmla="*/ 8 h 89"/>
                  <a:gd name="T90" fmla="*/ 31 w 117"/>
                  <a:gd name="T91" fmla="*/ 11 h 89"/>
                  <a:gd name="T92" fmla="*/ 31 w 117"/>
                  <a:gd name="T93" fmla="*/ 16 h 89"/>
                  <a:gd name="T94" fmla="*/ 23 w 117"/>
                  <a:gd name="T95" fmla="*/ 19 h 89"/>
                  <a:gd name="T96" fmla="*/ 17 w 117"/>
                  <a:gd name="T97" fmla="*/ 30 h 89"/>
                  <a:gd name="T98" fmla="*/ 6 w 117"/>
                  <a:gd name="T99" fmla="*/ 30 h 89"/>
                  <a:gd name="T100" fmla="*/ 3 w 117"/>
                  <a:gd name="T101" fmla="*/ 36 h 89"/>
                  <a:gd name="T102" fmla="*/ 3 w 117"/>
                  <a:gd name="T103" fmla="*/ 42 h 89"/>
                  <a:gd name="T104" fmla="*/ 12 w 117"/>
                  <a:gd name="T105" fmla="*/ 42 h 89"/>
                  <a:gd name="T106" fmla="*/ 12 w 117"/>
                  <a:gd name="T107" fmla="*/ 53 h 89"/>
                  <a:gd name="T108" fmla="*/ 14 w 117"/>
                  <a:gd name="T109" fmla="*/ 58 h 89"/>
                  <a:gd name="T110" fmla="*/ 12 w 117"/>
                  <a:gd name="T111" fmla="*/ 64 h 89"/>
                  <a:gd name="T112" fmla="*/ 6 w 117"/>
                  <a:gd name="T113" fmla="*/ 7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7" h="89">
                    <a:moveTo>
                      <a:pt x="6" y="78"/>
                    </a:moveTo>
                    <a:lnTo>
                      <a:pt x="12" y="83"/>
                    </a:lnTo>
                    <a:lnTo>
                      <a:pt x="12" y="83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20" y="78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3" y="78"/>
                    </a:lnTo>
                    <a:lnTo>
                      <a:pt x="25" y="78"/>
                    </a:lnTo>
                    <a:lnTo>
                      <a:pt x="25" y="78"/>
                    </a:lnTo>
                    <a:lnTo>
                      <a:pt x="31" y="81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31" y="75"/>
                    </a:lnTo>
                    <a:lnTo>
                      <a:pt x="31" y="75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37" y="72"/>
                    </a:lnTo>
                    <a:lnTo>
                      <a:pt x="39" y="69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5" y="69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5" y="64"/>
                    </a:lnTo>
                    <a:lnTo>
                      <a:pt x="51" y="55"/>
                    </a:lnTo>
                    <a:lnTo>
                      <a:pt x="51" y="55"/>
                    </a:lnTo>
                    <a:lnTo>
                      <a:pt x="51" y="55"/>
                    </a:lnTo>
                    <a:lnTo>
                      <a:pt x="51" y="55"/>
                    </a:lnTo>
                    <a:lnTo>
                      <a:pt x="53" y="55"/>
                    </a:lnTo>
                    <a:lnTo>
                      <a:pt x="56" y="53"/>
                    </a:lnTo>
                    <a:lnTo>
                      <a:pt x="59" y="55"/>
                    </a:lnTo>
                    <a:lnTo>
                      <a:pt x="62" y="58"/>
                    </a:lnTo>
                    <a:lnTo>
                      <a:pt x="62" y="61"/>
                    </a:lnTo>
                    <a:lnTo>
                      <a:pt x="62" y="61"/>
                    </a:lnTo>
                    <a:lnTo>
                      <a:pt x="59" y="64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7"/>
                    </a:lnTo>
                    <a:lnTo>
                      <a:pt x="64" y="67"/>
                    </a:lnTo>
                    <a:lnTo>
                      <a:pt x="64" y="69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5"/>
                    </a:lnTo>
                    <a:lnTo>
                      <a:pt x="64" y="78"/>
                    </a:lnTo>
                    <a:lnTo>
                      <a:pt x="62" y="81"/>
                    </a:lnTo>
                    <a:lnTo>
                      <a:pt x="64" y="83"/>
                    </a:lnTo>
                    <a:lnTo>
                      <a:pt x="67" y="89"/>
                    </a:lnTo>
                    <a:lnTo>
                      <a:pt x="67" y="89"/>
                    </a:lnTo>
                    <a:lnTo>
                      <a:pt x="67" y="89"/>
                    </a:lnTo>
                    <a:lnTo>
                      <a:pt x="76" y="83"/>
                    </a:lnTo>
                    <a:lnTo>
                      <a:pt x="84" y="83"/>
                    </a:lnTo>
                    <a:lnTo>
                      <a:pt x="84" y="81"/>
                    </a:lnTo>
                    <a:lnTo>
                      <a:pt x="84" y="81"/>
                    </a:lnTo>
                    <a:lnTo>
                      <a:pt x="87" y="78"/>
                    </a:lnTo>
                    <a:lnTo>
                      <a:pt x="87" y="78"/>
                    </a:lnTo>
                    <a:lnTo>
                      <a:pt x="90" y="78"/>
                    </a:lnTo>
                    <a:lnTo>
                      <a:pt x="92" y="75"/>
                    </a:lnTo>
                    <a:lnTo>
                      <a:pt x="92" y="75"/>
                    </a:lnTo>
                    <a:lnTo>
                      <a:pt x="95" y="75"/>
                    </a:lnTo>
                    <a:lnTo>
                      <a:pt x="95" y="75"/>
                    </a:lnTo>
                    <a:lnTo>
                      <a:pt x="98" y="75"/>
                    </a:lnTo>
                    <a:lnTo>
                      <a:pt x="101" y="75"/>
                    </a:lnTo>
                    <a:lnTo>
                      <a:pt x="101" y="78"/>
                    </a:lnTo>
                    <a:lnTo>
                      <a:pt x="101" y="78"/>
                    </a:lnTo>
                    <a:lnTo>
                      <a:pt x="101" y="78"/>
                    </a:lnTo>
                    <a:lnTo>
                      <a:pt x="103" y="78"/>
                    </a:lnTo>
                    <a:lnTo>
                      <a:pt x="103" y="78"/>
                    </a:lnTo>
                    <a:lnTo>
                      <a:pt x="109" y="75"/>
                    </a:lnTo>
                    <a:lnTo>
                      <a:pt x="112" y="75"/>
                    </a:lnTo>
                    <a:lnTo>
                      <a:pt x="115" y="75"/>
                    </a:lnTo>
                    <a:lnTo>
                      <a:pt x="117" y="75"/>
                    </a:lnTo>
                    <a:lnTo>
                      <a:pt x="117" y="78"/>
                    </a:lnTo>
                    <a:lnTo>
                      <a:pt x="117" y="78"/>
                    </a:lnTo>
                    <a:lnTo>
                      <a:pt x="115" y="78"/>
                    </a:lnTo>
                    <a:lnTo>
                      <a:pt x="117" y="78"/>
                    </a:lnTo>
                    <a:lnTo>
                      <a:pt x="117" y="78"/>
                    </a:lnTo>
                    <a:lnTo>
                      <a:pt x="117" y="69"/>
                    </a:lnTo>
                    <a:lnTo>
                      <a:pt x="115" y="61"/>
                    </a:lnTo>
                    <a:lnTo>
                      <a:pt x="115" y="55"/>
                    </a:lnTo>
                    <a:lnTo>
                      <a:pt x="115" y="53"/>
                    </a:lnTo>
                    <a:lnTo>
                      <a:pt x="109" y="53"/>
                    </a:lnTo>
                    <a:lnTo>
                      <a:pt x="103" y="53"/>
                    </a:lnTo>
                    <a:lnTo>
                      <a:pt x="101" y="53"/>
                    </a:lnTo>
                    <a:lnTo>
                      <a:pt x="98" y="42"/>
                    </a:lnTo>
                    <a:lnTo>
                      <a:pt x="101" y="30"/>
                    </a:lnTo>
                    <a:lnTo>
                      <a:pt x="95" y="30"/>
                    </a:lnTo>
                    <a:lnTo>
                      <a:pt x="95" y="36"/>
                    </a:lnTo>
                    <a:lnTo>
                      <a:pt x="92" y="36"/>
                    </a:lnTo>
                    <a:lnTo>
                      <a:pt x="90" y="36"/>
                    </a:lnTo>
                    <a:lnTo>
                      <a:pt x="84" y="36"/>
                    </a:lnTo>
                    <a:lnTo>
                      <a:pt x="81" y="36"/>
                    </a:lnTo>
                    <a:lnTo>
                      <a:pt x="76" y="36"/>
                    </a:lnTo>
                    <a:lnTo>
                      <a:pt x="73" y="36"/>
                    </a:lnTo>
                    <a:lnTo>
                      <a:pt x="70" y="36"/>
                    </a:lnTo>
                    <a:lnTo>
                      <a:pt x="67" y="33"/>
                    </a:lnTo>
                    <a:lnTo>
                      <a:pt x="64" y="33"/>
                    </a:lnTo>
                    <a:lnTo>
                      <a:pt x="64" y="30"/>
                    </a:lnTo>
                    <a:lnTo>
                      <a:pt x="56" y="33"/>
                    </a:lnTo>
                    <a:lnTo>
                      <a:pt x="53" y="33"/>
                    </a:lnTo>
                    <a:lnTo>
                      <a:pt x="51" y="30"/>
                    </a:lnTo>
                    <a:lnTo>
                      <a:pt x="48" y="30"/>
                    </a:lnTo>
                    <a:lnTo>
                      <a:pt x="39" y="33"/>
                    </a:lnTo>
                    <a:lnTo>
                      <a:pt x="37" y="30"/>
                    </a:lnTo>
                    <a:lnTo>
                      <a:pt x="34" y="30"/>
                    </a:lnTo>
                    <a:lnTo>
                      <a:pt x="31" y="30"/>
                    </a:lnTo>
                    <a:lnTo>
                      <a:pt x="28" y="30"/>
                    </a:lnTo>
                    <a:lnTo>
                      <a:pt x="28" y="22"/>
                    </a:lnTo>
                    <a:lnTo>
                      <a:pt x="37" y="19"/>
                    </a:lnTo>
                    <a:lnTo>
                      <a:pt x="45" y="19"/>
                    </a:lnTo>
                    <a:lnTo>
                      <a:pt x="48" y="22"/>
                    </a:lnTo>
                    <a:lnTo>
                      <a:pt x="51" y="22"/>
                    </a:lnTo>
                    <a:lnTo>
                      <a:pt x="53" y="19"/>
                    </a:lnTo>
                    <a:lnTo>
                      <a:pt x="53" y="19"/>
                    </a:lnTo>
                    <a:lnTo>
                      <a:pt x="56" y="16"/>
                    </a:lnTo>
                    <a:lnTo>
                      <a:pt x="53" y="16"/>
                    </a:lnTo>
                    <a:lnTo>
                      <a:pt x="53" y="16"/>
                    </a:lnTo>
                    <a:lnTo>
                      <a:pt x="51" y="19"/>
                    </a:lnTo>
                    <a:lnTo>
                      <a:pt x="48" y="11"/>
                    </a:lnTo>
                    <a:lnTo>
                      <a:pt x="48" y="11"/>
                    </a:lnTo>
                    <a:lnTo>
                      <a:pt x="51" y="8"/>
                    </a:lnTo>
                    <a:lnTo>
                      <a:pt x="53" y="8"/>
                    </a:lnTo>
                    <a:lnTo>
                      <a:pt x="53" y="5"/>
                    </a:lnTo>
                    <a:lnTo>
                      <a:pt x="51" y="3"/>
                    </a:lnTo>
                    <a:lnTo>
                      <a:pt x="51" y="0"/>
                    </a:lnTo>
                    <a:lnTo>
                      <a:pt x="48" y="0"/>
                    </a:lnTo>
                    <a:lnTo>
                      <a:pt x="48" y="3"/>
                    </a:lnTo>
                    <a:lnTo>
                      <a:pt x="45" y="5"/>
                    </a:lnTo>
                    <a:lnTo>
                      <a:pt x="37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1" y="8"/>
                    </a:lnTo>
                    <a:lnTo>
                      <a:pt x="31" y="11"/>
                    </a:lnTo>
                    <a:lnTo>
                      <a:pt x="28" y="11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3" y="19"/>
                    </a:lnTo>
                    <a:lnTo>
                      <a:pt x="23" y="22"/>
                    </a:lnTo>
                    <a:lnTo>
                      <a:pt x="20" y="25"/>
                    </a:lnTo>
                    <a:lnTo>
                      <a:pt x="17" y="30"/>
                    </a:lnTo>
                    <a:lnTo>
                      <a:pt x="14" y="30"/>
                    </a:lnTo>
                    <a:lnTo>
                      <a:pt x="9" y="30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0" y="33"/>
                    </a:lnTo>
                    <a:lnTo>
                      <a:pt x="3" y="36"/>
                    </a:lnTo>
                    <a:lnTo>
                      <a:pt x="0" y="36"/>
                    </a:lnTo>
                    <a:lnTo>
                      <a:pt x="3" y="39"/>
                    </a:lnTo>
                    <a:lnTo>
                      <a:pt x="3" y="42"/>
                    </a:lnTo>
                    <a:lnTo>
                      <a:pt x="6" y="42"/>
                    </a:lnTo>
                    <a:lnTo>
                      <a:pt x="9" y="42"/>
                    </a:lnTo>
                    <a:lnTo>
                      <a:pt x="12" y="42"/>
                    </a:lnTo>
                    <a:lnTo>
                      <a:pt x="12" y="44"/>
                    </a:lnTo>
                    <a:lnTo>
                      <a:pt x="12" y="50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4" y="61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3" name="Freeform 241"/>
              <p:cNvSpPr>
                <a:spLocks noChangeAspect="1"/>
              </p:cNvSpPr>
              <p:nvPr>
                <p:custDataLst>
                  <p:tags r:id="rId561"/>
                </p:custDataLst>
              </p:nvPr>
            </p:nvSpPr>
            <p:spPr bwMode="gray">
              <a:xfrm>
                <a:off x="7000232" y="2922803"/>
                <a:ext cx="643826" cy="313771"/>
              </a:xfrm>
              <a:custGeom>
                <a:avLst/>
                <a:gdLst>
                  <a:gd name="T0" fmla="*/ 2147483647 w 493"/>
                  <a:gd name="T1" fmla="*/ 2147483647 h 242"/>
                  <a:gd name="T2" fmla="*/ 2147483647 w 493"/>
                  <a:gd name="T3" fmla="*/ 2147483647 h 242"/>
                  <a:gd name="T4" fmla="*/ 2147483647 w 493"/>
                  <a:gd name="T5" fmla="*/ 2147483647 h 242"/>
                  <a:gd name="T6" fmla="*/ 2147483647 w 493"/>
                  <a:gd name="T7" fmla="*/ 2147483647 h 242"/>
                  <a:gd name="T8" fmla="*/ 2147483647 w 493"/>
                  <a:gd name="T9" fmla="*/ 2147483647 h 242"/>
                  <a:gd name="T10" fmla="*/ 2147483647 w 493"/>
                  <a:gd name="T11" fmla="*/ 2147483647 h 242"/>
                  <a:gd name="T12" fmla="*/ 2147483647 w 493"/>
                  <a:gd name="T13" fmla="*/ 2147483647 h 242"/>
                  <a:gd name="T14" fmla="*/ 2147483647 w 493"/>
                  <a:gd name="T15" fmla="*/ 2147483647 h 242"/>
                  <a:gd name="T16" fmla="*/ 2147483647 w 493"/>
                  <a:gd name="T17" fmla="*/ 2147483647 h 242"/>
                  <a:gd name="T18" fmla="*/ 2147483647 w 493"/>
                  <a:gd name="T19" fmla="*/ 2147483647 h 242"/>
                  <a:gd name="T20" fmla="*/ 2147483647 w 493"/>
                  <a:gd name="T21" fmla="*/ 2147483647 h 242"/>
                  <a:gd name="T22" fmla="*/ 2147483647 w 493"/>
                  <a:gd name="T23" fmla="*/ 0 h 242"/>
                  <a:gd name="T24" fmla="*/ 2147483647 w 493"/>
                  <a:gd name="T25" fmla="*/ 2147483647 h 242"/>
                  <a:gd name="T26" fmla="*/ 2147483647 w 493"/>
                  <a:gd name="T27" fmla="*/ 2147483647 h 242"/>
                  <a:gd name="T28" fmla="*/ 2147483647 w 493"/>
                  <a:gd name="T29" fmla="*/ 2147483647 h 242"/>
                  <a:gd name="T30" fmla="*/ 2147483647 w 493"/>
                  <a:gd name="T31" fmla="*/ 2147483647 h 242"/>
                  <a:gd name="T32" fmla="*/ 2147483647 w 493"/>
                  <a:gd name="T33" fmla="*/ 2147483647 h 242"/>
                  <a:gd name="T34" fmla="*/ 2147483647 w 493"/>
                  <a:gd name="T35" fmla="*/ 2147483647 h 242"/>
                  <a:gd name="T36" fmla="*/ 2147483647 w 493"/>
                  <a:gd name="T37" fmla="*/ 2147483647 h 242"/>
                  <a:gd name="T38" fmla="*/ 2147483647 w 493"/>
                  <a:gd name="T39" fmla="*/ 2147483647 h 242"/>
                  <a:gd name="T40" fmla="*/ 2147483647 w 493"/>
                  <a:gd name="T41" fmla="*/ 2147483647 h 242"/>
                  <a:gd name="T42" fmla="*/ 2147483647 w 493"/>
                  <a:gd name="T43" fmla="*/ 2147483647 h 242"/>
                  <a:gd name="T44" fmla="*/ 2147483647 w 493"/>
                  <a:gd name="T45" fmla="*/ 2147483647 h 242"/>
                  <a:gd name="T46" fmla="*/ 2147483647 w 493"/>
                  <a:gd name="T47" fmla="*/ 2147483647 h 242"/>
                  <a:gd name="T48" fmla="*/ 2147483647 w 493"/>
                  <a:gd name="T49" fmla="*/ 2147483647 h 242"/>
                  <a:gd name="T50" fmla="*/ 2147483647 w 493"/>
                  <a:gd name="T51" fmla="*/ 2147483647 h 242"/>
                  <a:gd name="T52" fmla="*/ 2147483647 w 493"/>
                  <a:gd name="T53" fmla="*/ 2147483647 h 242"/>
                  <a:gd name="T54" fmla="*/ 2147483647 w 493"/>
                  <a:gd name="T55" fmla="*/ 2147483647 h 242"/>
                  <a:gd name="T56" fmla="*/ 2147483647 w 493"/>
                  <a:gd name="T57" fmla="*/ 2147483647 h 242"/>
                  <a:gd name="T58" fmla="*/ 2147483647 w 493"/>
                  <a:gd name="T59" fmla="*/ 2147483647 h 242"/>
                  <a:gd name="T60" fmla="*/ 2147483647 w 493"/>
                  <a:gd name="T61" fmla="*/ 2147483647 h 242"/>
                  <a:gd name="T62" fmla="*/ 2147483647 w 493"/>
                  <a:gd name="T63" fmla="*/ 2147483647 h 242"/>
                  <a:gd name="T64" fmla="*/ 2147483647 w 493"/>
                  <a:gd name="T65" fmla="*/ 2147483647 h 242"/>
                  <a:gd name="T66" fmla="*/ 2147483647 w 493"/>
                  <a:gd name="T67" fmla="*/ 2147483647 h 242"/>
                  <a:gd name="T68" fmla="*/ 2147483647 w 493"/>
                  <a:gd name="T69" fmla="*/ 2147483647 h 242"/>
                  <a:gd name="T70" fmla="*/ 2147483647 w 493"/>
                  <a:gd name="T71" fmla="*/ 2147483647 h 242"/>
                  <a:gd name="T72" fmla="*/ 2147483647 w 493"/>
                  <a:gd name="T73" fmla="*/ 2147483647 h 242"/>
                  <a:gd name="T74" fmla="*/ 2147483647 w 493"/>
                  <a:gd name="T75" fmla="*/ 2147483647 h 242"/>
                  <a:gd name="T76" fmla="*/ 2147483647 w 493"/>
                  <a:gd name="T77" fmla="*/ 2147483647 h 242"/>
                  <a:gd name="T78" fmla="*/ 2147483647 w 493"/>
                  <a:gd name="T79" fmla="*/ 2147483647 h 242"/>
                  <a:gd name="T80" fmla="*/ 2147483647 w 493"/>
                  <a:gd name="T81" fmla="*/ 2147483647 h 242"/>
                  <a:gd name="T82" fmla="*/ 2147483647 w 493"/>
                  <a:gd name="T83" fmla="*/ 2147483647 h 242"/>
                  <a:gd name="T84" fmla="*/ 2147483647 w 493"/>
                  <a:gd name="T85" fmla="*/ 2147483647 h 242"/>
                  <a:gd name="T86" fmla="*/ 2147483647 w 493"/>
                  <a:gd name="T87" fmla="*/ 2147483647 h 242"/>
                  <a:gd name="T88" fmla="*/ 2147483647 w 493"/>
                  <a:gd name="T89" fmla="*/ 2147483647 h 242"/>
                  <a:gd name="T90" fmla="*/ 2147483647 w 493"/>
                  <a:gd name="T91" fmla="*/ 2147483647 h 242"/>
                  <a:gd name="T92" fmla="*/ 2147483647 w 493"/>
                  <a:gd name="T93" fmla="*/ 2147483647 h 242"/>
                  <a:gd name="T94" fmla="*/ 2147483647 w 493"/>
                  <a:gd name="T95" fmla="*/ 2147483647 h 242"/>
                  <a:gd name="T96" fmla="*/ 2147483647 w 493"/>
                  <a:gd name="T97" fmla="*/ 2147483647 h 242"/>
                  <a:gd name="T98" fmla="*/ 2147483647 w 493"/>
                  <a:gd name="T99" fmla="*/ 2147483647 h 242"/>
                  <a:gd name="T100" fmla="*/ 2147483647 w 493"/>
                  <a:gd name="T101" fmla="*/ 2147483647 h 242"/>
                  <a:gd name="T102" fmla="*/ 2147483647 w 493"/>
                  <a:gd name="T103" fmla="*/ 2147483647 h 242"/>
                  <a:gd name="T104" fmla="*/ 2147483647 w 493"/>
                  <a:gd name="T105" fmla="*/ 2147483647 h 242"/>
                  <a:gd name="T106" fmla="*/ 2147483647 w 493"/>
                  <a:gd name="T107" fmla="*/ 2147483647 h 242"/>
                  <a:gd name="T108" fmla="*/ 2147483647 w 493"/>
                  <a:gd name="T109" fmla="*/ 2147483647 h 242"/>
                  <a:gd name="T110" fmla="*/ 2147483647 w 493"/>
                  <a:gd name="T111" fmla="*/ 2147483647 h 242"/>
                  <a:gd name="T112" fmla="*/ 2147483647 w 493"/>
                  <a:gd name="T113" fmla="*/ 2147483647 h 242"/>
                  <a:gd name="T114" fmla="*/ 2147483647 w 493"/>
                  <a:gd name="T115" fmla="*/ 2147483647 h 242"/>
                  <a:gd name="T116" fmla="*/ 2147483647 w 493"/>
                  <a:gd name="T117" fmla="*/ 2147483647 h 242"/>
                  <a:gd name="T118" fmla="*/ 2147483647 w 493"/>
                  <a:gd name="T119" fmla="*/ 2147483647 h 242"/>
                  <a:gd name="T120" fmla="*/ 2147483647 w 493"/>
                  <a:gd name="T121" fmla="*/ 2147483647 h 242"/>
                  <a:gd name="T122" fmla="*/ 2147483647 w 493"/>
                  <a:gd name="T123" fmla="*/ 2147483647 h 242"/>
                  <a:gd name="T124" fmla="*/ 0 w 493"/>
                  <a:gd name="T125" fmla="*/ 2147483647 h 24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93"/>
                  <a:gd name="T190" fmla="*/ 0 h 242"/>
                  <a:gd name="T191" fmla="*/ 493 w 493"/>
                  <a:gd name="T192" fmla="*/ 242 h 24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93" h="242">
                    <a:moveTo>
                      <a:pt x="0" y="78"/>
                    </a:moveTo>
                    <a:lnTo>
                      <a:pt x="3" y="73"/>
                    </a:lnTo>
                    <a:lnTo>
                      <a:pt x="8" y="67"/>
                    </a:lnTo>
                    <a:lnTo>
                      <a:pt x="19" y="64"/>
                    </a:lnTo>
                    <a:lnTo>
                      <a:pt x="44" y="45"/>
                    </a:lnTo>
                    <a:lnTo>
                      <a:pt x="69" y="39"/>
                    </a:lnTo>
                    <a:lnTo>
                      <a:pt x="81" y="42"/>
                    </a:lnTo>
                    <a:lnTo>
                      <a:pt x="83" y="45"/>
                    </a:lnTo>
                    <a:lnTo>
                      <a:pt x="94" y="42"/>
                    </a:lnTo>
                    <a:lnTo>
                      <a:pt x="100" y="42"/>
                    </a:lnTo>
                    <a:lnTo>
                      <a:pt x="111" y="53"/>
                    </a:lnTo>
                    <a:lnTo>
                      <a:pt x="117" y="53"/>
                    </a:lnTo>
                    <a:lnTo>
                      <a:pt x="128" y="53"/>
                    </a:lnTo>
                    <a:lnTo>
                      <a:pt x="133" y="53"/>
                    </a:lnTo>
                    <a:lnTo>
                      <a:pt x="156" y="53"/>
                    </a:lnTo>
                    <a:lnTo>
                      <a:pt x="159" y="50"/>
                    </a:lnTo>
                    <a:lnTo>
                      <a:pt x="159" y="45"/>
                    </a:lnTo>
                    <a:lnTo>
                      <a:pt x="159" y="42"/>
                    </a:lnTo>
                    <a:lnTo>
                      <a:pt x="161" y="36"/>
                    </a:lnTo>
                    <a:lnTo>
                      <a:pt x="161" y="34"/>
                    </a:lnTo>
                    <a:lnTo>
                      <a:pt x="159" y="28"/>
                    </a:lnTo>
                    <a:lnTo>
                      <a:pt x="156" y="22"/>
                    </a:lnTo>
                    <a:lnTo>
                      <a:pt x="159" y="17"/>
                    </a:lnTo>
                    <a:lnTo>
                      <a:pt x="175" y="0"/>
                    </a:lnTo>
                    <a:lnTo>
                      <a:pt x="178" y="0"/>
                    </a:lnTo>
                    <a:lnTo>
                      <a:pt x="184" y="3"/>
                    </a:lnTo>
                    <a:lnTo>
                      <a:pt x="189" y="6"/>
                    </a:lnTo>
                    <a:lnTo>
                      <a:pt x="197" y="9"/>
                    </a:lnTo>
                    <a:lnTo>
                      <a:pt x="203" y="11"/>
                    </a:lnTo>
                    <a:lnTo>
                      <a:pt x="220" y="17"/>
                    </a:lnTo>
                    <a:lnTo>
                      <a:pt x="223" y="22"/>
                    </a:lnTo>
                    <a:lnTo>
                      <a:pt x="225" y="36"/>
                    </a:lnTo>
                    <a:lnTo>
                      <a:pt x="236" y="45"/>
                    </a:lnTo>
                    <a:lnTo>
                      <a:pt x="248" y="48"/>
                    </a:lnTo>
                    <a:lnTo>
                      <a:pt x="253" y="45"/>
                    </a:lnTo>
                    <a:lnTo>
                      <a:pt x="270" y="39"/>
                    </a:lnTo>
                    <a:lnTo>
                      <a:pt x="292" y="45"/>
                    </a:lnTo>
                    <a:lnTo>
                      <a:pt x="295" y="48"/>
                    </a:lnTo>
                    <a:lnTo>
                      <a:pt x="303" y="53"/>
                    </a:lnTo>
                    <a:lnTo>
                      <a:pt x="314" y="59"/>
                    </a:lnTo>
                    <a:lnTo>
                      <a:pt x="317" y="64"/>
                    </a:lnTo>
                    <a:lnTo>
                      <a:pt x="326" y="67"/>
                    </a:lnTo>
                    <a:lnTo>
                      <a:pt x="353" y="70"/>
                    </a:lnTo>
                    <a:lnTo>
                      <a:pt x="359" y="73"/>
                    </a:lnTo>
                    <a:lnTo>
                      <a:pt x="392" y="64"/>
                    </a:lnTo>
                    <a:lnTo>
                      <a:pt x="409" y="50"/>
                    </a:lnTo>
                    <a:lnTo>
                      <a:pt x="417" y="48"/>
                    </a:lnTo>
                    <a:lnTo>
                      <a:pt x="423" y="50"/>
                    </a:lnTo>
                    <a:lnTo>
                      <a:pt x="429" y="56"/>
                    </a:lnTo>
                    <a:lnTo>
                      <a:pt x="434" y="56"/>
                    </a:lnTo>
                    <a:lnTo>
                      <a:pt x="440" y="56"/>
                    </a:lnTo>
                    <a:lnTo>
                      <a:pt x="442" y="53"/>
                    </a:lnTo>
                    <a:lnTo>
                      <a:pt x="445" y="53"/>
                    </a:lnTo>
                    <a:lnTo>
                      <a:pt x="445" y="56"/>
                    </a:lnTo>
                    <a:lnTo>
                      <a:pt x="442" y="59"/>
                    </a:lnTo>
                    <a:lnTo>
                      <a:pt x="434" y="73"/>
                    </a:lnTo>
                    <a:lnTo>
                      <a:pt x="434" y="87"/>
                    </a:lnTo>
                    <a:lnTo>
                      <a:pt x="431" y="92"/>
                    </a:lnTo>
                    <a:lnTo>
                      <a:pt x="434" y="106"/>
                    </a:lnTo>
                    <a:lnTo>
                      <a:pt x="434" y="109"/>
                    </a:lnTo>
                    <a:lnTo>
                      <a:pt x="448" y="112"/>
                    </a:lnTo>
                    <a:lnTo>
                      <a:pt x="462" y="109"/>
                    </a:lnTo>
                    <a:lnTo>
                      <a:pt x="473" y="100"/>
                    </a:lnTo>
                    <a:lnTo>
                      <a:pt x="479" y="109"/>
                    </a:lnTo>
                    <a:lnTo>
                      <a:pt x="487" y="114"/>
                    </a:lnTo>
                    <a:lnTo>
                      <a:pt x="490" y="117"/>
                    </a:lnTo>
                    <a:lnTo>
                      <a:pt x="490" y="125"/>
                    </a:lnTo>
                    <a:lnTo>
                      <a:pt x="493" y="128"/>
                    </a:lnTo>
                    <a:lnTo>
                      <a:pt x="493" y="131"/>
                    </a:lnTo>
                    <a:lnTo>
                      <a:pt x="490" y="131"/>
                    </a:lnTo>
                    <a:lnTo>
                      <a:pt x="481" y="131"/>
                    </a:lnTo>
                    <a:lnTo>
                      <a:pt x="454" y="134"/>
                    </a:lnTo>
                    <a:lnTo>
                      <a:pt x="434" y="153"/>
                    </a:lnTo>
                    <a:lnTo>
                      <a:pt x="426" y="156"/>
                    </a:lnTo>
                    <a:lnTo>
                      <a:pt x="420" y="156"/>
                    </a:lnTo>
                    <a:lnTo>
                      <a:pt x="409" y="170"/>
                    </a:lnTo>
                    <a:lnTo>
                      <a:pt x="401" y="173"/>
                    </a:lnTo>
                    <a:lnTo>
                      <a:pt x="390" y="173"/>
                    </a:lnTo>
                    <a:lnTo>
                      <a:pt x="387" y="170"/>
                    </a:lnTo>
                    <a:lnTo>
                      <a:pt x="384" y="167"/>
                    </a:lnTo>
                    <a:lnTo>
                      <a:pt x="376" y="170"/>
                    </a:lnTo>
                    <a:lnTo>
                      <a:pt x="370" y="181"/>
                    </a:lnTo>
                    <a:lnTo>
                      <a:pt x="370" y="184"/>
                    </a:lnTo>
                    <a:lnTo>
                      <a:pt x="376" y="192"/>
                    </a:lnTo>
                    <a:lnTo>
                      <a:pt x="376" y="195"/>
                    </a:lnTo>
                    <a:lnTo>
                      <a:pt x="359" y="209"/>
                    </a:lnTo>
                    <a:lnTo>
                      <a:pt x="356" y="215"/>
                    </a:lnTo>
                    <a:lnTo>
                      <a:pt x="339" y="223"/>
                    </a:lnTo>
                    <a:lnTo>
                      <a:pt x="331" y="226"/>
                    </a:lnTo>
                    <a:lnTo>
                      <a:pt x="323" y="223"/>
                    </a:lnTo>
                    <a:lnTo>
                      <a:pt x="317" y="226"/>
                    </a:lnTo>
                    <a:lnTo>
                      <a:pt x="309" y="223"/>
                    </a:lnTo>
                    <a:lnTo>
                      <a:pt x="292" y="229"/>
                    </a:lnTo>
                    <a:lnTo>
                      <a:pt x="289" y="231"/>
                    </a:lnTo>
                    <a:lnTo>
                      <a:pt x="273" y="237"/>
                    </a:lnTo>
                    <a:lnTo>
                      <a:pt x="267" y="242"/>
                    </a:lnTo>
                    <a:lnTo>
                      <a:pt x="264" y="242"/>
                    </a:lnTo>
                    <a:lnTo>
                      <a:pt x="262" y="240"/>
                    </a:lnTo>
                    <a:lnTo>
                      <a:pt x="259" y="237"/>
                    </a:lnTo>
                    <a:lnTo>
                      <a:pt x="223" y="226"/>
                    </a:lnTo>
                    <a:lnTo>
                      <a:pt x="214" y="220"/>
                    </a:lnTo>
                    <a:lnTo>
                      <a:pt x="197" y="215"/>
                    </a:lnTo>
                    <a:lnTo>
                      <a:pt x="145" y="217"/>
                    </a:lnTo>
                    <a:lnTo>
                      <a:pt x="142" y="217"/>
                    </a:lnTo>
                    <a:lnTo>
                      <a:pt x="117" y="184"/>
                    </a:lnTo>
                    <a:lnTo>
                      <a:pt x="114" y="184"/>
                    </a:lnTo>
                    <a:lnTo>
                      <a:pt x="81" y="167"/>
                    </a:lnTo>
                    <a:lnTo>
                      <a:pt x="72" y="170"/>
                    </a:lnTo>
                    <a:lnTo>
                      <a:pt x="47" y="164"/>
                    </a:lnTo>
                    <a:lnTo>
                      <a:pt x="44" y="162"/>
                    </a:lnTo>
                    <a:lnTo>
                      <a:pt x="44" y="159"/>
                    </a:lnTo>
                    <a:lnTo>
                      <a:pt x="47" y="153"/>
                    </a:lnTo>
                    <a:lnTo>
                      <a:pt x="44" y="123"/>
                    </a:lnTo>
                    <a:lnTo>
                      <a:pt x="36" y="106"/>
                    </a:lnTo>
                    <a:lnTo>
                      <a:pt x="30" y="106"/>
                    </a:lnTo>
                    <a:lnTo>
                      <a:pt x="28" y="103"/>
                    </a:lnTo>
                    <a:lnTo>
                      <a:pt x="22" y="103"/>
                    </a:lnTo>
                    <a:lnTo>
                      <a:pt x="19" y="106"/>
                    </a:lnTo>
                    <a:lnTo>
                      <a:pt x="17" y="103"/>
                    </a:lnTo>
                    <a:lnTo>
                      <a:pt x="14" y="98"/>
                    </a:lnTo>
                    <a:lnTo>
                      <a:pt x="5" y="89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4" name="Freeform 242"/>
              <p:cNvSpPr>
                <a:spLocks noChangeAspect="1"/>
              </p:cNvSpPr>
              <p:nvPr>
                <p:custDataLst>
                  <p:tags r:id="rId562"/>
                </p:custDataLst>
              </p:nvPr>
            </p:nvSpPr>
            <p:spPr bwMode="gray">
              <a:xfrm>
                <a:off x="7000232" y="2922803"/>
                <a:ext cx="643826" cy="313771"/>
              </a:xfrm>
              <a:custGeom>
                <a:avLst/>
                <a:gdLst>
                  <a:gd name="T0" fmla="*/ 3 w 493"/>
                  <a:gd name="T1" fmla="*/ 73 h 242"/>
                  <a:gd name="T2" fmla="*/ 19 w 493"/>
                  <a:gd name="T3" fmla="*/ 64 h 242"/>
                  <a:gd name="T4" fmla="*/ 69 w 493"/>
                  <a:gd name="T5" fmla="*/ 39 h 242"/>
                  <a:gd name="T6" fmla="*/ 83 w 493"/>
                  <a:gd name="T7" fmla="*/ 45 h 242"/>
                  <a:gd name="T8" fmla="*/ 100 w 493"/>
                  <a:gd name="T9" fmla="*/ 42 h 242"/>
                  <a:gd name="T10" fmla="*/ 117 w 493"/>
                  <a:gd name="T11" fmla="*/ 53 h 242"/>
                  <a:gd name="T12" fmla="*/ 133 w 493"/>
                  <a:gd name="T13" fmla="*/ 53 h 242"/>
                  <a:gd name="T14" fmla="*/ 159 w 493"/>
                  <a:gd name="T15" fmla="*/ 50 h 242"/>
                  <a:gd name="T16" fmla="*/ 159 w 493"/>
                  <a:gd name="T17" fmla="*/ 42 h 242"/>
                  <a:gd name="T18" fmla="*/ 161 w 493"/>
                  <a:gd name="T19" fmla="*/ 34 h 242"/>
                  <a:gd name="T20" fmla="*/ 156 w 493"/>
                  <a:gd name="T21" fmla="*/ 22 h 242"/>
                  <a:gd name="T22" fmla="*/ 175 w 493"/>
                  <a:gd name="T23" fmla="*/ 0 h 242"/>
                  <a:gd name="T24" fmla="*/ 184 w 493"/>
                  <a:gd name="T25" fmla="*/ 3 h 242"/>
                  <a:gd name="T26" fmla="*/ 197 w 493"/>
                  <a:gd name="T27" fmla="*/ 9 h 242"/>
                  <a:gd name="T28" fmla="*/ 220 w 493"/>
                  <a:gd name="T29" fmla="*/ 17 h 242"/>
                  <a:gd name="T30" fmla="*/ 225 w 493"/>
                  <a:gd name="T31" fmla="*/ 36 h 242"/>
                  <a:gd name="T32" fmla="*/ 236 w 493"/>
                  <a:gd name="T33" fmla="*/ 45 h 242"/>
                  <a:gd name="T34" fmla="*/ 253 w 493"/>
                  <a:gd name="T35" fmla="*/ 45 h 242"/>
                  <a:gd name="T36" fmla="*/ 292 w 493"/>
                  <a:gd name="T37" fmla="*/ 45 h 242"/>
                  <a:gd name="T38" fmla="*/ 295 w 493"/>
                  <a:gd name="T39" fmla="*/ 48 h 242"/>
                  <a:gd name="T40" fmla="*/ 314 w 493"/>
                  <a:gd name="T41" fmla="*/ 59 h 242"/>
                  <a:gd name="T42" fmla="*/ 326 w 493"/>
                  <a:gd name="T43" fmla="*/ 67 h 242"/>
                  <a:gd name="T44" fmla="*/ 359 w 493"/>
                  <a:gd name="T45" fmla="*/ 73 h 242"/>
                  <a:gd name="T46" fmla="*/ 409 w 493"/>
                  <a:gd name="T47" fmla="*/ 50 h 242"/>
                  <a:gd name="T48" fmla="*/ 423 w 493"/>
                  <a:gd name="T49" fmla="*/ 50 h 242"/>
                  <a:gd name="T50" fmla="*/ 434 w 493"/>
                  <a:gd name="T51" fmla="*/ 56 h 242"/>
                  <a:gd name="T52" fmla="*/ 442 w 493"/>
                  <a:gd name="T53" fmla="*/ 53 h 242"/>
                  <a:gd name="T54" fmla="*/ 445 w 493"/>
                  <a:gd name="T55" fmla="*/ 56 h 242"/>
                  <a:gd name="T56" fmla="*/ 434 w 493"/>
                  <a:gd name="T57" fmla="*/ 73 h 242"/>
                  <a:gd name="T58" fmla="*/ 431 w 493"/>
                  <a:gd name="T59" fmla="*/ 92 h 242"/>
                  <a:gd name="T60" fmla="*/ 434 w 493"/>
                  <a:gd name="T61" fmla="*/ 109 h 242"/>
                  <a:gd name="T62" fmla="*/ 462 w 493"/>
                  <a:gd name="T63" fmla="*/ 109 h 242"/>
                  <a:gd name="T64" fmla="*/ 479 w 493"/>
                  <a:gd name="T65" fmla="*/ 109 h 242"/>
                  <a:gd name="T66" fmla="*/ 490 w 493"/>
                  <a:gd name="T67" fmla="*/ 117 h 242"/>
                  <a:gd name="T68" fmla="*/ 493 w 493"/>
                  <a:gd name="T69" fmla="*/ 128 h 242"/>
                  <a:gd name="T70" fmla="*/ 490 w 493"/>
                  <a:gd name="T71" fmla="*/ 131 h 242"/>
                  <a:gd name="T72" fmla="*/ 454 w 493"/>
                  <a:gd name="T73" fmla="*/ 134 h 242"/>
                  <a:gd name="T74" fmla="*/ 426 w 493"/>
                  <a:gd name="T75" fmla="*/ 156 h 242"/>
                  <a:gd name="T76" fmla="*/ 409 w 493"/>
                  <a:gd name="T77" fmla="*/ 170 h 242"/>
                  <a:gd name="T78" fmla="*/ 390 w 493"/>
                  <a:gd name="T79" fmla="*/ 173 h 242"/>
                  <a:gd name="T80" fmla="*/ 384 w 493"/>
                  <a:gd name="T81" fmla="*/ 167 h 242"/>
                  <a:gd name="T82" fmla="*/ 370 w 493"/>
                  <a:gd name="T83" fmla="*/ 181 h 242"/>
                  <a:gd name="T84" fmla="*/ 376 w 493"/>
                  <a:gd name="T85" fmla="*/ 192 h 242"/>
                  <a:gd name="T86" fmla="*/ 359 w 493"/>
                  <a:gd name="T87" fmla="*/ 209 h 242"/>
                  <a:gd name="T88" fmla="*/ 339 w 493"/>
                  <a:gd name="T89" fmla="*/ 223 h 242"/>
                  <a:gd name="T90" fmla="*/ 331 w 493"/>
                  <a:gd name="T91" fmla="*/ 226 h 242"/>
                  <a:gd name="T92" fmla="*/ 317 w 493"/>
                  <a:gd name="T93" fmla="*/ 226 h 242"/>
                  <a:gd name="T94" fmla="*/ 292 w 493"/>
                  <a:gd name="T95" fmla="*/ 229 h 242"/>
                  <a:gd name="T96" fmla="*/ 273 w 493"/>
                  <a:gd name="T97" fmla="*/ 237 h 242"/>
                  <a:gd name="T98" fmla="*/ 264 w 493"/>
                  <a:gd name="T99" fmla="*/ 242 h 242"/>
                  <a:gd name="T100" fmla="*/ 259 w 493"/>
                  <a:gd name="T101" fmla="*/ 237 h 242"/>
                  <a:gd name="T102" fmla="*/ 214 w 493"/>
                  <a:gd name="T103" fmla="*/ 220 h 242"/>
                  <a:gd name="T104" fmla="*/ 145 w 493"/>
                  <a:gd name="T105" fmla="*/ 217 h 242"/>
                  <a:gd name="T106" fmla="*/ 117 w 493"/>
                  <a:gd name="T107" fmla="*/ 184 h 242"/>
                  <a:gd name="T108" fmla="*/ 81 w 493"/>
                  <a:gd name="T109" fmla="*/ 167 h 242"/>
                  <a:gd name="T110" fmla="*/ 47 w 493"/>
                  <a:gd name="T111" fmla="*/ 164 h 242"/>
                  <a:gd name="T112" fmla="*/ 44 w 493"/>
                  <a:gd name="T113" fmla="*/ 159 h 242"/>
                  <a:gd name="T114" fmla="*/ 44 w 493"/>
                  <a:gd name="T115" fmla="*/ 123 h 242"/>
                  <a:gd name="T116" fmla="*/ 30 w 493"/>
                  <a:gd name="T117" fmla="*/ 106 h 242"/>
                  <a:gd name="T118" fmla="*/ 22 w 493"/>
                  <a:gd name="T119" fmla="*/ 103 h 242"/>
                  <a:gd name="T120" fmla="*/ 17 w 493"/>
                  <a:gd name="T121" fmla="*/ 103 h 242"/>
                  <a:gd name="T122" fmla="*/ 5 w 493"/>
                  <a:gd name="T123" fmla="*/ 89 h 242"/>
                  <a:gd name="T124" fmla="*/ 0 w 493"/>
                  <a:gd name="T125" fmla="*/ 7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93" h="242">
                    <a:moveTo>
                      <a:pt x="0" y="78"/>
                    </a:moveTo>
                    <a:lnTo>
                      <a:pt x="3" y="73"/>
                    </a:lnTo>
                    <a:lnTo>
                      <a:pt x="8" y="67"/>
                    </a:lnTo>
                    <a:lnTo>
                      <a:pt x="19" y="64"/>
                    </a:lnTo>
                    <a:lnTo>
                      <a:pt x="44" y="45"/>
                    </a:lnTo>
                    <a:lnTo>
                      <a:pt x="69" y="39"/>
                    </a:lnTo>
                    <a:lnTo>
                      <a:pt x="81" y="42"/>
                    </a:lnTo>
                    <a:lnTo>
                      <a:pt x="83" y="45"/>
                    </a:lnTo>
                    <a:lnTo>
                      <a:pt x="94" y="42"/>
                    </a:lnTo>
                    <a:lnTo>
                      <a:pt x="100" y="42"/>
                    </a:lnTo>
                    <a:lnTo>
                      <a:pt x="111" y="53"/>
                    </a:lnTo>
                    <a:lnTo>
                      <a:pt x="117" y="53"/>
                    </a:lnTo>
                    <a:lnTo>
                      <a:pt x="128" y="53"/>
                    </a:lnTo>
                    <a:lnTo>
                      <a:pt x="133" y="53"/>
                    </a:lnTo>
                    <a:lnTo>
                      <a:pt x="156" y="53"/>
                    </a:lnTo>
                    <a:lnTo>
                      <a:pt x="159" y="50"/>
                    </a:lnTo>
                    <a:lnTo>
                      <a:pt x="159" y="45"/>
                    </a:lnTo>
                    <a:lnTo>
                      <a:pt x="159" y="42"/>
                    </a:lnTo>
                    <a:lnTo>
                      <a:pt x="161" y="36"/>
                    </a:lnTo>
                    <a:lnTo>
                      <a:pt x="161" y="34"/>
                    </a:lnTo>
                    <a:lnTo>
                      <a:pt x="159" y="28"/>
                    </a:lnTo>
                    <a:lnTo>
                      <a:pt x="156" y="22"/>
                    </a:lnTo>
                    <a:lnTo>
                      <a:pt x="159" y="17"/>
                    </a:lnTo>
                    <a:lnTo>
                      <a:pt x="175" y="0"/>
                    </a:lnTo>
                    <a:lnTo>
                      <a:pt x="178" y="0"/>
                    </a:lnTo>
                    <a:lnTo>
                      <a:pt x="184" y="3"/>
                    </a:lnTo>
                    <a:lnTo>
                      <a:pt x="189" y="6"/>
                    </a:lnTo>
                    <a:lnTo>
                      <a:pt x="197" y="9"/>
                    </a:lnTo>
                    <a:lnTo>
                      <a:pt x="203" y="11"/>
                    </a:lnTo>
                    <a:lnTo>
                      <a:pt x="220" y="17"/>
                    </a:lnTo>
                    <a:lnTo>
                      <a:pt x="223" y="22"/>
                    </a:lnTo>
                    <a:lnTo>
                      <a:pt x="225" y="36"/>
                    </a:lnTo>
                    <a:lnTo>
                      <a:pt x="225" y="36"/>
                    </a:lnTo>
                    <a:lnTo>
                      <a:pt x="236" y="45"/>
                    </a:lnTo>
                    <a:lnTo>
                      <a:pt x="248" y="48"/>
                    </a:lnTo>
                    <a:lnTo>
                      <a:pt x="253" y="45"/>
                    </a:lnTo>
                    <a:lnTo>
                      <a:pt x="270" y="39"/>
                    </a:lnTo>
                    <a:lnTo>
                      <a:pt x="292" y="45"/>
                    </a:lnTo>
                    <a:lnTo>
                      <a:pt x="295" y="48"/>
                    </a:lnTo>
                    <a:lnTo>
                      <a:pt x="295" y="48"/>
                    </a:lnTo>
                    <a:lnTo>
                      <a:pt x="303" y="53"/>
                    </a:lnTo>
                    <a:lnTo>
                      <a:pt x="314" y="59"/>
                    </a:lnTo>
                    <a:lnTo>
                      <a:pt x="317" y="64"/>
                    </a:lnTo>
                    <a:lnTo>
                      <a:pt x="326" y="67"/>
                    </a:lnTo>
                    <a:lnTo>
                      <a:pt x="353" y="70"/>
                    </a:lnTo>
                    <a:lnTo>
                      <a:pt x="359" y="73"/>
                    </a:lnTo>
                    <a:lnTo>
                      <a:pt x="392" y="64"/>
                    </a:lnTo>
                    <a:lnTo>
                      <a:pt x="409" y="50"/>
                    </a:lnTo>
                    <a:lnTo>
                      <a:pt x="417" y="48"/>
                    </a:lnTo>
                    <a:lnTo>
                      <a:pt x="423" y="50"/>
                    </a:lnTo>
                    <a:lnTo>
                      <a:pt x="429" y="56"/>
                    </a:lnTo>
                    <a:lnTo>
                      <a:pt x="434" y="56"/>
                    </a:lnTo>
                    <a:lnTo>
                      <a:pt x="440" y="56"/>
                    </a:lnTo>
                    <a:lnTo>
                      <a:pt x="442" y="53"/>
                    </a:lnTo>
                    <a:lnTo>
                      <a:pt x="445" y="53"/>
                    </a:lnTo>
                    <a:lnTo>
                      <a:pt x="445" y="56"/>
                    </a:lnTo>
                    <a:lnTo>
                      <a:pt x="442" y="59"/>
                    </a:lnTo>
                    <a:lnTo>
                      <a:pt x="434" y="73"/>
                    </a:lnTo>
                    <a:lnTo>
                      <a:pt x="434" y="87"/>
                    </a:lnTo>
                    <a:lnTo>
                      <a:pt x="431" y="92"/>
                    </a:lnTo>
                    <a:lnTo>
                      <a:pt x="434" y="106"/>
                    </a:lnTo>
                    <a:lnTo>
                      <a:pt x="434" y="109"/>
                    </a:lnTo>
                    <a:lnTo>
                      <a:pt x="448" y="112"/>
                    </a:lnTo>
                    <a:lnTo>
                      <a:pt x="462" y="109"/>
                    </a:lnTo>
                    <a:lnTo>
                      <a:pt x="473" y="100"/>
                    </a:lnTo>
                    <a:lnTo>
                      <a:pt x="479" y="109"/>
                    </a:lnTo>
                    <a:lnTo>
                      <a:pt x="487" y="114"/>
                    </a:lnTo>
                    <a:lnTo>
                      <a:pt x="490" y="117"/>
                    </a:lnTo>
                    <a:lnTo>
                      <a:pt x="490" y="125"/>
                    </a:lnTo>
                    <a:lnTo>
                      <a:pt x="493" y="128"/>
                    </a:lnTo>
                    <a:lnTo>
                      <a:pt x="493" y="131"/>
                    </a:lnTo>
                    <a:lnTo>
                      <a:pt x="490" y="131"/>
                    </a:lnTo>
                    <a:lnTo>
                      <a:pt x="481" y="131"/>
                    </a:lnTo>
                    <a:lnTo>
                      <a:pt x="454" y="134"/>
                    </a:lnTo>
                    <a:lnTo>
                      <a:pt x="434" y="153"/>
                    </a:lnTo>
                    <a:lnTo>
                      <a:pt x="426" y="156"/>
                    </a:lnTo>
                    <a:lnTo>
                      <a:pt x="420" y="156"/>
                    </a:lnTo>
                    <a:lnTo>
                      <a:pt x="409" y="170"/>
                    </a:lnTo>
                    <a:lnTo>
                      <a:pt x="401" y="173"/>
                    </a:lnTo>
                    <a:lnTo>
                      <a:pt x="390" y="173"/>
                    </a:lnTo>
                    <a:lnTo>
                      <a:pt x="387" y="170"/>
                    </a:lnTo>
                    <a:lnTo>
                      <a:pt x="384" y="167"/>
                    </a:lnTo>
                    <a:lnTo>
                      <a:pt x="376" y="170"/>
                    </a:lnTo>
                    <a:lnTo>
                      <a:pt x="370" y="181"/>
                    </a:lnTo>
                    <a:lnTo>
                      <a:pt x="370" y="184"/>
                    </a:lnTo>
                    <a:lnTo>
                      <a:pt x="376" y="192"/>
                    </a:lnTo>
                    <a:lnTo>
                      <a:pt x="376" y="195"/>
                    </a:lnTo>
                    <a:lnTo>
                      <a:pt x="359" y="209"/>
                    </a:lnTo>
                    <a:lnTo>
                      <a:pt x="356" y="215"/>
                    </a:lnTo>
                    <a:lnTo>
                      <a:pt x="339" y="223"/>
                    </a:lnTo>
                    <a:lnTo>
                      <a:pt x="331" y="226"/>
                    </a:lnTo>
                    <a:lnTo>
                      <a:pt x="331" y="226"/>
                    </a:lnTo>
                    <a:lnTo>
                      <a:pt x="323" y="223"/>
                    </a:lnTo>
                    <a:lnTo>
                      <a:pt x="317" y="226"/>
                    </a:lnTo>
                    <a:lnTo>
                      <a:pt x="309" y="223"/>
                    </a:lnTo>
                    <a:lnTo>
                      <a:pt x="292" y="229"/>
                    </a:lnTo>
                    <a:lnTo>
                      <a:pt x="289" y="231"/>
                    </a:lnTo>
                    <a:lnTo>
                      <a:pt x="273" y="237"/>
                    </a:lnTo>
                    <a:lnTo>
                      <a:pt x="267" y="242"/>
                    </a:lnTo>
                    <a:lnTo>
                      <a:pt x="264" y="242"/>
                    </a:lnTo>
                    <a:lnTo>
                      <a:pt x="262" y="240"/>
                    </a:lnTo>
                    <a:lnTo>
                      <a:pt x="259" y="237"/>
                    </a:lnTo>
                    <a:lnTo>
                      <a:pt x="223" y="226"/>
                    </a:lnTo>
                    <a:lnTo>
                      <a:pt x="214" y="220"/>
                    </a:lnTo>
                    <a:lnTo>
                      <a:pt x="197" y="215"/>
                    </a:lnTo>
                    <a:lnTo>
                      <a:pt x="145" y="217"/>
                    </a:lnTo>
                    <a:lnTo>
                      <a:pt x="142" y="217"/>
                    </a:lnTo>
                    <a:lnTo>
                      <a:pt x="117" y="184"/>
                    </a:lnTo>
                    <a:lnTo>
                      <a:pt x="114" y="184"/>
                    </a:lnTo>
                    <a:lnTo>
                      <a:pt x="81" y="167"/>
                    </a:lnTo>
                    <a:lnTo>
                      <a:pt x="72" y="170"/>
                    </a:lnTo>
                    <a:lnTo>
                      <a:pt x="47" y="164"/>
                    </a:lnTo>
                    <a:lnTo>
                      <a:pt x="44" y="162"/>
                    </a:lnTo>
                    <a:lnTo>
                      <a:pt x="44" y="159"/>
                    </a:lnTo>
                    <a:lnTo>
                      <a:pt x="47" y="153"/>
                    </a:lnTo>
                    <a:lnTo>
                      <a:pt x="44" y="123"/>
                    </a:lnTo>
                    <a:lnTo>
                      <a:pt x="36" y="106"/>
                    </a:lnTo>
                    <a:lnTo>
                      <a:pt x="30" y="106"/>
                    </a:lnTo>
                    <a:lnTo>
                      <a:pt x="28" y="103"/>
                    </a:lnTo>
                    <a:lnTo>
                      <a:pt x="22" y="103"/>
                    </a:lnTo>
                    <a:lnTo>
                      <a:pt x="19" y="106"/>
                    </a:lnTo>
                    <a:lnTo>
                      <a:pt x="17" y="103"/>
                    </a:lnTo>
                    <a:lnTo>
                      <a:pt x="14" y="98"/>
                    </a:lnTo>
                    <a:lnTo>
                      <a:pt x="5" y="89"/>
                    </a:lnTo>
                    <a:lnTo>
                      <a:pt x="0" y="78"/>
                    </a:lnTo>
                    <a:lnTo>
                      <a:pt x="0" y="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5" name="Freeform 244"/>
              <p:cNvSpPr>
                <a:spLocks noChangeAspect="1"/>
              </p:cNvSpPr>
              <p:nvPr>
                <p:custDataLst>
                  <p:tags r:id="rId563"/>
                </p:custDataLst>
              </p:nvPr>
            </p:nvSpPr>
            <p:spPr bwMode="gray">
              <a:xfrm>
                <a:off x="5501514" y="2834506"/>
                <a:ext cx="203473" cy="186055"/>
              </a:xfrm>
              <a:custGeom>
                <a:avLst/>
                <a:gdLst>
                  <a:gd name="T0" fmla="*/ 150 w 156"/>
                  <a:gd name="T1" fmla="*/ 97 h 144"/>
                  <a:gd name="T2" fmla="*/ 153 w 156"/>
                  <a:gd name="T3" fmla="*/ 103 h 144"/>
                  <a:gd name="T4" fmla="*/ 156 w 156"/>
                  <a:gd name="T5" fmla="*/ 111 h 144"/>
                  <a:gd name="T6" fmla="*/ 134 w 156"/>
                  <a:gd name="T7" fmla="*/ 136 h 144"/>
                  <a:gd name="T8" fmla="*/ 134 w 156"/>
                  <a:gd name="T9" fmla="*/ 144 h 144"/>
                  <a:gd name="T10" fmla="*/ 128 w 156"/>
                  <a:gd name="T11" fmla="*/ 142 h 144"/>
                  <a:gd name="T12" fmla="*/ 111 w 156"/>
                  <a:gd name="T13" fmla="*/ 136 h 144"/>
                  <a:gd name="T14" fmla="*/ 103 w 156"/>
                  <a:gd name="T15" fmla="*/ 136 h 144"/>
                  <a:gd name="T16" fmla="*/ 97 w 156"/>
                  <a:gd name="T17" fmla="*/ 139 h 144"/>
                  <a:gd name="T18" fmla="*/ 92 w 156"/>
                  <a:gd name="T19" fmla="*/ 142 h 144"/>
                  <a:gd name="T20" fmla="*/ 78 w 156"/>
                  <a:gd name="T21" fmla="*/ 136 h 144"/>
                  <a:gd name="T22" fmla="*/ 64 w 156"/>
                  <a:gd name="T23" fmla="*/ 122 h 144"/>
                  <a:gd name="T24" fmla="*/ 61 w 156"/>
                  <a:gd name="T25" fmla="*/ 122 h 144"/>
                  <a:gd name="T26" fmla="*/ 58 w 156"/>
                  <a:gd name="T27" fmla="*/ 117 h 144"/>
                  <a:gd name="T28" fmla="*/ 44 w 156"/>
                  <a:gd name="T29" fmla="*/ 114 h 144"/>
                  <a:gd name="T30" fmla="*/ 42 w 156"/>
                  <a:gd name="T31" fmla="*/ 119 h 144"/>
                  <a:gd name="T32" fmla="*/ 33 w 156"/>
                  <a:gd name="T33" fmla="*/ 111 h 144"/>
                  <a:gd name="T34" fmla="*/ 36 w 156"/>
                  <a:gd name="T35" fmla="*/ 108 h 144"/>
                  <a:gd name="T36" fmla="*/ 33 w 156"/>
                  <a:gd name="T37" fmla="*/ 108 h 144"/>
                  <a:gd name="T38" fmla="*/ 22 w 156"/>
                  <a:gd name="T39" fmla="*/ 103 h 144"/>
                  <a:gd name="T40" fmla="*/ 17 w 156"/>
                  <a:gd name="T41" fmla="*/ 97 h 144"/>
                  <a:gd name="T42" fmla="*/ 11 w 156"/>
                  <a:gd name="T43" fmla="*/ 103 h 144"/>
                  <a:gd name="T44" fmla="*/ 14 w 156"/>
                  <a:gd name="T45" fmla="*/ 86 h 144"/>
                  <a:gd name="T46" fmla="*/ 6 w 156"/>
                  <a:gd name="T47" fmla="*/ 55 h 144"/>
                  <a:gd name="T48" fmla="*/ 0 w 156"/>
                  <a:gd name="T49" fmla="*/ 50 h 144"/>
                  <a:gd name="T50" fmla="*/ 6 w 156"/>
                  <a:gd name="T51" fmla="*/ 36 h 144"/>
                  <a:gd name="T52" fmla="*/ 6 w 156"/>
                  <a:gd name="T53" fmla="*/ 30 h 144"/>
                  <a:gd name="T54" fmla="*/ 8 w 156"/>
                  <a:gd name="T55" fmla="*/ 25 h 144"/>
                  <a:gd name="T56" fmla="*/ 6 w 156"/>
                  <a:gd name="T57" fmla="*/ 22 h 144"/>
                  <a:gd name="T58" fmla="*/ 8 w 156"/>
                  <a:gd name="T59" fmla="*/ 22 h 144"/>
                  <a:gd name="T60" fmla="*/ 31 w 156"/>
                  <a:gd name="T61" fmla="*/ 13 h 144"/>
                  <a:gd name="T62" fmla="*/ 50 w 156"/>
                  <a:gd name="T63" fmla="*/ 2 h 144"/>
                  <a:gd name="T64" fmla="*/ 72 w 156"/>
                  <a:gd name="T65" fmla="*/ 0 h 144"/>
                  <a:gd name="T66" fmla="*/ 72 w 156"/>
                  <a:gd name="T67" fmla="*/ 5 h 144"/>
                  <a:gd name="T68" fmla="*/ 72 w 156"/>
                  <a:gd name="T69" fmla="*/ 13 h 144"/>
                  <a:gd name="T70" fmla="*/ 75 w 156"/>
                  <a:gd name="T71" fmla="*/ 13 h 144"/>
                  <a:gd name="T72" fmla="*/ 78 w 156"/>
                  <a:gd name="T73" fmla="*/ 13 h 144"/>
                  <a:gd name="T74" fmla="*/ 86 w 156"/>
                  <a:gd name="T75" fmla="*/ 8 h 144"/>
                  <a:gd name="T76" fmla="*/ 136 w 156"/>
                  <a:gd name="T77" fmla="*/ 11 h 144"/>
                  <a:gd name="T78" fmla="*/ 153 w 156"/>
                  <a:gd name="T79" fmla="*/ 55 h 144"/>
                  <a:gd name="T80" fmla="*/ 145 w 156"/>
                  <a:gd name="T81" fmla="*/ 61 h 144"/>
                  <a:gd name="T82" fmla="*/ 145 w 156"/>
                  <a:gd name="T83" fmla="*/ 69 h 144"/>
                  <a:gd name="T84" fmla="*/ 148 w 156"/>
                  <a:gd name="T85" fmla="*/ 8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6" h="144">
                    <a:moveTo>
                      <a:pt x="148" y="83"/>
                    </a:moveTo>
                    <a:lnTo>
                      <a:pt x="150" y="97"/>
                    </a:lnTo>
                    <a:lnTo>
                      <a:pt x="156" y="100"/>
                    </a:lnTo>
                    <a:lnTo>
                      <a:pt x="153" y="103"/>
                    </a:lnTo>
                    <a:lnTo>
                      <a:pt x="156" y="108"/>
                    </a:lnTo>
                    <a:lnTo>
                      <a:pt x="156" y="111"/>
                    </a:lnTo>
                    <a:lnTo>
                      <a:pt x="145" y="119"/>
                    </a:lnTo>
                    <a:lnTo>
                      <a:pt x="134" y="136"/>
                    </a:lnTo>
                    <a:lnTo>
                      <a:pt x="134" y="139"/>
                    </a:lnTo>
                    <a:lnTo>
                      <a:pt x="134" y="144"/>
                    </a:lnTo>
                    <a:lnTo>
                      <a:pt x="131" y="144"/>
                    </a:lnTo>
                    <a:lnTo>
                      <a:pt x="128" y="142"/>
                    </a:lnTo>
                    <a:lnTo>
                      <a:pt x="120" y="136"/>
                    </a:lnTo>
                    <a:lnTo>
                      <a:pt x="111" y="136"/>
                    </a:lnTo>
                    <a:lnTo>
                      <a:pt x="106" y="139"/>
                    </a:lnTo>
                    <a:lnTo>
                      <a:pt x="103" y="136"/>
                    </a:lnTo>
                    <a:lnTo>
                      <a:pt x="97" y="136"/>
                    </a:lnTo>
                    <a:lnTo>
                      <a:pt x="97" y="139"/>
                    </a:lnTo>
                    <a:lnTo>
                      <a:pt x="95" y="142"/>
                    </a:lnTo>
                    <a:lnTo>
                      <a:pt x="92" y="142"/>
                    </a:lnTo>
                    <a:lnTo>
                      <a:pt x="83" y="133"/>
                    </a:lnTo>
                    <a:lnTo>
                      <a:pt x="78" y="136"/>
                    </a:lnTo>
                    <a:lnTo>
                      <a:pt x="70" y="130"/>
                    </a:lnTo>
                    <a:lnTo>
                      <a:pt x="64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58" y="119"/>
                    </a:lnTo>
                    <a:lnTo>
                      <a:pt x="58" y="117"/>
                    </a:lnTo>
                    <a:lnTo>
                      <a:pt x="44" y="114"/>
                    </a:lnTo>
                    <a:lnTo>
                      <a:pt x="44" y="114"/>
                    </a:lnTo>
                    <a:lnTo>
                      <a:pt x="44" y="117"/>
                    </a:lnTo>
                    <a:lnTo>
                      <a:pt x="42" y="119"/>
                    </a:lnTo>
                    <a:lnTo>
                      <a:pt x="39" y="117"/>
                    </a:lnTo>
                    <a:lnTo>
                      <a:pt x="33" y="111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3" y="108"/>
                    </a:lnTo>
                    <a:lnTo>
                      <a:pt x="31" y="103"/>
                    </a:lnTo>
                    <a:lnTo>
                      <a:pt x="22" y="103"/>
                    </a:lnTo>
                    <a:lnTo>
                      <a:pt x="19" y="100"/>
                    </a:lnTo>
                    <a:lnTo>
                      <a:pt x="17" y="97"/>
                    </a:lnTo>
                    <a:lnTo>
                      <a:pt x="14" y="103"/>
                    </a:lnTo>
                    <a:lnTo>
                      <a:pt x="11" y="103"/>
                    </a:lnTo>
                    <a:lnTo>
                      <a:pt x="14" y="89"/>
                    </a:lnTo>
                    <a:lnTo>
                      <a:pt x="14" y="86"/>
                    </a:lnTo>
                    <a:lnTo>
                      <a:pt x="8" y="83"/>
                    </a:lnTo>
                    <a:lnTo>
                      <a:pt x="6" y="55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3" y="44"/>
                    </a:lnTo>
                    <a:lnTo>
                      <a:pt x="6" y="36"/>
                    </a:lnTo>
                    <a:lnTo>
                      <a:pt x="3" y="27"/>
                    </a:lnTo>
                    <a:lnTo>
                      <a:pt x="6" y="30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3" y="25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1" y="19"/>
                    </a:lnTo>
                    <a:lnTo>
                      <a:pt x="31" y="13"/>
                    </a:lnTo>
                    <a:lnTo>
                      <a:pt x="39" y="5"/>
                    </a:lnTo>
                    <a:lnTo>
                      <a:pt x="50" y="2"/>
                    </a:lnTo>
                    <a:lnTo>
                      <a:pt x="67" y="0"/>
                    </a:lnTo>
                    <a:lnTo>
                      <a:pt x="72" y="0"/>
                    </a:lnTo>
                    <a:lnTo>
                      <a:pt x="72" y="2"/>
                    </a:lnTo>
                    <a:lnTo>
                      <a:pt x="72" y="5"/>
                    </a:lnTo>
                    <a:lnTo>
                      <a:pt x="67" y="2"/>
                    </a:lnTo>
                    <a:lnTo>
                      <a:pt x="72" y="13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8" y="13"/>
                    </a:lnTo>
                    <a:lnTo>
                      <a:pt x="83" y="11"/>
                    </a:lnTo>
                    <a:lnTo>
                      <a:pt x="86" y="8"/>
                    </a:lnTo>
                    <a:lnTo>
                      <a:pt x="109" y="13"/>
                    </a:lnTo>
                    <a:lnTo>
                      <a:pt x="136" y="11"/>
                    </a:lnTo>
                    <a:lnTo>
                      <a:pt x="145" y="16"/>
                    </a:lnTo>
                    <a:lnTo>
                      <a:pt x="153" y="55"/>
                    </a:lnTo>
                    <a:lnTo>
                      <a:pt x="150" y="58"/>
                    </a:lnTo>
                    <a:lnTo>
                      <a:pt x="145" y="61"/>
                    </a:lnTo>
                    <a:lnTo>
                      <a:pt x="142" y="64"/>
                    </a:lnTo>
                    <a:lnTo>
                      <a:pt x="145" y="69"/>
                    </a:lnTo>
                    <a:lnTo>
                      <a:pt x="148" y="72"/>
                    </a:lnTo>
                    <a:lnTo>
                      <a:pt x="148" y="8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6" name="Freeform 245"/>
              <p:cNvSpPr>
                <a:spLocks noChangeAspect="1"/>
              </p:cNvSpPr>
              <p:nvPr>
                <p:custDataLst>
                  <p:tags r:id="rId564"/>
                </p:custDataLst>
              </p:nvPr>
            </p:nvSpPr>
            <p:spPr bwMode="gray">
              <a:xfrm>
                <a:off x="5501514" y="2834506"/>
                <a:ext cx="203473" cy="186055"/>
              </a:xfrm>
              <a:custGeom>
                <a:avLst/>
                <a:gdLst>
                  <a:gd name="T0" fmla="*/ 150 w 156"/>
                  <a:gd name="T1" fmla="*/ 97 h 144"/>
                  <a:gd name="T2" fmla="*/ 153 w 156"/>
                  <a:gd name="T3" fmla="*/ 103 h 144"/>
                  <a:gd name="T4" fmla="*/ 156 w 156"/>
                  <a:gd name="T5" fmla="*/ 111 h 144"/>
                  <a:gd name="T6" fmla="*/ 134 w 156"/>
                  <a:gd name="T7" fmla="*/ 136 h 144"/>
                  <a:gd name="T8" fmla="*/ 134 w 156"/>
                  <a:gd name="T9" fmla="*/ 144 h 144"/>
                  <a:gd name="T10" fmla="*/ 128 w 156"/>
                  <a:gd name="T11" fmla="*/ 142 h 144"/>
                  <a:gd name="T12" fmla="*/ 111 w 156"/>
                  <a:gd name="T13" fmla="*/ 136 h 144"/>
                  <a:gd name="T14" fmla="*/ 103 w 156"/>
                  <a:gd name="T15" fmla="*/ 136 h 144"/>
                  <a:gd name="T16" fmla="*/ 97 w 156"/>
                  <a:gd name="T17" fmla="*/ 139 h 144"/>
                  <a:gd name="T18" fmla="*/ 92 w 156"/>
                  <a:gd name="T19" fmla="*/ 142 h 144"/>
                  <a:gd name="T20" fmla="*/ 78 w 156"/>
                  <a:gd name="T21" fmla="*/ 136 h 144"/>
                  <a:gd name="T22" fmla="*/ 64 w 156"/>
                  <a:gd name="T23" fmla="*/ 122 h 144"/>
                  <a:gd name="T24" fmla="*/ 61 w 156"/>
                  <a:gd name="T25" fmla="*/ 122 h 144"/>
                  <a:gd name="T26" fmla="*/ 58 w 156"/>
                  <a:gd name="T27" fmla="*/ 117 h 144"/>
                  <a:gd name="T28" fmla="*/ 44 w 156"/>
                  <a:gd name="T29" fmla="*/ 114 h 144"/>
                  <a:gd name="T30" fmla="*/ 42 w 156"/>
                  <a:gd name="T31" fmla="*/ 119 h 144"/>
                  <a:gd name="T32" fmla="*/ 33 w 156"/>
                  <a:gd name="T33" fmla="*/ 111 h 144"/>
                  <a:gd name="T34" fmla="*/ 36 w 156"/>
                  <a:gd name="T35" fmla="*/ 108 h 144"/>
                  <a:gd name="T36" fmla="*/ 33 w 156"/>
                  <a:gd name="T37" fmla="*/ 108 h 144"/>
                  <a:gd name="T38" fmla="*/ 22 w 156"/>
                  <a:gd name="T39" fmla="*/ 103 h 144"/>
                  <a:gd name="T40" fmla="*/ 17 w 156"/>
                  <a:gd name="T41" fmla="*/ 97 h 144"/>
                  <a:gd name="T42" fmla="*/ 11 w 156"/>
                  <a:gd name="T43" fmla="*/ 103 h 144"/>
                  <a:gd name="T44" fmla="*/ 14 w 156"/>
                  <a:gd name="T45" fmla="*/ 86 h 144"/>
                  <a:gd name="T46" fmla="*/ 6 w 156"/>
                  <a:gd name="T47" fmla="*/ 55 h 144"/>
                  <a:gd name="T48" fmla="*/ 0 w 156"/>
                  <a:gd name="T49" fmla="*/ 50 h 144"/>
                  <a:gd name="T50" fmla="*/ 6 w 156"/>
                  <a:gd name="T51" fmla="*/ 36 h 144"/>
                  <a:gd name="T52" fmla="*/ 6 w 156"/>
                  <a:gd name="T53" fmla="*/ 30 h 144"/>
                  <a:gd name="T54" fmla="*/ 8 w 156"/>
                  <a:gd name="T55" fmla="*/ 25 h 144"/>
                  <a:gd name="T56" fmla="*/ 6 w 156"/>
                  <a:gd name="T57" fmla="*/ 22 h 144"/>
                  <a:gd name="T58" fmla="*/ 8 w 156"/>
                  <a:gd name="T59" fmla="*/ 22 h 144"/>
                  <a:gd name="T60" fmla="*/ 31 w 156"/>
                  <a:gd name="T61" fmla="*/ 13 h 144"/>
                  <a:gd name="T62" fmla="*/ 50 w 156"/>
                  <a:gd name="T63" fmla="*/ 2 h 144"/>
                  <a:gd name="T64" fmla="*/ 72 w 156"/>
                  <a:gd name="T65" fmla="*/ 0 h 144"/>
                  <a:gd name="T66" fmla="*/ 72 w 156"/>
                  <a:gd name="T67" fmla="*/ 5 h 144"/>
                  <a:gd name="T68" fmla="*/ 72 w 156"/>
                  <a:gd name="T69" fmla="*/ 13 h 144"/>
                  <a:gd name="T70" fmla="*/ 75 w 156"/>
                  <a:gd name="T71" fmla="*/ 13 h 144"/>
                  <a:gd name="T72" fmla="*/ 78 w 156"/>
                  <a:gd name="T73" fmla="*/ 13 h 144"/>
                  <a:gd name="T74" fmla="*/ 86 w 156"/>
                  <a:gd name="T75" fmla="*/ 8 h 144"/>
                  <a:gd name="T76" fmla="*/ 136 w 156"/>
                  <a:gd name="T77" fmla="*/ 11 h 144"/>
                  <a:gd name="T78" fmla="*/ 153 w 156"/>
                  <a:gd name="T79" fmla="*/ 55 h 144"/>
                  <a:gd name="T80" fmla="*/ 145 w 156"/>
                  <a:gd name="T81" fmla="*/ 61 h 144"/>
                  <a:gd name="T82" fmla="*/ 145 w 156"/>
                  <a:gd name="T83" fmla="*/ 69 h 144"/>
                  <a:gd name="T84" fmla="*/ 148 w 156"/>
                  <a:gd name="T85" fmla="*/ 8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6" h="144">
                    <a:moveTo>
                      <a:pt x="148" y="83"/>
                    </a:moveTo>
                    <a:lnTo>
                      <a:pt x="150" y="97"/>
                    </a:lnTo>
                    <a:lnTo>
                      <a:pt x="156" y="100"/>
                    </a:lnTo>
                    <a:lnTo>
                      <a:pt x="153" y="103"/>
                    </a:lnTo>
                    <a:lnTo>
                      <a:pt x="156" y="108"/>
                    </a:lnTo>
                    <a:lnTo>
                      <a:pt x="156" y="111"/>
                    </a:lnTo>
                    <a:lnTo>
                      <a:pt x="145" y="119"/>
                    </a:lnTo>
                    <a:lnTo>
                      <a:pt x="134" y="136"/>
                    </a:lnTo>
                    <a:lnTo>
                      <a:pt x="134" y="139"/>
                    </a:lnTo>
                    <a:lnTo>
                      <a:pt x="134" y="144"/>
                    </a:lnTo>
                    <a:lnTo>
                      <a:pt x="131" y="144"/>
                    </a:lnTo>
                    <a:lnTo>
                      <a:pt x="128" y="142"/>
                    </a:lnTo>
                    <a:lnTo>
                      <a:pt x="120" y="136"/>
                    </a:lnTo>
                    <a:lnTo>
                      <a:pt x="111" y="136"/>
                    </a:lnTo>
                    <a:lnTo>
                      <a:pt x="106" y="139"/>
                    </a:lnTo>
                    <a:lnTo>
                      <a:pt x="103" y="136"/>
                    </a:lnTo>
                    <a:lnTo>
                      <a:pt x="97" y="136"/>
                    </a:lnTo>
                    <a:lnTo>
                      <a:pt x="97" y="139"/>
                    </a:lnTo>
                    <a:lnTo>
                      <a:pt x="95" y="142"/>
                    </a:lnTo>
                    <a:lnTo>
                      <a:pt x="92" y="142"/>
                    </a:lnTo>
                    <a:lnTo>
                      <a:pt x="83" y="133"/>
                    </a:lnTo>
                    <a:lnTo>
                      <a:pt x="78" y="136"/>
                    </a:lnTo>
                    <a:lnTo>
                      <a:pt x="70" y="130"/>
                    </a:lnTo>
                    <a:lnTo>
                      <a:pt x="64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58" y="119"/>
                    </a:lnTo>
                    <a:lnTo>
                      <a:pt x="58" y="117"/>
                    </a:lnTo>
                    <a:lnTo>
                      <a:pt x="44" y="114"/>
                    </a:lnTo>
                    <a:lnTo>
                      <a:pt x="44" y="114"/>
                    </a:lnTo>
                    <a:lnTo>
                      <a:pt x="44" y="117"/>
                    </a:lnTo>
                    <a:lnTo>
                      <a:pt x="42" y="119"/>
                    </a:lnTo>
                    <a:lnTo>
                      <a:pt x="39" y="117"/>
                    </a:lnTo>
                    <a:lnTo>
                      <a:pt x="33" y="111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3" y="108"/>
                    </a:lnTo>
                    <a:lnTo>
                      <a:pt x="31" y="103"/>
                    </a:lnTo>
                    <a:lnTo>
                      <a:pt x="22" y="103"/>
                    </a:lnTo>
                    <a:lnTo>
                      <a:pt x="19" y="100"/>
                    </a:lnTo>
                    <a:lnTo>
                      <a:pt x="17" y="97"/>
                    </a:lnTo>
                    <a:lnTo>
                      <a:pt x="14" y="103"/>
                    </a:lnTo>
                    <a:lnTo>
                      <a:pt x="11" y="103"/>
                    </a:lnTo>
                    <a:lnTo>
                      <a:pt x="14" y="89"/>
                    </a:lnTo>
                    <a:lnTo>
                      <a:pt x="14" y="86"/>
                    </a:lnTo>
                    <a:lnTo>
                      <a:pt x="8" y="83"/>
                    </a:lnTo>
                    <a:lnTo>
                      <a:pt x="6" y="55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3" y="44"/>
                    </a:lnTo>
                    <a:lnTo>
                      <a:pt x="6" y="36"/>
                    </a:lnTo>
                    <a:lnTo>
                      <a:pt x="3" y="27"/>
                    </a:lnTo>
                    <a:lnTo>
                      <a:pt x="6" y="30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3" y="25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1" y="19"/>
                    </a:lnTo>
                    <a:lnTo>
                      <a:pt x="31" y="13"/>
                    </a:lnTo>
                    <a:lnTo>
                      <a:pt x="39" y="5"/>
                    </a:lnTo>
                    <a:lnTo>
                      <a:pt x="50" y="2"/>
                    </a:lnTo>
                    <a:lnTo>
                      <a:pt x="67" y="0"/>
                    </a:lnTo>
                    <a:lnTo>
                      <a:pt x="72" y="0"/>
                    </a:lnTo>
                    <a:lnTo>
                      <a:pt x="72" y="2"/>
                    </a:lnTo>
                    <a:lnTo>
                      <a:pt x="72" y="5"/>
                    </a:lnTo>
                    <a:lnTo>
                      <a:pt x="67" y="2"/>
                    </a:lnTo>
                    <a:lnTo>
                      <a:pt x="72" y="13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8" y="13"/>
                    </a:lnTo>
                    <a:lnTo>
                      <a:pt x="83" y="11"/>
                    </a:lnTo>
                    <a:lnTo>
                      <a:pt x="86" y="8"/>
                    </a:lnTo>
                    <a:lnTo>
                      <a:pt x="109" y="13"/>
                    </a:lnTo>
                    <a:lnTo>
                      <a:pt x="136" y="11"/>
                    </a:lnTo>
                    <a:lnTo>
                      <a:pt x="145" y="16"/>
                    </a:lnTo>
                    <a:lnTo>
                      <a:pt x="153" y="55"/>
                    </a:lnTo>
                    <a:lnTo>
                      <a:pt x="150" y="58"/>
                    </a:lnTo>
                    <a:lnTo>
                      <a:pt x="145" y="61"/>
                    </a:lnTo>
                    <a:lnTo>
                      <a:pt x="142" y="64"/>
                    </a:lnTo>
                    <a:lnTo>
                      <a:pt x="145" y="69"/>
                    </a:lnTo>
                    <a:lnTo>
                      <a:pt x="148" y="72"/>
                    </a:lnTo>
                    <a:lnTo>
                      <a:pt x="148" y="8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7" name="Freeform 246"/>
              <p:cNvSpPr>
                <a:spLocks noChangeAspect="1"/>
              </p:cNvSpPr>
              <p:nvPr>
                <p:custDataLst>
                  <p:tags r:id="rId565"/>
                </p:custDataLst>
              </p:nvPr>
            </p:nvSpPr>
            <p:spPr bwMode="gray">
              <a:xfrm>
                <a:off x="5641212" y="2716249"/>
                <a:ext cx="150328" cy="88297"/>
              </a:xfrm>
              <a:custGeom>
                <a:avLst/>
                <a:gdLst>
                  <a:gd name="T0" fmla="*/ 0 w 114"/>
                  <a:gd name="T1" fmla="*/ 53 h 69"/>
                  <a:gd name="T2" fmla="*/ 8 w 114"/>
                  <a:gd name="T3" fmla="*/ 16 h 69"/>
                  <a:gd name="T4" fmla="*/ 22 w 114"/>
                  <a:gd name="T5" fmla="*/ 8 h 69"/>
                  <a:gd name="T6" fmla="*/ 33 w 114"/>
                  <a:gd name="T7" fmla="*/ 25 h 69"/>
                  <a:gd name="T8" fmla="*/ 33 w 114"/>
                  <a:gd name="T9" fmla="*/ 25 h 69"/>
                  <a:gd name="T10" fmla="*/ 41 w 114"/>
                  <a:gd name="T11" fmla="*/ 30 h 69"/>
                  <a:gd name="T12" fmla="*/ 47 w 114"/>
                  <a:gd name="T13" fmla="*/ 28 h 69"/>
                  <a:gd name="T14" fmla="*/ 47 w 114"/>
                  <a:gd name="T15" fmla="*/ 33 h 69"/>
                  <a:gd name="T16" fmla="*/ 52 w 114"/>
                  <a:gd name="T17" fmla="*/ 25 h 69"/>
                  <a:gd name="T18" fmla="*/ 52 w 114"/>
                  <a:gd name="T19" fmla="*/ 5 h 69"/>
                  <a:gd name="T20" fmla="*/ 58 w 114"/>
                  <a:gd name="T21" fmla="*/ 0 h 69"/>
                  <a:gd name="T22" fmla="*/ 72 w 114"/>
                  <a:gd name="T23" fmla="*/ 0 h 69"/>
                  <a:gd name="T24" fmla="*/ 80 w 114"/>
                  <a:gd name="T25" fmla="*/ 5 h 69"/>
                  <a:gd name="T26" fmla="*/ 86 w 114"/>
                  <a:gd name="T27" fmla="*/ 14 h 69"/>
                  <a:gd name="T28" fmla="*/ 91 w 114"/>
                  <a:gd name="T29" fmla="*/ 14 h 69"/>
                  <a:gd name="T30" fmla="*/ 100 w 114"/>
                  <a:gd name="T31" fmla="*/ 14 h 69"/>
                  <a:gd name="T32" fmla="*/ 103 w 114"/>
                  <a:gd name="T33" fmla="*/ 16 h 69"/>
                  <a:gd name="T34" fmla="*/ 105 w 114"/>
                  <a:gd name="T35" fmla="*/ 22 h 69"/>
                  <a:gd name="T36" fmla="*/ 105 w 114"/>
                  <a:gd name="T37" fmla="*/ 33 h 69"/>
                  <a:gd name="T38" fmla="*/ 108 w 114"/>
                  <a:gd name="T39" fmla="*/ 33 h 69"/>
                  <a:gd name="T40" fmla="*/ 114 w 114"/>
                  <a:gd name="T41" fmla="*/ 47 h 69"/>
                  <a:gd name="T42" fmla="*/ 111 w 114"/>
                  <a:gd name="T43" fmla="*/ 53 h 69"/>
                  <a:gd name="T44" fmla="*/ 105 w 114"/>
                  <a:gd name="T45" fmla="*/ 61 h 69"/>
                  <a:gd name="T46" fmla="*/ 100 w 114"/>
                  <a:gd name="T47" fmla="*/ 64 h 69"/>
                  <a:gd name="T48" fmla="*/ 94 w 114"/>
                  <a:gd name="T49" fmla="*/ 64 h 69"/>
                  <a:gd name="T50" fmla="*/ 91 w 114"/>
                  <a:gd name="T51" fmla="*/ 69 h 69"/>
                  <a:gd name="T52" fmla="*/ 86 w 114"/>
                  <a:gd name="T53" fmla="*/ 67 h 69"/>
                  <a:gd name="T54" fmla="*/ 80 w 114"/>
                  <a:gd name="T55" fmla="*/ 58 h 69"/>
                  <a:gd name="T56" fmla="*/ 66 w 114"/>
                  <a:gd name="T57" fmla="*/ 53 h 69"/>
                  <a:gd name="T58" fmla="*/ 64 w 114"/>
                  <a:gd name="T59" fmla="*/ 47 h 69"/>
                  <a:gd name="T60" fmla="*/ 58 w 114"/>
                  <a:gd name="T61" fmla="*/ 47 h 69"/>
                  <a:gd name="T62" fmla="*/ 50 w 114"/>
                  <a:gd name="T63" fmla="*/ 50 h 69"/>
                  <a:gd name="T64" fmla="*/ 36 w 114"/>
                  <a:gd name="T65" fmla="*/ 47 h 69"/>
                  <a:gd name="T66" fmla="*/ 30 w 114"/>
                  <a:gd name="T67" fmla="*/ 47 h 69"/>
                  <a:gd name="T68" fmla="*/ 27 w 114"/>
                  <a:gd name="T69" fmla="*/ 47 h 69"/>
                  <a:gd name="T70" fmla="*/ 16 w 114"/>
                  <a:gd name="T71" fmla="*/ 47 h 69"/>
                  <a:gd name="T72" fmla="*/ 5 w 114"/>
                  <a:gd name="T73" fmla="*/ 55 h 69"/>
                  <a:gd name="T74" fmla="*/ 0 w 114"/>
                  <a:gd name="T75" fmla="*/ 5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4" h="69">
                    <a:moveTo>
                      <a:pt x="0" y="55"/>
                    </a:moveTo>
                    <a:lnTo>
                      <a:pt x="0" y="53"/>
                    </a:lnTo>
                    <a:lnTo>
                      <a:pt x="0" y="39"/>
                    </a:lnTo>
                    <a:lnTo>
                      <a:pt x="8" y="16"/>
                    </a:lnTo>
                    <a:lnTo>
                      <a:pt x="13" y="14"/>
                    </a:lnTo>
                    <a:lnTo>
                      <a:pt x="22" y="8"/>
                    </a:lnTo>
                    <a:lnTo>
                      <a:pt x="30" y="19"/>
                    </a:lnTo>
                    <a:lnTo>
                      <a:pt x="33" y="25"/>
                    </a:lnTo>
                    <a:lnTo>
                      <a:pt x="33" y="22"/>
                    </a:lnTo>
                    <a:lnTo>
                      <a:pt x="33" y="25"/>
                    </a:lnTo>
                    <a:lnTo>
                      <a:pt x="36" y="28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47" y="28"/>
                    </a:lnTo>
                    <a:lnTo>
                      <a:pt x="47" y="30"/>
                    </a:lnTo>
                    <a:lnTo>
                      <a:pt x="47" y="33"/>
                    </a:lnTo>
                    <a:lnTo>
                      <a:pt x="50" y="28"/>
                    </a:lnTo>
                    <a:lnTo>
                      <a:pt x="52" y="25"/>
                    </a:lnTo>
                    <a:lnTo>
                      <a:pt x="52" y="5"/>
                    </a:lnTo>
                    <a:lnTo>
                      <a:pt x="52" y="5"/>
                    </a:lnTo>
                    <a:lnTo>
                      <a:pt x="55" y="2"/>
                    </a:lnTo>
                    <a:lnTo>
                      <a:pt x="58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5" y="2"/>
                    </a:lnTo>
                    <a:lnTo>
                      <a:pt x="80" y="5"/>
                    </a:lnTo>
                    <a:lnTo>
                      <a:pt x="80" y="8"/>
                    </a:lnTo>
                    <a:lnTo>
                      <a:pt x="86" y="14"/>
                    </a:lnTo>
                    <a:lnTo>
                      <a:pt x="89" y="14"/>
                    </a:lnTo>
                    <a:lnTo>
                      <a:pt x="91" y="14"/>
                    </a:lnTo>
                    <a:lnTo>
                      <a:pt x="97" y="11"/>
                    </a:lnTo>
                    <a:lnTo>
                      <a:pt x="100" y="14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5" y="19"/>
                    </a:lnTo>
                    <a:lnTo>
                      <a:pt x="105" y="22"/>
                    </a:lnTo>
                    <a:lnTo>
                      <a:pt x="108" y="22"/>
                    </a:lnTo>
                    <a:lnTo>
                      <a:pt x="105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6"/>
                    </a:lnTo>
                    <a:lnTo>
                      <a:pt x="114" y="47"/>
                    </a:lnTo>
                    <a:lnTo>
                      <a:pt x="114" y="53"/>
                    </a:lnTo>
                    <a:lnTo>
                      <a:pt x="111" y="53"/>
                    </a:lnTo>
                    <a:lnTo>
                      <a:pt x="105" y="58"/>
                    </a:lnTo>
                    <a:lnTo>
                      <a:pt x="105" y="61"/>
                    </a:lnTo>
                    <a:lnTo>
                      <a:pt x="103" y="64"/>
                    </a:lnTo>
                    <a:lnTo>
                      <a:pt x="100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7"/>
                    </a:lnTo>
                    <a:lnTo>
                      <a:pt x="91" y="69"/>
                    </a:lnTo>
                    <a:lnTo>
                      <a:pt x="89" y="67"/>
                    </a:lnTo>
                    <a:lnTo>
                      <a:pt x="86" y="67"/>
                    </a:lnTo>
                    <a:lnTo>
                      <a:pt x="86" y="67"/>
                    </a:lnTo>
                    <a:lnTo>
                      <a:pt x="80" y="58"/>
                    </a:lnTo>
                    <a:lnTo>
                      <a:pt x="72" y="53"/>
                    </a:lnTo>
                    <a:lnTo>
                      <a:pt x="66" y="53"/>
                    </a:lnTo>
                    <a:lnTo>
                      <a:pt x="66" y="53"/>
                    </a:lnTo>
                    <a:lnTo>
                      <a:pt x="64" y="47"/>
                    </a:lnTo>
                    <a:lnTo>
                      <a:pt x="61" y="44"/>
                    </a:lnTo>
                    <a:lnTo>
                      <a:pt x="58" y="47"/>
                    </a:lnTo>
                    <a:lnTo>
                      <a:pt x="55" y="50"/>
                    </a:lnTo>
                    <a:lnTo>
                      <a:pt x="50" y="50"/>
                    </a:lnTo>
                    <a:lnTo>
                      <a:pt x="41" y="47"/>
                    </a:lnTo>
                    <a:lnTo>
                      <a:pt x="36" y="47"/>
                    </a:lnTo>
                    <a:lnTo>
                      <a:pt x="33" y="47"/>
                    </a:lnTo>
                    <a:lnTo>
                      <a:pt x="30" y="47"/>
                    </a:lnTo>
                    <a:lnTo>
                      <a:pt x="30" y="47"/>
                    </a:lnTo>
                    <a:lnTo>
                      <a:pt x="27" y="47"/>
                    </a:lnTo>
                    <a:lnTo>
                      <a:pt x="25" y="47"/>
                    </a:lnTo>
                    <a:lnTo>
                      <a:pt x="16" y="47"/>
                    </a:lnTo>
                    <a:lnTo>
                      <a:pt x="8" y="50"/>
                    </a:lnTo>
                    <a:lnTo>
                      <a:pt x="5" y="55"/>
                    </a:lnTo>
                    <a:lnTo>
                      <a:pt x="2" y="55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8" name="Freeform 247"/>
              <p:cNvSpPr>
                <a:spLocks noChangeAspect="1"/>
              </p:cNvSpPr>
              <p:nvPr>
                <p:custDataLst>
                  <p:tags r:id="rId566"/>
                </p:custDataLst>
              </p:nvPr>
            </p:nvSpPr>
            <p:spPr bwMode="gray">
              <a:xfrm>
                <a:off x="5065718" y="2553845"/>
                <a:ext cx="7592" cy="3154"/>
              </a:xfrm>
              <a:custGeom>
                <a:avLst/>
                <a:gdLst>
                  <a:gd name="T0" fmla="*/ 5 w 5"/>
                  <a:gd name="T1" fmla="*/ 0 h 3"/>
                  <a:gd name="T2" fmla="*/ 3 w 5"/>
                  <a:gd name="T3" fmla="*/ 0 h 3"/>
                  <a:gd name="T4" fmla="*/ 0 w 5"/>
                  <a:gd name="T5" fmla="*/ 0 h 3"/>
                  <a:gd name="T6" fmla="*/ 0 w 5"/>
                  <a:gd name="T7" fmla="*/ 0 h 3"/>
                  <a:gd name="T8" fmla="*/ 0 w 5"/>
                  <a:gd name="T9" fmla="*/ 0 h 3"/>
                  <a:gd name="T10" fmla="*/ 3 w 5"/>
                  <a:gd name="T11" fmla="*/ 3 h 3"/>
                  <a:gd name="T12" fmla="*/ 5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9" name="Freeform 248"/>
              <p:cNvSpPr>
                <a:spLocks noChangeAspect="1"/>
              </p:cNvSpPr>
              <p:nvPr>
                <p:custDataLst>
                  <p:tags r:id="rId567"/>
                </p:custDataLst>
              </p:nvPr>
            </p:nvSpPr>
            <p:spPr bwMode="gray">
              <a:xfrm>
                <a:off x="5065718" y="2553845"/>
                <a:ext cx="7592" cy="3154"/>
              </a:xfrm>
              <a:custGeom>
                <a:avLst/>
                <a:gdLst>
                  <a:gd name="T0" fmla="*/ 5 w 5"/>
                  <a:gd name="T1" fmla="*/ 0 h 3"/>
                  <a:gd name="T2" fmla="*/ 3 w 5"/>
                  <a:gd name="T3" fmla="*/ 0 h 3"/>
                  <a:gd name="T4" fmla="*/ 0 w 5"/>
                  <a:gd name="T5" fmla="*/ 0 h 3"/>
                  <a:gd name="T6" fmla="*/ 0 w 5"/>
                  <a:gd name="T7" fmla="*/ 0 h 3"/>
                  <a:gd name="T8" fmla="*/ 0 w 5"/>
                  <a:gd name="T9" fmla="*/ 0 h 3"/>
                  <a:gd name="T10" fmla="*/ 3 w 5"/>
                  <a:gd name="T11" fmla="*/ 3 h 3"/>
                  <a:gd name="T12" fmla="*/ 5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0" name="Freeform 249"/>
              <p:cNvSpPr>
                <a:spLocks noChangeAspect="1"/>
              </p:cNvSpPr>
              <p:nvPr>
                <p:custDataLst>
                  <p:tags r:id="rId568"/>
                </p:custDataLst>
              </p:nvPr>
            </p:nvSpPr>
            <p:spPr bwMode="gray">
              <a:xfrm>
                <a:off x="5070272" y="2547539"/>
                <a:ext cx="9110" cy="14190"/>
              </a:xfrm>
              <a:custGeom>
                <a:avLst/>
                <a:gdLst>
                  <a:gd name="T0" fmla="*/ 8 w 8"/>
                  <a:gd name="T1" fmla="*/ 11 h 11"/>
                  <a:gd name="T2" fmla="*/ 8 w 8"/>
                  <a:gd name="T3" fmla="*/ 11 h 11"/>
                  <a:gd name="T4" fmla="*/ 8 w 8"/>
                  <a:gd name="T5" fmla="*/ 8 h 11"/>
                  <a:gd name="T6" fmla="*/ 2 w 8"/>
                  <a:gd name="T7" fmla="*/ 3 h 11"/>
                  <a:gd name="T8" fmla="*/ 0 w 8"/>
                  <a:gd name="T9" fmla="*/ 0 h 11"/>
                  <a:gd name="T10" fmla="*/ 0 w 8"/>
                  <a:gd name="T11" fmla="*/ 3 h 11"/>
                  <a:gd name="T12" fmla="*/ 0 w 8"/>
                  <a:gd name="T13" fmla="*/ 3 h 11"/>
                  <a:gd name="T14" fmla="*/ 2 w 8"/>
                  <a:gd name="T15" fmla="*/ 5 h 11"/>
                  <a:gd name="T16" fmla="*/ 5 w 8"/>
                  <a:gd name="T17" fmla="*/ 8 h 11"/>
                  <a:gd name="T18" fmla="*/ 5 w 8"/>
                  <a:gd name="T19" fmla="*/ 8 h 11"/>
                  <a:gd name="T20" fmla="*/ 5 w 8"/>
                  <a:gd name="T21" fmla="*/ 11 h 11"/>
                  <a:gd name="T22" fmla="*/ 8 w 8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lnTo>
                      <a:pt x="8" y="11"/>
                    </a:lnTo>
                    <a:lnTo>
                      <a:pt x="8" y="8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8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1" name="Freeform 250"/>
              <p:cNvSpPr>
                <a:spLocks noChangeAspect="1"/>
              </p:cNvSpPr>
              <p:nvPr>
                <p:custDataLst>
                  <p:tags r:id="rId569"/>
                </p:custDataLst>
              </p:nvPr>
            </p:nvSpPr>
            <p:spPr bwMode="gray">
              <a:xfrm>
                <a:off x="5070272" y="2547539"/>
                <a:ext cx="9110" cy="14190"/>
              </a:xfrm>
              <a:custGeom>
                <a:avLst/>
                <a:gdLst>
                  <a:gd name="T0" fmla="*/ 8 w 8"/>
                  <a:gd name="T1" fmla="*/ 11 h 11"/>
                  <a:gd name="T2" fmla="*/ 8 w 8"/>
                  <a:gd name="T3" fmla="*/ 11 h 11"/>
                  <a:gd name="T4" fmla="*/ 8 w 8"/>
                  <a:gd name="T5" fmla="*/ 8 h 11"/>
                  <a:gd name="T6" fmla="*/ 2 w 8"/>
                  <a:gd name="T7" fmla="*/ 3 h 11"/>
                  <a:gd name="T8" fmla="*/ 0 w 8"/>
                  <a:gd name="T9" fmla="*/ 0 h 11"/>
                  <a:gd name="T10" fmla="*/ 0 w 8"/>
                  <a:gd name="T11" fmla="*/ 3 h 11"/>
                  <a:gd name="T12" fmla="*/ 0 w 8"/>
                  <a:gd name="T13" fmla="*/ 3 h 11"/>
                  <a:gd name="T14" fmla="*/ 2 w 8"/>
                  <a:gd name="T15" fmla="*/ 5 h 11"/>
                  <a:gd name="T16" fmla="*/ 5 w 8"/>
                  <a:gd name="T17" fmla="*/ 8 h 11"/>
                  <a:gd name="T18" fmla="*/ 5 w 8"/>
                  <a:gd name="T19" fmla="*/ 8 h 11"/>
                  <a:gd name="T20" fmla="*/ 5 w 8"/>
                  <a:gd name="T21" fmla="*/ 11 h 11"/>
                  <a:gd name="T22" fmla="*/ 8 w 8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1">
                    <a:moveTo>
                      <a:pt x="8" y="11"/>
                    </a:moveTo>
                    <a:lnTo>
                      <a:pt x="8" y="11"/>
                    </a:lnTo>
                    <a:lnTo>
                      <a:pt x="8" y="8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8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2" name="Freeform 251"/>
              <p:cNvSpPr>
                <a:spLocks noChangeAspect="1"/>
              </p:cNvSpPr>
              <p:nvPr>
                <p:custDataLst>
                  <p:tags r:id="rId570"/>
                </p:custDataLst>
              </p:nvPr>
            </p:nvSpPr>
            <p:spPr bwMode="gray">
              <a:xfrm>
                <a:off x="5073309" y="2547539"/>
                <a:ext cx="12148" cy="9460"/>
              </a:xfrm>
              <a:custGeom>
                <a:avLst/>
                <a:gdLst>
                  <a:gd name="T0" fmla="*/ 6 w 9"/>
                  <a:gd name="T1" fmla="*/ 8 h 8"/>
                  <a:gd name="T2" fmla="*/ 9 w 9"/>
                  <a:gd name="T3" fmla="*/ 5 h 8"/>
                  <a:gd name="T4" fmla="*/ 9 w 9"/>
                  <a:gd name="T5" fmla="*/ 5 h 8"/>
                  <a:gd name="T6" fmla="*/ 6 w 9"/>
                  <a:gd name="T7" fmla="*/ 3 h 8"/>
                  <a:gd name="T8" fmla="*/ 3 w 9"/>
                  <a:gd name="T9" fmla="*/ 0 h 8"/>
                  <a:gd name="T10" fmla="*/ 3 w 9"/>
                  <a:gd name="T11" fmla="*/ 0 h 8"/>
                  <a:gd name="T12" fmla="*/ 0 w 9"/>
                  <a:gd name="T13" fmla="*/ 0 h 8"/>
                  <a:gd name="T14" fmla="*/ 3 w 9"/>
                  <a:gd name="T15" fmla="*/ 3 h 8"/>
                  <a:gd name="T16" fmla="*/ 3 w 9"/>
                  <a:gd name="T17" fmla="*/ 3 h 8"/>
                  <a:gd name="T18" fmla="*/ 6 w 9"/>
                  <a:gd name="T19" fmla="*/ 5 h 8"/>
                  <a:gd name="T20" fmla="*/ 6 w 9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6" y="8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5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3" name="Freeform 252"/>
              <p:cNvSpPr>
                <a:spLocks noChangeAspect="1"/>
              </p:cNvSpPr>
              <p:nvPr>
                <p:custDataLst>
                  <p:tags r:id="rId571"/>
                </p:custDataLst>
              </p:nvPr>
            </p:nvSpPr>
            <p:spPr bwMode="gray">
              <a:xfrm>
                <a:off x="5073309" y="2547539"/>
                <a:ext cx="12148" cy="9460"/>
              </a:xfrm>
              <a:custGeom>
                <a:avLst/>
                <a:gdLst>
                  <a:gd name="T0" fmla="*/ 6 w 9"/>
                  <a:gd name="T1" fmla="*/ 8 h 8"/>
                  <a:gd name="T2" fmla="*/ 9 w 9"/>
                  <a:gd name="T3" fmla="*/ 5 h 8"/>
                  <a:gd name="T4" fmla="*/ 9 w 9"/>
                  <a:gd name="T5" fmla="*/ 5 h 8"/>
                  <a:gd name="T6" fmla="*/ 6 w 9"/>
                  <a:gd name="T7" fmla="*/ 3 h 8"/>
                  <a:gd name="T8" fmla="*/ 3 w 9"/>
                  <a:gd name="T9" fmla="*/ 0 h 8"/>
                  <a:gd name="T10" fmla="*/ 3 w 9"/>
                  <a:gd name="T11" fmla="*/ 0 h 8"/>
                  <a:gd name="T12" fmla="*/ 0 w 9"/>
                  <a:gd name="T13" fmla="*/ 0 h 8"/>
                  <a:gd name="T14" fmla="*/ 3 w 9"/>
                  <a:gd name="T15" fmla="*/ 3 h 8"/>
                  <a:gd name="T16" fmla="*/ 3 w 9"/>
                  <a:gd name="T17" fmla="*/ 3 h 8"/>
                  <a:gd name="T18" fmla="*/ 6 w 9"/>
                  <a:gd name="T19" fmla="*/ 5 h 8"/>
                  <a:gd name="T20" fmla="*/ 6 w 9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6" y="8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5"/>
                    </a:lnTo>
                    <a:lnTo>
                      <a:pt x="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4" name="Freeform 253"/>
              <p:cNvSpPr>
                <a:spLocks noChangeAspect="1"/>
              </p:cNvSpPr>
              <p:nvPr>
                <p:custDataLst>
                  <p:tags r:id="rId572"/>
                </p:custDataLst>
              </p:nvPr>
            </p:nvSpPr>
            <p:spPr bwMode="gray">
              <a:xfrm>
                <a:off x="5079384" y="2547539"/>
                <a:ext cx="7593" cy="3154"/>
              </a:xfrm>
              <a:custGeom>
                <a:avLst/>
                <a:gdLst>
                  <a:gd name="T0" fmla="*/ 3 w 6"/>
                  <a:gd name="T1" fmla="*/ 0 h 3"/>
                  <a:gd name="T2" fmla="*/ 6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3 h 3"/>
                  <a:gd name="T10" fmla="*/ 3 w 6"/>
                  <a:gd name="T11" fmla="*/ 3 h 3"/>
                  <a:gd name="T12" fmla="*/ 3 w 6"/>
                  <a:gd name="T13" fmla="*/ 3 h 3"/>
                  <a:gd name="T14" fmla="*/ 3 w 6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5" name="Freeform 254"/>
              <p:cNvSpPr>
                <a:spLocks noChangeAspect="1"/>
              </p:cNvSpPr>
              <p:nvPr>
                <p:custDataLst>
                  <p:tags r:id="rId573"/>
                </p:custDataLst>
              </p:nvPr>
            </p:nvSpPr>
            <p:spPr bwMode="gray">
              <a:xfrm>
                <a:off x="5079384" y="2547539"/>
                <a:ext cx="7593" cy="3154"/>
              </a:xfrm>
              <a:custGeom>
                <a:avLst/>
                <a:gdLst>
                  <a:gd name="T0" fmla="*/ 3 w 6"/>
                  <a:gd name="T1" fmla="*/ 0 h 3"/>
                  <a:gd name="T2" fmla="*/ 6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3 h 3"/>
                  <a:gd name="T10" fmla="*/ 3 w 6"/>
                  <a:gd name="T11" fmla="*/ 3 h 3"/>
                  <a:gd name="T12" fmla="*/ 3 w 6"/>
                  <a:gd name="T13" fmla="*/ 3 h 3"/>
                  <a:gd name="T14" fmla="*/ 3 w 6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6" name="Freeform 255"/>
              <p:cNvSpPr>
                <a:spLocks noChangeAspect="1"/>
              </p:cNvSpPr>
              <p:nvPr>
                <p:custDataLst>
                  <p:tags r:id="rId574"/>
                </p:custDataLst>
              </p:nvPr>
            </p:nvSpPr>
            <p:spPr bwMode="gray">
              <a:xfrm>
                <a:off x="5076347" y="2566460"/>
                <a:ext cx="9110" cy="3154"/>
              </a:xfrm>
              <a:custGeom>
                <a:avLst/>
                <a:gdLst>
                  <a:gd name="T0" fmla="*/ 6 w 6"/>
                  <a:gd name="T1" fmla="*/ 3 h 3"/>
                  <a:gd name="T2" fmla="*/ 6 w 6"/>
                  <a:gd name="T3" fmla="*/ 0 h 3"/>
                  <a:gd name="T4" fmla="*/ 3 w 6"/>
                  <a:gd name="T5" fmla="*/ 0 h 3"/>
                  <a:gd name="T6" fmla="*/ 3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3 w 6"/>
                  <a:gd name="T13" fmla="*/ 0 h 3"/>
                  <a:gd name="T14" fmla="*/ 3 w 6"/>
                  <a:gd name="T15" fmla="*/ 3 h 3"/>
                  <a:gd name="T16" fmla="*/ 3 w 6"/>
                  <a:gd name="T17" fmla="*/ 3 h 3"/>
                  <a:gd name="T18" fmla="*/ 6 w 6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7" name="Freeform 256"/>
              <p:cNvSpPr>
                <a:spLocks noChangeAspect="1"/>
              </p:cNvSpPr>
              <p:nvPr>
                <p:custDataLst>
                  <p:tags r:id="rId575"/>
                </p:custDataLst>
              </p:nvPr>
            </p:nvSpPr>
            <p:spPr bwMode="gray">
              <a:xfrm>
                <a:off x="5076347" y="2571189"/>
                <a:ext cx="3037" cy="12614"/>
              </a:xfrm>
              <a:custGeom>
                <a:avLst/>
                <a:gdLst>
                  <a:gd name="T0" fmla="*/ 0 w 3"/>
                  <a:gd name="T1" fmla="*/ 3 h 9"/>
                  <a:gd name="T2" fmla="*/ 0 w 3"/>
                  <a:gd name="T3" fmla="*/ 0 h 9"/>
                  <a:gd name="T4" fmla="*/ 0 w 3"/>
                  <a:gd name="T5" fmla="*/ 3 h 9"/>
                  <a:gd name="T6" fmla="*/ 0 w 3"/>
                  <a:gd name="T7" fmla="*/ 9 h 9"/>
                  <a:gd name="T8" fmla="*/ 0 w 3"/>
                  <a:gd name="T9" fmla="*/ 9 h 9"/>
                  <a:gd name="T10" fmla="*/ 0 w 3"/>
                  <a:gd name="T11" fmla="*/ 9 h 9"/>
                  <a:gd name="T12" fmla="*/ 3 w 3"/>
                  <a:gd name="T13" fmla="*/ 9 h 9"/>
                  <a:gd name="T14" fmla="*/ 3 w 3"/>
                  <a:gd name="T15" fmla="*/ 6 h 9"/>
                  <a:gd name="T16" fmla="*/ 3 w 3"/>
                  <a:gd name="T17" fmla="*/ 6 h 9"/>
                  <a:gd name="T18" fmla="*/ 0 w 3"/>
                  <a:gd name="T1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9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8" name="Freeform 257"/>
              <p:cNvSpPr>
                <a:spLocks noChangeAspect="1"/>
              </p:cNvSpPr>
              <p:nvPr>
                <p:custDataLst>
                  <p:tags r:id="rId576"/>
                </p:custDataLst>
              </p:nvPr>
            </p:nvSpPr>
            <p:spPr bwMode="gray">
              <a:xfrm>
                <a:off x="5076347" y="2571189"/>
                <a:ext cx="3037" cy="12614"/>
              </a:xfrm>
              <a:custGeom>
                <a:avLst/>
                <a:gdLst>
                  <a:gd name="T0" fmla="*/ 0 w 3"/>
                  <a:gd name="T1" fmla="*/ 3 h 9"/>
                  <a:gd name="T2" fmla="*/ 0 w 3"/>
                  <a:gd name="T3" fmla="*/ 0 h 9"/>
                  <a:gd name="T4" fmla="*/ 0 w 3"/>
                  <a:gd name="T5" fmla="*/ 3 h 9"/>
                  <a:gd name="T6" fmla="*/ 0 w 3"/>
                  <a:gd name="T7" fmla="*/ 9 h 9"/>
                  <a:gd name="T8" fmla="*/ 0 w 3"/>
                  <a:gd name="T9" fmla="*/ 9 h 9"/>
                  <a:gd name="T10" fmla="*/ 0 w 3"/>
                  <a:gd name="T11" fmla="*/ 9 h 9"/>
                  <a:gd name="T12" fmla="*/ 3 w 3"/>
                  <a:gd name="T13" fmla="*/ 9 h 9"/>
                  <a:gd name="T14" fmla="*/ 3 w 3"/>
                  <a:gd name="T15" fmla="*/ 6 h 9"/>
                  <a:gd name="T16" fmla="*/ 3 w 3"/>
                  <a:gd name="T17" fmla="*/ 6 h 9"/>
                  <a:gd name="T18" fmla="*/ 0 w 3"/>
                  <a:gd name="T1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9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9" name="Freeform 258"/>
              <p:cNvSpPr>
                <a:spLocks noChangeAspect="1"/>
              </p:cNvSpPr>
              <p:nvPr>
                <p:custDataLst>
                  <p:tags r:id="rId577"/>
                </p:custDataLst>
              </p:nvPr>
            </p:nvSpPr>
            <p:spPr bwMode="gray">
              <a:xfrm>
                <a:off x="5512144" y="2818739"/>
                <a:ext cx="6074" cy="7884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3 h 6"/>
                  <a:gd name="T4" fmla="*/ 3 w 6"/>
                  <a:gd name="T5" fmla="*/ 0 h 6"/>
                  <a:gd name="T6" fmla="*/ 0 w 6"/>
                  <a:gd name="T7" fmla="*/ 0 h 6"/>
                  <a:gd name="T8" fmla="*/ 0 w 6"/>
                  <a:gd name="T9" fmla="*/ 3 h 6"/>
                  <a:gd name="T10" fmla="*/ 3 w 6"/>
                  <a:gd name="T11" fmla="*/ 6 h 6"/>
                  <a:gd name="T12" fmla="*/ 3 w 6"/>
                  <a:gd name="T13" fmla="*/ 6 h 6"/>
                  <a:gd name="T14" fmla="*/ 6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0" name="Freeform 259"/>
              <p:cNvSpPr>
                <a:spLocks noChangeAspect="1"/>
              </p:cNvSpPr>
              <p:nvPr>
                <p:custDataLst>
                  <p:tags r:id="rId578"/>
                </p:custDataLst>
              </p:nvPr>
            </p:nvSpPr>
            <p:spPr bwMode="gray">
              <a:xfrm>
                <a:off x="5512144" y="2818739"/>
                <a:ext cx="6074" cy="7884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3 h 6"/>
                  <a:gd name="T4" fmla="*/ 3 w 6"/>
                  <a:gd name="T5" fmla="*/ 0 h 6"/>
                  <a:gd name="T6" fmla="*/ 0 w 6"/>
                  <a:gd name="T7" fmla="*/ 0 h 6"/>
                  <a:gd name="T8" fmla="*/ 0 w 6"/>
                  <a:gd name="T9" fmla="*/ 3 h 6"/>
                  <a:gd name="T10" fmla="*/ 3 w 6"/>
                  <a:gd name="T11" fmla="*/ 6 h 6"/>
                  <a:gd name="T12" fmla="*/ 3 w 6"/>
                  <a:gd name="T13" fmla="*/ 6 h 6"/>
                  <a:gd name="T14" fmla="*/ 6 w 6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1" name="Freeform 260"/>
              <p:cNvSpPr>
                <a:spLocks noChangeAspect="1"/>
              </p:cNvSpPr>
              <p:nvPr>
                <p:custDataLst>
                  <p:tags r:id="rId579"/>
                </p:custDataLst>
              </p:nvPr>
            </p:nvSpPr>
            <p:spPr bwMode="gray">
              <a:xfrm>
                <a:off x="5452924" y="2831351"/>
                <a:ext cx="12148" cy="11037"/>
              </a:xfrm>
              <a:custGeom>
                <a:avLst/>
                <a:gdLst>
                  <a:gd name="T0" fmla="*/ 3 w 8"/>
                  <a:gd name="T1" fmla="*/ 0 h 8"/>
                  <a:gd name="T2" fmla="*/ 3 w 8"/>
                  <a:gd name="T3" fmla="*/ 0 h 8"/>
                  <a:gd name="T4" fmla="*/ 3 w 8"/>
                  <a:gd name="T5" fmla="*/ 0 h 8"/>
                  <a:gd name="T6" fmla="*/ 5 w 8"/>
                  <a:gd name="T7" fmla="*/ 0 h 8"/>
                  <a:gd name="T8" fmla="*/ 8 w 8"/>
                  <a:gd name="T9" fmla="*/ 3 h 8"/>
                  <a:gd name="T10" fmla="*/ 8 w 8"/>
                  <a:gd name="T11" fmla="*/ 3 h 8"/>
                  <a:gd name="T12" fmla="*/ 5 w 8"/>
                  <a:gd name="T13" fmla="*/ 5 h 8"/>
                  <a:gd name="T14" fmla="*/ 5 w 8"/>
                  <a:gd name="T15" fmla="*/ 8 h 8"/>
                  <a:gd name="T16" fmla="*/ 3 w 8"/>
                  <a:gd name="T17" fmla="*/ 8 h 8"/>
                  <a:gd name="T18" fmla="*/ 3 w 8"/>
                  <a:gd name="T19" fmla="*/ 5 h 8"/>
                  <a:gd name="T20" fmla="*/ 3 w 8"/>
                  <a:gd name="T21" fmla="*/ 3 h 8"/>
                  <a:gd name="T22" fmla="*/ 3 w 8"/>
                  <a:gd name="T23" fmla="*/ 3 h 8"/>
                  <a:gd name="T24" fmla="*/ 3 w 8"/>
                  <a:gd name="T25" fmla="*/ 3 h 8"/>
                  <a:gd name="T26" fmla="*/ 0 w 8"/>
                  <a:gd name="T27" fmla="*/ 0 h 8"/>
                  <a:gd name="T28" fmla="*/ 0 w 8"/>
                  <a:gd name="T29" fmla="*/ 0 h 8"/>
                  <a:gd name="T30" fmla="*/ 3 w 8"/>
                  <a:gd name="T3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2" name="Freeform 261"/>
              <p:cNvSpPr>
                <a:spLocks noChangeAspect="1"/>
              </p:cNvSpPr>
              <p:nvPr>
                <p:custDataLst>
                  <p:tags r:id="rId580"/>
                </p:custDataLst>
              </p:nvPr>
            </p:nvSpPr>
            <p:spPr bwMode="gray">
              <a:xfrm>
                <a:off x="5452924" y="2831351"/>
                <a:ext cx="12148" cy="11037"/>
              </a:xfrm>
              <a:custGeom>
                <a:avLst/>
                <a:gdLst>
                  <a:gd name="T0" fmla="*/ 3 w 8"/>
                  <a:gd name="T1" fmla="*/ 0 h 8"/>
                  <a:gd name="T2" fmla="*/ 3 w 8"/>
                  <a:gd name="T3" fmla="*/ 0 h 8"/>
                  <a:gd name="T4" fmla="*/ 3 w 8"/>
                  <a:gd name="T5" fmla="*/ 0 h 8"/>
                  <a:gd name="T6" fmla="*/ 5 w 8"/>
                  <a:gd name="T7" fmla="*/ 0 h 8"/>
                  <a:gd name="T8" fmla="*/ 8 w 8"/>
                  <a:gd name="T9" fmla="*/ 3 h 8"/>
                  <a:gd name="T10" fmla="*/ 8 w 8"/>
                  <a:gd name="T11" fmla="*/ 3 h 8"/>
                  <a:gd name="T12" fmla="*/ 5 w 8"/>
                  <a:gd name="T13" fmla="*/ 5 h 8"/>
                  <a:gd name="T14" fmla="*/ 5 w 8"/>
                  <a:gd name="T15" fmla="*/ 8 h 8"/>
                  <a:gd name="T16" fmla="*/ 3 w 8"/>
                  <a:gd name="T17" fmla="*/ 8 h 8"/>
                  <a:gd name="T18" fmla="*/ 3 w 8"/>
                  <a:gd name="T19" fmla="*/ 5 h 8"/>
                  <a:gd name="T20" fmla="*/ 3 w 8"/>
                  <a:gd name="T21" fmla="*/ 3 h 8"/>
                  <a:gd name="T22" fmla="*/ 3 w 8"/>
                  <a:gd name="T23" fmla="*/ 3 h 8"/>
                  <a:gd name="T24" fmla="*/ 3 w 8"/>
                  <a:gd name="T25" fmla="*/ 3 h 8"/>
                  <a:gd name="T26" fmla="*/ 0 w 8"/>
                  <a:gd name="T27" fmla="*/ 0 h 8"/>
                  <a:gd name="T28" fmla="*/ 0 w 8"/>
                  <a:gd name="T29" fmla="*/ 0 h 8"/>
                  <a:gd name="T30" fmla="*/ 3 w 8"/>
                  <a:gd name="T3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3" name="Freeform 262"/>
              <p:cNvSpPr>
                <a:spLocks noChangeAspect="1"/>
              </p:cNvSpPr>
              <p:nvPr>
                <p:custDataLst>
                  <p:tags r:id="rId581"/>
                </p:custDataLst>
              </p:nvPr>
            </p:nvSpPr>
            <p:spPr bwMode="gray">
              <a:xfrm>
                <a:off x="5440777" y="2831351"/>
                <a:ext cx="16704" cy="11037"/>
              </a:xfrm>
              <a:custGeom>
                <a:avLst/>
                <a:gdLst>
                  <a:gd name="T0" fmla="*/ 5 w 14"/>
                  <a:gd name="T1" fmla="*/ 0 h 8"/>
                  <a:gd name="T2" fmla="*/ 5 w 14"/>
                  <a:gd name="T3" fmla="*/ 0 h 8"/>
                  <a:gd name="T4" fmla="*/ 5 w 14"/>
                  <a:gd name="T5" fmla="*/ 0 h 8"/>
                  <a:gd name="T6" fmla="*/ 5 w 14"/>
                  <a:gd name="T7" fmla="*/ 0 h 8"/>
                  <a:gd name="T8" fmla="*/ 8 w 14"/>
                  <a:gd name="T9" fmla="*/ 3 h 8"/>
                  <a:gd name="T10" fmla="*/ 8 w 14"/>
                  <a:gd name="T11" fmla="*/ 3 h 8"/>
                  <a:gd name="T12" fmla="*/ 8 w 14"/>
                  <a:gd name="T13" fmla="*/ 3 h 8"/>
                  <a:gd name="T14" fmla="*/ 11 w 14"/>
                  <a:gd name="T15" fmla="*/ 3 h 8"/>
                  <a:gd name="T16" fmla="*/ 11 w 14"/>
                  <a:gd name="T17" fmla="*/ 0 h 8"/>
                  <a:gd name="T18" fmla="*/ 11 w 14"/>
                  <a:gd name="T19" fmla="*/ 0 h 8"/>
                  <a:gd name="T20" fmla="*/ 11 w 14"/>
                  <a:gd name="T21" fmla="*/ 3 h 8"/>
                  <a:gd name="T22" fmla="*/ 11 w 14"/>
                  <a:gd name="T23" fmla="*/ 3 h 8"/>
                  <a:gd name="T24" fmla="*/ 14 w 14"/>
                  <a:gd name="T25" fmla="*/ 5 h 8"/>
                  <a:gd name="T26" fmla="*/ 11 w 14"/>
                  <a:gd name="T27" fmla="*/ 8 h 8"/>
                  <a:gd name="T28" fmla="*/ 8 w 14"/>
                  <a:gd name="T29" fmla="*/ 5 h 8"/>
                  <a:gd name="T30" fmla="*/ 8 w 14"/>
                  <a:gd name="T31" fmla="*/ 8 h 8"/>
                  <a:gd name="T32" fmla="*/ 8 w 14"/>
                  <a:gd name="T33" fmla="*/ 8 h 8"/>
                  <a:gd name="T34" fmla="*/ 5 w 14"/>
                  <a:gd name="T35" fmla="*/ 5 h 8"/>
                  <a:gd name="T36" fmla="*/ 2 w 14"/>
                  <a:gd name="T37" fmla="*/ 3 h 8"/>
                  <a:gd name="T38" fmla="*/ 0 w 14"/>
                  <a:gd name="T39" fmla="*/ 3 h 8"/>
                  <a:gd name="T40" fmla="*/ 2 w 14"/>
                  <a:gd name="T41" fmla="*/ 3 h 8"/>
                  <a:gd name="T42" fmla="*/ 2 w 14"/>
                  <a:gd name="T43" fmla="*/ 3 h 8"/>
                  <a:gd name="T44" fmla="*/ 2 w 14"/>
                  <a:gd name="T45" fmla="*/ 3 h 8"/>
                  <a:gd name="T46" fmla="*/ 0 w 14"/>
                  <a:gd name="T47" fmla="*/ 0 h 8"/>
                  <a:gd name="T48" fmla="*/ 2 w 14"/>
                  <a:gd name="T49" fmla="*/ 0 h 8"/>
                  <a:gd name="T50" fmla="*/ 5 w 14"/>
                  <a:gd name="T51" fmla="*/ 0 h 8"/>
                  <a:gd name="T52" fmla="*/ 5 w 14"/>
                  <a:gd name="T5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" h="8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4" name="Freeform 263"/>
              <p:cNvSpPr>
                <a:spLocks noChangeAspect="1"/>
              </p:cNvSpPr>
              <p:nvPr>
                <p:custDataLst>
                  <p:tags r:id="rId582"/>
                </p:custDataLst>
              </p:nvPr>
            </p:nvSpPr>
            <p:spPr bwMode="gray">
              <a:xfrm>
                <a:off x="5440777" y="2831351"/>
                <a:ext cx="16704" cy="11037"/>
              </a:xfrm>
              <a:custGeom>
                <a:avLst/>
                <a:gdLst>
                  <a:gd name="T0" fmla="*/ 5 w 14"/>
                  <a:gd name="T1" fmla="*/ 0 h 8"/>
                  <a:gd name="T2" fmla="*/ 5 w 14"/>
                  <a:gd name="T3" fmla="*/ 0 h 8"/>
                  <a:gd name="T4" fmla="*/ 5 w 14"/>
                  <a:gd name="T5" fmla="*/ 0 h 8"/>
                  <a:gd name="T6" fmla="*/ 5 w 14"/>
                  <a:gd name="T7" fmla="*/ 0 h 8"/>
                  <a:gd name="T8" fmla="*/ 8 w 14"/>
                  <a:gd name="T9" fmla="*/ 3 h 8"/>
                  <a:gd name="T10" fmla="*/ 8 w 14"/>
                  <a:gd name="T11" fmla="*/ 3 h 8"/>
                  <a:gd name="T12" fmla="*/ 8 w 14"/>
                  <a:gd name="T13" fmla="*/ 3 h 8"/>
                  <a:gd name="T14" fmla="*/ 11 w 14"/>
                  <a:gd name="T15" fmla="*/ 3 h 8"/>
                  <a:gd name="T16" fmla="*/ 11 w 14"/>
                  <a:gd name="T17" fmla="*/ 0 h 8"/>
                  <a:gd name="T18" fmla="*/ 11 w 14"/>
                  <a:gd name="T19" fmla="*/ 0 h 8"/>
                  <a:gd name="T20" fmla="*/ 11 w 14"/>
                  <a:gd name="T21" fmla="*/ 3 h 8"/>
                  <a:gd name="T22" fmla="*/ 11 w 14"/>
                  <a:gd name="T23" fmla="*/ 3 h 8"/>
                  <a:gd name="T24" fmla="*/ 14 w 14"/>
                  <a:gd name="T25" fmla="*/ 5 h 8"/>
                  <a:gd name="T26" fmla="*/ 11 w 14"/>
                  <a:gd name="T27" fmla="*/ 8 h 8"/>
                  <a:gd name="T28" fmla="*/ 8 w 14"/>
                  <a:gd name="T29" fmla="*/ 5 h 8"/>
                  <a:gd name="T30" fmla="*/ 8 w 14"/>
                  <a:gd name="T31" fmla="*/ 8 h 8"/>
                  <a:gd name="T32" fmla="*/ 8 w 14"/>
                  <a:gd name="T33" fmla="*/ 8 h 8"/>
                  <a:gd name="T34" fmla="*/ 5 w 14"/>
                  <a:gd name="T35" fmla="*/ 5 h 8"/>
                  <a:gd name="T36" fmla="*/ 2 w 14"/>
                  <a:gd name="T37" fmla="*/ 3 h 8"/>
                  <a:gd name="T38" fmla="*/ 0 w 14"/>
                  <a:gd name="T39" fmla="*/ 3 h 8"/>
                  <a:gd name="T40" fmla="*/ 2 w 14"/>
                  <a:gd name="T41" fmla="*/ 3 h 8"/>
                  <a:gd name="T42" fmla="*/ 2 w 14"/>
                  <a:gd name="T43" fmla="*/ 3 h 8"/>
                  <a:gd name="T44" fmla="*/ 2 w 14"/>
                  <a:gd name="T45" fmla="*/ 3 h 8"/>
                  <a:gd name="T46" fmla="*/ 0 w 14"/>
                  <a:gd name="T47" fmla="*/ 0 h 8"/>
                  <a:gd name="T48" fmla="*/ 2 w 14"/>
                  <a:gd name="T49" fmla="*/ 0 h 8"/>
                  <a:gd name="T50" fmla="*/ 5 w 14"/>
                  <a:gd name="T51" fmla="*/ 0 h 8"/>
                  <a:gd name="T52" fmla="*/ 5 w 14"/>
                  <a:gd name="T5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" h="8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5" name="Freeform 264"/>
              <p:cNvSpPr>
                <a:spLocks noChangeAspect="1"/>
              </p:cNvSpPr>
              <p:nvPr>
                <p:custDataLst>
                  <p:tags r:id="rId583"/>
                </p:custDataLst>
              </p:nvPr>
            </p:nvSpPr>
            <p:spPr bwMode="gray">
              <a:xfrm>
                <a:off x="5414962" y="2804546"/>
                <a:ext cx="25813" cy="22075"/>
              </a:xfrm>
              <a:custGeom>
                <a:avLst/>
                <a:gdLst>
                  <a:gd name="T0" fmla="*/ 6 w 20"/>
                  <a:gd name="T1" fmla="*/ 3 h 17"/>
                  <a:gd name="T2" fmla="*/ 6 w 20"/>
                  <a:gd name="T3" fmla="*/ 3 h 17"/>
                  <a:gd name="T4" fmla="*/ 11 w 20"/>
                  <a:gd name="T5" fmla="*/ 0 h 17"/>
                  <a:gd name="T6" fmla="*/ 11 w 20"/>
                  <a:gd name="T7" fmla="*/ 3 h 17"/>
                  <a:gd name="T8" fmla="*/ 14 w 20"/>
                  <a:gd name="T9" fmla="*/ 3 h 17"/>
                  <a:gd name="T10" fmla="*/ 14 w 20"/>
                  <a:gd name="T11" fmla="*/ 0 h 17"/>
                  <a:gd name="T12" fmla="*/ 14 w 20"/>
                  <a:gd name="T13" fmla="*/ 0 h 17"/>
                  <a:gd name="T14" fmla="*/ 17 w 20"/>
                  <a:gd name="T15" fmla="*/ 3 h 17"/>
                  <a:gd name="T16" fmla="*/ 17 w 20"/>
                  <a:gd name="T17" fmla="*/ 6 h 17"/>
                  <a:gd name="T18" fmla="*/ 17 w 20"/>
                  <a:gd name="T19" fmla="*/ 9 h 17"/>
                  <a:gd name="T20" fmla="*/ 17 w 20"/>
                  <a:gd name="T21" fmla="*/ 9 h 17"/>
                  <a:gd name="T22" fmla="*/ 20 w 20"/>
                  <a:gd name="T23" fmla="*/ 9 h 17"/>
                  <a:gd name="T24" fmla="*/ 20 w 20"/>
                  <a:gd name="T25" fmla="*/ 11 h 17"/>
                  <a:gd name="T26" fmla="*/ 17 w 20"/>
                  <a:gd name="T27" fmla="*/ 11 h 17"/>
                  <a:gd name="T28" fmla="*/ 17 w 20"/>
                  <a:gd name="T29" fmla="*/ 14 h 17"/>
                  <a:gd name="T30" fmla="*/ 14 w 20"/>
                  <a:gd name="T31" fmla="*/ 17 h 17"/>
                  <a:gd name="T32" fmla="*/ 14 w 20"/>
                  <a:gd name="T33" fmla="*/ 17 h 17"/>
                  <a:gd name="T34" fmla="*/ 11 w 20"/>
                  <a:gd name="T35" fmla="*/ 17 h 17"/>
                  <a:gd name="T36" fmla="*/ 8 w 20"/>
                  <a:gd name="T37" fmla="*/ 14 h 17"/>
                  <a:gd name="T38" fmla="*/ 6 w 20"/>
                  <a:gd name="T39" fmla="*/ 17 h 17"/>
                  <a:gd name="T40" fmla="*/ 6 w 20"/>
                  <a:gd name="T41" fmla="*/ 14 h 17"/>
                  <a:gd name="T42" fmla="*/ 8 w 20"/>
                  <a:gd name="T43" fmla="*/ 14 h 17"/>
                  <a:gd name="T44" fmla="*/ 6 w 20"/>
                  <a:gd name="T45" fmla="*/ 14 h 17"/>
                  <a:gd name="T46" fmla="*/ 3 w 20"/>
                  <a:gd name="T47" fmla="*/ 11 h 17"/>
                  <a:gd name="T48" fmla="*/ 3 w 20"/>
                  <a:gd name="T49" fmla="*/ 9 h 17"/>
                  <a:gd name="T50" fmla="*/ 0 w 20"/>
                  <a:gd name="T51" fmla="*/ 9 h 17"/>
                  <a:gd name="T52" fmla="*/ 3 w 20"/>
                  <a:gd name="T53" fmla="*/ 6 h 17"/>
                  <a:gd name="T54" fmla="*/ 0 w 20"/>
                  <a:gd name="T55" fmla="*/ 6 h 17"/>
                  <a:gd name="T56" fmla="*/ 0 w 20"/>
                  <a:gd name="T57" fmla="*/ 6 h 17"/>
                  <a:gd name="T58" fmla="*/ 0 w 20"/>
                  <a:gd name="T59" fmla="*/ 6 h 17"/>
                  <a:gd name="T60" fmla="*/ 0 w 20"/>
                  <a:gd name="T61" fmla="*/ 3 h 17"/>
                  <a:gd name="T62" fmla="*/ 0 w 20"/>
                  <a:gd name="T63" fmla="*/ 3 h 17"/>
                  <a:gd name="T64" fmla="*/ 3 w 20"/>
                  <a:gd name="T65" fmla="*/ 3 h 17"/>
                  <a:gd name="T66" fmla="*/ 3 w 20"/>
                  <a:gd name="T67" fmla="*/ 3 h 17"/>
                  <a:gd name="T68" fmla="*/ 6 w 20"/>
                  <a:gd name="T69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" h="17">
                    <a:moveTo>
                      <a:pt x="6" y="3"/>
                    </a:moveTo>
                    <a:lnTo>
                      <a:pt x="6" y="3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7" y="14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1" y="17"/>
                    </a:lnTo>
                    <a:lnTo>
                      <a:pt x="8" y="14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6" name="Freeform 265"/>
              <p:cNvSpPr>
                <a:spLocks noChangeAspect="1"/>
              </p:cNvSpPr>
              <p:nvPr>
                <p:custDataLst>
                  <p:tags r:id="rId584"/>
                </p:custDataLst>
              </p:nvPr>
            </p:nvSpPr>
            <p:spPr bwMode="gray">
              <a:xfrm>
                <a:off x="5431665" y="2823468"/>
                <a:ext cx="9110" cy="14192"/>
              </a:xfrm>
              <a:custGeom>
                <a:avLst/>
                <a:gdLst>
                  <a:gd name="T0" fmla="*/ 3 w 6"/>
                  <a:gd name="T1" fmla="*/ 3 h 11"/>
                  <a:gd name="T2" fmla="*/ 3 w 6"/>
                  <a:gd name="T3" fmla="*/ 0 h 11"/>
                  <a:gd name="T4" fmla="*/ 6 w 6"/>
                  <a:gd name="T5" fmla="*/ 0 h 11"/>
                  <a:gd name="T6" fmla="*/ 6 w 6"/>
                  <a:gd name="T7" fmla="*/ 0 h 11"/>
                  <a:gd name="T8" fmla="*/ 6 w 6"/>
                  <a:gd name="T9" fmla="*/ 3 h 11"/>
                  <a:gd name="T10" fmla="*/ 3 w 6"/>
                  <a:gd name="T11" fmla="*/ 6 h 11"/>
                  <a:gd name="T12" fmla="*/ 3 w 6"/>
                  <a:gd name="T13" fmla="*/ 9 h 11"/>
                  <a:gd name="T14" fmla="*/ 3 w 6"/>
                  <a:gd name="T15" fmla="*/ 9 h 11"/>
                  <a:gd name="T16" fmla="*/ 3 w 6"/>
                  <a:gd name="T17" fmla="*/ 11 h 11"/>
                  <a:gd name="T18" fmla="*/ 3 w 6"/>
                  <a:gd name="T19" fmla="*/ 11 h 11"/>
                  <a:gd name="T20" fmla="*/ 3 w 6"/>
                  <a:gd name="T21" fmla="*/ 9 h 11"/>
                  <a:gd name="T22" fmla="*/ 0 w 6"/>
                  <a:gd name="T23" fmla="*/ 9 h 11"/>
                  <a:gd name="T24" fmla="*/ 3 w 6"/>
                  <a:gd name="T25" fmla="*/ 6 h 11"/>
                  <a:gd name="T26" fmla="*/ 3 w 6"/>
                  <a:gd name="T27" fmla="*/ 3 h 11"/>
                  <a:gd name="T28" fmla="*/ 3 w 6"/>
                  <a:gd name="T29" fmla="*/ 3 h 11"/>
                  <a:gd name="T30" fmla="*/ 3 w 6"/>
                  <a:gd name="T31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11">
                    <a:moveTo>
                      <a:pt x="3" y="3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7" name="Freeform 266"/>
              <p:cNvSpPr>
                <a:spLocks noChangeAspect="1"/>
              </p:cNvSpPr>
              <p:nvPr>
                <p:custDataLst>
                  <p:tags r:id="rId585"/>
                </p:custDataLst>
              </p:nvPr>
            </p:nvSpPr>
            <p:spPr bwMode="gray">
              <a:xfrm>
                <a:off x="5440777" y="2787204"/>
                <a:ext cx="33406" cy="39418"/>
              </a:xfrm>
              <a:custGeom>
                <a:avLst/>
                <a:gdLst>
                  <a:gd name="T0" fmla="*/ 14 w 27"/>
                  <a:gd name="T1" fmla="*/ 6 h 31"/>
                  <a:gd name="T2" fmla="*/ 11 w 27"/>
                  <a:gd name="T3" fmla="*/ 6 h 31"/>
                  <a:gd name="T4" fmla="*/ 11 w 27"/>
                  <a:gd name="T5" fmla="*/ 9 h 31"/>
                  <a:gd name="T6" fmla="*/ 11 w 27"/>
                  <a:gd name="T7" fmla="*/ 9 h 31"/>
                  <a:gd name="T8" fmla="*/ 14 w 27"/>
                  <a:gd name="T9" fmla="*/ 12 h 31"/>
                  <a:gd name="T10" fmla="*/ 14 w 27"/>
                  <a:gd name="T11" fmla="*/ 9 h 31"/>
                  <a:gd name="T12" fmla="*/ 14 w 27"/>
                  <a:gd name="T13" fmla="*/ 6 h 31"/>
                  <a:gd name="T14" fmla="*/ 16 w 27"/>
                  <a:gd name="T15" fmla="*/ 6 h 31"/>
                  <a:gd name="T16" fmla="*/ 16 w 27"/>
                  <a:gd name="T17" fmla="*/ 12 h 31"/>
                  <a:gd name="T18" fmla="*/ 16 w 27"/>
                  <a:gd name="T19" fmla="*/ 12 h 31"/>
                  <a:gd name="T20" fmla="*/ 16 w 27"/>
                  <a:gd name="T21" fmla="*/ 14 h 31"/>
                  <a:gd name="T22" fmla="*/ 16 w 27"/>
                  <a:gd name="T23" fmla="*/ 6 h 31"/>
                  <a:gd name="T24" fmla="*/ 16 w 27"/>
                  <a:gd name="T25" fmla="*/ 6 h 31"/>
                  <a:gd name="T26" fmla="*/ 16 w 27"/>
                  <a:gd name="T27" fmla="*/ 0 h 31"/>
                  <a:gd name="T28" fmla="*/ 19 w 27"/>
                  <a:gd name="T29" fmla="*/ 0 h 31"/>
                  <a:gd name="T30" fmla="*/ 22 w 27"/>
                  <a:gd name="T31" fmla="*/ 3 h 31"/>
                  <a:gd name="T32" fmla="*/ 25 w 27"/>
                  <a:gd name="T33" fmla="*/ 6 h 31"/>
                  <a:gd name="T34" fmla="*/ 25 w 27"/>
                  <a:gd name="T35" fmla="*/ 9 h 31"/>
                  <a:gd name="T36" fmla="*/ 25 w 27"/>
                  <a:gd name="T37" fmla="*/ 12 h 31"/>
                  <a:gd name="T38" fmla="*/ 25 w 27"/>
                  <a:gd name="T39" fmla="*/ 14 h 31"/>
                  <a:gd name="T40" fmla="*/ 22 w 27"/>
                  <a:gd name="T41" fmla="*/ 14 h 31"/>
                  <a:gd name="T42" fmla="*/ 19 w 27"/>
                  <a:gd name="T43" fmla="*/ 20 h 31"/>
                  <a:gd name="T44" fmla="*/ 22 w 27"/>
                  <a:gd name="T45" fmla="*/ 23 h 31"/>
                  <a:gd name="T46" fmla="*/ 19 w 27"/>
                  <a:gd name="T47" fmla="*/ 25 h 31"/>
                  <a:gd name="T48" fmla="*/ 19 w 27"/>
                  <a:gd name="T49" fmla="*/ 28 h 31"/>
                  <a:gd name="T50" fmla="*/ 19 w 27"/>
                  <a:gd name="T51" fmla="*/ 28 h 31"/>
                  <a:gd name="T52" fmla="*/ 19 w 27"/>
                  <a:gd name="T53" fmla="*/ 31 h 31"/>
                  <a:gd name="T54" fmla="*/ 16 w 27"/>
                  <a:gd name="T55" fmla="*/ 31 h 31"/>
                  <a:gd name="T56" fmla="*/ 11 w 27"/>
                  <a:gd name="T57" fmla="*/ 31 h 31"/>
                  <a:gd name="T58" fmla="*/ 11 w 27"/>
                  <a:gd name="T59" fmla="*/ 28 h 31"/>
                  <a:gd name="T60" fmla="*/ 11 w 27"/>
                  <a:gd name="T61" fmla="*/ 28 h 31"/>
                  <a:gd name="T62" fmla="*/ 14 w 27"/>
                  <a:gd name="T63" fmla="*/ 25 h 31"/>
                  <a:gd name="T64" fmla="*/ 5 w 27"/>
                  <a:gd name="T65" fmla="*/ 25 h 31"/>
                  <a:gd name="T66" fmla="*/ 2 w 27"/>
                  <a:gd name="T67" fmla="*/ 23 h 31"/>
                  <a:gd name="T68" fmla="*/ 2 w 27"/>
                  <a:gd name="T69" fmla="*/ 23 h 31"/>
                  <a:gd name="T70" fmla="*/ 2 w 27"/>
                  <a:gd name="T71" fmla="*/ 14 h 31"/>
                  <a:gd name="T72" fmla="*/ 0 w 27"/>
                  <a:gd name="T73" fmla="*/ 14 h 31"/>
                  <a:gd name="T74" fmla="*/ 0 w 27"/>
                  <a:gd name="T75" fmla="*/ 12 h 31"/>
                  <a:gd name="T76" fmla="*/ 0 w 27"/>
                  <a:gd name="T77" fmla="*/ 12 h 31"/>
                  <a:gd name="T78" fmla="*/ 5 w 27"/>
                  <a:gd name="T79" fmla="*/ 12 h 31"/>
                  <a:gd name="T80" fmla="*/ 5 w 27"/>
                  <a:gd name="T81" fmla="*/ 9 h 31"/>
                  <a:gd name="T82" fmla="*/ 8 w 27"/>
                  <a:gd name="T83" fmla="*/ 9 h 31"/>
                  <a:gd name="T84" fmla="*/ 5 w 27"/>
                  <a:gd name="T85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" h="31">
                    <a:moveTo>
                      <a:pt x="5" y="3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5" y="12"/>
                    </a:lnTo>
                    <a:lnTo>
                      <a:pt x="27" y="14"/>
                    </a:lnTo>
                    <a:lnTo>
                      <a:pt x="25" y="14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19" y="17"/>
                    </a:lnTo>
                    <a:lnTo>
                      <a:pt x="19" y="20"/>
                    </a:lnTo>
                    <a:lnTo>
                      <a:pt x="22" y="20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9" y="28"/>
                    </a:lnTo>
                    <a:lnTo>
                      <a:pt x="19" y="28"/>
                    </a:lnTo>
                    <a:lnTo>
                      <a:pt x="19" y="28"/>
                    </a:lnTo>
                    <a:lnTo>
                      <a:pt x="19" y="28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1" y="31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8" y="25"/>
                    </a:lnTo>
                    <a:lnTo>
                      <a:pt x="5" y="25"/>
                    </a:lnTo>
                    <a:lnTo>
                      <a:pt x="5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8" y="6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8" name="Freeform 267"/>
              <p:cNvSpPr>
                <a:spLocks noChangeAspect="1"/>
              </p:cNvSpPr>
              <p:nvPr>
                <p:custDataLst>
                  <p:tags r:id="rId586"/>
                </p:custDataLst>
              </p:nvPr>
            </p:nvSpPr>
            <p:spPr bwMode="gray">
              <a:xfrm>
                <a:off x="5381557" y="2730441"/>
                <a:ext cx="54664" cy="104064"/>
              </a:xfrm>
              <a:custGeom>
                <a:avLst/>
                <a:gdLst>
                  <a:gd name="T0" fmla="*/ 11 w 42"/>
                  <a:gd name="T1" fmla="*/ 78 h 81"/>
                  <a:gd name="T2" fmla="*/ 20 w 42"/>
                  <a:gd name="T3" fmla="*/ 78 h 81"/>
                  <a:gd name="T4" fmla="*/ 22 w 42"/>
                  <a:gd name="T5" fmla="*/ 78 h 81"/>
                  <a:gd name="T6" fmla="*/ 25 w 42"/>
                  <a:gd name="T7" fmla="*/ 78 h 81"/>
                  <a:gd name="T8" fmla="*/ 22 w 42"/>
                  <a:gd name="T9" fmla="*/ 75 h 81"/>
                  <a:gd name="T10" fmla="*/ 20 w 42"/>
                  <a:gd name="T11" fmla="*/ 72 h 81"/>
                  <a:gd name="T12" fmla="*/ 22 w 42"/>
                  <a:gd name="T13" fmla="*/ 69 h 81"/>
                  <a:gd name="T14" fmla="*/ 22 w 42"/>
                  <a:gd name="T15" fmla="*/ 67 h 81"/>
                  <a:gd name="T16" fmla="*/ 22 w 42"/>
                  <a:gd name="T17" fmla="*/ 61 h 81"/>
                  <a:gd name="T18" fmla="*/ 25 w 42"/>
                  <a:gd name="T19" fmla="*/ 58 h 81"/>
                  <a:gd name="T20" fmla="*/ 25 w 42"/>
                  <a:gd name="T21" fmla="*/ 56 h 81"/>
                  <a:gd name="T22" fmla="*/ 28 w 42"/>
                  <a:gd name="T23" fmla="*/ 53 h 81"/>
                  <a:gd name="T24" fmla="*/ 28 w 42"/>
                  <a:gd name="T25" fmla="*/ 50 h 81"/>
                  <a:gd name="T26" fmla="*/ 33 w 42"/>
                  <a:gd name="T27" fmla="*/ 50 h 81"/>
                  <a:gd name="T28" fmla="*/ 33 w 42"/>
                  <a:gd name="T29" fmla="*/ 42 h 81"/>
                  <a:gd name="T30" fmla="*/ 33 w 42"/>
                  <a:gd name="T31" fmla="*/ 44 h 81"/>
                  <a:gd name="T32" fmla="*/ 36 w 42"/>
                  <a:gd name="T33" fmla="*/ 42 h 81"/>
                  <a:gd name="T34" fmla="*/ 42 w 42"/>
                  <a:gd name="T35" fmla="*/ 39 h 81"/>
                  <a:gd name="T36" fmla="*/ 42 w 42"/>
                  <a:gd name="T37" fmla="*/ 36 h 81"/>
                  <a:gd name="T38" fmla="*/ 36 w 42"/>
                  <a:gd name="T39" fmla="*/ 33 h 81"/>
                  <a:gd name="T40" fmla="*/ 33 w 42"/>
                  <a:gd name="T41" fmla="*/ 33 h 81"/>
                  <a:gd name="T42" fmla="*/ 31 w 42"/>
                  <a:gd name="T43" fmla="*/ 36 h 81"/>
                  <a:gd name="T44" fmla="*/ 31 w 42"/>
                  <a:gd name="T45" fmla="*/ 33 h 81"/>
                  <a:gd name="T46" fmla="*/ 31 w 42"/>
                  <a:gd name="T47" fmla="*/ 30 h 81"/>
                  <a:gd name="T48" fmla="*/ 31 w 42"/>
                  <a:gd name="T49" fmla="*/ 30 h 81"/>
                  <a:gd name="T50" fmla="*/ 31 w 42"/>
                  <a:gd name="T51" fmla="*/ 25 h 81"/>
                  <a:gd name="T52" fmla="*/ 31 w 42"/>
                  <a:gd name="T53" fmla="*/ 22 h 81"/>
                  <a:gd name="T54" fmla="*/ 36 w 42"/>
                  <a:gd name="T55" fmla="*/ 11 h 81"/>
                  <a:gd name="T56" fmla="*/ 36 w 42"/>
                  <a:gd name="T57" fmla="*/ 0 h 81"/>
                  <a:gd name="T58" fmla="*/ 28 w 42"/>
                  <a:gd name="T59" fmla="*/ 5 h 81"/>
                  <a:gd name="T60" fmla="*/ 22 w 42"/>
                  <a:gd name="T61" fmla="*/ 11 h 81"/>
                  <a:gd name="T62" fmla="*/ 6 w 42"/>
                  <a:gd name="T63" fmla="*/ 17 h 81"/>
                  <a:gd name="T64" fmla="*/ 0 w 42"/>
                  <a:gd name="T65" fmla="*/ 36 h 81"/>
                  <a:gd name="T66" fmla="*/ 0 w 42"/>
                  <a:gd name="T67" fmla="*/ 53 h 81"/>
                  <a:gd name="T68" fmla="*/ 0 w 42"/>
                  <a:gd name="T69" fmla="*/ 61 h 81"/>
                  <a:gd name="T70" fmla="*/ 6 w 42"/>
                  <a:gd name="T71" fmla="*/ 61 h 81"/>
                  <a:gd name="T72" fmla="*/ 8 w 42"/>
                  <a:gd name="T73" fmla="*/ 7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" h="81">
                    <a:moveTo>
                      <a:pt x="8" y="78"/>
                    </a:moveTo>
                    <a:lnTo>
                      <a:pt x="11" y="78"/>
                    </a:lnTo>
                    <a:lnTo>
                      <a:pt x="17" y="81"/>
                    </a:lnTo>
                    <a:lnTo>
                      <a:pt x="20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5" y="78"/>
                    </a:lnTo>
                    <a:lnTo>
                      <a:pt x="25" y="78"/>
                    </a:lnTo>
                    <a:lnTo>
                      <a:pt x="22" y="75"/>
                    </a:lnTo>
                    <a:lnTo>
                      <a:pt x="20" y="75"/>
                    </a:lnTo>
                    <a:lnTo>
                      <a:pt x="20" y="72"/>
                    </a:lnTo>
                    <a:lnTo>
                      <a:pt x="22" y="69"/>
                    </a:lnTo>
                    <a:lnTo>
                      <a:pt x="22" y="69"/>
                    </a:lnTo>
                    <a:lnTo>
                      <a:pt x="22" y="69"/>
                    </a:lnTo>
                    <a:lnTo>
                      <a:pt x="22" y="67"/>
                    </a:lnTo>
                    <a:lnTo>
                      <a:pt x="22" y="64"/>
                    </a:lnTo>
                    <a:lnTo>
                      <a:pt x="22" y="61"/>
                    </a:lnTo>
                    <a:lnTo>
                      <a:pt x="25" y="58"/>
                    </a:lnTo>
                    <a:lnTo>
                      <a:pt x="25" y="58"/>
                    </a:lnTo>
                    <a:lnTo>
                      <a:pt x="22" y="56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28" y="53"/>
                    </a:lnTo>
                    <a:lnTo>
                      <a:pt x="28" y="53"/>
                    </a:lnTo>
                    <a:lnTo>
                      <a:pt x="28" y="50"/>
                    </a:lnTo>
                    <a:lnTo>
                      <a:pt x="31" y="50"/>
                    </a:lnTo>
                    <a:lnTo>
                      <a:pt x="33" y="50"/>
                    </a:lnTo>
                    <a:lnTo>
                      <a:pt x="31" y="44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44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9" y="44"/>
                    </a:lnTo>
                    <a:lnTo>
                      <a:pt x="42" y="39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9" y="33"/>
                    </a:lnTo>
                    <a:lnTo>
                      <a:pt x="36" y="33"/>
                    </a:lnTo>
                    <a:lnTo>
                      <a:pt x="36" y="36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1" y="36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8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2"/>
                    </a:lnTo>
                    <a:lnTo>
                      <a:pt x="36" y="14"/>
                    </a:lnTo>
                    <a:lnTo>
                      <a:pt x="36" y="11"/>
                    </a:lnTo>
                    <a:lnTo>
                      <a:pt x="33" y="5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5"/>
                    </a:lnTo>
                    <a:lnTo>
                      <a:pt x="22" y="8"/>
                    </a:lnTo>
                    <a:lnTo>
                      <a:pt x="22" y="11"/>
                    </a:lnTo>
                    <a:lnTo>
                      <a:pt x="20" y="14"/>
                    </a:lnTo>
                    <a:lnTo>
                      <a:pt x="6" y="17"/>
                    </a:lnTo>
                    <a:lnTo>
                      <a:pt x="3" y="19"/>
                    </a:lnTo>
                    <a:lnTo>
                      <a:pt x="0" y="36"/>
                    </a:lnTo>
                    <a:lnTo>
                      <a:pt x="0" y="50"/>
                    </a:lnTo>
                    <a:lnTo>
                      <a:pt x="0" y="53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3" y="61"/>
                    </a:lnTo>
                    <a:lnTo>
                      <a:pt x="6" y="61"/>
                    </a:lnTo>
                    <a:lnTo>
                      <a:pt x="8" y="67"/>
                    </a:lnTo>
                    <a:lnTo>
                      <a:pt x="8" y="7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9" name="Freeform 268"/>
              <p:cNvSpPr>
                <a:spLocks noChangeAspect="1"/>
              </p:cNvSpPr>
              <p:nvPr>
                <p:custDataLst>
                  <p:tags r:id="rId587"/>
                </p:custDataLst>
              </p:nvPr>
            </p:nvSpPr>
            <p:spPr bwMode="gray">
              <a:xfrm>
                <a:off x="5329930" y="2987448"/>
                <a:ext cx="13665" cy="18921"/>
              </a:xfrm>
              <a:custGeom>
                <a:avLst/>
                <a:gdLst>
                  <a:gd name="T0" fmla="*/ 6 w 11"/>
                  <a:gd name="T1" fmla="*/ 14 h 14"/>
                  <a:gd name="T2" fmla="*/ 8 w 11"/>
                  <a:gd name="T3" fmla="*/ 14 h 14"/>
                  <a:gd name="T4" fmla="*/ 11 w 11"/>
                  <a:gd name="T5" fmla="*/ 11 h 14"/>
                  <a:gd name="T6" fmla="*/ 11 w 11"/>
                  <a:gd name="T7" fmla="*/ 9 h 14"/>
                  <a:gd name="T8" fmla="*/ 8 w 11"/>
                  <a:gd name="T9" fmla="*/ 6 h 14"/>
                  <a:gd name="T10" fmla="*/ 8 w 11"/>
                  <a:gd name="T11" fmla="*/ 3 h 14"/>
                  <a:gd name="T12" fmla="*/ 8 w 11"/>
                  <a:gd name="T13" fmla="*/ 0 h 14"/>
                  <a:gd name="T14" fmla="*/ 6 w 11"/>
                  <a:gd name="T15" fmla="*/ 0 h 14"/>
                  <a:gd name="T16" fmla="*/ 6 w 11"/>
                  <a:gd name="T17" fmla="*/ 0 h 14"/>
                  <a:gd name="T18" fmla="*/ 3 w 11"/>
                  <a:gd name="T19" fmla="*/ 3 h 14"/>
                  <a:gd name="T20" fmla="*/ 0 w 11"/>
                  <a:gd name="T21" fmla="*/ 6 h 14"/>
                  <a:gd name="T22" fmla="*/ 3 w 11"/>
                  <a:gd name="T23" fmla="*/ 9 h 14"/>
                  <a:gd name="T24" fmla="*/ 3 w 11"/>
                  <a:gd name="T25" fmla="*/ 14 h 14"/>
                  <a:gd name="T26" fmla="*/ 6 w 11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4">
                    <a:moveTo>
                      <a:pt x="6" y="14"/>
                    </a:moveTo>
                    <a:lnTo>
                      <a:pt x="8" y="14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3" y="9"/>
                    </a:lnTo>
                    <a:lnTo>
                      <a:pt x="3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0" name="Freeform 269"/>
              <p:cNvSpPr>
                <a:spLocks noChangeAspect="1"/>
              </p:cNvSpPr>
              <p:nvPr>
                <p:custDataLst>
                  <p:tags r:id="rId588"/>
                </p:custDataLst>
              </p:nvPr>
            </p:nvSpPr>
            <p:spPr bwMode="gray">
              <a:xfrm>
                <a:off x="5329930" y="2987448"/>
                <a:ext cx="13665" cy="18921"/>
              </a:xfrm>
              <a:custGeom>
                <a:avLst/>
                <a:gdLst>
                  <a:gd name="T0" fmla="*/ 6 w 11"/>
                  <a:gd name="T1" fmla="*/ 14 h 14"/>
                  <a:gd name="T2" fmla="*/ 8 w 11"/>
                  <a:gd name="T3" fmla="*/ 14 h 14"/>
                  <a:gd name="T4" fmla="*/ 11 w 11"/>
                  <a:gd name="T5" fmla="*/ 11 h 14"/>
                  <a:gd name="T6" fmla="*/ 11 w 11"/>
                  <a:gd name="T7" fmla="*/ 9 h 14"/>
                  <a:gd name="T8" fmla="*/ 8 w 11"/>
                  <a:gd name="T9" fmla="*/ 6 h 14"/>
                  <a:gd name="T10" fmla="*/ 8 w 11"/>
                  <a:gd name="T11" fmla="*/ 3 h 14"/>
                  <a:gd name="T12" fmla="*/ 8 w 11"/>
                  <a:gd name="T13" fmla="*/ 0 h 14"/>
                  <a:gd name="T14" fmla="*/ 6 w 11"/>
                  <a:gd name="T15" fmla="*/ 0 h 14"/>
                  <a:gd name="T16" fmla="*/ 6 w 11"/>
                  <a:gd name="T17" fmla="*/ 0 h 14"/>
                  <a:gd name="T18" fmla="*/ 3 w 11"/>
                  <a:gd name="T19" fmla="*/ 3 h 14"/>
                  <a:gd name="T20" fmla="*/ 0 w 11"/>
                  <a:gd name="T21" fmla="*/ 6 h 14"/>
                  <a:gd name="T22" fmla="*/ 3 w 11"/>
                  <a:gd name="T23" fmla="*/ 9 h 14"/>
                  <a:gd name="T24" fmla="*/ 3 w 11"/>
                  <a:gd name="T25" fmla="*/ 14 h 14"/>
                  <a:gd name="T26" fmla="*/ 6 w 11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14">
                    <a:moveTo>
                      <a:pt x="6" y="14"/>
                    </a:moveTo>
                    <a:lnTo>
                      <a:pt x="8" y="14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3" y="9"/>
                    </a:lnTo>
                    <a:lnTo>
                      <a:pt x="3" y="14"/>
                    </a:lnTo>
                    <a:lnTo>
                      <a:pt x="6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1" name="Freeform 276"/>
              <p:cNvSpPr>
                <a:spLocks noChangeAspect="1"/>
              </p:cNvSpPr>
              <p:nvPr>
                <p:custDataLst>
                  <p:tags r:id="rId589"/>
                </p:custDataLst>
              </p:nvPr>
            </p:nvSpPr>
            <p:spPr bwMode="gray">
              <a:xfrm>
                <a:off x="5820390" y="4067516"/>
                <a:ext cx="104774" cy="110372"/>
              </a:xfrm>
              <a:custGeom>
                <a:avLst/>
                <a:gdLst>
                  <a:gd name="T0" fmla="*/ 67 w 81"/>
                  <a:gd name="T1" fmla="*/ 0 h 87"/>
                  <a:gd name="T2" fmla="*/ 67 w 81"/>
                  <a:gd name="T3" fmla="*/ 0 h 87"/>
                  <a:gd name="T4" fmla="*/ 67 w 81"/>
                  <a:gd name="T5" fmla="*/ 0 h 87"/>
                  <a:gd name="T6" fmla="*/ 58 w 81"/>
                  <a:gd name="T7" fmla="*/ 6 h 87"/>
                  <a:gd name="T8" fmla="*/ 36 w 81"/>
                  <a:gd name="T9" fmla="*/ 9 h 87"/>
                  <a:gd name="T10" fmla="*/ 33 w 81"/>
                  <a:gd name="T11" fmla="*/ 6 h 87"/>
                  <a:gd name="T12" fmla="*/ 31 w 81"/>
                  <a:gd name="T13" fmla="*/ 6 h 87"/>
                  <a:gd name="T14" fmla="*/ 28 w 81"/>
                  <a:gd name="T15" fmla="*/ 6 h 87"/>
                  <a:gd name="T16" fmla="*/ 25 w 81"/>
                  <a:gd name="T17" fmla="*/ 6 h 87"/>
                  <a:gd name="T18" fmla="*/ 22 w 81"/>
                  <a:gd name="T19" fmla="*/ 6 h 87"/>
                  <a:gd name="T20" fmla="*/ 19 w 81"/>
                  <a:gd name="T21" fmla="*/ 9 h 87"/>
                  <a:gd name="T22" fmla="*/ 17 w 81"/>
                  <a:gd name="T23" fmla="*/ 23 h 87"/>
                  <a:gd name="T24" fmla="*/ 19 w 81"/>
                  <a:gd name="T25" fmla="*/ 26 h 87"/>
                  <a:gd name="T26" fmla="*/ 22 w 81"/>
                  <a:gd name="T27" fmla="*/ 28 h 87"/>
                  <a:gd name="T28" fmla="*/ 22 w 81"/>
                  <a:gd name="T29" fmla="*/ 28 h 87"/>
                  <a:gd name="T30" fmla="*/ 25 w 81"/>
                  <a:gd name="T31" fmla="*/ 31 h 87"/>
                  <a:gd name="T32" fmla="*/ 25 w 81"/>
                  <a:gd name="T33" fmla="*/ 31 h 87"/>
                  <a:gd name="T34" fmla="*/ 22 w 81"/>
                  <a:gd name="T35" fmla="*/ 34 h 87"/>
                  <a:gd name="T36" fmla="*/ 19 w 81"/>
                  <a:gd name="T37" fmla="*/ 39 h 87"/>
                  <a:gd name="T38" fmla="*/ 17 w 81"/>
                  <a:gd name="T39" fmla="*/ 39 h 87"/>
                  <a:gd name="T40" fmla="*/ 6 w 81"/>
                  <a:gd name="T41" fmla="*/ 53 h 87"/>
                  <a:gd name="T42" fmla="*/ 0 w 81"/>
                  <a:gd name="T43" fmla="*/ 84 h 87"/>
                  <a:gd name="T44" fmla="*/ 3 w 81"/>
                  <a:gd name="T45" fmla="*/ 84 h 87"/>
                  <a:gd name="T46" fmla="*/ 3 w 81"/>
                  <a:gd name="T47" fmla="*/ 87 h 87"/>
                  <a:gd name="T48" fmla="*/ 6 w 81"/>
                  <a:gd name="T49" fmla="*/ 84 h 87"/>
                  <a:gd name="T50" fmla="*/ 8 w 81"/>
                  <a:gd name="T51" fmla="*/ 81 h 87"/>
                  <a:gd name="T52" fmla="*/ 8 w 81"/>
                  <a:gd name="T53" fmla="*/ 81 h 87"/>
                  <a:gd name="T54" fmla="*/ 11 w 81"/>
                  <a:gd name="T55" fmla="*/ 81 h 87"/>
                  <a:gd name="T56" fmla="*/ 11 w 81"/>
                  <a:gd name="T57" fmla="*/ 78 h 87"/>
                  <a:gd name="T58" fmla="*/ 19 w 81"/>
                  <a:gd name="T59" fmla="*/ 81 h 87"/>
                  <a:gd name="T60" fmla="*/ 19 w 81"/>
                  <a:gd name="T61" fmla="*/ 78 h 87"/>
                  <a:gd name="T62" fmla="*/ 19 w 81"/>
                  <a:gd name="T63" fmla="*/ 78 h 87"/>
                  <a:gd name="T64" fmla="*/ 33 w 81"/>
                  <a:gd name="T65" fmla="*/ 78 h 87"/>
                  <a:gd name="T66" fmla="*/ 31 w 81"/>
                  <a:gd name="T67" fmla="*/ 78 h 87"/>
                  <a:gd name="T68" fmla="*/ 36 w 81"/>
                  <a:gd name="T69" fmla="*/ 70 h 87"/>
                  <a:gd name="T70" fmla="*/ 33 w 81"/>
                  <a:gd name="T71" fmla="*/ 67 h 87"/>
                  <a:gd name="T72" fmla="*/ 33 w 81"/>
                  <a:gd name="T73" fmla="*/ 67 h 87"/>
                  <a:gd name="T74" fmla="*/ 42 w 81"/>
                  <a:gd name="T75" fmla="*/ 64 h 87"/>
                  <a:gd name="T76" fmla="*/ 42 w 81"/>
                  <a:gd name="T77" fmla="*/ 62 h 87"/>
                  <a:gd name="T78" fmla="*/ 45 w 81"/>
                  <a:gd name="T79" fmla="*/ 64 h 87"/>
                  <a:gd name="T80" fmla="*/ 45 w 81"/>
                  <a:gd name="T81" fmla="*/ 62 h 87"/>
                  <a:gd name="T82" fmla="*/ 45 w 81"/>
                  <a:gd name="T83" fmla="*/ 62 h 87"/>
                  <a:gd name="T84" fmla="*/ 47 w 81"/>
                  <a:gd name="T85" fmla="*/ 62 h 87"/>
                  <a:gd name="T86" fmla="*/ 50 w 81"/>
                  <a:gd name="T87" fmla="*/ 62 h 87"/>
                  <a:gd name="T88" fmla="*/ 53 w 81"/>
                  <a:gd name="T89" fmla="*/ 64 h 87"/>
                  <a:gd name="T90" fmla="*/ 56 w 81"/>
                  <a:gd name="T91" fmla="*/ 59 h 87"/>
                  <a:gd name="T92" fmla="*/ 61 w 81"/>
                  <a:gd name="T93" fmla="*/ 62 h 87"/>
                  <a:gd name="T94" fmla="*/ 64 w 81"/>
                  <a:gd name="T95" fmla="*/ 62 h 87"/>
                  <a:gd name="T96" fmla="*/ 67 w 81"/>
                  <a:gd name="T97" fmla="*/ 62 h 87"/>
                  <a:gd name="T98" fmla="*/ 81 w 81"/>
                  <a:gd name="T99" fmla="*/ 39 h 87"/>
                  <a:gd name="T100" fmla="*/ 81 w 81"/>
                  <a:gd name="T101" fmla="*/ 23 h 87"/>
                  <a:gd name="T102" fmla="*/ 81 w 81"/>
                  <a:gd name="T103" fmla="*/ 20 h 87"/>
                  <a:gd name="T104" fmla="*/ 81 w 81"/>
                  <a:gd name="T105" fmla="*/ 20 h 87"/>
                  <a:gd name="T106" fmla="*/ 75 w 81"/>
                  <a:gd name="T107" fmla="*/ 17 h 87"/>
                  <a:gd name="T108" fmla="*/ 75 w 81"/>
                  <a:gd name="T109" fmla="*/ 17 h 87"/>
                  <a:gd name="T110" fmla="*/ 72 w 81"/>
                  <a:gd name="T111" fmla="*/ 6 h 87"/>
                  <a:gd name="T112" fmla="*/ 72 w 81"/>
                  <a:gd name="T113" fmla="*/ 6 h 87"/>
                  <a:gd name="T114" fmla="*/ 72 w 81"/>
                  <a:gd name="T115" fmla="*/ 6 h 87"/>
                  <a:gd name="T116" fmla="*/ 72 w 81"/>
                  <a:gd name="T117" fmla="*/ 3 h 87"/>
                  <a:gd name="T118" fmla="*/ 72 w 81"/>
                  <a:gd name="T119" fmla="*/ 3 h 87"/>
                  <a:gd name="T120" fmla="*/ 67 w 81"/>
                  <a:gd name="T121" fmla="*/ 3 h 87"/>
                  <a:gd name="T122" fmla="*/ 67 w 81"/>
                  <a:gd name="T123" fmla="*/ 0 h 87"/>
                  <a:gd name="T124" fmla="*/ 67 w 81"/>
                  <a:gd name="T125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1" h="87">
                    <a:moveTo>
                      <a:pt x="67" y="0"/>
                    </a:moveTo>
                    <a:lnTo>
                      <a:pt x="67" y="0"/>
                    </a:lnTo>
                    <a:lnTo>
                      <a:pt x="67" y="0"/>
                    </a:lnTo>
                    <a:lnTo>
                      <a:pt x="58" y="6"/>
                    </a:lnTo>
                    <a:lnTo>
                      <a:pt x="36" y="9"/>
                    </a:lnTo>
                    <a:lnTo>
                      <a:pt x="33" y="6"/>
                    </a:lnTo>
                    <a:lnTo>
                      <a:pt x="31" y="6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19" y="9"/>
                    </a:lnTo>
                    <a:lnTo>
                      <a:pt x="17" y="23"/>
                    </a:lnTo>
                    <a:lnTo>
                      <a:pt x="19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5" y="31"/>
                    </a:lnTo>
                    <a:lnTo>
                      <a:pt x="25" y="31"/>
                    </a:lnTo>
                    <a:lnTo>
                      <a:pt x="22" y="34"/>
                    </a:lnTo>
                    <a:lnTo>
                      <a:pt x="19" y="39"/>
                    </a:lnTo>
                    <a:lnTo>
                      <a:pt x="17" y="39"/>
                    </a:lnTo>
                    <a:lnTo>
                      <a:pt x="6" y="53"/>
                    </a:lnTo>
                    <a:lnTo>
                      <a:pt x="0" y="84"/>
                    </a:lnTo>
                    <a:lnTo>
                      <a:pt x="3" y="84"/>
                    </a:lnTo>
                    <a:lnTo>
                      <a:pt x="3" y="87"/>
                    </a:lnTo>
                    <a:lnTo>
                      <a:pt x="6" y="84"/>
                    </a:lnTo>
                    <a:lnTo>
                      <a:pt x="8" y="81"/>
                    </a:lnTo>
                    <a:lnTo>
                      <a:pt x="8" y="81"/>
                    </a:lnTo>
                    <a:lnTo>
                      <a:pt x="11" y="81"/>
                    </a:lnTo>
                    <a:lnTo>
                      <a:pt x="11" y="78"/>
                    </a:lnTo>
                    <a:lnTo>
                      <a:pt x="19" y="81"/>
                    </a:lnTo>
                    <a:lnTo>
                      <a:pt x="19" y="78"/>
                    </a:lnTo>
                    <a:lnTo>
                      <a:pt x="19" y="78"/>
                    </a:lnTo>
                    <a:lnTo>
                      <a:pt x="33" y="78"/>
                    </a:lnTo>
                    <a:lnTo>
                      <a:pt x="31" y="78"/>
                    </a:lnTo>
                    <a:lnTo>
                      <a:pt x="36" y="70"/>
                    </a:lnTo>
                    <a:lnTo>
                      <a:pt x="33" y="67"/>
                    </a:lnTo>
                    <a:lnTo>
                      <a:pt x="33" y="67"/>
                    </a:lnTo>
                    <a:lnTo>
                      <a:pt x="42" y="64"/>
                    </a:lnTo>
                    <a:lnTo>
                      <a:pt x="42" y="62"/>
                    </a:lnTo>
                    <a:lnTo>
                      <a:pt x="45" y="64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7" y="62"/>
                    </a:lnTo>
                    <a:lnTo>
                      <a:pt x="50" y="62"/>
                    </a:lnTo>
                    <a:lnTo>
                      <a:pt x="53" y="64"/>
                    </a:lnTo>
                    <a:lnTo>
                      <a:pt x="56" y="59"/>
                    </a:lnTo>
                    <a:lnTo>
                      <a:pt x="61" y="62"/>
                    </a:lnTo>
                    <a:lnTo>
                      <a:pt x="64" y="62"/>
                    </a:lnTo>
                    <a:lnTo>
                      <a:pt x="67" y="62"/>
                    </a:lnTo>
                    <a:lnTo>
                      <a:pt x="81" y="39"/>
                    </a:lnTo>
                    <a:lnTo>
                      <a:pt x="81" y="23"/>
                    </a:lnTo>
                    <a:lnTo>
                      <a:pt x="81" y="20"/>
                    </a:lnTo>
                    <a:lnTo>
                      <a:pt x="81" y="20"/>
                    </a:lnTo>
                    <a:lnTo>
                      <a:pt x="75" y="17"/>
                    </a:lnTo>
                    <a:lnTo>
                      <a:pt x="75" y="17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67" y="3"/>
                    </a:lnTo>
                    <a:lnTo>
                      <a:pt x="67" y="0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2" name="Freeform 277"/>
              <p:cNvSpPr>
                <a:spLocks noChangeAspect="1"/>
              </p:cNvSpPr>
              <p:nvPr>
                <p:custDataLst>
                  <p:tags r:id="rId590"/>
                </p:custDataLst>
              </p:nvPr>
            </p:nvSpPr>
            <p:spPr bwMode="gray">
              <a:xfrm>
                <a:off x="6274409" y="3637066"/>
                <a:ext cx="156401" cy="175019"/>
              </a:xfrm>
              <a:custGeom>
                <a:avLst/>
                <a:gdLst>
                  <a:gd name="T0" fmla="*/ 56 w 120"/>
                  <a:gd name="T1" fmla="*/ 0 h 137"/>
                  <a:gd name="T2" fmla="*/ 58 w 120"/>
                  <a:gd name="T3" fmla="*/ 11 h 137"/>
                  <a:gd name="T4" fmla="*/ 58 w 120"/>
                  <a:gd name="T5" fmla="*/ 11 h 137"/>
                  <a:gd name="T6" fmla="*/ 56 w 120"/>
                  <a:gd name="T7" fmla="*/ 14 h 137"/>
                  <a:gd name="T8" fmla="*/ 56 w 120"/>
                  <a:gd name="T9" fmla="*/ 48 h 137"/>
                  <a:gd name="T10" fmla="*/ 0 w 120"/>
                  <a:gd name="T11" fmla="*/ 98 h 137"/>
                  <a:gd name="T12" fmla="*/ 33 w 120"/>
                  <a:gd name="T13" fmla="*/ 131 h 137"/>
                  <a:gd name="T14" fmla="*/ 42 w 120"/>
                  <a:gd name="T15" fmla="*/ 131 h 137"/>
                  <a:gd name="T16" fmla="*/ 47 w 120"/>
                  <a:gd name="T17" fmla="*/ 128 h 137"/>
                  <a:gd name="T18" fmla="*/ 50 w 120"/>
                  <a:gd name="T19" fmla="*/ 123 h 137"/>
                  <a:gd name="T20" fmla="*/ 61 w 120"/>
                  <a:gd name="T21" fmla="*/ 117 h 137"/>
                  <a:gd name="T22" fmla="*/ 67 w 120"/>
                  <a:gd name="T23" fmla="*/ 114 h 137"/>
                  <a:gd name="T24" fmla="*/ 72 w 120"/>
                  <a:gd name="T25" fmla="*/ 106 h 137"/>
                  <a:gd name="T26" fmla="*/ 75 w 120"/>
                  <a:gd name="T27" fmla="*/ 101 h 137"/>
                  <a:gd name="T28" fmla="*/ 78 w 120"/>
                  <a:gd name="T29" fmla="*/ 98 h 137"/>
                  <a:gd name="T30" fmla="*/ 86 w 120"/>
                  <a:gd name="T31" fmla="*/ 98 h 137"/>
                  <a:gd name="T32" fmla="*/ 89 w 120"/>
                  <a:gd name="T33" fmla="*/ 95 h 137"/>
                  <a:gd name="T34" fmla="*/ 89 w 120"/>
                  <a:gd name="T35" fmla="*/ 92 h 137"/>
                  <a:gd name="T36" fmla="*/ 89 w 120"/>
                  <a:gd name="T37" fmla="*/ 84 h 137"/>
                  <a:gd name="T38" fmla="*/ 95 w 120"/>
                  <a:gd name="T39" fmla="*/ 73 h 137"/>
                  <a:gd name="T40" fmla="*/ 95 w 120"/>
                  <a:gd name="T41" fmla="*/ 73 h 137"/>
                  <a:gd name="T42" fmla="*/ 97 w 120"/>
                  <a:gd name="T43" fmla="*/ 75 h 137"/>
                  <a:gd name="T44" fmla="*/ 100 w 120"/>
                  <a:gd name="T45" fmla="*/ 75 h 137"/>
                  <a:gd name="T46" fmla="*/ 111 w 120"/>
                  <a:gd name="T47" fmla="*/ 59 h 137"/>
                  <a:gd name="T48" fmla="*/ 120 w 120"/>
                  <a:gd name="T49" fmla="*/ 42 h 137"/>
                  <a:gd name="T50" fmla="*/ 117 w 120"/>
                  <a:gd name="T51" fmla="*/ 39 h 137"/>
                  <a:gd name="T52" fmla="*/ 114 w 120"/>
                  <a:gd name="T53" fmla="*/ 37 h 137"/>
                  <a:gd name="T54" fmla="*/ 111 w 120"/>
                  <a:gd name="T55" fmla="*/ 31 h 137"/>
                  <a:gd name="T56" fmla="*/ 106 w 120"/>
                  <a:gd name="T57" fmla="*/ 28 h 137"/>
                  <a:gd name="T58" fmla="*/ 100 w 120"/>
                  <a:gd name="T59" fmla="*/ 20 h 137"/>
                  <a:gd name="T60" fmla="*/ 95 w 120"/>
                  <a:gd name="T61" fmla="*/ 20 h 137"/>
                  <a:gd name="T62" fmla="*/ 81 w 120"/>
                  <a:gd name="T63" fmla="*/ 14 h 137"/>
                  <a:gd name="T64" fmla="*/ 75 w 120"/>
                  <a:gd name="T65" fmla="*/ 11 h 137"/>
                  <a:gd name="T66" fmla="*/ 70 w 120"/>
                  <a:gd name="T67" fmla="*/ 6 h 137"/>
                  <a:gd name="T68" fmla="*/ 67 w 120"/>
                  <a:gd name="T69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0" h="137">
                    <a:moveTo>
                      <a:pt x="67" y="0"/>
                    </a:moveTo>
                    <a:lnTo>
                      <a:pt x="56" y="0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8" y="14"/>
                    </a:lnTo>
                    <a:lnTo>
                      <a:pt x="56" y="14"/>
                    </a:lnTo>
                    <a:lnTo>
                      <a:pt x="50" y="37"/>
                    </a:lnTo>
                    <a:lnTo>
                      <a:pt x="56" y="48"/>
                    </a:lnTo>
                    <a:lnTo>
                      <a:pt x="45" y="81"/>
                    </a:lnTo>
                    <a:lnTo>
                      <a:pt x="0" y="98"/>
                    </a:lnTo>
                    <a:lnTo>
                      <a:pt x="14" y="137"/>
                    </a:lnTo>
                    <a:lnTo>
                      <a:pt x="33" y="131"/>
                    </a:lnTo>
                    <a:lnTo>
                      <a:pt x="42" y="131"/>
                    </a:lnTo>
                    <a:lnTo>
                      <a:pt x="42" y="131"/>
                    </a:lnTo>
                    <a:lnTo>
                      <a:pt x="45" y="131"/>
                    </a:lnTo>
                    <a:lnTo>
                      <a:pt x="47" y="128"/>
                    </a:lnTo>
                    <a:lnTo>
                      <a:pt x="50" y="126"/>
                    </a:lnTo>
                    <a:lnTo>
                      <a:pt x="50" y="123"/>
                    </a:lnTo>
                    <a:lnTo>
                      <a:pt x="56" y="117"/>
                    </a:lnTo>
                    <a:lnTo>
                      <a:pt x="61" y="117"/>
                    </a:lnTo>
                    <a:lnTo>
                      <a:pt x="64" y="117"/>
                    </a:lnTo>
                    <a:lnTo>
                      <a:pt x="67" y="114"/>
                    </a:lnTo>
                    <a:lnTo>
                      <a:pt x="70" y="112"/>
                    </a:lnTo>
                    <a:lnTo>
                      <a:pt x="72" y="106"/>
                    </a:lnTo>
                    <a:lnTo>
                      <a:pt x="72" y="103"/>
                    </a:lnTo>
                    <a:lnTo>
                      <a:pt x="75" y="101"/>
                    </a:lnTo>
                    <a:lnTo>
                      <a:pt x="78" y="101"/>
                    </a:lnTo>
                    <a:lnTo>
                      <a:pt x="78" y="98"/>
                    </a:lnTo>
                    <a:lnTo>
                      <a:pt x="81" y="101"/>
                    </a:lnTo>
                    <a:lnTo>
                      <a:pt x="86" y="98"/>
                    </a:lnTo>
                    <a:lnTo>
                      <a:pt x="89" y="98"/>
                    </a:lnTo>
                    <a:lnTo>
                      <a:pt x="89" y="95"/>
                    </a:lnTo>
                    <a:lnTo>
                      <a:pt x="89" y="92"/>
                    </a:lnTo>
                    <a:lnTo>
                      <a:pt x="89" y="92"/>
                    </a:lnTo>
                    <a:lnTo>
                      <a:pt x="86" y="87"/>
                    </a:lnTo>
                    <a:lnTo>
                      <a:pt x="89" y="84"/>
                    </a:lnTo>
                    <a:lnTo>
                      <a:pt x="89" y="81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7" y="75"/>
                    </a:lnTo>
                    <a:lnTo>
                      <a:pt x="97" y="75"/>
                    </a:lnTo>
                    <a:lnTo>
                      <a:pt x="100" y="75"/>
                    </a:lnTo>
                    <a:lnTo>
                      <a:pt x="100" y="75"/>
                    </a:lnTo>
                    <a:lnTo>
                      <a:pt x="109" y="62"/>
                    </a:lnTo>
                    <a:lnTo>
                      <a:pt x="111" y="59"/>
                    </a:lnTo>
                    <a:lnTo>
                      <a:pt x="120" y="48"/>
                    </a:lnTo>
                    <a:lnTo>
                      <a:pt x="120" y="42"/>
                    </a:lnTo>
                    <a:lnTo>
                      <a:pt x="120" y="39"/>
                    </a:lnTo>
                    <a:lnTo>
                      <a:pt x="117" y="39"/>
                    </a:lnTo>
                    <a:lnTo>
                      <a:pt x="117" y="39"/>
                    </a:lnTo>
                    <a:lnTo>
                      <a:pt x="114" y="37"/>
                    </a:lnTo>
                    <a:lnTo>
                      <a:pt x="111" y="37"/>
                    </a:lnTo>
                    <a:lnTo>
                      <a:pt x="111" y="31"/>
                    </a:lnTo>
                    <a:lnTo>
                      <a:pt x="109" y="31"/>
                    </a:lnTo>
                    <a:lnTo>
                      <a:pt x="106" y="28"/>
                    </a:lnTo>
                    <a:lnTo>
                      <a:pt x="103" y="23"/>
                    </a:lnTo>
                    <a:lnTo>
                      <a:pt x="100" y="20"/>
                    </a:lnTo>
                    <a:lnTo>
                      <a:pt x="97" y="20"/>
                    </a:lnTo>
                    <a:lnTo>
                      <a:pt x="95" y="20"/>
                    </a:lnTo>
                    <a:lnTo>
                      <a:pt x="89" y="17"/>
                    </a:lnTo>
                    <a:lnTo>
                      <a:pt x="81" y="14"/>
                    </a:lnTo>
                    <a:lnTo>
                      <a:pt x="78" y="11"/>
                    </a:lnTo>
                    <a:lnTo>
                      <a:pt x="75" y="11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67" y="3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3" name="Freeform 278"/>
              <p:cNvSpPr>
                <a:spLocks noChangeAspect="1"/>
              </p:cNvSpPr>
              <p:nvPr>
                <p:custDataLst>
                  <p:tags r:id="rId591"/>
                </p:custDataLst>
              </p:nvPr>
            </p:nvSpPr>
            <p:spPr bwMode="gray">
              <a:xfrm>
                <a:off x="5452924" y="4491659"/>
                <a:ext cx="273322" cy="264893"/>
              </a:xfrm>
              <a:custGeom>
                <a:avLst/>
                <a:gdLst>
                  <a:gd name="T0" fmla="*/ 33 w 209"/>
                  <a:gd name="T1" fmla="*/ 8 h 206"/>
                  <a:gd name="T2" fmla="*/ 25 w 209"/>
                  <a:gd name="T3" fmla="*/ 3 h 206"/>
                  <a:gd name="T4" fmla="*/ 16 w 209"/>
                  <a:gd name="T5" fmla="*/ 0 h 206"/>
                  <a:gd name="T6" fmla="*/ 11 w 209"/>
                  <a:gd name="T7" fmla="*/ 6 h 206"/>
                  <a:gd name="T8" fmla="*/ 5 w 209"/>
                  <a:gd name="T9" fmla="*/ 3 h 206"/>
                  <a:gd name="T10" fmla="*/ 0 w 209"/>
                  <a:gd name="T11" fmla="*/ 17 h 206"/>
                  <a:gd name="T12" fmla="*/ 0 w 209"/>
                  <a:gd name="T13" fmla="*/ 22 h 206"/>
                  <a:gd name="T14" fmla="*/ 5 w 209"/>
                  <a:gd name="T15" fmla="*/ 31 h 206"/>
                  <a:gd name="T16" fmla="*/ 33 w 209"/>
                  <a:gd name="T17" fmla="*/ 81 h 206"/>
                  <a:gd name="T18" fmla="*/ 42 w 209"/>
                  <a:gd name="T19" fmla="*/ 125 h 206"/>
                  <a:gd name="T20" fmla="*/ 47 w 209"/>
                  <a:gd name="T21" fmla="*/ 148 h 206"/>
                  <a:gd name="T22" fmla="*/ 50 w 209"/>
                  <a:gd name="T23" fmla="*/ 159 h 206"/>
                  <a:gd name="T24" fmla="*/ 72 w 209"/>
                  <a:gd name="T25" fmla="*/ 198 h 206"/>
                  <a:gd name="T26" fmla="*/ 75 w 209"/>
                  <a:gd name="T27" fmla="*/ 201 h 206"/>
                  <a:gd name="T28" fmla="*/ 75 w 209"/>
                  <a:gd name="T29" fmla="*/ 198 h 206"/>
                  <a:gd name="T30" fmla="*/ 83 w 209"/>
                  <a:gd name="T31" fmla="*/ 192 h 206"/>
                  <a:gd name="T32" fmla="*/ 92 w 209"/>
                  <a:gd name="T33" fmla="*/ 201 h 206"/>
                  <a:gd name="T34" fmla="*/ 97 w 209"/>
                  <a:gd name="T35" fmla="*/ 206 h 206"/>
                  <a:gd name="T36" fmla="*/ 114 w 209"/>
                  <a:gd name="T37" fmla="*/ 206 h 206"/>
                  <a:gd name="T38" fmla="*/ 128 w 209"/>
                  <a:gd name="T39" fmla="*/ 198 h 206"/>
                  <a:gd name="T40" fmla="*/ 142 w 209"/>
                  <a:gd name="T41" fmla="*/ 84 h 206"/>
                  <a:gd name="T42" fmla="*/ 145 w 209"/>
                  <a:gd name="T43" fmla="*/ 25 h 206"/>
                  <a:gd name="T44" fmla="*/ 181 w 209"/>
                  <a:gd name="T45" fmla="*/ 22 h 206"/>
                  <a:gd name="T46" fmla="*/ 184 w 209"/>
                  <a:gd name="T47" fmla="*/ 28 h 206"/>
                  <a:gd name="T48" fmla="*/ 192 w 209"/>
                  <a:gd name="T49" fmla="*/ 20 h 206"/>
                  <a:gd name="T50" fmla="*/ 203 w 209"/>
                  <a:gd name="T51" fmla="*/ 17 h 206"/>
                  <a:gd name="T52" fmla="*/ 209 w 209"/>
                  <a:gd name="T53" fmla="*/ 14 h 206"/>
                  <a:gd name="T54" fmla="*/ 203 w 209"/>
                  <a:gd name="T55" fmla="*/ 11 h 206"/>
                  <a:gd name="T56" fmla="*/ 195 w 209"/>
                  <a:gd name="T57" fmla="*/ 8 h 206"/>
                  <a:gd name="T58" fmla="*/ 178 w 209"/>
                  <a:gd name="T59" fmla="*/ 14 h 206"/>
                  <a:gd name="T60" fmla="*/ 150 w 209"/>
                  <a:gd name="T61" fmla="*/ 20 h 206"/>
                  <a:gd name="T62" fmla="*/ 108 w 209"/>
                  <a:gd name="T63" fmla="*/ 11 h 206"/>
                  <a:gd name="T64" fmla="*/ 97 w 209"/>
                  <a:gd name="T65" fmla="*/ 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9" h="206">
                    <a:moveTo>
                      <a:pt x="97" y="8"/>
                    </a:moveTo>
                    <a:lnTo>
                      <a:pt x="33" y="8"/>
                    </a:lnTo>
                    <a:lnTo>
                      <a:pt x="30" y="6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14" y="3"/>
                    </a:lnTo>
                    <a:lnTo>
                      <a:pt x="11" y="6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0" y="8"/>
                    </a:lnTo>
                    <a:lnTo>
                      <a:pt x="0" y="17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33" y="78"/>
                    </a:lnTo>
                    <a:lnTo>
                      <a:pt x="33" y="81"/>
                    </a:lnTo>
                    <a:lnTo>
                      <a:pt x="42" y="95"/>
                    </a:lnTo>
                    <a:lnTo>
                      <a:pt x="42" y="125"/>
                    </a:lnTo>
                    <a:lnTo>
                      <a:pt x="47" y="136"/>
                    </a:lnTo>
                    <a:lnTo>
                      <a:pt x="47" y="148"/>
                    </a:lnTo>
                    <a:lnTo>
                      <a:pt x="50" y="156"/>
                    </a:lnTo>
                    <a:lnTo>
                      <a:pt x="50" y="159"/>
                    </a:lnTo>
                    <a:lnTo>
                      <a:pt x="53" y="178"/>
                    </a:lnTo>
                    <a:lnTo>
                      <a:pt x="72" y="198"/>
                    </a:lnTo>
                    <a:lnTo>
                      <a:pt x="72" y="198"/>
                    </a:lnTo>
                    <a:lnTo>
                      <a:pt x="75" y="201"/>
                    </a:lnTo>
                    <a:lnTo>
                      <a:pt x="75" y="201"/>
                    </a:lnTo>
                    <a:lnTo>
                      <a:pt x="75" y="198"/>
                    </a:lnTo>
                    <a:lnTo>
                      <a:pt x="80" y="192"/>
                    </a:lnTo>
                    <a:lnTo>
                      <a:pt x="83" y="192"/>
                    </a:lnTo>
                    <a:lnTo>
                      <a:pt x="92" y="198"/>
                    </a:lnTo>
                    <a:lnTo>
                      <a:pt x="92" y="201"/>
                    </a:lnTo>
                    <a:lnTo>
                      <a:pt x="94" y="206"/>
                    </a:lnTo>
                    <a:lnTo>
                      <a:pt x="97" y="206"/>
                    </a:lnTo>
                    <a:lnTo>
                      <a:pt x="103" y="203"/>
                    </a:lnTo>
                    <a:lnTo>
                      <a:pt x="114" y="206"/>
                    </a:lnTo>
                    <a:lnTo>
                      <a:pt x="122" y="198"/>
                    </a:lnTo>
                    <a:lnTo>
                      <a:pt x="128" y="198"/>
                    </a:lnTo>
                    <a:lnTo>
                      <a:pt x="128" y="84"/>
                    </a:lnTo>
                    <a:lnTo>
                      <a:pt x="142" y="84"/>
                    </a:lnTo>
                    <a:lnTo>
                      <a:pt x="142" y="25"/>
                    </a:lnTo>
                    <a:lnTo>
                      <a:pt x="145" y="25"/>
                    </a:lnTo>
                    <a:lnTo>
                      <a:pt x="178" y="20"/>
                    </a:lnTo>
                    <a:lnTo>
                      <a:pt x="181" y="22"/>
                    </a:lnTo>
                    <a:lnTo>
                      <a:pt x="184" y="25"/>
                    </a:lnTo>
                    <a:lnTo>
                      <a:pt x="184" y="28"/>
                    </a:lnTo>
                    <a:lnTo>
                      <a:pt x="189" y="22"/>
                    </a:lnTo>
                    <a:lnTo>
                      <a:pt x="192" y="20"/>
                    </a:lnTo>
                    <a:lnTo>
                      <a:pt x="200" y="17"/>
                    </a:lnTo>
                    <a:lnTo>
                      <a:pt x="203" y="17"/>
                    </a:lnTo>
                    <a:lnTo>
                      <a:pt x="203" y="14"/>
                    </a:lnTo>
                    <a:lnTo>
                      <a:pt x="209" y="14"/>
                    </a:lnTo>
                    <a:lnTo>
                      <a:pt x="206" y="11"/>
                    </a:lnTo>
                    <a:lnTo>
                      <a:pt x="203" y="11"/>
                    </a:lnTo>
                    <a:lnTo>
                      <a:pt x="195" y="8"/>
                    </a:lnTo>
                    <a:lnTo>
                      <a:pt x="195" y="8"/>
                    </a:lnTo>
                    <a:lnTo>
                      <a:pt x="178" y="11"/>
                    </a:lnTo>
                    <a:lnTo>
                      <a:pt x="178" y="14"/>
                    </a:lnTo>
                    <a:lnTo>
                      <a:pt x="153" y="20"/>
                    </a:lnTo>
                    <a:lnTo>
                      <a:pt x="150" y="20"/>
                    </a:lnTo>
                    <a:lnTo>
                      <a:pt x="108" y="14"/>
                    </a:lnTo>
                    <a:lnTo>
                      <a:pt x="108" y="11"/>
                    </a:lnTo>
                    <a:lnTo>
                      <a:pt x="103" y="8"/>
                    </a:lnTo>
                    <a:lnTo>
                      <a:pt x="97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4" name="Freeform 279"/>
              <p:cNvSpPr>
                <a:spLocks noChangeAspect="1"/>
              </p:cNvSpPr>
              <p:nvPr>
                <p:custDataLst>
                  <p:tags r:id="rId592"/>
                </p:custDataLst>
              </p:nvPr>
            </p:nvSpPr>
            <p:spPr bwMode="gray">
              <a:xfrm>
                <a:off x="5843168" y="4682443"/>
                <a:ext cx="24295" cy="31534"/>
              </a:xfrm>
              <a:custGeom>
                <a:avLst/>
                <a:gdLst>
                  <a:gd name="T0" fmla="*/ 19 w 19"/>
                  <a:gd name="T1" fmla="*/ 16 h 25"/>
                  <a:gd name="T2" fmla="*/ 19 w 19"/>
                  <a:gd name="T3" fmla="*/ 2 h 25"/>
                  <a:gd name="T4" fmla="*/ 16 w 19"/>
                  <a:gd name="T5" fmla="*/ 2 h 25"/>
                  <a:gd name="T6" fmla="*/ 11 w 19"/>
                  <a:gd name="T7" fmla="*/ 0 h 25"/>
                  <a:gd name="T8" fmla="*/ 5 w 19"/>
                  <a:gd name="T9" fmla="*/ 2 h 25"/>
                  <a:gd name="T10" fmla="*/ 0 w 19"/>
                  <a:gd name="T11" fmla="*/ 16 h 25"/>
                  <a:gd name="T12" fmla="*/ 2 w 19"/>
                  <a:gd name="T13" fmla="*/ 25 h 25"/>
                  <a:gd name="T14" fmla="*/ 14 w 19"/>
                  <a:gd name="T15" fmla="*/ 25 h 25"/>
                  <a:gd name="T16" fmla="*/ 16 w 19"/>
                  <a:gd name="T17" fmla="*/ 22 h 25"/>
                  <a:gd name="T18" fmla="*/ 16 w 19"/>
                  <a:gd name="T19" fmla="*/ 19 h 25"/>
                  <a:gd name="T20" fmla="*/ 19 w 19"/>
                  <a:gd name="T21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25">
                    <a:moveTo>
                      <a:pt x="19" y="16"/>
                    </a:moveTo>
                    <a:lnTo>
                      <a:pt x="19" y="2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0" y="16"/>
                    </a:lnTo>
                    <a:lnTo>
                      <a:pt x="2" y="25"/>
                    </a:lnTo>
                    <a:lnTo>
                      <a:pt x="14" y="25"/>
                    </a:lnTo>
                    <a:lnTo>
                      <a:pt x="16" y="22"/>
                    </a:lnTo>
                    <a:lnTo>
                      <a:pt x="16" y="19"/>
                    </a:lnTo>
                    <a:lnTo>
                      <a:pt x="19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5" name="Freeform 280"/>
              <p:cNvSpPr>
                <a:spLocks noChangeAspect="1"/>
              </p:cNvSpPr>
              <p:nvPr>
                <p:custDataLst>
                  <p:tags r:id="rId593"/>
                </p:custDataLst>
              </p:nvPr>
            </p:nvSpPr>
            <p:spPr bwMode="gray">
              <a:xfrm>
                <a:off x="5843168" y="4682443"/>
                <a:ext cx="24295" cy="31534"/>
              </a:xfrm>
              <a:custGeom>
                <a:avLst/>
                <a:gdLst>
                  <a:gd name="T0" fmla="*/ 19 w 19"/>
                  <a:gd name="T1" fmla="*/ 16 h 25"/>
                  <a:gd name="T2" fmla="*/ 19 w 19"/>
                  <a:gd name="T3" fmla="*/ 2 h 25"/>
                  <a:gd name="T4" fmla="*/ 16 w 19"/>
                  <a:gd name="T5" fmla="*/ 2 h 25"/>
                  <a:gd name="T6" fmla="*/ 11 w 19"/>
                  <a:gd name="T7" fmla="*/ 0 h 25"/>
                  <a:gd name="T8" fmla="*/ 5 w 19"/>
                  <a:gd name="T9" fmla="*/ 2 h 25"/>
                  <a:gd name="T10" fmla="*/ 0 w 19"/>
                  <a:gd name="T11" fmla="*/ 16 h 25"/>
                  <a:gd name="T12" fmla="*/ 2 w 19"/>
                  <a:gd name="T13" fmla="*/ 25 h 25"/>
                  <a:gd name="T14" fmla="*/ 14 w 19"/>
                  <a:gd name="T15" fmla="*/ 25 h 25"/>
                  <a:gd name="T16" fmla="*/ 16 w 19"/>
                  <a:gd name="T17" fmla="*/ 22 h 25"/>
                  <a:gd name="T18" fmla="*/ 16 w 19"/>
                  <a:gd name="T19" fmla="*/ 19 h 25"/>
                  <a:gd name="T20" fmla="*/ 19 w 19"/>
                  <a:gd name="T21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25">
                    <a:moveTo>
                      <a:pt x="19" y="16"/>
                    </a:moveTo>
                    <a:lnTo>
                      <a:pt x="19" y="2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0" y="16"/>
                    </a:lnTo>
                    <a:lnTo>
                      <a:pt x="2" y="25"/>
                    </a:lnTo>
                    <a:lnTo>
                      <a:pt x="14" y="25"/>
                    </a:lnTo>
                    <a:lnTo>
                      <a:pt x="16" y="22"/>
                    </a:lnTo>
                    <a:lnTo>
                      <a:pt x="16" y="19"/>
                    </a:lnTo>
                    <a:lnTo>
                      <a:pt x="19" y="1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6" name="Freeform 281"/>
              <p:cNvSpPr>
                <a:spLocks noChangeAspect="1"/>
              </p:cNvSpPr>
              <p:nvPr>
                <p:custDataLst>
                  <p:tags r:id="rId594"/>
                </p:custDataLst>
              </p:nvPr>
            </p:nvSpPr>
            <p:spPr bwMode="gray">
              <a:xfrm>
                <a:off x="8842119" y="2066633"/>
                <a:ext cx="28851" cy="44148"/>
              </a:xfrm>
              <a:custGeom>
                <a:avLst/>
                <a:gdLst>
                  <a:gd name="T0" fmla="*/ 2147483647 w 22"/>
                  <a:gd name="T1" fmla="*/ 2147483647 h 33"/>
                  <a:gd name="T2" fmla="*/ 2147483647 w 22"/>
                  <a:gd name="T3" fmla="*/ 2147483647 h 33"/>
                  <a:gd name="T4" fmla="*/ 2147483647 w 22"/>
                  <a:gd name="T5" fmla="*/ 2147483647 h 33"/>
                  <a:gd name="T6" fmla="*/ 2147483647 w 22"/>
                  <a:gd name="T7" fmla="*/ 2147483647 h 33"/>
                  <a:gd name="T8" fmla="*/ 2147483647 w 22"/>
                  <a:gd name="T9" fmla="*/ 2147483647 h 33"/>
                  <a:gd name="T10" fmla="*/ 2147483647 w 22"/>
                  <a:gd name="T11" fmla="*/ 2147483647 h 33"/>
                  <a:gd name="T12" fmla="*/ 2147483647 w 22"/>
                  <a:gd name="T13" fmla="*/ 2147483647 h 33"/>
                  <a:gd name="T14" fmla="*/ 2147483647 w 22"/>
                  <a:gd name="T15" fmla="*/ 2147483647 h 33"/>
                  <a:gd name="T16" fmla="*/ 2147483647 w 22"/>
                  <a:gd name="T17" fmla="*/ 2147483647 h 33"/>
                  <a:gd name="T18" fmla="*/ 0 w 22"/>
                  <a:gd name="T19" fmla="*/ 2147483647 h 33"/>
                  <a:gd name="T20" fmla="*/ 0 w 22"/>
                  <a:gd name="T21" fmla="*/ 2147483647 h 33"/>
                  <a:gd name="T22" fmla="*/ 2147483647 w 22"/>
                  <a:gd name="T23" fmla="*/ 2147483647 h 33"/>
                  <a:gd name="T24" fmla="*/ 2147483647 w 22"/>
                  <a:gd name="T25" fmla="*/ 2147483647 h 33"/>
                  <a:gd name="T26" fmla="*/ 2147483647 w 22"/>
                  <a:gd name="T27" fmla="*/ 2147483647 h 33"/>
                  <a:gd name="T28" fmla="*/ 2147483647 w 22"/>
                  <a:gd name="T29" fmla="*/ 2147483647 h 33"/>
                  <a:gd name="T30" fmla="*/ 2147483647 w 22"/>
                  <a:gd name="T31" fmla="*/ 2147483647 h 33"/>
                  <a:gd name="T32" fmla="*/ 2147483647 w 22"/>
                  <a:gd name="T33" fmla="*/ 2147483647 h 33"/>
                  <a:gd name="T34" fmla="*/ 2147483647 w 22"/>
                  <a:gd name="T35" fmla="*/ 2147483647 h 33"/>
                  <a:gd name="T36" fmla="*/ 2147483647 w 22"/>
                  <a:gd name="T37" fmla="*/ 0 h 33"/>
                  <a:gd name="T38" fmla="*/ 2147483647 w 22"/>
                  <a:gd name="T39" fmla="*/ 2147483647 h 3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2"/>
                  <a:gd name="T61" fmla="*/ 0 h 33"/>
                  <a:gd name="T62" fmla="*/ 22 w 22"/>
                  <a:gd name="T63" fmla="*/ 33 h 3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2" h="33">
                    <a:moveTo>
                      <a:pt x="22" y="28"/>
                    </a:moveTo>
                    <a:lnTo>
                      <a:pt x="22" y="28"/>
                    </a:lnTo>
                    <a:lnTo>
                      <a:pt x="20" y="28"/>
                    </a:lnTo>
                    <a:lnTo>
                      <a:pt x="17" y="30"/>
                    </a:lnTo>
                    <a:lnTo>
                      <a:pt x="17" y="33"/>
                    </a:lnTo>
                    <a:lnTo>
                      <a:pt x="11" y="33"/>
                    </a:lnTo>
                    <a:lnTo>
                      <a:pt x="6" y="33"/>
                    </a:lnTo>
                    <a:lnTo>
                      <a:pt x="3" y="30"/>
                    </a:lnTo>
                    <a:lnTo>
                      <a:pt x="0" y="25"/>
                    </a:lnTo>
                    <a:lnTo>
                      <a:pt x="0" y="19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17" y="5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7" name="Freeform 282"/>
              <p:cNvSpPr>
                <a:spLocks noChangeAspect="1"/>
              </p:cNvSpPr>
              <p:nvPr>
                <p:custDataLst>
                  <p:tags r:id="rId595"/>
                </p:custDataLst>
              </p:nvPr>
            </p:nvSpPr>
            <p:spPr bwMode="gray">
              <a:xfrm>
                <a:off x="8842119" y="2066633"/>
                <a:ext cx="28851" cy="44148"/>
              </a:xfrm>
              <a:custGeom>
                <a:avLst/>
                <a:gdLst>
                  <a:gd name="T0" fmla="*/ 2147483647 w 22"/>
                  <a:gd name="T1" fmla="*/ 2147483647 h 33"/>
                  <a:gd name="T2" fmla="*/ 2147483647 w 22"/>
                  <a:gd name="T3" fmla="*/ 2147483647 h 33"/>
                  <a:gd name="T4" fmla="*/ 2147483647 w 22"/>
                  <a:gd name="T5" fmla="*/ 2147483647 h 33"/>
                  <a:gd name="T6" fmla="*/ 2147483647 w 22"/>
                  <a:gd name="T7" fmla="*/ 2147483647 h 33"/>
                  <a:gd name="T8" fmla="*/ 2147483647 w 22"/>
                  <a:gd name="T9" fmla="*/ 2147483647 h 33"/>
                  <a:gd name="T10" fmla="*/ 2147483647 w 22"/>
                  <a:gd name="T11" fmla="*/ 2147483647 h 33"/>
                  <a:gd name="T12" fmla="*/ 2147483647 w 22"/>
                  <a:gd name="T13" fmla="*/ 2147483647 h 33"/>
                  <a:gd name="T14" fmla="*/ 2147483647 w 22"/>
                  <a:gd name="T15" fmla="*/ 2147483647 h 33"/>
                  <a:gd name="T16" fmla="*/ 2147483647 w 22"/>
                  <a:gd name="T17" fmla="*/ 2147483647 h 33"/>
                  <a:gd name="T18" fmla="*/ 0 w 22"/>
                  <a:gd name="T19" fmla="*/ 2147483647 h 33"/>
                  <a:gd name="T20" fmla="*/ 0 w 22"/>
                  <a:gd name="T21" fmla="*/ 2147483647 h 33"/>
                  <a:gd name="T22" fmla="*/ 2147483647 w 22"/>
                  <a:gd name="T23" fmla="*/ 2147483647 h 33"/>
                  <a:gd name="T24" fmla="*/ 2147483647 w 22"/>
                  <a:gd name="T25" fmla="*/ 2147483647 h 33"/>
                  <a:gd name="T26" fmla="*/ 2147483647 w 22"/>
                  <a:gd name="T27" fmla="*/ 2147483647 h 33"/>
                  <a:gd name="T28" fmla="*/ 2147483647 w 22"/>
                  <a:gd name="T29" fmla="*/ 2147483647 h 33"/>
                  <a:gd name="T30" fmla="*/ 2147483647 w 22"/>
                  <a:gd name="T31" fmla="*/ 2147483647 h 33"/>
                  <a:gd name="T32" fmla="*/ 2147483647 w 22"/>
                  <a:gd name="T33" fmla="*/ 2147483647 h 33"/>
                  <a:gd name="T34" fmla="*/ 2147483647 w 22"/>
                  <a:gd name="T35" fmla="*/ 2147483647 h 33"/>
                  <a:gd name="T36" fmla="*/ 2147483647 w 22"/>
                  <a:gd name="T37" fmla="*/ 0 h 33"/>
                  <a:gd name="T38" fmla="*/ 2147483647 w 22"/>
                  <a:gd name="T39" fmla="*/ 2147483647 h 3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2"/>
                  <a:gd name="T61" fmla="*/ 0 h 33"/>
                  <a:gd name="T62" fmla="*/ 22 w 22"/>
                  <a:gd name="T63" fmla="*/ 33 h 3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2" h="33">
                    <a:moveTo>
                      <a:pt x="22" y="28"/>
                    </a:moveTo>
                    <a:lnTo>
                      <a:pt x="22" y="28"/>
                    </a:lnTo>
                    <a:lnTo>
                      <a:pt x="20" y="28"/>
                    </a:lnTo>
                    <a:lnTo>
                      <a:pt x="17" y="30"/>
                    </a:lnTo>
                    <a:lnTo>
                      <a:pt x="17" y="33"/>
                    </a:lnTo>
                    <a:lnTo>
                      <a:pt x="11" y="33"/>
                    </a:lnTo>
                    <a:lnTo>
                      <a:pt x="6" y="33"/>
                    </a:lnTo>
                    <a:lnTo>
                      <a:pt x="3" y="30"/>
                    </a:lnTo>
                    <a:lnTo>
                      <a:pt x="0" y="25"/>
                    </a:lnTo>
                    <a:lnTo>
                      <a:pt x="0" y="19"/>
                    </a:lnTo>
                    <a:lnTo>
                      <a:pt x="3" y="19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17" y="5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2" y="2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8" name="Freeform 355"/>
              <p:cNvSpPr>
                <a:spLocks noChangeAspect="1"/>
              </p:cNvSpPr>
              <p:nvPr>
                <p:custDataLst>
                  <p:tags r:id="rId596"/>
                </p:custDataLst>
              </p:nvPr>
            </p:nvSpPr>
            <p:spPr bwMode="gray">
              <a:xfrm>
                <a:off x="5548587" y="2739901"/>
                <a:ext cx="9110" cy="44148"/>
              </a:xfrm>
              <a:custGeom>
                <a:avLst/>
                <a:gdLst>
                  <a:gd name="T0" fmla="*/ 0 w 8"/>
                  <a:gd name="T1" fmla="*/ 34 h 34"/>
                  <a:gd name="T2" fmla="*/ 0 w 8"/>
                  <a:gd name="T3" fmla="*/ 31 h 34"/>
                  <a:gd name="T4" fmla="*/ 8 w 8"/>
                  <a:gd name="T5" fmla="*/ 3 h 34"/>
                  <a:gd name="T6" fmla="*/ 8 w 8"/>
                  <a:gd name="T7" fmla="*/ 3 h 34"/>
                  <a:gd name="T8" fmla="*/ 8 w 8"/>
                  <a:gd name="T9" fmla="*/ 0 h 34"/>
                  <a:gd name="T10" fmla="*/ 8 w 8"/>
                  <a:gd name="T11" fmla="*/ 3 h 34"/>
                  <a:gd name="T12" fmla="*/ 0 w 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4">
                    <a:moveTo>
                      <a:pt x="0" y="34"/>
                    </a:moveTo>
                    <a:lnTo>
                      <a:pt x="0" y="3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9" name="Freeform 356"/>
              <p:cNvSpPr>
                <a:spLocks noChangeAspect="1"/>
              </p:cNvSpPr>
              <p:nvPr>
                <p:custDataLst>
                  <p:tags r:id="rId597"/>
                </p:custDataLst>
              </p:nvPr>
            </p:nvSpPr>
            <p:spPr bwMode="gray">
              <a:xfrm>
                <a:off x="5548587" y="2739901"/>
                <a:ext cx="9110" cy="44148"/>
              </a:xfrm>
              <a:custGeom>
                <a:avLst/>
                <a:gdLst>
                  <a:gd name="T0" fmla="*/ 0 w 8"/>
                  <a:gd name="T1" fmla="*/ 34 h 34"/>
                  <a:gd name="T2" fmla="*/ 0 w 8"/>
                  <a:gd name="T3" fmla="*/ 31 h 34"/>
                  <a:gd name="T4" fmla="*/ 8 w 8"/>
                  <a:gd name="T5" fmla="*/ 3 h 34"/>
                  <a:gd name="T6" fmla="*/ 8 w 8"/>
                  <a:gd name="T7" fmla="*/ 3 h 34"/>
                  <a:gd name="T8" fmla="*/ 8 w 8"/>
                  <a:gd name="T9" fmla="*/ 0 h 34"/>
                  <a:gd name="T10" fmla="*/ 8 w 8"/>
                  <a:gd name="T11" fmla="*/ 3 h 34"/>
                  <a:gd name="T12" fmla="*/ 0 w 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4">
                    <a:moveTo>
                      <a:pt x="0" y="34"/>
                    </a:moveTo>
                    <a:lnTo>
                      <a:pt x="0" y="3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0" y="3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0" name="Freeform 357"/>
              <p:cNvSpPr>
                <a:spLocks noChangeAspect="1"/>
              </p:cNvSpPr>
              <p:nvPr>
                <p:custDataLst>
                  <p:tags r:id="rId598"/>
                </p:custDataLst>
              </p:nvPr>
            </p:nvSpPr>
            <p:spPr bwMode="gray">
              <a:xfrm>
                <a:off x="5580474" y="2722556"/>
                <a:ext cx="18222" cy="36266"/>
              </a:xfrm>
              <a:custGeom>
                <a:avLst/>
                <a:gdLst>
                  <a:gd name="T0" fmla="*/ 0 w 14"/>
                  <a:gd name="T1" fmla="*/ 28 h 28"/>
                  <a:gd name="T2" fmla="*/ 3 w 14"/>
                  <a:gd name="T3" fmla="*/ 25 h 28"/>
                  <a:gd name="T4" fmla="*/ 6 w 14"/>
                  <a:gd name="T5" fmla="*/ 23 h 28"/>
                  <a:gd name="T6" fmla="*/ 11 w 14"/>
                  <a:gd name="T7" fmla="*/ 17 h 28"/>
                  <a:gd name="T8" fmla="*/ 11 w 14"/>
                  <a:gd name="T9" fmla="*/ 17 h 28"/>
                  <a:gd name="T10" fmla="*/ 14 w 14"/>
                  <a:gd name="T11" fmla="*/ 14 h 28"/>
                  <a:gd name="T12" fmla="*/ 11 w 14"/>
                  <a:gd name="T13" fmla="*/ 6 h 28"/>
                  <a:gd name="T14" fmla="*/ 14 w 14"/>
                  <a:gd name="T15" fmla="*/ 3 h 28"/>
                  <a:gd name="T16" fmla="*/ 14 w 14"/>
                  <a:gd name="T17" fmla="*/ 3 h 28"/>
                  <a:gd name="T18" fmla="*/ 14 w 14"/>
                  <a:gd name="T19" fmla="*/ 0 h 28"/>
                  <a:gd name="T20" fmla="*/ 14 w 14"/>
                  <a:gd name="T21" fmla="*/ 0 h 28"/>
                  <a:gd name="T22" fmla="*/ 11 w 14"/>
                  <a:gd name="T23" fmla="*/ 0 h 28"/>
                  <a:gd name="T24" fmla="*/ 9 w 14"/>
                  <a:gd name="T25" fmla="*/ 0 h 28"/>
                  <a:gd name="T26" fmla="*/ 3 w 14"/>
                  <a:gd name="T27" fmla="*/ 9 h 28"/>
                  <a:gd name="T28" fmla="*/ 0 w 14"/>
                  <a:gd name="T29" fmla="*/ 20 h 28"/>
                  <a:gd name="T30" fmla="*/ 3 w 14"/>
                  <a:gd name="T31" fmla="*/ 20 h 28"/>
                  <a:gd name="T32" fmla="*/ 3 w 14"/>
                  <a:gd name="T33" fmla="*/ 23 h 28"/>
                  <a:gd name="T34" fmla="*/ 3 w 14"/>
                  <a:gd name="T35" fmla="*/ 23 h 28"/>
                  <a:gd name="T36" fmla="*/ 3 w 14"/>
                  <a:gd name="T37" fmla="*/ 25 h 28"/>
                  <a:gd name="T38" fmla="*/ 0 w 14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8">
                    <a:moveTo>
                      <a:pt x="0" y="28"/>
                    </a:moveTo>
                    <a:lnTo>
                      <a:pt x="3" y="25"/>
                    </a:lnTo>
                    <a:lnTo>
                      <a:pt x="6" y="23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4" y="14"/>
                    </a:lnTo>
                    <a:lnTo>
                      <a:pt x="11" y="6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3" y="9"/>
                    </a:lnTo>
                    <a:lnTo>
                      <a:pt x="0" y="20"/>
                    </a:lnTo>
                    <a:lnTo>
                      <a:pt x="3" y="20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3" y="25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1" name="Freeform 358"/>
              <p:cNvSpPr>
                <a:spLocks noChangeAspect="1"/>
              </p:cNvSpPr>
              <p:nvPr>
                <p:custDataLst>
                  <p:tags r:id="rId599"/>
                </p:custDataLst>
              </p:nvPr>
            </p:nvSpPr>
            <p:spPr bwMode="gray">
              <a:xfrm>
                <a:off x="5311708" y="2888116"/>
                <a:ext cx="7592" cy="11037"/>
              </a:xfrm>
              <a:custGeom>
                <a:avLst/>
                <a:gdLst>
                  <a:gd name="T0" fmla="*/ 6 w 6"/>
                  <a:gd name="T1" fmla="*/ 3 h 9"/>
                  <a:gd name="T2" fmla="*/ 6 w 6"/>
                  <a:gd name="T3" fmla="*/ 0 h 9"/>
                  <a:gd name="T4" fmla="*/ 6 w 6"/>
                  <a:gd name="T5" fmla="*/ 0 h 9"/>
                  <a:gd name="T6" fmla="*/ 0 w 6"/>
                  <a:gd name="T7" fmla="*/ 9 h 9"/>
                  <a:gd name="T8" fmla="*/ 3 w 6"/>
                  <a:gd name="T9" fmla="*/ 6 h 9"/>
                  <a:gd name="T10" fmla="*/ 3 w 6"/>
                  <a:gd name="T11" fmla="*/ 3 h 9"/>
                  <a:gd name="T12" fmla="*/ 6 w 6"/>
                  <a:gd name="T1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9">
                    <a:moveTo>
                      <a:pt x="6" y="3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2" name="Freeform 359"/>
              <p:cNvSpPr>
                <a:spLocks noChangeAspect="1"/>
              </p:cNvSpPr>
              <p:nvPr>
                <p:custDataLst>
                  <p:tags r:id="rId600"/>
                </p:custDataLst>
              </p:nvPr>
            </p:nvSpPr>
            <p:spPr bwMode="gray">
              <a:xfrm>
                <a:off x="5311708" y="2888116"/>
                <a:ext cx="7592" cy="11037"/>
              </a:xfrm>
              <a:custGeom>
                <a:avLst/>
                <a:gdLst>
                  <a:gd name="T0" fmla="*/ 6 w 6"/>
                  <a:gd name="T1" fmla="*/ 3 h 9"/>
                  <a:gd name="T2" fmla="*/ 6 w 6"/>
                  <a:gd name="T3" fmla="*/ 0 h 9"/>
                  <a:gd name="T4" fmla="*/ 6 w 6"/>
                  <a:gd name="T5" fmla="*/ 0 h 9"/>
                  <a:gd name="T6" fmla="*/ 0 w 6"/>
                  <a:gd name="T7" fmla="*/ 9 h 9"/>
                  <a:gd name="T8" fmla="*/ 3 w 6"/>
                  <a:gd name="T9" fmla="*/ 6 h 9"/>
                  <a:gd name="T10" fmla="*/ 3 w 6"/>
                  <a:gd name="T11" fmla="*/ 3 h 9"/>
                  <a:gd name="T12" fmla="*/ 6 w 6"/>
                  <a:gd name="T13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9">
                    <a:moveTo>
                      <a:pt x="6" y="3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3" name="Freeform 360"/>
              <p:cNvSpPr>
                <a:spLocks noChangeAspect="1"/>
              </p:cNvSpPr>
              <p:nvPr>
                <p:custDataLst>
                  <p:tags r:id="rId601"/>
                </p:custDataLst>
              </p:nvPr>
            </p:nvSpPr>
            <p:spPr bwMode="gray">
              <a:xfrm>
                <a:off x="5298041" y="2935417"/>
                <a:ext cx="7593" cy="6307"/>
              </a:xfrm>
              <a:custGeom>
                <a:avLst/>
                <a:gdLst>
                  <a:gd name="T0" fmla="*/ 0 w 6"/>
                  <a:gd name="T1" fmla="*/ 2 h 5"/>
                  <a:gd name="T2" fmla="*/ 0 w 6"/>
                  <a:gd name="T3" fmla="*/ 0 h 5"/>
                  <a:gd name="T4" fmla="*/ 3 w 6"/>
                  <a:gd name="T5" fmla="*/ 0 h 5"/>
                  <a:gd name="T6" fmla="*/ 6 w 6"/>
                  <a:gd name="T7" fmla="*/ 2 h 5"/>
                  <a:gd name="T8" fmla="*/ 6 w 6"/>
                  <a:gd name="T9" fmla="*/ 5 h 5"/>
                  <a:gd name="T10" fmla="*/ 0 w 6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0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4" name="Freeform 361"/>
              <p:cNvSpPr>
                <a:spLocks noChangeAspect="1"/>
              </p:cNvSpPr>
              <p:nvPr>
                <p:custDataLst>
                  <p:tags r:id="rId602"/>
                </p:custDataLst>
              </p:nvPr>
            </p:nvSpPr>
            <p:spPr bwMode="gray">
              <a:xfrm>
                <a:off x="5298041" y="2935417"/>
                <a:ext cx="7593" cy="6307"/>
              </a:xfrm>
              <a:custGeom>
                <a:avLst/>
                <a:gdLst>
                  <a:gd name="T0" fmla="*/ 0 w 6"/>
                  <a:gd name="T1" fmla="*/ 2 h 5"/>
                  <a:gd name="T2" fmla="*/ 0 w 6"/>
                  <a:gd name="T3" fmla="*/ 0 h 5"/>
                  <a:gd name="T4" fmla="*/ 3 w 6"/>
                  <a:gd name="T5" fmla="*/ 0 h 5"/>
                  <a:gd name="T6" fmla="*/ 6 w 6"/>
                  <a:gd name="T7" fmla="*/ 2 h 5"/>
                  <a:gd name="T8" fmla="*/ 6 w 6"/>
                  <a:gd name="T9" fmla="*/ 5 h 5"/>
                  <a:gd name="T10" fmla="*/ 0 w 6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5">
                    <a:moveTo>
                      <a:pt x="0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5" name="Freeform 362"/>
              <p:cNvSpPr>
                <a:spLocks noChangeAspect="1"/>
              </p:cNvSpPr>
              <p:nvPr>
                <p:custDataLst>
                  <p:tags r:id="rId603"/>
                </p:custDataLst>
              </p:nvPr>
            </p:nvSpPr>
            <p:spPr bwMode="gray">
              <a:xfrm>
                <a:off x="5293486" y="2936993"/>
                <a:ext cx="7592" cy="4731"/>
              </a:xfrm>
              <a:custGeom>
                <a:avLst/>
                <a:gdLst>
                  <a:gd name="T0" fmla="*/ 0 w 6"/>
                  <a:gd name="T1" fmla="*/ 0 h 3"/>
                  <a:gd name="T2" fmla="*/ 3 w 6"/>
                  <a:gd name="T3" fmla="*/ 0 h 3"/>
                  <a:gd name="T4" fmla="*/ 3 w 6"/>
                  <a:gd name="T5" fmla="*/ 0 h 3"/>
                  <a:gd name="T6" fmla="*/ 6 w 6"/>
                  <a:gd name="T7" fmla="*/ 3 h 3"/>
                  <a:gd name="T8" fmla="*/ 0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6" name="Freeform 363"/>
              <p:cNvSpPr>
                <a:spLocks noChangeAspect="1"/>
              </p:cNvSpPr>
              <p:nvPr>
                <p:custDataLst>
                  <p:tags r:id="rId604"/>
                </p:custDataLst>
              </p:nvPr>
            </p:nvSpPr>
            <p:spPr bwMode="gray">
              <a:xfrm>
                <a:off x="5293486" y="2936993"/>
                <a:ext cx="7592" cy="4731"/>
              </a:xfrm>
              <a:custGeom>
                <a:avLst/>
                <a:gdLst>
                  <a:gd name="T0" fmla="*/ 0 w 6"/>
                  <a:gd name="T1" fmla="*/ 0 h 3"/>
                  <a:gd name="T2" fmla="*/ 3 w 6"/>
                  <a:gd name="T3" fmla="*/ 0 h 3"/>
                  <a:gd name="T4" fmla="*/ 3 w 6"/>
                  <a:gd name="T5" fmla="*/ 0 h 3"/>
                  <a:gd name="T6" fmla="*/ 6 w 6"/>
                  <a:gd name="T7" fmla="*/ 3 h 3"/>
                  <a:gd name="T8" fmla="*/ 0 w 6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7" name="Freeform 364"/>
              <p:cNvSpPr>
                <a:spLocks noChangeAspect="1"/>
              </p:cNvSpPr>
              <p:nvPr>
                <p:custDataLst>
                  <p:tags r:id="rId605"/>
                </p:custDataLst>
              </p:nvPr>
            </p:nvSpPr>
            <p:spPr bwMode="gray">
              <a:xfrm>
                <a:off x="5288931" y="2944877"/>
                <a:ext cx="455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8" name="Freeform 365"/>
              <p:cNvSpPr>
                <a:spLocks noChangeAspect="1"/>
              </p:cNvSpPr>
              <p:nvPr>
                <p:custDataLst>
                  <p:tags r:id="rId606"/>
                </p:custDataLst>
              </p:nvPr>
            </p:nvSpPr>
            <p:spPr bwMode="gray">
              <a:xfrm>
                <a:off x="5288931" y="2944877"/>
                <a:ext cx="455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9" name="Freeform 366"/>
              <p:cNvSpPr>
                <a:spLocks noChangeAspect="1"/>
              </p:cNvSpPr>
              <p:nvPr>
                <p:custDataLst>
                  <p:tags r:id="rId607"/>
                </p:custDataLst>
              </p:nvPr>
            </p:nvSpPr>
            <p:spPr bwMode="gray">
              <a:xfrm>
                <a:off x="5390667" y="3197156"/>
                <a:ext cx="18222" cy="40995"/>
              </a:xfrm>
              <a:custGeom>
                <a:avLst/>
                <a:gdLst>
                  <a:gd name="T0" fmla="*/ 12 w 14"/>
                  <a:gd name="T1" fmla="*/ 0 h 33"/>
                  <a:gd name="T2" fmla="*/ 12 w 14"/>
                  <a:gd name="T3" fmla="*/ 0 h 33"/>
                  <a:gd name="T4" fmla="*/ 14 w 14"/>
                  <a:gd name="T5" fmla="*/ 17 h 33"/>
                  <a:gd name="T6" fmla="*/ 9 w 14"/>
                  <a:gd name="T7" fmla="*/ 33 h 33"/>
                  <a:gd name="T8" fmla="*/ 9 w 14"/>
                  <a:gd name="T9" fmla="*/ 33 h 33"/>
                  <a:gd name="T10" fmla="*/ 6 w 14"/>
                  <a:gd name="T11" fmla="*/ 30 h 33"/>
                  <a:gd name="T12" fmla="*/ 3 w 14"/>
                  <a:gd name="T13" fmla="*/ 30 h 33"/>
                  <a:gd name="T14" fmla="*/ 3 w 14"/>
                  <a:gd name="T15" fmla="*/ 28 h 33"/>
                  <a:gd name="T16" fmla="*/ 3 w 14"/>
                  <a:gd name="T17" fmla="*/ 28 h 33"/>
                  <a:gd name="T18" fmla="*/ 0 w 14"/>
                  <a:gd name="T19" fmla="*/ 25 h 33"/>
                  <a:gd name="T20" fmla="*/ 0 w 14"/>
                  <a:gd name="T21" fmla="*/ 19 h 33"/>
                  <a:gd name="T22" fmla="*/ 0 w 14"/>
                  <a:gd name="T23" fmla="*/ 17 h 33"/>
                  <a:gd name="T24" fmla="*/ 0 w 14"/>
                  <a:gd name="T25" fmla="*/ 11 h 33"/>
                  <a:gd name="T26" fmla="*/ 0 w 14"/>
                  <a:gd name="T27" fmla="*/ 8 h 33"/>
                  <a:gd name="T28" fmla="*/ 3 w 14"/>
                  <a:gd name="T29" fmla="*/ 8 h 33"/>
                  <a:gd name="T30" fmla="*/ 3 w 14"/>
                  <a:gd name="T31" fmla="*/ 8 h 33"/>
                  <a:gd name="T32" fmla="*/ 9 w 14"/>
                  <a:gd name="T33" fmla="*/ 5 h 33"/>
                  <a:gd name="T34" fmla="*/ 9 w 14"/>
                  <a:gd name="T35" fmla="*/ 5 h 33"/>
                  <a:gd name="T36" fmla="*/ 12 w 14"/>
                  <a:gd name="T37" fmla="*/ 3 h 33"/>
                  <a:gd name="T38" fmla="*/ 12 w 14"/>
                  <a:gd name="T3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33">
                    <a:moveTo>
                      <a:pt x="12" y="0"/>
                    </a:moveTo>
                    <a:lnTo>
                      <a:pt x="12" y="0"/>
                    </a:lnTo>
                    <a:lnTo>
                      <a:pt x="14" y="17"/>
                    </a:lnTo>
                    <a:lnTo>
                      <a:pt x="9" y="33"/>
                    </a:lnTo>
                    <a:lnTo>
                      <a:pt x="9" y="33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0" y="25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2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0" name="Freeform 367"/>
              <p:cNvSpPr>
                <a:spLocks noChangeAspect="1"/>
              </p:cNvSpPr>
              <p:nvPr>
                <p:custDataLst>
                  <p:tags r:id="rId608"/>
                </p:custDataLst>
              </p:nvPr>
            </p:nvSpPr>
            <p:spPr bwMode="gray">
              <a:xfrm>
                <a:off x="6307816" y="3651257"/>
                <a:ext cx="3037" cy="1577"/>
              </a:xfrm>
              <a:custGeom>
                <a:avLst/>
                <a:gdLst>
                  <a:gd name="T0" fmla="*/ 0 w 3"/>
                  <a:gd name="T1" fmla="*/ 3 w 3"/>
                  <a:gd name="T2" fmla="*/ 3 w 3"/>
                  <a:gd name="T3" fmla="*/ 3 w 3"/>
                  <a:gd name="T4" fmla="*/ 3 w 3"/>
                  <a:gd name="T5" fmla="*/ 3 w 3"/>
                  <a:gd name="T6" fmla="*/ 3 w 3"/>
                  <a:gd name="T7" fmla="*/ 3 w 3"/>
                  <a:gd name="T8" fmla="*/ 3 w 3"/>
                  <a:gd name="T9" fmla="*/ 0 w 3"/>
                  <a:gd name="T10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1" name="Freeform 368"/>
              <p:cNvSpPr>
                <a:spLocks noChangeAspect="1"/>
              </p:cNvSpPr>
              <p:nvPr>
                <p:custDataLst>
                  <p:tags r:id="rId609"/>
                </p:custDataLst>
              </p:nvPr>
            </p:nvSpPr>
            <p:spPr bwMode="gray">
              <a:xfrm>
                <a:off x="6307816" y="3651257"/>
                <a:ext cx="3037" cy="1577"/>
              </a:xfrm>
              <a:custGeom>
                <a:avLst/>
                <a:gdLst>
                  <a:gd name="T0" fmla="*/ 0 w 3"/>
                  <a:gd name="T1" fmla="*/ 3 w 3"/>
                  <a:gd name="T2" fmla="*/ 3 w 3"/>
                  <a:gd name="T3" fmla="*/ 3 w 3"/>
                  <a:gd name="T4" fmla="*/ 3 w 3"/>
                  <a:gd name="T5" fmla="*/ 3 w 3"/>
                  <a:gd name="T6" fmla="*/ 3 w 3"/>
                  <a:gd name="T7" fmla="*/ 3 w 3"/>
                  <a:gd name="T8" fmla="*/ 3 w 3"/>
                  <a:gd name="T9" fmla="*/ 0 w 3"/>
                  <a:gd name="T10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2" name="Freeform 369"/>
              <p:cNvSpPr>
                <a:spLocks noChangeAspect="1"/>
              </p:cNvSpPr>
              <p:nvPr>
                <p:custDataLst>
                  <p:tags r:id="rId610"/>
                </p:custDataLst>
              </p:nvPr>
            </p:nvSpPr>
            <p:spPr bwMode="gray">
              <a:xfrm>
                <a:off x="6081565" y="3873576"/>
                <a:ext cx="3037" cy="4731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3 w 3"/>
                  <a:gd name="T11" fmla="*/ 0 h 3"/>
                  <a:gd name="T12" fmla="*/ 3 w 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3" name="Freeform 370"/>
              <p:cNvSpPr>
                <a:spLocks noChangeAspect="1"/>
              </p:cNvSpPr>
              <p:nvPr>
                <p:custDataLst>
                  <p:tags r:id="rId611"/>
                </p:custDataLst>
              </p:nvPr>
            </p:nvSpPr>
            <p:spPr bwMode="gray">
              <a:xfrm>
                <a:off x="6081565" y="3873576"/>
                <a:ext cx="3037" cy="4731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  <a:gd name="T10" fmla="*/ 3 w 3"/>
                  <a:gd name="T11" fmla="*/ 0 h 3"/>
                  <a:gd name="T12" fmla="*/ 3 w 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4" name="Freeform 371"/>
              <p:cNvSpPr>
                <a:spLocks noChangeAspect="1"/>
              </p:cNvSpPr>
              <p:nvPr>
                <p:custDataLst>
                  <p:tags r:id="rId612"/>
                </p:custDataLst>
              </p:nvPr>
            </p:nvSpPr>
            <p:spPr bwMode="gray">
              <a:xfrm>
                <a:off x="6081565" y="3867268"/>
                <a:ext cx="3037" cy="3154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3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  <a:gd name="T10" fmla="*/ 3 w 3"/>
                  <a:gd name="T11" fmla="*/ 0 h 2"/>
                  <a:gd name="T12" fmla="*/ 0 w 3"/>
                  <a:gd name="T13" fmla="*/ 0 h 2"/>
                  <a:gd name="T14" fmla="*/ 0 w 3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5" name="Freeform 372"/>
              <p:cNvSpPr>
                <a:spLocks noChangeAspect="1"/>
              </p:cNvSpPr>
              <p:nvPr>
                <p:custDataLst>
                  <p:tags r:id="rId613"/>
                </p:custDataLst>
              </p:nvPr>
            </p:nvSpPr>
            <p:spPr bwMode="gray">
              <a:xfrm>
                <a:off x="6081565" y="3867268"/>
                <a:ext cx="3037" cy="3154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3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  <a:gd name="T10" fmla="*/ 3 w 3"/>
                  <a:gd name="T11" fmla="*/ 0 h 2"/>
                  <a:gd name="T12" fmla="*/ 0 w 3"/>
                  <a:gd name="T13" fmla="*/ 0 h 2"/>
                  <a:gd name="T14" fmla="*/ 0 w 3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6" name="Freeform 373"/>
              <p:cNvSpPr>
                <a:spLocks noChangeAspect="1"/>
              </p:cNvSpPr>
              <p:nvPr>
                <p:custDataLst>
                  <p:tags r:id="rId614"/>
                </p:custDataLst>
              </p:nvPr>
            </p:nvSpPr>
            <p:spPr bwMode="gray">
              <a:xfrm>
                <a:off x="6078528" y="3837312"/>
                <a:ext cx="3037" cy="4730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2 w 2"/>
                  <a:gd name="T5" fmla="*/ 0 h 3"/>
                  <a:gd name="T6" fmla="*/ 2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0 w 2"/>
                  <a:gd name="T13" fmla="*/ 3 h 3"/>
                  <a:gd name="T14" fmla="*/ 0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7" name="Freeform 374"/>
              <p:cNvSpPr>
                <a:spLocks noChangeAspect="1"/>
              </p:cNvSpPr>
              <p:nvPr>
                <p:custDataLst>
                  <p:tags r:id="rId615"/>
                </p:custDataLst>
              </p:nvPr>
            </p:nvSpPr>
            <p:spPr bwMode="gray">
              <a:xfrm>
                <a:off x="6078528" y="3837312"/>
                <a:ext cx="3037" cy="4730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2 w 2"/>
                  <a:gd name="T5" fmla="*/ 0 h 3"/>
                  <a:gd name="T6" fmla="*/ 2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0 w 2"/>
                  <a:gd name="T13" fmla="*/ 3 h 3"/>
                  <a:gd name="T14" fmla="*/ 0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8" name="Freeform 459"/>
              <p:cNvSpPr>
                <a:spLocks noChangeAspect="1"/>
              </p:cNvSpPr>
              <p:nvPr>
                <p:custDataLst>
                  <p:tags r:id="rId616"/>
                </p:custDataLst>
              </p:nvPr>
            </p:nvSpPr>
            <p:spPr bwMode="gray">
              <a:xfrm>
                <a:off x="6380702" y="4556305"/>
                <a:ext cx="6074" cy="14190"/>
              </a:xfrm>
              <a:custGeom>
                <a:avLst/>
                <a:gdLst>
                  <a:gd name="T0" fmla="*/ 2 w 5"/>
                  <a:gd name="T1" fmla="*/ 3 h 11"/>
                  <a:gd name="T2" fmla="*/ 2 w 5"/>
                  <a:gd name="T3" fmla="*/ 3 h 11"/>
                  <a:gd name="T4" fmla="*/ 5 w 5"/>
                  <a:gd name="T5" fmla="*/ 0 h 11"/>
                  <a:gd name="T6" fmla="*/ 5 w 5"/>
                  <a:gd name="T7" fmla="*/ 3 h 11"/>
                  <a:gd name="T8" fmla="*/ 5 w 5"/>
                  <a:gd name="T9" fmla="*/ 6 h 11"/>
                  <a:gd name="T10" fmla="*/ 5 w 5"/>
                  <a:gd name="T11" fmla="*/ 8 h 11"/>
                  <a:gd name="T12" fmla="*/ 2 w 5"/>
                  <a:gd name="T13" fmla="*/ 11 h 11"/>
                  <a:gd name="T14" fmla="*/ 0 w 5"/>
                  <a:gd name="T15" fmla="*/ 11 h 11"/>
                  <a:gd name="T16" fmla="*/ 0 w 5"/>
                  <a:gd name="T17" fmla="*/ 8 h 11"/>
                  <a:gd name="T18" fmla="*/ 2 w 5"/>
                  <a:gd name="T19" fmla="*/ 6 h 11"/>
                  <a:gd name="T20" fmla="*/ 2 w 5"/>
                  <a:gd name="T21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1">
                    <a:moveTo>
                      <a:pt x="2" y="3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9" name="Freeform 460"/>
              <p:cNvSpPr>
                <a:spLocks noChangeAspect="1"/>
              </p:cNvSpPr>
              <p:nvPr>
                <p:custDataLst>
                  <p:tags r:id="rId617"/>
                </p:custDataLst>
              </p:nvPr>
            </p:nvSpPr>
            <p:spPr bwMode="gray">
              <a:xfrm>
                <a:off x="6380702" y="4556305"/>
                <a:ext cx="6074" cy="14190"/>
              </a:xfrm>
              <a:custGeom>
                <a:avLst/>
                <a:gdLst>
                  <a:gd name="T0" fmla="*/ 2 w 5"/>
                  <a:gd name="T1" fmla="*/ 3 h 11"/>
                  <a:gd name="T2" fmla="*/ 2 w 5"/>
                  <a:gd name="T3" fmla="*/ 3 h 11"/>
                  <a:gd name="T4" fmla="*/ 5 w 5"/>
                  <a:gd name="T5" fmla="*/ 0 h 11"/>
                  <a:gd name="T6" fmla="*/ 5 w 5"/>
                  <a:gd name="T7" fmla="*/ 3 h 11"/>
                  <a:gd name="T8" fmla="*/ 5 w 5"/>
                  <a:gd name="T9" fmla="*/ 6 h 11"/>
                  <a:gd name="T10" fmla="*/ 5 w 5"/>
                  <a:gd name="T11" fmla="*/ 8 h 11"/>
                  <a:gd name="T12" fmla="*/ 2 w 5"/>
                  <a:gd name="T13" fmla="*/ 11 h 11"/>
                  <a:gd name="T14" fmla="*/ 0 w 5"/>
                  <a:gd name="T15" fmla="*/ 11 h 11"/>
                  <a:gd name="T16" fmla="*/ 0 w 5"/>
                  <a:gd name="T17" fmla="*/ 8 h 11"/>
                  <a:gd name="T18" fmla="*/ 2 w 5"/>
                  <a:gd name="T19" fmla="*/ 6 h 11"/>
                  <a:gd name="T20" fmla="*/ 2 w 5"/>
                  <a:gd name="T21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1">
                    <a:moveTo>
                      <a:pt x="2" y="3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0" name="Freeform 461"/>
              <p:cNvSpPr>
                <a:spLocks noChangeAspect="1"/>
              </p:cNvSpPr>
              <p:nvPr>
                <p:custDataLst>
                  <p:tags r:id="rId618"/>
                </p:custDataLst>
              </p:nvPr>
            </p:nvSpPr>
            <p:spPr bwMode="gray">
              <a:xfrm>
                <a:off x="4956389" y="3999716"/>
                <a:ext cx="7592" cy="3154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3 w 6"/>
                  <a:gd name="T5" fmla="*/ 0 h 2"/>
                  <a:gd name="T6" fmla="*/ 3 w 6"/>
                  <a:gd name="T7" fmla="*/ 0 h 2"/>
                  <a:gd name="T8" fmla="*/ 0 w 6"/>
                  <a:gd name="T9" fmla="*/ 0 h 2"/>
                  <a:gd name="T10" fmla="*/ 0 w 6"/>
                  <a:gd name="T11" fmla="*/ 2 h 2"/>
                  <a:gd name="T12" fmla="*/ 3 w 6"/>
                  <a:gd name="T13" fmla="*/ 2 h 2"/>
                  <a:gd name="T14" fmla="*/ 6 w 6"/>
                  <a:gd name="T15" fmla="*/ 2 h 2"/>
                  <a:gd name="T16" fmla="*/ 6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1" name="Freeform 462"/>
              <p:cNvSpPr>
                <a:spLocks noChangeAspect="1"/>
              </p:cNvSpPr>
              <p:nvPr>
                <p:custDataLst>
                  <p:tags r:id="rId619"/>
                </p:custDataLst>
              </p:nvPr>
            </p:nvSpPr>
            <p:spPr bwMode="gray">
              <a:xfrm>
                <a:off x="4956389" y="3999716"/>
                <a:ext cx="7592" cy="3154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3 w 6"/>
                  <a:gd name="T5" fmla="*/ 0 h 2"/>
                  <a:gd name="T6" fmla="*/ 3 w 6"/>
                  <a:gd name="T7" fmla="*/ 0 h 2"/>
                  <a:gd name="T8" fmla="*/ 0 w 6"/>
                  <a:gd name="T9" fmla="*/ 0 h 2"/>
                  <a:gd name="T10" fmla="*/ 0 w 6"/>
                  <a:gd name="T11" fmla="*/ 2 h 2"/>
                  <a:gd name="T12" fmla="*/ 3 w 6"/>
                  <a:gd name="T13" fmla="*/ 2 h 2"/>
                  <a:gd name="T14" fmla="*/ 6 w 6"/>
                  <a:gd name="T15" fmla="*/ 2 h 2"/>
                  <a:gd name="T16" fmla="*/ 6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2" name="Freeform 463"/>
              <p:cNvSpPr>
                <a:spLocks noChangeAspect="1"/>
              </p:cNvSpPr>
              <p:nvPr>
                <p:custDataLst>
                  <p:tags r:id="rId620"/>
                </p:custDataLst>
              </p:nvPr>
            </p:nvSpPr>
            <p:spPr bwMode="gray">
              <a:xfrm>
                <a:off x="6022346" y="4247264"/>
                <a:ext cx="4555" cy="9460"/>
              </a:xfrm>
              <a:custGeom>
                <a:avLst/>
                <a:gdLst>
                  <a:gd name="T0" fmla="*/ 3 w 3"/>
                  <a:gd name="T1" fmla="*/ 2 h 8"/>
                  <a:gd name="T2" fmla="*/ 3 w 3"/>
                  <a:gd name="T3" fmla="*/ 5 h 8"/>
                  <a:gd name="T4" fmla="*/ 3 w 3"/>
                  <a:gd name="T5" fmla="*/ 8 h 8"/>
                  <a:gd name="T6" fmla="*/ 0 w 3"/>
                  <a:gd name="T7" fmla="*/ 8 h 8"/>
                  <a:gd name="T8" fmla="*/ 0 w 3"/>
                  <a:gd name="T9" fmla="*/ 0 h 8"/>
                  <a:gd name="T10" fmla="*/ 3 w 3"/>
                  <a:gd name="T11" fmla="*/ 0 h 8"/>
                  <a:gd name="T12" fmla="*/ 3 w 3"/>
                  <a:gd name="T13" fmla="*/ 0 h 8"/>
                  <a:gd name="T14" fmla="*/ 3 w 3"/>
                  <a:gd name="T15" fmla="*/ 2 h 8"/>
                  <a:gd name="T16" fmla="*/ 3 w 3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8">
                    <a:moveTo>
                      <a:pt x="3" y="2"/>
                    </a:moveTo>
                    <a:lnTo>
                      <a:pt x="3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3" name="Freeform 464"/>
              <p:cNvSpPr>
                <a:spLocks noChangeAspect="1"/>
              </p:cNvSpPr>
              <p:nvPr>
                <p:custDataLst>
                  <p:tags r:id="rId621"/>
                </p:custDataLst>
              </p:nvPr>
            </p:nvSpPr>
            <p:spPr bwMode="gray">
              <a:xfrm>
                <a:off x="6022346" y="4247264"/>
                <a:ext cx="4555" cy="9460"/>
              </a:xfrm>
              <a:custGeom>
                <a:avLst/>
                <a:gdLst>
                  <a:gd name="T0" fmla="*/ 3 w 3"/>
                  <a:gd name="T1" fmla="*/ 2 h 8"/>
                  <a:gd name="T2" fmla="*/ 3 w 3"/>
                  <a:gd name="T3" fmla="*/ 5 h 8"/>
                  <a:gd name="T4" fmla="*/ 3 w 3"/>
                  <a:gd name="T5" fmla="*/ 8 h 8"/>
                  <a:gd name="T6" fmla="*/ 0 w 3"/>
                  <a:gd name="T7" fmla="*/ 8 h 8"/>
                  <a:gd name="T8" fmla="*/ 0 w 3"/>
                  <a:gd name="T9" fmla="*/ 0 h 8"/>
                  <a:gd name="T10" fmla="*/ 3 w 3"/>
                  <a:gd name="T11" fmla="*/ 0 h 8"/>
                  <a:gd name="T12" fmla="*/ 3 w 3"/>
                  <a:gd name="T13" fmla="*/ 0 h 8"/>
                  <a:gd name="T14" fmla="*/ 3 w 3"/>
                  <a:gd name="T15" fmla="*/ 2 h 8"/>
                  <a:gd name="T16" fmla="*/ 3 w 3"/>
                  <a:gd name="T1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8">
                    <a:moveTo>
                      <a:pt x="3" y="2"/>
                    </a:moveTo>
                    <a:lnTo>
                      <a:pt x="3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4" name="Freeform 465"/>
              <p:cNvSpPr>
                <a:spLocks noChangeAspect="1"/>
              </p:cNvSpPr>
              <p:nvPr>
                <p:custDataLst>
                  <p:tags r:id="rId622"/>
                </p:custDataLst>
              </p:nvPr>
            </p:nvSpPr>
            <p:spPr bwMode="gray">
              <a:xfrm>
                <a:off x="6016271" y="4266184"/>
                <a:ext cx="3037" cy="14190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5 h 11"/>
                  <a:gd name="T4" fmla="*/ 3 w 3"/>
                  <a:gd name="T5" fmla="*/ 5 h 11"/>
                  <a:gd name="T6" fmla="*/ 3 w 3"/>
                  <a:gd name="T7" fmla="*/ 8 h 11"/>
                  <a:gd name="T8" fmla="*/ 3 w 3"/>
                  <a:gd name="T9" fmla="*/ 11 h 11"/>
                  <a:gd name="T10" fmla="*/ 0 w 3"/>
                  <a:gd name="T11" fmla="*/ 8 h 11"/>
                  <a:gd name="T12" fmla="*/ 0 w 3"/>
                  <a:gd name="T13" fmla="*/ 2 h 11"/>
                  <a:gd name="T14" fmla="*/ 0 w 3"/>
                  <a:gd name="T15" fmla="*/ 0 h 11"/>
                  <a:gd name="T16" fmla="*/ 0 w 3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lnTo>
                      <a:pt x="3" y="5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5" name="Freeform 466"/>
              <p:cNvSpPr>
                <a:spLocks noChangeAspect="1"/>
              </p:cNvSpPr>
              <p:nvPr>
                <p:custDataLst>
                  <p:tags r:id="rId623"/>
                </p:custDataLst>
              </p:nvPr>
            </p:nvSpPr>
            <p:spPr bwMode="gray">
              <a:xfrm>
                <a:off x="6016271" y="4266184"/>
                <a:ext cx="3037" cy="14190"/>
              </a:xfrm>
              <a:custGeom>
                <a:avLst/>
                <a:gdLst>
                  <a:gd name="T0" fmla="*/ 0 w 3"/>
                  <a:gd name="T1" fmla="*/ 0 h 11"/>
                  <a:gd name="T2" fmla="*/ 3 w 3"/>
                  <a:gd name="T3" fmla="*/ 5 h 11"/>
                  <a:gd name="T4" fmla="*/ 3 w 3"/>
                  <a:gd name="T5" fmla="*/ 5 h 11"/>
                  <a:gd name="T6" fmla="*/ 3 w 3"/>
                  <a:gd name="T7" fmla="*/ 8 h 11"/>
                  <a:gd name="T8" fmla="*/ 3 w 3"/>
                  <a:gd name="T9" fmla="*/ 11 h 11"/>
                  <a:gd name="T10" fmla="*/ 0 w 3"/>
                  <a:gd name="T11" fmla="*/ 8 h 11"/>
                  <a:gd name="T12" fmla="*/ 0 w 3"/>
                  <a:gd name="T13" fmla="*/ 2 h 11"/>
                  <a:gd name="T14" fmla="*/ 0 w 3"/>
                  <a:gd name="T15" fmla="*/ 0 h 11"/>
                  <a:gd name="T16" fmla="*/ 0 w 3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1">
                    <a:moveTo>
                      <a:pt x="0" y="0"/>
                    </a:moveTo>
                    <a:lnTo>
                      <a:pt x="3" y="5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6" name="Freeform 467"/>
              <p:cNvSpPr>
                <a:spLocks noChangeAspect="1"/>
              </p:cNvSpPr>
              <p:nvPr>
                <p:custDataLst>
                  <p:tags r:id="rId624"/>
                </p:custDataLst>
              </p:nvPr>
            </p:nvSpPr>
            <p:spPr bwMode="gray">
              <a:xfrm>
                <a:off x="6274409" y="3901959"/>
                <a:ext cx="9110" cy="4731"/>
              </a:xfrm>
              <a:custGeom>
                <a:avLst/>
                <a:gdLst>
                  <a:gd name="T0" fmla="*/ 3 w 6"/>
                  <a:gd name="T1" fmla="*/ 3 h 3"/>
                  <a:gd name="T2" fmla="*/ 3 w 6"/>
                  <a:gd name="T3" fmla="*/ 3 h 3"/>
                  <a:gd name="T4" fmla="*/ 3 w 6"/>
                  <a:gd name="T5" fmla="*/ 3 h 3"/>
                  <a:gd name="T6" fmla="*/ 6 w 6"/>
                  <a:gd name="T7" fmla="*/ 3 h 3"/>
                  <a:gd name="T8" fmla="*/ 6 w 6"/>
                  <a:gd name="T9" fmla="*/ 3 h 3"/>
                  <a:gd name="T10" fmla="*/ 6 w 6"/>
                  <a:gd name="T11" fmla="*/ 3 h 3"/>
                  <a:gd name="T12" fmla="*/ 6 w 6"/>
                  <a:gd name="T13" fmla="*/ 0 h 3"/>
                  <a:gd name="T14" fmla="*/ 3 w 6"/>
                  <a:gd name="T15" fmla="*/ 0 h 3"/>
                  <a:gd name="T16" fmla="*/ 0 w 6"/>
                  <a:gd name="T17" fmla="*/ 0 h 3"/>
                  <a:gd name="T18" fmla="*/ 3 w 6"/>
                  <a:gd name="T19" fmla="*/ 3 h 3"/>
                  <a:gd name="T20" fmla="*/ 3 w 6"/>
                  <a:gd name="T2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7" name="Freeform 468"/>
              <p:cNvSpPr>
                <a:spLocks noChangeAspect="1"/>
              </p:cNvSpPr>
              <p:nvPr>
                <p:custDataLst>
                  <p:tags r:id="rId625"/>
                </p:custDataLst>
              </p:nvPr>
            </p:nvSpPr>
            <p:spPr bwMode="gray">
              <a:xfrm>
                <a:off x="6274409" y="3901959"/>
                <a:ext cx="9110" cy="4731"/>
              </a:xfrm>
              <a:custGeom>
                <a:avLst/>
                <a:gdLst>
                  <a:gd name="T0" fmla="*/ 3 w 6"/>
                  <a:gd name="T1" fmla="*/ 3 h 3"/>
                  <a:gd name="T2" fmla="*/ 3 w 6"/>
                  <a:gd name="T3" fmla="*/ 3 h 3"/>
                  <a:gd name="T4" fmla="*/ 3 w 6"/>
                  <a:gd name="T5" fmla="*/ 3 h 3"/>
                  <a:gd name="T6" fmla="*/ 6 w 6"/>
                  <a:gd name="T7" fmla="*/ 3 h 3"/>
                  <a:gd name="T8" fmla="*/ 6 w 6"/>
                  <a:gd name="T9" fmla="*/ 3 h 3"/>
                  <a:gd name="T10" fmla="*/ 6 w 6"/>
                  <a:gd name="T11" fmla="*/ 3 h 3"/>
                  <a:gd name="T12" fmla="*/ 6 w 6"/>
                  <a:gd name="T13" fmla="*/ 0 h 3"/>
                  <a:gd name="T14" fmla="*/ 3 w 6"/>
                  <a:gd name="T15" fmla="*/ 0 h 3"/>
                  <a:gd name="T16" fmla="*/ 0 w 6"/>
                  <a:gd name="T17" fmla="*/ 0 h 3"/>
                  <a:gd name="T18" fmla="*/ 3 w 6"/>
                  <a:gd name="T19" fmla="*/ 3 h 3"/>
                  <a:gd name="T20" fmla="*/ 3 w 6"/>
                  <a:gd name="T2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8" name="Freeform 469"/>
              <p:cNvSpPr>
                <a:spLocks noChangeAspect="1"/>
              </p:cNvSpPr>
              <p:nvPr>
                <p:custDataLst>
                  <p:tags r:id="rId626"/>
                </p:custDataLst>
              </p:nvPr>
            </p:nvSpPr>
            <p:spPr bwMode="gray">
              <a:xfrm>
                <a:off x="6303259" y="3895652"/>
                <a:ext cx="22777" cy="6307"/>
              </a:xfrm>
              <a:custGeom>
                <a:avLst/>
                <a:gdLst>
                  <a:gd name="T0" fmla="*/ 14 w 17"/>
                  <a:gd name="T1" fmla="*/ 0 h 5"/>
                  <a:gd name="T2" fmla="*/ 17 w 17"/>
                  <a:gd name="T3" fmla="*/ 3 h 5"/>
                  <a:gd name="T4" fmla="*/ 17 w 17"/>
                  <a:gd name="T5" fmla="*/ 3 h 5"/>
                  <a:gd name="T6" fmla="*/ 14 w 17"/>
                  <a:gd name="T7" fmla="*/ 5 h 5"/>
                  <a:gd name="T8" fmla="*/ 9 w 17"/>
                  <a:gd name="T9" fmla="*/ 5 h 5"/>
                  <a:gd name="T10" fmla="*/ 3 w 17"/>
                  <a:gd name="T11" fmla="*/ 5 h 5"/>
                  <a:gd name="T12" fmla="*/ 0 w 17"/>
                  <a:gd name="T13" fmla="*/ 3 h 5"/>
                  <a:gd name="T14" fmla="*/ 0 w 17"/>
                  <a:gd name="T15" fmla="*/ 0 h 5"/>
                  <a:gd name="T16" fmla="*/ 3 w 17"/>
                  <a:gd name="T17" fmla="*/ 0 h 5"/>
                  <a:gd name="T18" fmla="*/ 3 w 17"/>
                  <a:gd name="T19" fmla="*/ 0 h 5"/>
                  <a:gd name="T20" fmla="*/ 6 w 17"/>
                  <a:gd name="T21" fmla="*/ 0 h 5"/>
                  <a:gd name="T22" fmla="*/ 9 w 17"/>
                  <a:gd name="T23" fmla="*/ 0 h 5"/>
                  <a:gd name="T24" fmla="*/ 14 w 17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5">
                    <a:moveTo>
                      <a:pt x="14" y="0"/>
                    </a:moveTo>
                    <a:lnTo>
                      <a:pt x="17" y="3"/>
                    </a:lnTo>
                    <a:lnTo>
                      <a:pt x="17" y="3"/>
                    </a:lnTo>
                    <a:lnTo>
                      <a:pt x="14" y="5"/>
                    </a:lnTo>
                    <a:lnTo>
                      <a:pt x="9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9" name="Freeform 470"/>
              <p:cNvSpPr>
                <a:spLocks noChangeAspect="1"/>
              </p:cNvSpPr>
              <p:nvPr>
                <p:custDataLst>
                  <p:tags r:id="rId627"/>
                </p:custDataLst>
              </p:nvPr>
            </p:nvSpPr>
            <p:spPr bwMode="gray">
              <a:xfrm>
                <a:off x="6303259" y="3895652"/>
                <a:ext cx="22777" cy="6307"/>
              </a:xfrm>
              <a:custGeom>
                <a:avLst/>
                <a:gdLst>
                  <a:gd name="T0" fmla="*/ 14 w 17"/>
                  <a:gd name="T1" fmla="*/ 0 h 5"/>
                  <a:gd name="T2" fmla="*/ 17 w 17"/>
                  <a:gd name="T3" fmla="*/ 3 h 5"/>
                  <a:gd name="T4" fmla="*/ 17 w 17"/>
                  <a:gd name="T5" fmla="*/ 3 h 5"/>
                  <a:gd name="T6" fmla="*/ 14 w 17"/>
                  <a:gd name="T7" fmla="*/ 5 h 5"/>
                  <a:gd name="T8" fmla="*/ 9 w 17"/>
                  <a:gd name="T9" fmla="*/ 5 h 5"/>
                  <a:gd name="T10" fmla="*/ 3 w 17"/>
                  <a:gd name="T11" fmla="*/ 5 h 5"/>
                  <a:gd name="T12" fmla="*/ 0 w 17"/>
                  <a:gd name="T13" fmla="*/ 3 h 5"/>
                  <a:gd name="T14" fmla="*/ 0 w 17"/>
                  <a:gd name="T15" fmla="*/ 0 h 5"/>
                  <a:gd name="T16" fmla="*/ 3 w 17"/>
                  <a:gd name="T17" fmla="*/ 0 h 5"/>
                  <a:gd name="T18" fmla="*/ 3 w 17"/>
                  <a:gd name="T19" fmla="*/ 0 h 5"/>
                  <a:gd name="T20" fmla="*/ 6 w 17"/>
                  <a:gd name="T21" fmla="*/ 0 h 5"/>
                  <a:gd name="T22" fmla="*/ 9 w 17"/>
                  <a:gd name="T23" fmla="*/ 0 h 5"/>
                  <a:gd name="T24" fmla="*/ 14 w 17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5">
                    <a:moveTo>
                      <a:pt x="14" y="0"/>
                    </a:moveTo>
                    <a:lnTo>
                      <a:pt x="17" y="3"/>
                    </a:lnTo>
                    <a:lnTo>
                      <a:pt x="17" y="3"/>
                    </a:lnTo>
                    <a:lnTo>
                      <a:pt x="14" y="5"/>
                    </a:lnTo>
                    <a:lnTo>
                      <a:pt x="9" y="5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0" name="Freeform 471"/>
              <p:cNvSpPr>
                <a:spLocks noChangeAspect="1"/>
              </p:cNvSpPr>
              <p:nvPr>
                <p:custDataLst>
                  <p:tags r:id="rId628"/>
                </p:custDataLst>
              </p:nvPr>
            </p:nvSpPr>
            <p:spPr bwMode="gray">
              <a:xfrm>
                <a:off x="8096558" y="2848695"/>
                <a:ext cx="60739" cy="264893"/>
              </a:xfrm>
              <a:custGeom>
                <a:avLst/>
                <a:gdLst>
                  <a:gd name="T0" fmla="*/ 2147483647 w 47"/>
                  <a:gd name="T1" fmla="*/ 2147483647 h 206"/>
                  <a:gd name="T2" fmla="*/ 2147483647 w 47"/>
                  <a:gd name="T3" fmla="*/ 0 h 206"/>
                  <a:gd name="T4" fmla="*/ 2147483647 w 47"/>
                  <a:gd name="T5" fmla="*/ 2147483647 h 206"/>
                  <a:gd name="T6" fmla="*/ 2147483647 w 47"/>
                  <a:gd name="T7" fmla="*/ 2147483647 h 206"/>
                  <a:gd name="T8" fmla="*/ 2147483647 w 47"/>
                  <a:gd name="T9" fmla="*/ 2147483647 h 206"/>
                  <a:gd name="T10" fmla="*/ 2147483647 w 47"/>
                  <a:gd name="T11" fmla="*/ 2147483647 h 206"/>
                  <a:gd name="T12" fmla="*/ 2147483647 w 47"/>
                  <a:gd name="T13" fmla="*/ 2147483647 h 206"/>
                  <a:gd name="T14" fmla="*/ 2147483647 w 47"/>
                  <a:gd name="T15" fmla="*/ 2147483647 h 206"/>
                  <a:gd name="T16" fmla="*/ 2147483647 w 47"/>
                  <a:gd name="T17" fmla="*/ 2147483647 h 206"/>
                  <a:gd name="T18" fmla="*/ 2147483647 w 47"/>
                  <a:gd name="T19" fmla="*/ 2147483647 h 206"/>
                  <a:gd name="T20" fmla="*/ 2147483647 w 47"/>
                  <a:gd name="T21" fmla="*/ 2147483647 h 206"/>
                  <a:gd name="T22" fmla="*/ 2147483647 w 47"/>
                  <a:gd name="T23" fmla="*/ 2147483647 h 206"/>
                  <a:gd name="T24" fmla="*/ 2147483647 w 47"/>
                  <a:gd name="T25" fmla="*/ 2147483647 h 206"/>
                  <a:gd name="T26" fmla="*/ 2147483647 w 47"/>
                  <a:gd name="T27" fmla="*/ 2147483647 h 206"/>
                  <a:gd name="T28" fmla="*/ 2147483647 w 47"/>
                  <a:gd name="T29" fmla="*/ 2147483647 h 206"/>
                  <a:gd name="T30" fmla="*/ 2147483647 w 47"/>
                  <a:gd name="T31" fmla="*/ 2147483647 h 206"/>
                  <a:gd name="T32" fmla="*/ 2147483647 w 47"/>
                  <a:gd name="T33" fmla="*/ 2147483647 h 206"/>
                  <a:gd name="T34" fmla="*/ 2147483647 w 47"/>
                  <a:gd name="T35" fmla="*/ 2147483647 h 206"/>
                  <a:gd name="T36" fmla="*/ 2147483647 w 47"/>
                  <a:gd name="T37" fmla="*/ 2147483647 h 206"/>
                  <a:gd name="T38" fmla="*/ 2147483647 w 47"/>
                  <a:gd name="T39" fmla="*/ 2147483647 h 206"/>
                  <a:gd name="T40" fmla="*/ 2147483647 w 47"/>
                  <a:gd name="T41" fmla="*/ 2147483647 h 206"/>
                  <a:gd name="T42" fmla="*/ 2147483647 w 47"/>
                  <a:gd name="T43" fmla="*/ 2147483647 h 206"/>
                  <a:gd name="T44" fmla="*/ 2147483647 w 47"/>
                  <a:gd name="T45" fmla="*/ 2147483647 h 206"/>
                  <a:gd name="T46" fmla="*/ 2147483647 w 47"/>
                  <a:gd name="T47" fmla="*/ 2147483647 h 206"/>
                  <a:gd name="T48" fmla="*/ 2147483647 w 47"/>
                  <a:gd name="T49" fmla="*/ 2147483647 h 206"/>
                  <a:gd name="T50" fmla="*/ 2147483647 w 47"/>
                  <a:gd name="T51" fmla="*/ 2147483647 h 206"/>
                  <a:gd name="T52" fmla="*/ 2147483647 w 47"/>
                  <a:gd name="T53" fmla="*/ 2147483647 h 206"/>
                  <a:gd name="T54" fmla="*/ 2147483647 w 47"/>
                  <a:gd name="T55" fmla="*/ 2147483647 h 206"/>
                  <a:gd name="T56" fmla="*/ 2147483647 w 47"/>
                  <a:gd name="T57" fmla="*/ 2147483647 h 206"/>
                  <a:gd name="T58" fmla="*/ 2147483647 w 47"/>
                  <a:gd name="T59" fmla="*/ 2147483647 h 206"/>
                  <a:gd name="T60" fmla="*/ 2147483647 w 47"/>
                  <a:gd name="T61" fmla="*/ 2147483647 h 206"/>
                  <a:gd name="T62" fmla="*/ 2147483647 w 47"/>
                  <a:gd name="T63" fmla="*/ 2147483647 h 206"/>
                  <a:gd name="T64" fmla="*/ 2147483647 w 47"/>
                  <a:gd name="T65" fmla="*/ 2147483647 h 206"/>
                  <a:gd name="T66" fmla="*/ 2147483647 w 47"/>
                  <a:gd name="T67" fmla="*/ 2147483647 h 206"/>
                  <a:gd name="T68" fmla="*/ 2147483647 w 47"/>
                  <a:gd name="T69" fmla="*/ 2147483647 h 206"/>
                  <a:gd name="T70" fmla="*/ 2147483647 w 47"/>
                  <a:gd name="T71" fmla="*/ 2147483647 h 206"/>
                  <a:gd name="T72" fmla="*/ 2147483647 w 47"/>
                  <a:gd name="T73" fmla="*/ 2147483647 h 206"/>
                  <a:gd name="T74" fmla="*/ 2147483647 w 47"/>
                  <a:gd name="T75" fmla="*/ 2147483647 h 206"/>
                  <a:gd name="T76" fmla="*/ 2147483647 w 47"/>
                  <a:gd name="T77" fmla="*/ 2147483647 h 206"/>
                  <a:gd name="T78" fmla="*/ 2147483647 w 47"/>
                  <a:gd name="T79" fmla="*/ 2147483647 h 206"/>
                  <a:gd name="T80" fmla="*/ 2147483647 w 47"/>
                  <a:gd name="T81" fmla="*/ 2147483647 h 206"/>
                  <a:gd name="T82" fmla="*/ 0 w 47"/>
                  <a:gd name="T83" fmla="*/ 2147483647 h 206"/>
                  <a:gd name="T84" fmla="*/ 2147483647 w 47"/>
                  <a:gd name="T85" fmla="*/ 2147483647 h 206"/>
                  <a:gd name="T86" fmla="*/ 0 w 47"/>
                  <a:gd name="T87" fmla="*/ 2147483647 h 206"/>
                  <a:gd name="T88" fmla="*/ 2147483647 w 47"/>
                  <a:gd name="T89" fmla="*/ 2147483647 h 206"/>
                  <a:gd name="T90" fmla="*/ 2147483647 w 47"/>
                  <a:gd name="T91" fmla="*/ 2147483647 h 206"/>
                  <a:gd name="T92" fmla="*/ 2147483647 w 47"/>
                  <a:gd name="T93" fmla="*/ 2147483647 h 206"/>
                  <a:gd name="T94" fmla="*/ 2147483647 w 47"/>
                  <a:gd name="T95" fmla="*/ 2147483647 h 206"/>
                  <a:gd name="T96" fmla="*/ 2147483647 w 47"/>
                  <a:gd name="T97" fmla="*/ 2147483647 h 206"/>
                  <a:gd name="T98" fmla="*/ 2147483647 w 47"/>
                  <a:gd name="T99" fmla="*/ 2147483647 h 206"/>
                  <a:gd name="T100" fmla="*/ 2147483647 w 47"/>
                  <a:gd name="T101" fmla="*/ 2147483647 h 206"/>
                  <a:gd name="T102" fmla="*/ 2147483647 w 47"/>
                  <a:gd name="T103" fmla="*/ 2147483647 h 206"/>
                  <a:gd name="T104" fmla="*/ 2147483647 w 47"/>
                  <a:gd name="T105" fmla="*/ 2147483647 h 206"/>
                  <a:gd name="T106" fmla="*/ 2147483647 w 47"/>
                  <a:gd name="T107" fmla="*/ 2147483647 h 206"/>
                  <a:gd name="T108" fmla="*/ 2147483647 w 47"/>
                  <a:gd name="T109" fmla="*/ 2147483647 h 206"/>
                  <a:gd name="T110" fmla="*/ 2147483647 w 47"/>
                  <a:gd name="T111" fmla="*/ 2147483647 h 206"/>
                  <a:gd name="T112" fmla="*/ 2147483647 w 47"/>
                  <a:gd name="T113" fmla="*/ 2147483647 h 206"/>
                  <a:gd name="T114" fmla="*/ 2147483647 w 47"/>
                  <a:gd name="T115" fmla="*/ 2147483647 h 206"/>
                  <a:gd name="T116" fmla="*/ 2147483647 w 47"/>
                  <a:gd name="T117" fmla="*/ 2147483647 h 206"/>
                  <a:gd name="T118" fmla="*/ 2147483647 w 47"/>
                  <a:gd name="T119" fmla="*/ 2147483647 h 20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7"/>
                  <a:gd name="T181" fmla="*/ 0 h 206"/>
                  <a:gd name="T182" fmla="*/ 47 w 47"/>
                  <a:gd name="T183" fmla="*/ 206 h 20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7" h="206">
                    <a:moveTo>
                      <a:pt x="14" y="2"/>
                    </a:moveTo>
                    <a:lnTo>
                      <a:pt x="16" y="0"/>
                    </a:lnTo>
                    <a:lnTo>
                      <a:pt x="16" y="2"/>
                    </a:lnTo>
                    <a:lnTo>
                      <a:pt x="25" y="41"/>
                    </a:lnTo>
                    <a:lnTo>
                      <a:pt x="25" y="53"/>
                    </a:lnTo>
                    <a:lnTo>
                      <a:pt x="22" y="55"/>
                    </a:lnTo>
                    <a:lnTo>
                      <a:pt x="25" y="75"/>
                    </a:lnTo>
                    <a:lnTo>
                      <a:pt x="41" y="131"/>
                    </a:lnTo>
                    <a:lnTo>
                      <a:pt x="47" y="139"/>
                    </a:lnTo>
                    <a:lnTo>
                      <a:pt x="47" y="142"/>
                    </a:lnTo>
                    <a:lnTo>
                      <a:pt x="41" y="133"/>
                    </a:lnTo>
                    <a:lnTo>
                      <a:pt x="33" y="128"/>
                    </a:lnTo>
                    <a:lnTo>
                      <a:pt x="30" y="128"/>
                    </a:lnTo>
                    <a:lnTo>
                      <a:pt x="25" y="128"/>
                    </a:lnTo>
                    <a:lnTo>
                      <a:pt x="22" y="131"/>
                    </a:lnTo>
                    <a:lnTo>
                      <a:pt x="14" y="167"/>
                    </a:lnTo>
                    <a:lnTo>
                      <a:pt x="22" y="178"/>
                    </a:lnTo>
                    <a:lnTo>
                      <a:pt x="22" y="183"/>
                    </a:lnTo>
                    <a:lnTo>
                      <a:pt x="27" y="186"/>
                    </a:lnTo>
                    <a:lnTo>
                      <a:pt x="27" y="189"/>
                    </a:lnTo>
                    <a:lnTo>
                      <a:pt x="30" y="195"/>
                    </a:lnTo>
                    <a:lnTo>
                      <a:pt x="30" y="200"/>
                    </a:lnTo>
                    <a:lnTo>
                      <a:pt x="27" y="203"/>
                    </a:lnTo>
                    <a:lnTo>
                      <a:pt x="27" y="192"/>
                    </a:lnTo>
                    <a:lnTo>
                      <a:pt x="19" y="189"/>
                    </a:lnTo>
                    <a:lnTo>
                      <a:pt x="16" y="189"/>
                    </a:lnTo>
                    <a:lnTo>
                      <a:pt x="14" y="192"/>
                    </a:lnTo>
                    <a:lnTo>
                      <a:pt x="8" y="206"/>
                    </a:lnTo>
                    <a:lnTo>
                      <a:pt x="5" y="203"/>
                    </a:lnTo>
                    <a:lnTo>
                      <a:pt x="8" y="161"/>
                    </a:lnTo>
                    <a:lnTo>
                      <a:pt x="8" y="158"/>
                    </a:lnTo>
                    <a:lnTo>
                      <a:pt x="5" y="142"/>
                    </a:lnTo>
                    <a:lnTo>
                      <a:pt x="8" y="114"/>
                    </a:lnTo>
                    <a:lnTo>
                      <a:pt x="8" y="111"/>
                    </a:lnTo>
                    <a:lnTo>
                      <a:pt x="8" y="103"/>
                    </a:lnTo>
                    <a:lnTo>
                      <a:pt x="5" y="100"/>
                    </a:lnTo>
                    <a:lnTo>
                      <a:pt x="8" y="80"/>
                    </a:lnTo>
                    <a:lnTo>
                      <a:pt x="5" y="75"/>
                    </a:lnTo>
                    <a:lnTo>
                      <a:pt x="0" y="69"/>
                    </a:lnTo>
                    <a:lnTo>
                      <a:pt x="2" y="69"/>
                    </a:lnTo>
                    <a:lnTo>
                      <a:pt x="0" y="55"/>
                    </a:lnTo>
                    <a:lnTo>
                      <a:pt x="2" y="36"/>
                    </a:lnTo>
                    <a:lnTo>
                      <a:pt x="2" y="28"/>
                    </a:lnTo>
                    <a:lnTo>
                      <a:pt x="2" y="25"/>
                    </a:lnTo>
                    <a:lnTo>
                      <a:pt x="5" y="22"/>
                    </a:lnTo>
                    <a:lnTo>
                      <a:pt x="8" y="25"/>
                    </a:lnTo>
                    <a:lnTo>
                      <a:pt x="11" y="25"/>
                    </a:lnTo>
                    <a:lnTo>
                      <a:pt x="14" y="25"/>
                    </a:lnTo>
                    <a:lnTo>
                      <a:pt x="14" y="22"/>
                    </a:lnTo>
                    <a:lnTo>
                      <a:pt x="14" y="19"/>
                    </a:lnTo>
                    <a:lnTo>
                      <a:pt x="16" y="19"/>
                    </a:lnTo>
                    <a:lnTo>
                      <a:pt x="11" y="2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1" name="Freeform 472"/>
              <p:cNvSpPr>
                <a:spLocks noChangeAspect="1"/>
              </p:cNvSpPr>
              <p:nvPr>
                <p:custDataLst>
                  <p:tags r:id="rId629"/>
                </p:custDataLst>
              </p:nvPr>
            </p:nvSpPr>
            <p:spPr bwMode="gray">
              <a:xfrm>
                <a:off x="8005450" y="2818739"/>
                <a:ext cx="18222" cy="23651"/>
              </a:xfrm>
              <a:custGeom>
                <a:avLst/>
                <a:gdLst>
                  <a:gd name="T0" fmla="*/ 2147483647 w 14"/>
                  <a:gd name="T1" fmla="*/ 2147483647 h 17"/>
                  <a:gd name="T2" fmla="*/ 0 w 14"/>
                  <a:gd name="T3" fmla="*/ 2147483647 h 17"/>
                  <a:gd name="T4" fmla="*/ 2147483647 w 14"/>
                  <a:gd name="T5" fmla="*/ 2147483647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2147483647 w 14"/>
                  <a:gd name="T11" fmla="*/ 2147483647 h 17"/>
                  <a:gd name="T12" fmla="*/ 2147483647 w 14"/>
                  <a:gd name="T13" fmla="*/ 2147483647 h 17"/>
                  <a:gd name="T14" fmla="*/ 2147483647 w 14"/>
                  <a:gd name="T15" fmla="*/ 2147483647 h 17"/>
                  <a:gd name="T16" fmla="*/ 2147483647 w 14"/>
                  <a:gd name="T17" fmla="*/ 2147483647 h 17"/>
                  <a:gd name="T18" fmla="*/ 2147483647 w 14"/>
                  <a:gd name="T19" fmla="*/ 2147483647 h 17"/>
                  <a:gd name="T20" fmla="*/ 2147483647 w 14"/>
                  <a:gd name="T21" fmla="*/ 2147483647 h 17"/>
                  <a:gd name="T22" fmla="*/ 2147483647 w 14"/>
                  <a:gd name="T23" fmla="*/ 0 h 17"/>
                  <a:gd name="T24" fmla="*/ 2147483647 w 14"/>
                  <a:gd name="T25" fmla="*/ 2147483647 h 17"/>
                  <a:gd name="T26" fmla="*/ 2147483647 w 14"/>
                  <a:gd name="T27" fmla="*/ 2147483647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7"/>
                  <a:gd name="T44" fmla="*/ 14 w 14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7">
                    <a:moveTo>
                      <a:pt x="3" y="12"/>
                    </a:moveTo>
                    <a:lnTo>
                      <a:pt x="0" y="14"/>
                    </a:lnTo>
                    <a:lnTo>
                      <a:pt x="3" y="12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6" y="9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2" name="Freeform 473"/>
              <p:cNvSpPr>
                <a:spLocks noChangeAspect="1"/>
              </p:cNvSpPr>
              <p:nvPr>
                <p:custDataLst>
                  <p:tags r:id="rId630"/>
                </p:custDataLst>
              </p:nvPr>
            </p:nvSpPr>
            <p:spPr bwMode="gray">
              <a:xfrm>
                <a:off x="8005450" y="2818739"/>
                <a:ext cx="18222" cy="23651"/>
              </a:xfrm>
              <a:custGeom>
                <a:avLst/>
                <a:gdLst>
                  <a:gd name="T0" fmla="*/ 2147483647 w 14"/>
                  <a:gd name="T1" fmla="*/ 2147483647 h 17"/>
                  <a:gd name="T2" fmla="*/ 0 w 14"/>
                  <a:gd name="T3" fmla="*/ 2147483647 h 17"/>
                  <a:gd name="T4" fmla="*/ 2147483647 w 14"/>
                  <a:gd name="T5" fmla="*/ 2147483647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2147483647 w 14"/>
                  <a:gd name="T11" fmla="*/ 2147483647 h 17"/>
                  <a:gd name="T12" fmla="*/ 2147483647 w 14"/>
                  <a:gd name="T13" fmla="*/ 2147483647 h 17"/>
                  <a:gd name="T14" fmla="*/ 2147483647 w 14"/>
                  <a:gd name="T15" fmla="*/ 2147483647 h 17"/>
                  <a:gd name="T16" fmla="*/ 2147483647 w 14"/>
                  <a:gd name="T17" fmla="*/ 2147483647 h 17"/>
                  <a:gd name="T18" fmla="*/ 2147483647 w 14"/>
                  <a:gd name="T19" fmla="*/ 2147483647 h 17"/>
                  <a:gd name="T20" fmla="*/ 2147483647 w 14"/>
                  <a:gd name="T21" fmla="*/ 2147483647 h 17"/>
                  <a:gd name="T22" fmla="*/ 2147483647 w 14"/>
                  <a:gd name="T23" fmla="*/ 0 h 17"/>
                  <a:gd name="T24" fmla="*/ 2147483647 w 14"/>
                  <a:gd name="T25" fmla="*/ 2147483647 h 17"/>
                  <a:gd name="T26" fmla="*/ 2147483647 w 14"/>
                  <a:gd name="T27" fmla="*/ 2147483647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7"/>
                  <a:gd name="T44" fmla="*/ 14 w 14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7">
                    <a:moveTo>
                      <a:pt x="3" y="12"/>
                    </a:moveTo>
                    <a:lnTo>
                      <a:pt x="0" y="14"/>
                    </a:lnTo>
                    <a:lnTo>
                      <a:pt x="3" y="12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6" y="9"/>
                    </a:lnTo>
                    <a:lnTo>
                      <a:pt x="3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3" name="Freeform 474"/>
              <p:cNvSpPr>
                <a:spLocks noChangeAspect="1"/>
              </p:cNvSpPr>
              <p:nvPr>
                <p:custDataLst>
                  <p:tags r:id="rId631"/>
                </p:custDataLst>
              </p:nvPr>
            </p:nvSpPr>
            <p:spPr bwMode="gray">
              <a:xfrm>
                <a:off x="8535390" y="2673678"/>
                <a:ext cx="24295" cy="28381"/>
              </a:xfrm>
              <a:custGeom>
                <a:avLst/>
                <a:gdLst>
                  <a:gd name="T0" fmla="*/ 2147483647 w 19"/>
                  <a:gd name="T1" fmla="*/ 0 h 23"/>
                  <a:gd name="T2" fmla="*/ 2147483647 w 19"/>
                  <a:gd name="T3" fmla="*/ 2147483647 h 23"/>
                  <a:gd name="T4" fmla="*/ 2147483647 w 19"/>
                  <a:gd name="T5" fmla="*/ 2147483647 h 23"/>
                  <a:gd name="T6" fmla="*/ 2147483647 w 19"/>
                  <a:gd name="T7" fmla="*/ 2147483647 h 23"/>
                  <a:gd name="T8" fmla="*/ 2147483647 w 19"/>
                  <a:gd name="T9" fmla="*/ 2147483647 h 23"/>
                  <a:gd name="T10" fmla="*/ 0 w 19"/>
                  <a:gd name="T11" fmla="*/ 2147483647 h 23"/>
                  <a:gd name="T12" fmla="*/ 2147483647 w 19"/>
                  <a:gd name="T13" fmla="*/ 2147483647 h 23"/>
                  <a:gd name="T14" fmla="*/ 2147483647 w 19"/>
                  <a:gd name="T15" fmla="*/ 2147483647 h 23"/>
                  <a:gd name="T16" fmla="*/ 2147483647 w 19"/>
                  <a:gd name="T17" fmla="*/ 2147483647 h 23"/>
                  <a:gd name="T18" fmla="*/ 2147483647 w 19"/>
                  <a:gd name="T19" fmla="*/ 2147483647 h 23"/>
                  <a:gd name="T20" fmla="*/ 2147483647 w 19"/>
                  <a:gd name="T21" fmla="*/ 0 h 23"/>
                  <a:gd name="T22" fmla="*/ 2147483647 w 19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"/>
                  <a:gd name="T37" fmla="*/ 0 h 23"/>
                  <a:gd name="T38" fmla="*/ 19 w 19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" h="23">
                    <a:moveTo>
                      <a:pt x="16" y="0"/>
                    </a:moveTo>
                    <a:lnTo>
                      <a:pt x="13" y="3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0" y="23"/>
                    </a:lnTo>
                    <a:lnTo>
                      <a:pt x="11" y="14"/>
                    </a:lnTo>
                    <a:lnTo>
                      <a:pt x="16" y="11"/>
                    </a:lnTo>
                    <a:lnTo>
                      <a:pt x="19" y="9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4" name="Freeform 475"/>
              <p:cNvSpPr>
                <a:spLocks noChangeAspect="1"/>
              </p:cNvSpPr>
              <p:nvPr>
                <p:custDataLst>
                  <p:tags r:id="rId632"/>
                </p:custDataLst>
              </p:nvPr>
            </p:nvSpPr>
            <p:spPr bwMode="gray">
              <a:xfrm>
                <a:off x="8535390" y="2673678"/>
                <a:ext cx="24295" cy="28381"/>
              </a:xfrm>
              <a:custGeom>
                <a:avLst/>
                <a:gdLst>
                  <a:gd name="T0" fmla="*/ 2147483647 w 19"/>
                  <a:gd name="T1" fmla="*/ 0 h 23"/>
                  <a:gd name="T2" fmla="*/ 2147483647 w 19"/>
                  <a:gd name="T3" fmla="*/ 2147483647 h 23"/>
                  <a:gd name="T4" fmla="*/ 2147483647 w 19"/>
                  <a:gd name="T5" fmla="*/ 2147483647 h 23"/>
                  <a:gd name="T6" fmla="*/ 2147483647 w 19"/>
                  <a:gd name="T7" fmla="*/ 2147483647 h 23"/>
                  <a:gd name="T8" fmla="*/ 2147483647 w 19"/>
                  <a:gd name="T9" fmla="*/ 2147483647 h 23"/>
                  <a:gd name="T10" fmla="*/ 0 w 19"/>
                  <a:gd name="T11" fmla="*/ 2147483647 h 23"/>
                  <a:gd name="T12" fmla="*/ 2147483647 w 19"/>
                  <a:gd name="T13" fmla="*/ 2147483647 h 23"/>
                  <a:gd name="T14" fmla="*/ 2147483647 w 19"/>
                  <a:gd name="T15" fmla="*/ 2147483647 h 23"/>
                  <a:gd name="T16" fmla="*/ 2147483647 w 19"/>
                  <a:gd name="T17" fmla="*/ 2147483647 h 23"/>
                  <a:gd name="T18" fmla="*/ 2147483647 w 19"/>
                  <a:gd name="T19" fmla="*/ 2147483647 h 23"/>
                  <a:gd name="T20" fmla="*/ 2147483647 w 19"/>
                  <a:gd name="T21" fmla="*/ 0 h 23"/>
                  <a:gd name="T22" fmla="*/ 2147483647 w 19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"/>
                  <a:gd name="T37" fmla="*/ 0 h 23"/>
                  <a:gd name="T38" fmla="*/ 19 w 19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" h="23">
                    <a:moveTo>
                      <a:pt x="16" y="0"/>
                    </a:moveTo>
                    <a:lnTo>
                      <a:pt x="13" y="3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0" y="23"/>
                    </a:lnTo>
                    <a:lnTo>
                      <a:pt x="11" y="14"/>
                    </a:lnTo>
                    <a:lnTo>
                      <a:pt x="16" y="11"/>
                    </a:lnTo>
                    <a:lnTo>
                      <a:pt x="19" y="9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5" name="Freeform 476"/>
              <p:cNvSpPr>
                <a:spLocks noChangeAspect="1"/>
              </p:cNvSpPr>
              <p:nvPr>
                <p:custDataLst>
                  <p:tags r:id="rId633"/>
                </p:custDataLst>
              </p:nvPr>
            </p:nvSpPr>
            <p:spPr bwMode="gray">
              <a:xfrm>
                <a:off x="8392656" y="2966952"/>
                <a:ext cx="4557" cy="6307"/>
              </a:xfrm>
              <a:custGeom>
                <a:avLst/>
                <a:gdLst>
                  <a:gd name="T0" fmla="*/ 2147483647 w 3"/>
                  <a:gd name="T1" fmla="*/ 0 h 5"/>
                  <a:gd name="T2" fmla="*/ 2147483647 w 3"/>
                  <a:gd name="T3" fmla="*/ 0 h 5"/>
                  <a:gd name="T4" fmla="*/ 0 w 3"/>
                  <a:gd name="T5" fmla="*/ 2147483647 h 5"/>
                  <a:gd name="T6" fmla="*/ 0 w 3"/>
                  <a:gd name="T7" fmla="*/ 2147483647 h 5"/>
                  <a:gd name="T8" fmla="*/ 0 w 3"/>
                  <a:gd name="T9" fmla="*/ 2147483647 h 5"/>
                  <a:gd name="T10" fmla="*/ 2147483647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6" name="Freeform 477"/>
              <p:cNvSpPr>
                <a:spLocks noChangeAspect="1"/>
              </p:cNvSpPr>
              <p:nvPr>
                <p:custDataLst>
                  <p:tags r:id="rId634"/>
                </p:custDataLst>
              </p:nvPr>
            </p:nvSpPr>
            <p:spPr bwMode="gray">
              <a:xfrm>
                <a:off x="8392656" y="2966952"/>
                <a:ext cx="4557" cy="6307"/>
              </a:xfrm>
              <a:custGeom>
                <a:avLst/>
                <a:gdLst>
                  <a:gd name="T0" fmla="*/ 2147483647 w 3"/>
                  <a:gd name="T1" fmla="*/ 0 h 5"/>
                  <a:gd name="T2" fmla="*/ 2147483647 w 3"/>
                  <a:gd name="T3" fmla="*/ 0 h 5"/>
                  <a:gd name="T4" fmla="*/ 0 w 3"/>
                  <a:gd name="T5" fmla="*/ 2147483647 h 5"/>
                  <a:gd name="T6" fmla="*/ 0 w 3"/>
                  <a:gd name="T7" fmla="*/ 2147483647 h 5"/>
                  <a:gd name="T8" fmla="*/ 0 w 3"/>
                  <a:gd name="T9" fmla="*/ 2147483647 h 5"/>
                  <a:gd name="T10" fmla="*/ 2147483647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7" name="Freeform 478"/>
              <p:cNvSpPr>
                <a:spLocks noChangeAspect="1"/>
              </p:cNvSpPr>
              <p:nvPr>
                <p:custDataLst>
                  <p:tags r:id="rId635"/>
                </p:custDataLst>
              </p:nvPr>
            </p:nvSpPr>
            <p:spPr bwMode="gray">
              <a:xfrm>
                <a:off x="8371397" y="2970105"/>
                <a:ext cx="16704" cy="20498"/>
              </a:xfrm>
              <a:custGeom>
                <a:avLst/>
                <a:gdLst>
                  <a:gd name="T0" fmla="*/ 2147483647 w 14"/>
                  <a:gd name="T1" fmla="*/ 0 h 17"/>
                  <a:gd name="T2" fmla="*/ 2147483647 w 14"/>
                  <a:gd name="T3" fmla="*/ 2147483647 h 17"/>
                  <a:gd name="T4" fmla="*/ 2147483647 w 14"/>
                  <a:gd name="T5" fmla="*/ 2147483647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0 w 14"/>
                  <a:gd name="T11" fmla="*/ 2147483647 h 17"/>
                  <a:gd name="T12" fmla="*/ 0 w 14"/>
                  <a:gd name="T13" fmla="*/ 2147483647 h 17"/>
                  <a:gd name="T14" fmla="*/ 2147483647 w 14"/>
                  <a:gd name="T15" fmla="*/ 2147483647 h 17"/>
                  <a:gd name="T16" fmla="*/ 2147483647 w 14"/>
                  <a:gd name="T17" fmla="*/ 2147483647 h 17"/>
                  <a:gd name="T18" fmla="*/ 2147483647 w 14"/>
                  <a:gd name="T19" fmla="*/ 2147483647 h 17"/>
                  <a:gd name="T20" fmla="*/ 2147483647 w 14"/>
                  <a:gd name="T21" fmla="*/ 2147483647 h 17"/>
                  <a:gd name="T22" fmla="*/ 2147483647 w 14"/>
                  <a:gd name="T23" fmla="*/ 2147483647 h 17"/>
                  <a:gd name="T24" fmla="*/ 2147483647 w 14"/>
                  <a:gd name="T25" fmla="*/ 0 h 17"/>
                  <a:gd name="T26" fmla="*/ 2147483647 w 14"/>
                  <a:gd name="T27" fmla="*/ 0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7"/>
                  <a:gd name="T44" fmla="*/ 14 w 14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7">
                    <a:moveTo>
                      <a:pt x="14" y="0"/>
                    </a:moveTo>
                    <a:lnTo>
                      <a:pt x="6" y="9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6" y="14"/>
                    </a:lnTo>
                    <a:lnTo>
                      <a:pt x="9" y="12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8" name="Freeform 479"/>
              <p:cNvSpPr>
                <a:spLocks noChangeAspect="1"/>
              </p:cNvSpPr>
              <p:nvPr>
                <p:custDataLst>
                  <p:tags r:id="rId636"/>
                </p:custDataLst>
              </p:nvPr>
            </p:nvSpPr>
            <p:spPr bwMode="gray">
              <a:xfrm>
                <a:off x="8371397" y="2970105"/>
                <a:ext cx="16704" cy="20498"/>
              </a:xfrm>
              <a:custGeom>
                <a:avLst/>
                <a:gdLst>
                  <a:gd name="T0" fmla="*/ 2147483647 w 14"/>
                  <a:gd name="T1" fmla="*/ 0 h 17"/>
                  <a:gd name="T2" fmla="*/ 2147483647 w 14"/>
                  <a:gd name="T3" fmla="*/ 2147483647 h 17"/>
                  <a:gd name="T4" fmla="*/ 2147483647 w 14"/>
                  <a:gd name="T5" fmla="*/ 2147483647 h 17"/>
                  <a:gd name="T6" fmla="*/ 2147483647 w 14"/>
                  <a:gd name="T7" fmla="*/ 2147483647 h 17"/>
                  <a:gd name="T8" fmla="*/ 2147483647 w 14"/>
                  <a:gd name="T9" fmla="*/ 2147483647 h 17"/>
                  <a:gd name="T10" fmla="*/ 0 w 14"/>
                  <a:gd name="T11" fmla="*/ 2147483647 h 17"/>
                  <a:gd name="T12" fmla="*/ 0 w 14"/>
                  <a:gd name="T13" fmla="*/ 2147483647 h 17"/>
                  <a:gd name="T14" fmla="*/ 2147483647 w 14"/>
                  <a:gd name="T15" fmla="*/ 2147483647 h 17"/>
                  <a:gd name="T16" fmla="*/ 2147483647 w 14"/>
                  <a:gd name="T17" fmla="*/ 2147483647 h 17"/>
                  <a:gd name="T18" fmla="*/ 2147483647 w 14"/>
                  <a:gd name="T19" fmla="*/ 2147483647 h 17"/>
                  <a:gd name="T20" fmla="*/ 2147483647 w 14"/>
                  <a:gd name="T21" fmla="*/ 2147483647 h 17"/>
                  <a:gd name="T22" fmla="*/ 2147483647 w 14"/>
                  <a:gd name="T23" fmla="*/ 2147483647 h 17"/>
                  <a:gd name="T24" fmla="*/ 2147483647 w 14"/>
                  <a:gd name="T25" fmla="*/ 0 h 17"/>
                  <a:gd name="T26" fmla="*/ 2147483647 w 14"/>
                  <a:gd name="T27" fmla="*/ 0 h 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7"/>
                  <a:gd name="T44" fmla="*/ 14 w 14"/>
                  <a:gd name="T45" fmla="*/ 17 h 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7">
                    <a:moveTo>
                      <a:pt x="14" y="0"/>
                    </a:moveTo>
                    <a:lnTo>
                      <a:pt x="6" y="9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6" y="14"/>
                    </a:lnTo>
                    <a:lnTo>
                      <a:pt x="9" y="12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9" name="Freeform 480"/>
              <p:cNvSpPr>
                <a:spLocks noChangeAspect="1"/>
              </p:cNvSpPr>
              <p:nvPr>
                <p:custDataLst>
                  <p:tags r:id="rId637"/>
                </p:custDataLst>
              </p:nvPr>
            </p:nvSpPr>
            <p:spPr bwMode="gray">
              <a:xfrm>
                <a:off x="8356212" y="3001639"/>
                <a:ext cx="7593" cy="12614"/>
              </a:xfrm>
              <a:custGeom>
                <a:avLst/>
                <a:gdLst>
                  <a:gd name="T0" fmla="*/ 2147483647 w 6"/>
                  <a:gd name="T1" fmla="*/ 0 h 9"/>
                  <a:gd name="T2" fmla="*/ 0 w 6"/>
                  <a:gd name="T3" fmla="*/ 2147483647 h 9"/>
                  <a:gd name="T4" fmla="*/ 2147483647 w 6"/>
                  <a:gd name="T5" fmla="*/ 2147483647 h 9"/>
                  <a:gd name="T6" fmla="*/ 2147483647 w 6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9"/>
                  <a:gd name="T14" fmla="*/ 6 w 6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9">
                    <a:moveTo>
                      <a:pt x="6" y="0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0" name="Freeform 481"/>
              <p:cNvSpPr>
                <a:spLocks noChangeAspect="1"/>
              </p:cNvSpPr>
              <p:nvPr>
                <p:custDataLst>
                  <p:tags r:id="rId638"/>
                </p:custDataLst>
              </p:nvPr>
            </p:nvSpPr>
            <p:spPr bwMode="gray">
              <a:xfrm>
                <a:off x="8356212" y="3001639"/>
                <a:ext cx="7593" cy="12614"/>
              </a:xfrm>
              <a:custGeom>
                <a:avLst/>
                <a:gdLst>
                  <a:gd name="T0" fmla="*/ 2147483647 w 6"/>
                  <a:gd name="T1" fmla="*/ 0 h 9"/>
                  <a:gd name="T2" fmla="*/ 0 w 6"/>
                  <a:gd name="T3" fmla="*/ 2147483647 h 9"/>
                  <a:gd name="T4" fmla="*/ 2147483647 w 6"/>
                  <a:gd name="T5" fmla="*/ 2147483647 h 9"/>
                  <a:gd name="T6" fmla="*/ 2147483647 w 6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9"/>
                  <a:gd name="T14" fmla="*/ 6 w 6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9">
                    <a:moveTo>
                      <a:pt x="6" y="0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1" name="Rectangle 482"/>
              <p:cNvSpPr>
                <a:spLocks noChangeAspect="1" noChangeArrowheads="1"/>
              </p:cNvSpPr>
              <p:nvPr>
                <p:custDataLst>
                  <p:tags r:id="rId639"/>
                </p:custDataLst>
              </p:nvPr>
            </p:nvSpPr>
            <p:spPr bwMode="gray">
              <a:xfrm>
                <a:off x="8350139" y="3026869"/>
                <a:ext cx="1519" cy="473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2" name="Rectangle 483"/>
              <p:cNvSpPr>
                <a:spLocks noChangeAspect="1" noChangeArrowheads="1"/>
              </p:cNvSpPr>
              <p:nvPr>
                <p:custDataLst>
                  <p:tags r:id="rId640"/>
                </p:custDataLst>
              </p:nvPr>
            </p:nvSpPr>
            <p:spPr bwMode="gray">
              <a:xfrm>
                <a:off x="8350139" y="3026869"/>
                <a:ext cx="1519" cy="473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1042467" rtl="0">
                  <a:spcBef>
                    <a:spcPct val="0"/>
                  </a:spcBef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3" name="Freeform 494"/>
              <p:cNvSpPr>
                <a:spLocks noChangeAspect="1"/>
              </p:cNvSpPr>
              <p:nvPr>
                <p:custDataLst>
                  <p:tags r:id="rId641"/>
                </p:custDataLst>
              </p:nvPr>
            </p:nvSpPr>
            <p:spPr bwMode="gray">
              <a:xfrm>
                <a:off x="8585500" y="2817160"/>
                <a:ext cx="15185" cy="20499"/>
              </a:xfrm>
              <a:custGeom>
                <a:avLst/>
                <a:gdLst>
                  <a:gd name="T0" fmla="*/ 2147483647 w 12"/>
                  <a:gd name="T1" fmla="*/ 0 h 16"/>
                  <a:gd name="T2" fmla="*/ 2147483647 w 12"/>
                  <a:gd name="T3" fmla="*/ 2147483647 h 16"/>
                  <a:gd name="T4" fmla="*/ 2147483647 w 12"/>
                  <a:gd name="T5" fmla="*/ 2147483647 h 16"/>
                  <a:gd name="T6" fmla="*/ 2147483647 w 12"/>
                  <a:gd name="T7" fmla="*/ 2147483647 h 16"/>
                  <a:gd name="T8" fmla="*/ 2147483647 w 12"/>
                  <a:gd name="T9" fmla="*/ 2147483647 h 16"/>
                  <a:gd name="T10" fmla="*/ 2147483647 w 12"/>
                  <a:gd name="T11" fmla="*/ 2147483647 h 16"/>
                  <a:gd name="T12" fmla="*/ 2147483647 w 12"/>
                  <a:gd name="T13" fmla="*/ 2147483647 h 16"/>
                  <a:gd name="T14" fmla="*/ 2147483647 w 12"/>
                  <a:gd name="T15" fmla="*/ 2147483647 h 16"/>
                  <a:gd name="T16" fmla="*/ 2147483647 w 12"/>
                  <a:gd name="T17" fmla="*/ 2147483647 h 16"/>
                  <a:gd name="T18" fmla="*/ 2147483647 w 12"/>
                  <a:gd name="T19" fmla="*/ 2147483647 h 16"/>
                  <a:gd name="T20" fmla="*/ 2147483647 w 12"/>
                  <a:gd name="T21" fmla="*/ 2147483647 h 16"/>
                  <a:gd name="T22" fmla="*/ 2147483647 w 12"/>
                  <a:gd name="T23" fmla="*/ 2147483647 h 16"/>
                  <a:gd name="T24" fmla="*/ 0 w 12"/>
                  <a:gd name="T25" fmla="*/ 2147483647 h 16"/>
                  <a:gd name="T26" fmla="*/ 0 w 12"/>
                  <a:gd name="T27" fmla="*/ 0 h 16"/>
                  <a:gd name="T28" fmla="*/ 2147483647 w 12"/>
                  <a:gd name="T29" fmla="*/ 0 h 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"/>
                  <a:gd name="T46" fmla="*/ 0 h 16"/>
                  <a:gd name="T47" fmla="*/ 12 w 12"/>
                  <a:gd name="T48" fmla="*/ 16 h 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" h="16">
                    <a:moveTo>
                      <a:pt x="3" y="0"/>
                    </a:moveTo>
                    <a:lnTo>
                      <a:pt x="6" y="2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12" y="11"/>
                    </a:lnTo>
                    <a:lnTo>
                      <a:pt x="12" y="16"/>
                    </a:lnTo>
                    <a:lnTo>
                      <a:pt x="6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4" name="Freeform 495"/>
              <p:cNvSpPr>
                <a:spLocks noChangeAspect="1"/>
              </p:cNvSpPr>
              <p:nvPr>
                <p:custDataLst>
                  <p:tags r:id="rId642"/>
                </p:custDataLst>
              </p:nvPr>
            </p:nvSpPr>
            <p:spPr bwMode="gray">
              <a:xfrm>
                <a:off x="8585500" y="2817160"/>
                <a:ext cx="15185" cy="20499"/>
              </a:xfrm>
              <a:custGeom>
                <a:avLst/>
                <a:gdLst>
                  <a:gd name="T0" fmla="*/ 2147483647 w 12"/>
                  <a:gd name="T1" fmla="*/ 0 h 16"/>
                  <a:gd name="T2" fmla="*/ 2147483647 w 12"/>
                  <a:gd name="T3" fmla="*/ 2147483647 h 16"/>
                  <a:gd name="T4" fmla="*/ 2147483647 w 12"/>
                  <a:gd name="T5" fmla="*/ 2147483647 h 16"/>
                  <a:gd name="T6" fmla="*/ 2147483647 w 12"/>
                  <a:gd name="T7" fmla="*/ 2147483647 h 16"/>
                  <a:gd name="T8" fmla="*/ 2147483647 w 12"/>
                  <a:gd name="T9" fmla="*/ 2147483647 h 16"/>
                  <a:gd name="T10" fmla="*/ 2147483647 w 12"/>
                  <a:gd name="T11" fmla="*/ 2147483647 h 16"/>
                  <a:gd name="T12" fmla="*/ 2147483647 w 12"/>
                  <a:gd name="T13" fmla="*/ 2147483647 h 16"/>
                  <a:gd name="T14" fmla="*/ 2147483647 w 12"/>
                  <a:gd name="T15" fmla="*/ 2147483647 h 16"/>
                  <a:gd name="T16" fmla="*/ 2147483647 w 12"/>
                  <a:gd name="T17" fmla="*/ 2147483647 h 16"/>
                  <a:gd name="T18" fmla="*/ 2147483647 w 12"/>
                  <a:gd name="T19" fmla="*/ 2147483647 h 16"/>
                  <a:gd name="T20" fmla="*/ 2147483647 w 12"/>
                  <a:gd name="T21" fmla="*/ 2147483647 h 16"/>
                  <a:gd name="T22" fmla="*/ 2147483647 w 12"/>
                  <a:gd name="T23" fmla="*/ 2147483647 h 16"/>
                  <a:gd name="T24" fmla="*/ 0 w 12"/>
                  <a:gd name="T25" fmla="*/ 2147483647 h 16"/>
                  <a:gd name="T26" fmla="*/ 0 w 12"/>
                  <a:gd name="T27" fmla="*/ 0 h 16"/>
                  <a:gd name="T28" fmla="*/ 2147483647 w 12"/>
                  <a:gd name="T29" fmla="*/ 0 h 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"/>
                  <a:gd name="T46" fmla="*/ 0 h 16"/>
                  <a:gd name="T47" fmla="*/ 12 w 12"/>
                  <a:gd name="T48" fmla="*/ 16 h 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" h="16">
                    <a:moveTo>
                      <a:pt x="3" y="0"/>
                    </a:moveTo>
                    <a:lnTo>
                      <a:pt x="6" y="2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12" y="11"/>
                    </a:lnTo>
                    <a:lnTo>
                      <a:pt x="12" y="16"/>
                    </a:lnTo>
                    <a:lnTo>
                      <a:pt x="6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5" name="Freeform 496"/>
              <p:cNvSpPr>
                <a:spLocks noChangeAspect="1"/>
              </p:cNvSpPr>
              <p:nvPr>
                <p:custDataLst>
                  <p:tags r:id="rId643"/>
                </p:custDataLst>
              </p:nvPr>
            </p:nvSpPr>
            <p:spPr bwMode="gray">
              <a:xfrm>
                <a:off x="8614350" y="2834506"/>
                <a:ext cx="13667" cy="9460"/>
              </a:xfrm>
              <a:custGeom>
                <a:avLst/>
                <a:gdLst>
                  <a:gd name="T0" fmla="*/ 0 w 11"/>
                  <a:gd name="T1" fmla="*/ 0 h 8"/>
                  <a:gd name="T2" fmla="*/ 2147483647 w 11"/>
                  <a:gd name="T3" fmla="*/ 0 h 8"/>
                  <a:gd name="T4" fmla="*/ 2147483647 w 11"/>
                  <a:gd name="T5" fmla="*/ 2147483647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2147483647 w 11"/>
                  <a:gd name="T17" fmla="*/ 2147483647 h 8"/>
                  <a:gd name="T18" fmla="*/ 0 w 11"/>
                  <a:gd name="T19" fmla="*/ 0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8"/>
                  <a:gd name="T32" fmla="*/ 11 w 11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8">
                    <a:moveTo>
                      <a:pt x="0" y="0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6" name="Freeform 497"/>
              <p:cNvSpPr>
                <a:spLocks noChangeAspect="1"/>
              </p:cNvSpPr>
              <p:nvPr>
                <p:custDataLst>
                  <p:tags r:id="rId644"/>
                </p:custDataLst>
              </p:nvPr>
            </p:nvSpPr>
            <p:spPr bwMode="gray">
              <a:xfrm>
                <a:off x="8614350" y="2834506"/>
                <a:ext cx="13667" cy="9460"/>
              </a:xfrm>
              <a:custGeom>
                <a:avLst/>
                <a:gdLst>
                  <a:gd name="T0" fmla="*/ 0 w 11"/>
                  <a:gd name="T1" fmla="*/ 0 h 8"/>
                  <a:gd name="T2" fmla="*/ 2147483647 w 11"/>
                  <a:gd name="T3" fmla="*/ 0 h 8"/>
                  <a:gd name="T4" fmla="*/ 2147483647 w 11"/>
                  <a:gd name="T5" fmla="*/ 2147483647 h 8"/>
                  <a:gd name="T6" fmla="*/ 2147483647 w 11"/>
                  <a:gd name="T7" fmla="*/ 2147483647 h 8"/>
                  <a:gd name="T8" fmla="*/ 2147483647 w 11"/>
                  <a:gd name="T9" fmla="*/ 2147483647 h 8"/>
                  <a:gd name="T10" fmla="*/ 2147483647 w 11"/>
                  <a:gd name="T11" fmla="*/ 2147483647 h 8"/>
                  <a:gd name="T12" fmla="*/ 2147483647 w 11"/>
                  <a:gd name="T13" fmla="*/ 2147483647 h 8"/>
                  <a:gd name="T14" fmla="*/ 2147483647 w 11"/>
                  <a:gd name="T15" fmla="*/ 2147483647 h 8"/>
                  <a:gd name="T16" fmla="*/ 2147483647 w 11"/>
                  <a:gd name="T17" fmla="*/ 2147483647 h 8"/>
                  <a:gd name="T18" fmla="*/ 0 w 11"/>
                  <a:gd name="T19" fmla="*/ 0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8"/>
                  <a:gd name="T32" fmla="*/ 11 w 11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8">
                    <a:moveTo>
                      <a:pt x="0" y="0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7" name="Freeform 500"/>
              <p:cNvSpPr>
                <a:spLocks noChangeAspect="1"/>
              </p:cNvSpPr>
              <p:nvPr>
                <p:custDataLst>
                  <p:tags r:id="rId645"/>
                </p:custDataLst>
              </p:nvPr>
            </p:nvSpPr>
            <p:spPr bwMode="gray">
              <a:xfrm>
                <a:off x="7969006" y="1879001"/>
                <a:ext cx="16702" cy="28381"/>
              </a:xfrm>
              <a:custGeom>
                <a:avLst/>
                <a:gdLst>
                  <a:gd name="T0" fmla="*/ 9 w 14"/>
                  <a:gd name="T1" fmla="*/ 11 h 22"/>
                  <a:gd name="T2" fmla="*/ 9 w 14"/>
                  <a:gd name="T3" fmla="*/ 14 h 22"/>
                  <a:gd name="T4" fmla="*/ 11 w 14"/>
                  <a:gd name="T5" fmla="*/ 14 h 22"/>
                  <a:gd name="T6" fmla="*/ 14 w 14"/>
                  <a:gd name="T7" fmla="*/ 17 h 22"/>
                  <a:gd name="T8" fmla="*/ 11 w 14"/>
                  <a:gd name="T9" fmla="*/ 22 h 22"/>
                  <a:gd name="T10" fmla="*/ 11 w 14"/>
                  <a:gd name="T11" fmla="*/ 22 h 22"/>
                  <a:gd name="T12" fmla="*/ 9 w 14"/>
                  <a:gd name="T13" fmla="*/ 17 h 22"/>
                  <a:gd name="T14" fmla="*/ 6 w 14"/>
                  <a:gd name="T15" fmla="*/ 14 h 22"/>
                  <a:gd name="T16" fmla="*/ 3 w 14"/>
                  <a:gd name="T17" fmla="*/ 8 h 22"/>
                  <a:gd name="T18" fmla="*/ 0 w 14"/>
                  <a:gd name="T19" fmla="*/ 5 h 22"/>
                  <a:gd name="T20" fmla="*/ 0 w 14"/>
                  <a:gd name="T21" fmla="*/ 0 h 22"/>
                  <a:gd name="T22" fmla="*/ 0 w 14"/>
                  <a:gd name="T23" fmla="*/ 3 h 22"/>
                  <a:gd name="T24" fmla="*/ 3 w 14"/>
                  <a:gd name="T25" fmla="*/ 5 h 22"/>
                  <a:gd name="T26" fmla="*/ 9 w 14"/>
                  <a:gd name="T27" fmla="*/ 11 h 22"/>
                  <a:gd name="T28" fmla="*/ 9 w 14"/>
                  <a:gd name="T2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22">
                    <a:moveTo>
                      <a:pt x="9" y="11"/>
                    </a:moveTo>
                    <a:lnTo>
                      <a:pt x="9" y="14"/>
                    </a:lnTo>
                    <a:lnTo>
                      <a:pt x="11" y="14"/>
                    </a:lnTo>
                    <a:lnTo>
                      <a:pt x="14" y="17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9" y="17"/>
                    </a:lnTo>
                    <a:lnTo>
                      <a:pt x="6" y="14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9" y="11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8" name="Freeform 501"/>
              <p:cNvSpPr>
                <a:spLocks noChangeAspect="1"/>
              </p:cNvSpPr>
              <p:nvPr>
                <p:custDataLst>
                  <p:tags r:id="rId646"/>
                </p:custDataLst>
              </p:nvPr>
            </p:nvSpPr>
            <p:spPr bwMode="gray">
              <a:xfrm>
                <a:off x="7969006" y="1879001"/>
                <a:ext cx="16702" cy="28381"/>
              </a:xfrm>
              <a:custGeom>
                <a:avLst/>
                <a:gdLst>
                  <a:gd name="T0" fmla="*/ 9 w 14"/>
                  <a:gd name="T1" fmla="*/ 11 h 22"/>
                  <a:gd name="T2" fmla="*/ 9 w 14"/>
                  <a:gd name="T3" fmla="*/ 14 h 22"/>
                  <a:gd name="T4" fmla="*/ 11 w 14"/>
                  <a:gd name="T5" fmla="*/ 14 h 22"/>
                  <a:gd name="T6" fmla="*/ 14 w 14"/>
                  <a:gd name="T7" fmla="*/ 17 h 22"/>
                  <a:gd name="T8" fmla="*/ 11 w 14"/>
                  <a:gd name="T9" fmla="*/ 22 h 22"/>
                  <a:gd name="T10" fmla="*/ 11 w 14"/>
                  <a:gd name="T11" fmla="*/ 22 h 22"/>
                  <a:gd name="T12" fmla="*/ 9 w 14"/>
                  <a:gd name="T13" fmla="*/ 17 h 22"/>
                  <a:gd name="T14" fmla="*/ 6 w 14"/>
                  <a:gd name="T15" fmla="*/ 14 h 22"/>
                  <a:gd name="T16" fmla="*/ 3 w 14"/>
                  <a:gd name="T17" fmla="*/ 8 h 22"/>
                  <a:gd name="T18" fmla="*/ 0 w 14"/>
                  <a:gd name="T19" fmla="*/ 5 h 22"/>
                  <a:gd name="T20" fmla="*/ 0 w 14"/>
                  <a:gd name="T21" fmla="*/ 0 h 22"/>
                  <a:gd name="T22" fmla="*/ 0 w 14"/>
                  <a:gd name="T23" fmla="*/ 3 h 22"/>
                  <a:gd name="T24" fmla="*/ 3 w 14"/>
                  <a:gd name="T25" fmla="*/ 5 h 22"/>
                  <a:gd name="T26" fmla="*/ 9 w 14"/>
                  <a:gd name="T27" fmla="*/ 11 h 22"/>
                  <a:gd name="T28" fmla="*/ 9 w 14"/>
                  <a:gd name="T29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22">
                    <a:moveTo>
                      <a:pt x="9" y="11"/>
                    </a:moveTo>
                    <a:lnTo>
                      <a:pt x="9" y="14"/>
                    </a:lnTo>
                    <a:lnTo>
                      <a:pt x="11" y="14"/>
                    </a:lnTo>
                    <a:lnTo>
                      <a:pt x="14" y="17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9" y="17"/>
                    </a:lnTo>
                    <a:lnTo>
                      <a:pt x="6" y="14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9" y="11"/>
                    </a:lnTo>
                    <a:lnTo>
                      <a:pt x="9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9" name="Freeform 502"/>
              <p:cNvSpPr>
                <a:spLocks noChangeAspect="1"/>
              </p:cNvSpPr>
              <p:nvPr>
                <p:custDataLst>
                  <p:tags r:id="rId647"/>
                </p:custDataLst>
              </p:nvPr>
            </p:nvSpPr>
            <p:spPr bwMode="gray">
              <a:xfrm>
                <a:off x="7969006" y="1757591"/>
                <a:ext cx="10628" cy="40995"/>
              </a:xfrm>
              <a:custGeom>
                <a:avLst/>
                <a:gdLst>
                  <a:gd name="T0" fmla="*/ 6 w 9"/>
                  <a:gd name="T1" fmla="*/ 17 h 31"/>
                  <a:gd name="T2" fmla="*/ 6 w 9"/>
                  <a:gd name="T3" fmla="*/ 22 h 31"/>
                  <a:gd name="T4" fmla="*/ 6 w 9"/>
                  <a:gd name="T5" fmla="*/ 22 h 31"/>
                  <a:gd name="T6" fmla="*/ 6 w 9"/>
                  <a:gd name="T7" fmla="*/ 28 h 31"/>
                  <a:gd name="T8" fmla="*/ 3 w 9"/>
                  <a:gd name="T9" fmla="*/ 31 h 31"/>
                  <a:gd name="T10" fmla="*/ 0 w 9"/>
                  <a:gd name="T11" fmla="*/ 28 h 31"/>
                  <a:gd name="T12" fmla="*/ 0 w 9"/>
                  <a:gd name="T13" fmla="*/ 25 h 31"/>
                  <a:gd name="T14" fmla="*/ 0 w 9"/>
                  <a:gd name="T15" fmla="*/ 22 h 31"/>
                  <a:gd name="T16" fmla="*/ 0 w 9"/>
                  <a:gd name="T17" fmla="*/ 20 h 31"/>
                  <a:gd name="T18" fmla="*/ 0 w 9"/>
                  <a:gd name="T19" fmla="*/ 0 h 31"/>
                  <a:gd name="T20" fmla="*/ 3 w 9"/>
                  <a:gd name="T21" fmla="*/ 3 h 31"/>
                  <a:gd name="T22" fmla="*/ 3 w 9"/>
                  <a:gd name="T23" fmla="*/ 6 h 31"/>
                  <a:gd name="T24" fmla="*/ 3 w 9"/>
                  <a:gd name="T25" fmla="*/ 11 h 31"/>
                  <a:gd name="T26" fmla="*/ 6 w 9"/>
                  <a:gd name="T27" fmla="*/ 14 h 31"/>
                  <a:gd name="T28" fmla="*/ 9 w 9"/>
                  <a:gd name="T29" fmla="*/ 14 h 31"/>
                  <a:gd name="T30" fmla="*/ 6 w 9"/>
                  <a:gd name="T31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31">
                    <a:moveTo>
                      <a:pt x="6" y="17"/>
                    </a:moveTo>
                    <a:lnTo>
                      <a:pt x="6" y="22"/>
                    </a:lnTo>
                    <a:lnTo>
                      <a:pt x="6" y="22"/>
                    </a:lnTo>
                    <a:lnTo>
                      <a:pt x="6" y="28"/>
                    </a:lnTo>
                    <a:lnTo>
                      <a:pt x="3" y="31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3" y="11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0" name="Freeform 503"/>
              <p:cNvSpPr>
                <a:spLocks noChangeAspect="1"/>
              </p:cNvSpPr>
              <p:nvPr>
                <p:custDataLst>
                  <p:tags r:id="rId648"/>
                </p:custDataLst>
              </p:nvPr>
            </p:nvSpPr>
            <p:spPr bwMode="gray">
              <a:xfrm>
                <a:off x="7969006" y="1757591"/>
                <a:ext cx="10628" cy="40995"/>
              </a:xfrm>
              <a:custGeom>
                <a:avLst/>
                <a:gdLst>
                  <a:gd name="T0" fmla="*/ 6 w 9"/>
                  <a:gd name="T1" fmla="*/ 17 h 31"/>
                  <a:gd name="T2" fmla="*/ 6 w 9"/>
                  <a:gd name="T3" fmla="*/ 22 h 31"/>
                  <a:gd name="T4" fmla="*/ 6 w 9"/>
                  <a:gd name="T5" fmla="*/ 22 h 31"/>
                  <a:gd name="T6" fmla="*/ 6 w 9"/>
                  <a:gd name="T7" fmla="*/ 28 h 31"/>
                  <a:gd name="T8" fmla="*/ 3 w 9"/>
                  <a:gd name="T9" fmla="*/ 31 h 31"/>
                  <a:gd name="T10" fmla="*/ 0 w 9"/>
                  <a:gd name="T11" fmla="*/ 28 h 31"/>
                  <a:gd name="T12" fmla="*/ 0 w 9"/>
                  <a:gd name="T13" fmla="*/ 25 h 31"/>
                  <a:gd name="T14" fmla="*/ 0 w 9"/>
                  <a:gd name="T15" fmla="*/ 22 h 31"/>
                  <a:gd name="T16" fmla="*/ 0 w 9"/>
                  <a:gd name="T17" fmla="*/ 20 h 31"/>
                  <a:gd name="T18" fmla="*/ 0 w 9"/>
                  <a:gd name="T19" fmla="*/ 0 h 31"/>
                  <a:gd name="T20" fmla="*/ 3 w 9"/>
                  <a:gd name="T21" fmla="*/ 3 h 31"/>
                  <a:gd name="T22" fmla="*/ 3 w 9"/>
                  <a:gd name="T23" fmla="*/ 6 h 31"/>
                  <a:gd name="T24" fmla="*/ 3 w 9"/>
                  <a:gd name="T25" fmla="*/ 11 h 31"/>
                  <a:gd name="T26" fmla="*/ 6 w 9"/>
                  <a:gd name="T27" fmla="*/ 14 h 31"/>
                  <a:gd name="T28" fmla="*/ 9 w 9"/>
                  <a:gd name="T29" fmla="*/ 14 h 31"/>
                  <a:gd name="T30" fmla="*/ 6 w 9"/>
                  <a:gd name="T31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31">
                    <a:moveTo>
                      <a:pt x="6" y="17"/>
                    </a:moveTo>
                    <a:lnTo>
                      <a:pt x="6" y="22"/>
                    </a:lnTo>
                    <a:lnTo>
                      <a:pt x="6" y="22"/>
                    </a:lnTo>
                    <a:lnTo>
                      <a:pt x="6" y="28"/>
                    </a:lnTo>
                    <a:lnTo>
                      <a:pt x="3" y="31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3" y="11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6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1" name="Freeform 504"/>
              <p:cNvSpPr>
                <a:spLocks noChangeAspect="1"/>
              </p:cNvSpPr>
              <p:nvPr>
                <p:custDataLst>
                  <p:tags r:id="rId649"/>
                </p:custDataLst>
              </p:nvPr>
            </p:nvSpPr>
            <p:spPr bwMode="gray">
              <a:xfrm>
                <a:off x="7994820" y="1726057"/>
                <a:ext cx="133624" cy="121410"/>
              </a:xfrm>
              <a:custGeom>
                <a:avLst/>
                <a:gdLst>
                  <a:gd name="T0" fmla="*/ 50 w 103"/>
                  <a:gd name="T1" fmla="*/ 25 h 95"/>
                  <a:gd name="T2" fmla="*/ 53 w 103"/>
                  <a:gd name="T3" fmla="*/ 25 h 95"/>
                  <a:gd name="T4" fmla="*/ 55 w 103"/>
                  <a:gd name="T5" fmla="*/ 28 h 95"/>
                  <a:gd name="T6" fmla="*/ 55 w 103"/>
                  <a:gd name="T7" fmla="*/ 34 h 95"/>
                  <a:gd name="T8" fmla="*/ 55 w 103"/>
                  <a:gd name="T9" fmla="*/ 36 h 95"/>
                  <a:gd name="T10" fmla="*/ 58 w 103"/>
                  <a:gd name="T11" fmla="*/ 39 h 95"/>
                  <a:gd name="T12" fmla="*/ 61 w 103"/>
                  <a:gd name="T13" fmla="*/ 39 h 95"/>
                  <a:gd name="T14" fmla="*/ 64 w 103"/>
                  <a:gd name="T15" fmla="*/ 39 h 95"/>
                  <a:gd name="T16" fmla="*/ 66 w 103"/>
                  <a:gd name="T17" fmla="*/ 31 h 95"/>
                  <a:gd name="T18" fmla="*/ 64 w 103"/>
                  <a:gd name="T19" fmla="*/ 14 h 95"/>
                  <a:gd name="T20" fmla="*/ 69 w 103"/>
                  <a:gd name="T21" fmla="*/ 9 h 95"/>
                  <a:gd name="T22" fmla="*/ 83 w 103"/>
                  <a:gd name="T23" fmla="*/ 31 h 95"/>
                  <a:gd name="T24" fmla="*/ 89 w 103"/>
                  <a:gd name="T25" fmla="*/ 34 h 95"/>
                  <a:gd name="T26" fmla="*/ 83 w 103"/>
                  <a:gd name="T27" fmla="*/ 50 h 95"/>
                  <a:gd name="T28" fmla="*/ 92 w 103"/>
                  <a:gd name="T29" fmla="*/ 73 h 95"/>
                  <a:gd name="T30" fmla="*/ 103 w 103"/>
                  <a:gd name="T31" fmla="*/ 78 h 95"/>
                  <a:gd name="T32" fmla="*/ 103 w 103"/>
                  <a:gd name="T33" fmla="*/ 81 h 95"/>
                  <a:gd name="T34" fmla="*/ 89 w 103"/>
                  <a:gd name="T35" fmla="*/ 78 h 95"/>
                  <a:gd name="T36" fmla="*/ 86 w 103"/>
                  <a:gd name="T37" fmla="*/ 86 h 95"/>
                  <a:gd name="T38" fmla="*/ 80 w 103"/>
                  <a:gd name="T39" fmla="*/ 78 h 95"/>
                  <a:gd name="T40" fmla="*/ 78 w 103"/>
                  <a:gd name="T41" fmla="*/ 73 h 95"/>
                  <a:gd name="T42" fmla="*/ 64 w 103"/>
                  <a:gd name="T43" fmla="*/ 81 h 95"/>
                  <a:gd name="T44" fmla="*/ 50 w 103"/>
                  <a:gd name="T45" fmla="*/ 89 h 95"/>
                  <a:gd name="T46" fmla="*/ 47 w 103"/>
                  <a:gd name="T47" fmla="*/ 86 h 95"/>
                  <a:gd name="T48" fmla="*/ 50 w 103"/>
                  <a:gd name="T49" fmla="*/ 84 h 95"/>
                  <a:gd name="T50" fmla="*/ 44 w 103"/>
                  <a:gd name="T51" fmla="*/ 78 h 95"/>
                  <a:gd name="T52" fmla="*/ 41 w 103"/>
                  <a:gd name="T53" fmla="*/ 75 h 95"/>
                  <a:gd name="T54" fmla="*/ 44 w 103"/>
                  <a:gd name="T55" fmla="*/ 81 h 95"/>
                  <a:gd name="T56" fmla="*/ 39 w 103"/>
                  <a:gd name="T57" fmla="*/ 95 h 95"/>
                  <a:gd name="T58" fmla="*/ 30 w 103"/>
                  <a:gd name="T59" fmla="*/ 92 h 95"/>
                  <a:gd name="T60" fmla="*/ 19 w 103"/>
                  <a:gd name="T61" fmla="*/ 86 h 95"/>
                  <a:gd name="T62" fmla="*/ 11 w 103"/>
                  <a:gd name="T63" fmla="*/ 75 h 95"/>
                  <a:gd name="T64" fmla="*/ 0 w 103"/>
                  <a:gd name="T65" fmla="*/ 56 h 95"/>
                  <a:gd name="T66" fmla="*/ 5 w 103"/>
                  <a:gd name="T67" fmla="*/ 56 h 95"/>
                  <a:gd name="T68" fmla="*/ 8 w 103"/>
                  <a:gd name="T69" fmla="*/ 50 h 95"/>
                  <a:gd name="T70" fmla="*/ 2 w 103"/>
                  <a:gd name="T71" fmla="*/ 50 h 95"/>
                  <a:gd name="T72" fmla="*/ 8 w 103"/>
                  <a:gd name="T73" fmla="*/ 50 h 95"/>
                  <a:gd name="T74" fmla="*/ 2 w 103"/>
                  <a:gd name="T75" fmla="*/ 42 h 95"/>
                  <a:gd name="T76" fmla="*/ 2 w 103"/>
                  <a:gd name="T77" fmla="*/ 39 h 95"/>
                  <a:gd name="T78" fmla="*/ 5 w 103"/>
                  <a:gd name="T79" fmla="*/ 42 h 95"/>
                  <a:gd name="T80" fmla="*/ 5 w 103"/>
                  <a:gd name="T81" fmla="*/ 34 h 95"/>
                  <a:gd name="T82" fmla="*/ 5 w 103"/>
                  <a:gd name="T83" fmla="*/ 28 h 95"/>
                  <a:gd name="T84" fmla="*/ 11 w 103"/>
                  <a:gd name="T85" fmla="*/ 28 h 95"/>
                  <a:gd name="T86" fmla="*/ 8 w 103"/>
                  <a:gd name="T87" fmla="*/ 25 h 95"/>
                  <a:gd name="T88" fmla="*/ 11 w 103"/>
                  <a:gd name="T89" fmla="*/ 14 h 95"/>
                  <a:gd name="T90" fmla="*/ 19 w 103"/>
                  <a:gd name="T91" fmla="*/ 11 h 95"/>
                  <a:gd name="T92" fmla="*/ 22 w 103"/>
                  <a:gd name="T93" fmla="*/ 6 h 95"/>
                  <a:gd name="T94" fmla="*/ 33 w 103"/>
                  <a:gd name="T95" fmla="*/ 0 h 95"/>
                  <a:gd name="T96" fmla="*/ 33 w 103"/>
                  <a:gd name="T97" fmla="*/ 3 h 95"/>
                  <a:gd name="T98" fmla="*/ 41 w 103"/>
                  <a:gd name="T99" fmla="*/ 14 h 95"/>
                  <a:gd name="T100" fmla="*/ 44 w 103"/>
                  <a:gd name="T101" fmla="*/ 14 h 95"/>
                  <a:gd name="T102" fmla="*/ 47 w 103"/>
                  <a:gd name="T103" fmla="*/ 20 h 95"/>
                  <a:gd name="T104" fmla="*/ 47 w 103"/>
                  <a:gd name="T105" fmla="*/ 2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3" h="95">
                    <a:moveTo>
                      <a:pt x="50" y="25"/>
                    </a:moveTo>
                    <a:lnTo>
                      <a:pt x="50" y="25"/>
                    </a:lnTo>
                    <a:lnTo>
                      <a:pt x="50" y="28"/>
                    </a:lnTo>
                    <a:lnTo>
                      <a:pt x="53" y="25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5" y="31"/>
                    </a:lnTo>
                    <a:lnTo>
                      <a:pt x="55" y="34"/>
                    </a:lnTo>
                    <a:lnTo>
                      <a:pt x="55" y="34"/>
                    </a:lnTo>
                    <a:lnTo>
                      <a:pt x="55" y="36"/>
                    </a:lnTo>
                    <a:lnTo>
                      <a:pt x="55" y="39"/>
                    </a:lnTo>
                    <a:lnTo>
                      <a:pt x="58" y="39"/>
                    </a:lnTo>
                    <a:lnTo>
                      <a:pt x="58" y="39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64" y="31"/>
                    </a:lnTo>
                    <a:lnTo>
                      <a:pt x="66" y="31"/>
                    </a:lnTo>
                    <a:lnTo>
                      <a:pt x="64" y="25"/>
                    </a:lnTo>
                    <a:lnTo>
                      <a:pt x="64" y="14"/>
                    </a:lnTo>
                    <a:lnTo>
                      <a:pt x="66" y="11"/>
                    </a:lnTo>
                    <a:lnTo>
                      <a:pt x="69" y="9"/>
                    </a:lnTo>
                    <a:lnTo>
                      <a:pt x="75" y="14"/>
                    </a:lnTo>
                    <a:lnTo>
                      <a:pt x="83" y="31"/>
                    </a:lnTo>
                    <a:lnTo>
                      <a:pt x="86" y="31"/>
                    </a:lnTo>
                    <a:lnTo>
                      <a:pt x="89" y="34"/>
                    </a:lnTo>
                    <a:lnTo>
                      <a:pt x="89" y="36"/>
                    </a:lnTo>
                    <a:lnTo>
                      <a:pt x="83" y="50"/>
                    </a:lnTo>
                    <a:lnTo>
                      <a:pt x="86" y="67"/>
                    </a:lnTo>
                    <a:lnTo>
                      <a:pt x="92" y="73"/>
                    </a:lnTo>
                    <a:lnTo>
                      <a:pt x="97" y="73"/>
                    </a:lnTo>
                    <a:lnTo>
                      <a:pt x="103" y="78"/>
                    </a:lnTo>
                    <a:lnTo>
                      <a:pt x="103" y="78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89" y="78"/>
                    </a:lnTo>
                    <a:lnTo>
                      <a:pt x="89" y="84"/>
                    </a:lnTo>
                    <a:lnTo>
                      <a:pt x="86" y="86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5"/>
                    </a:lnTo>
                    <a:lnTo>
                      <a:pt x="78" y="73"/>
                    </a:lnTo>
                    <a:lnTo>
                      <a:pt x="75" y="78"/>
                    </a:lnTo>
                    <a:lnTo>
                      <a:pt x="64" y="81"/>
                    </a:lnTo>
                    <a:lnTo>
                      <a:pt x="58" y="86"/>
                    </a:lnTo>
                    <a:lnTo>
                      <a:pt x="50" y="89"/>
                    </a:lnTo>
                    <a:lnTo>
                      <a:pt x="50" y="89"/>
                    </a:lnTo>
                    <a:lnTo>
                      <a:pt x="47" y="86"/>
                    </a:lnTo>
                    <a:lnTo>
                      <a:pt x="47" y="86"/>
                    </a:lnTo>
                    <a:lnTo>
                      <a:pt x="50" y="84"/>
                    </a:lnTo>
                    <a:lnTo>
                      <a:pt x="47" y="84"/>
                    </a:lnTo>
                    <a:lnTo>
                      <a:pt x="44" y="78"/>
                    </a:lnTo>
                    <a:lnTo>
                      <a:pt x="44" y="73"/>
                    </a:lnTo>
                    <a:lnTo>
                      <a:pt x="41" y="75"/>
                    </a:lnTo>
                    <a:lnTo>
                      <a:pt x="41" y="81"/>
                    </a:lnTo>
                    <a:lnTo>
                      <a:pt x="44" y="81"/>
                    </a:lnTo>
                    <a:lnTo>
                      <a:pt x="41" y="92"/>
                    </a:lnTo>
                    <a:lnTo>
                      <a:pt x="39" y="95"/>
                    </a:lnTo>
                    <a:lnTo>
                      <a:pt x="36" y="95"/>
                    </a:lnTo>
                    <a:lnTo>
                      <a:pt x="30" y="92"/>
                    </a:lnTo>
                    <a:lnTo>
                      <a:pt x="25" y="92"/>
                    </a:lnTo>
                    <a:lnTo>
                      <a:pt x="19" y="86"/>
                    </a:lnTo>
                    <a:lnTo>
                      <a:pt x="14" y="75"/>
                    </a:lnTo>
                    <a:lnTo>
                      <a:pt x="11" y="75"/>
                    </a:lnTo>
                    <a:lnTo>
                      <a:pt x="2" y="70"/>
                    </a:lnTo>
                    <a:lnTo>
                      <a:pt x="0" y="56"/>
                    </a:lnTo>
                    <a:lnTo>
                      <a:pt x="2" y="53"/>
                    </a:lnTo>
                    <a:lnTo>
                      <a:pt x="5" y="56"/>
                    </a:lnTo>
                    <a:lnTo>
                      <a:pt x="8" y="53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2" y="50"/>
                    </a:lnTo>
                    <a:lnTo>
                      <a:pt x="5" y="50"/>
                    </a:lnTo>
                    <a:lnTo>
                      <a:pt x="8" y="50"/>
                    </a:lnTo>
                    <a:lnTo>
                      <a:pt x="5" y="45"/>
                    </a:lnTo>
                    <a:lnTo>
                      <a:pt x="2" y="42"/>
                    </a:lnTo>
                    <a:lnTo>
                      <a:pt x="2" y="39"/>
                    </a:lnTo>
                    <a:lnTo>
                      <a:pt x="2" y="39"/>
                    </a:lnTo>
                    <a:lnTo>
                      <a:pt x="5" y="42"/>
                    </a:lnTo>
                    <a:lnTo>
                      <a:pt x="5" y="42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5" y="31"/>
                    </a:lnTo>
                    <a:lnTo>
                      <a:pt x="5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2"/>
                    </a:lnTo>
                    <a:lnTo>
                      <a:pt x="8" y="25"/>
                    </a:lnTo>
                    <a:lnTo>
                      <a:pt x="5" y="20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19" y="11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41" y="14"/>
                    </a:lnTo>
                    <a:lnTo>
                      <a:pt x="41" y="17"/>
                    </a:lnTo>
                    <a:lnTo>
                      <a:pt x="44" y="14"/>
                    </a:lnTo>
                    <a:lnTo>
                      <a:pt x="44" y="17"/>
                    </a:lnTo>
                    <a:lnTo>
                      <a:pt x="47" y="20"/>
                    </a:lnTo>
                    <a:lnTo>
                      <a:pt x="47" y="22"/>
                    </a:lnTo>
                    <a:lnTo>
                      <a:pt x="47" y="25"/>
                    </a:lnTo>
                    <a:lnTo>
                      <a:pt x="50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2" name="Freeform 505"/>
              <p:cNvSpPr>
                <a:spLocks noChangeAspect="1"/>
              </p:cNvSpPr>
              <p:nvPr>
                <p:custDataLst>
                  <p:tags r:id="rId650"/>
                </p:custDataLst>
              </p:nvPr>
            </p:nvSpPr>
            <p:spPr bwMode="gray">
              <a:xfrm>
                <a:off x="7994820" y="1726057"/>
                <a:ext cx="133624" cy="121410"/>
              </a:xfrm>
              <a:custGeom>
                <a:avLst/>
                <a:gdLst>
                  <a:gd name="T0" fmla="*/ 50 w 103"/>
                  <a:gd name="T1" fmla="*/ 25 h 95"/>
                  <a:gd name="T2" fmla="*/ 53 w 103"/>
                  <a:gd name="T3" fmla="*/ 25 h 95"/>
                  <a:gd name="T4" fmla="*/ 55 w 103"/>
                  <a:gd name="T5" fmla="*/ 28 h 95"/>
                  <a:gd name="T6" fmla="*/ 55 w 103"/>
                  <a:gd name="T7" fmla="*/ 34 h 95"/>
                  <a:gd name="T8" fmla="*/ 55 w 103"/>
                  <a:gd name="T9" fmla="*/ 36 h 95"/>
                  <a:gd name="T10" fmla="*/ 58 w 103"/>
                  <a:gd name="T11" fmla="*/ 39 h 95"/>
                  <a:gd name="T12" fmla="*/ 61 w 103"/>
                  <a:gd name="T13" fmla="*/ 39 h 95"/>
                  <a:gd name="T14" fmla="*/ 64 w 103"/>
                  <a:gd name="T15" fmla="*/ 39 h 95"/>
                  <a:gd name="T16" fmla="*/ 66 w 103"/>
                  <a:gd name="T17" fmla="*/ 31 h 95"/>
                  <a:gd name="T18" fmla="*/ 64 w 103"/>
                  <a:gd name="T19" fmla="*/ 14 h 95"/>
                  <a:gd name="T20" fmla="*/ 69 w 103"/>
                  <a:gd name="T21" fmla="*/ 9 h 95"/>
                  <a:gd name="T22" fmla="*/ 83 w 103"/>
                  <a:gd name="T23" fmla="*/ 31 h 95"/>
                  <a:gd name="T24" fmla="*/ 89 w 103"/>
                  <a:gd name="T25" fmla="*/ 34 h 95"/>
                  <a:gd name="T26" fmla="*/ 83 w 103"/>
                  <a:gd name="T27" fmla="*/ 50 h 95"/>
                  <a:gd name="T28" fmla="*/ 92 w 103"/>
                  <a:gd name="T29" fmla="*/ 73 h 95"/>
                  <a:gd name="T30" fmla="*/ 103 w 103"/>
                  <a:gd name="T31" fmla="*/ 78 h 95"/>
                  <a:gd name="T32" fmla="*/ 103 w 103"/>
                  <a:gd name="T33" fmla="*/ 81 h 95"/>
                  <a:gd name="T34" fmla="*/ 89 w 103"/>
                  <a:gd name="T35" fmla="*/ 78 h 95"/>
                  <a:gd name="T36" fmla="*/ 86 w 103"/>
                  <a:gd name="T37" fmla="*/ 86 h 95"/>
                  <a:gd name="T38" fmla="*/ 80 w 103"/>
                  <a:gd name="T39" fmla="*/ 78 h 95"/>
                  <a:gd name="T40" fmla="*/ 78 w 103"/>
                  <a:gd name="T41" fmla="*/ 73 h 95"/>
                  <a:gd name="T42" fmla="*/ 64 w 103"/>
                  <a:gd name="T43" fmla="*/ 81 h 95"/>
                  <a:gd name="T44" fmla="*/ 50 w 103"/>
                  <a:gd name="T45" fmla="*/ 89 h 95"/>
                  <a:gd name="T46" fmla="*/ 47 w 103"/>
                  <a:gd name="T47" fmla="*/ 86 h 95"/>
                  <a:gd name="T48" fmla="*/ 50 w 103"/>
                  <a:gd name="T49" fmla="*/ 84 h 95"/>
                  <a:gd name="T50" fmla="*/ 44 w 103"/>
                  <a:gd name="T51" fmla="*/ 78 h 95"/>
                  <a:gd name="T52" fmla="*/ 41 w 103"/>
                  <a:gd name="T53" fmla="*/ 75 h 95"/>
                  <a:gd name="T54" fmla="*/ 44 w 103"/>
                  <a:gd name="T55" fmla="*/ 81 h 95"/>
                  <a:gd name="T56" fmla="*/ 39 w 103"/>
                  <a:gd name="T57" fmla="*/ 95 h 95"/>
                  <a:gd name="T58" fmla="*/ 30 w 103"/>
                  <a:gd name="T59" fmla="*/ 92 h 95"/>
                  <a:gd name="T60" fmla="*/ 19 w 103"/>
                  <a:gd name="T61" fmla="*/ 86 h 95"/>
                  <a:gd name="T62" fmla="*/ 11 w 103"/>
                  <a:gd name="T63" fmla="*/ 75 h 95"/>
                  <a:gd name="T64" fmla="*/ 0 w 103"/>
                  <a:gd name="T65" fmla="*/ 56 h 95"/>
                  <a:gd name="T66" fmla="*/ 5 w 103"/>
                  <a:gd name="T67" fmla="*/ 56 h 95"/>
                  <a:gd name="T68" fmla="*/ 8 w 103"/>
                  <a:gd name="T69" fmla="*/ 50 h 95"/>
                  <a:gd name="T70" fmla="*/ 2 w 103"/>
                  <a:gd name="T71" fmla="*/ 50 h 95"/>
                  <a:gd name="T72" fmla="*/ 8 w 103"/>
                  <a:gd name="T73" fmla="*/ 50 h 95"/>
                  <a:gd name="T74" fmla="*/ 2 w 103"/>
                  <a:gd name="T75" fmla="*/ 42 h 95"/>
                  <a:gd name="T76" fmla="*/ 2 w 103"/>
                  <a:gd name="T77" fmla="*/ 39 h 95"/>
                  <a:gd name="T78" fmla="*/ 5 w 103"/>
                  <a:gd name="T79" fmla="*/ 42 h 95"/>
                  <a:gd name="T80" fmla="*/ 5 w 103"/>
                  <a:gd name="T81" fmla="*/ 34 h 95"/>
                  <a:gd name="T82" fmla="*/ 5 w 103"/>
                  <a:gd name="T83" fmla="*/ 28 h 95"/>
                  <a:gd name="T84" fmla="*/ 11 w 103"/>
                  <a:gd name="T85" fmla="*/ 28 h 95"/>
                  <a:gd name="T86" fmla="*/ 8 w 103"/>
                  <a:gd name="T87" fmla="*/ 25 h 95"/>
                  <a:gd name="T88" fmla="*/ 11 w 103"/>
                  <a:gd name="T89" fmla="*/ 14 h 95"/>
                  <a:gd name="T90" fmla="*/ 19 w 103"/>
                  <a:gd name="T91" fmla="*/ 11 h 95"/>
                  <a:gd name="T92" fmla="*/ 22 w 103"/>
                  <a:gd name="T93" fmla="*/ 6 h 95"/>
                  <a:gd name="T94" fmla="*/ 33 w 103"/>
                  <a:gd name="T95" fmla="*/ 0 h 95"/>
                  <a:gd name="T96" fmla="*/ 33 w 103"/>
                  <a:gd name="T97" fmla="*/ 3 h 95"/>
                  <a:gd name="T98" fmla="*/ 41 w 103"/>
                  <a:gd name="T99" fmla="*/ 14 h 95"/>
                  <a:gd name="T100" fmla="*/ 44 w 103"/>
                  <a:gd name="T101" fmla="*/ 14 h 95"/>
                  <a:gd name="T102" fmla="*/ 47 w 103"/>
                  <a:gd name="T103" fmla="*/ 20 h 95"/>
                  <a:gd name="T104" fmla="*/ 47 w 103"/>
                  <a:gd name="T105" fmla="*/ 2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3" h="95">
                    <a:moveTo>
                      <a:pt x="50" y="25"/>
                    </a:moveTo>
                    <a:lnTo>
                      <a:pt x="50" y="25"/>
                    </a:lnTo>
                    <a:lnTo>
                      <a:pt x="50" y="28"/>
                    </a:lnTo>
                    <a:lnTo>
                      <a:pt x="53" y="25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5" y="31"/>
                    </a:lnTo>
                    <a:lnTo>
                      <a:pt x="55" y="34"/>
                    </a:lnTo>
                    <a:lnTo>
                      <a:pt x="55" y="34"/>
                    </a:lnTo>
                    <a:lnTo>
                      <a:pt x="55" y="36"/>
                    </a:lnTo>
                    <a:lnTo>
                      <a:pt x="55" y="39"/>
                    </a:lnTo>
                    <a:lnTo>
                      <a:pt x="58" y="39"/>
                    </a:lnTo>
                    <a:lnTo>
                      <a:pt x="58" y="39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64" y="31"/>
                    </a:lnTo>
                    <a:lnTo>
                      <a:pt x="66" y="31"/>
                    </a:lnTo>
                    <a:lnTo>
                      <a:pt x="64" y="25"/>
                    </a:lnTo>
                    <a:lnTo>
                      <a:pt x="64" y="14"/>
                    </a:lnTo>
                    <a:lnTo>
                      <a:pt x="66" y="11"/>
                    </a:lnTo>
                    <a:lnTo>
                      <a:pt x="69" y="9"/>
                    </a:lnTo>
                    <a:lnTo>
                      <a:pt x="75" y="14"/>
                    </a:lnTo>
                    <a:lnTo>
                      <a:pt x="83" y="31"/>
                    </a:lnTo>
                    <a:lnTo>
                      <a:pt x="86" y="31"/>
                    </a:lnTo>
                    <a:lnTo>
                      <a:pt x="89" y="34"/>
                    </a:lnTo>
                    <a:lnTo>
                      <a:pt x="89" y="36"/>
                    </a:lnTo>
                    <a:lnTo>
                      <a:pt x="83" y="50"/>
                    </a:lnTo>
                    <a:lnTo>
                      <a:pt x="86" y="67"/>
                    </a:lnTo>
                    <a:lnTo>
                      <a:pt x="92" y="73"/>
                    </a:lnTo>
                    <a:lnTo>
                      <a:pt x="97" y="73"/>
                    </a:lnTo>
                    <a:lnTo>
                      <a:pt x="103" y="78"/>
                    </a:lnTo>
                    <a:lnTo>
                      <a:pt x="103" y="78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89" y="78"/>
                    </a:lnTo>
                    <a:lnTo>
                      <a:pt x="89" y="84"/>
                    </a:lnTo>
                    <a:lnTo>
                      <a:pt x="86" y="86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5"/>
                    </a:lnTo>
                    <a:lnTo>
                      <a:pt x="78" y="73"/>
                    </a:lnTo>
                    <a:lnTo>
                      <a:pt x="75" y="78"/>
                    </a:lnTo>
                    <a:lnTo>
                      <a:pt x="64" y="81"/>
                    </a:lnTo>
                    <a:lnTo>
                      <a:pt x="58" y="86"/>
                    </a:lnTo>
                    <a:lnTo>
                      <a:pt x="50" y="89"/>
                    </a:lnTo>
                    <a:lnTo>
                      <a:pt x="50" y="89"/>
                    </a:lnTo>
                    <a:lnTo>
                      <a:pt x="47" y="86"/>
                    </a:lnTo>
                    <a:lnTo>
                      <a:pt x="47" y="86"/>
                    </a:lnTo>
                    <a:lnTo>
                      <a:pt x="50" y="84"/>
                    </a:lnTo>
                    <a:lnTo>
                      <a:pt x="47" y="84"/>
                    </a:lnTo>
                    <a:lnTo>
                      <a:pt x="44" y="78"/>
                    </a:lnTo>
                    <a:lnTo>
                      <a:pt x="44" y="73"/>
                    </a:lnTo>
                    <a:lnTo>
                      <a:pt x="41" y="75"/>
                    </a:lnTo>
                    <a:lnTo>
                      <a:pt x="41" y="81"/>
                    </a:lnTo>
                    <a:lnTo>
                      <a:pt x="44" y="81"/>
                    </a:lnTo>
                    <a:lnTo>
                      <a:pt x="41" y="92"/>
                    </a:lnTo>
                    <a:lnTo>
                      <a:pt x="39" y="95"/>
                    </a:lnTo>
                    <a:lnTo>
                      <a:pt x="36" y="95"/>
                    </a:lnTo>
                    <a:lnTo>
                      <a:pt x="30" y="92"/>
                    </a:lnTo>
                    <a:lnTo>
                      <a:pt x="25" y="92"/>
                    </a:lnTo>
                    <a:lnTo>
                      <a:pt x="19" y="86"/>
                    </a:lnTo>
                    <a:lnTo>
                      <a:pt x="14" y="75"/>
                    </a:lnTo>
                    <a:lnTo>
                      <a:pt x="11" y="75"/>
                    </a:lnTo>
                    <a:lnTo>
                      <a:pt x="2" y="70"/>
                    </a:lnTo>
                    <a:lnTo>
                      <a:pt x="0" y="56"/>
                    </a:lnTo>
                    <a:lnTo>
                      <a:pt x="2" y="53"/>
                    </a:lnTo>
                    <a:lnTo>
                      <a:pt x="5" y="56"/>
                    </a:lnTo>
                    <a:lnTo>
                      <a:pt x="8" y="53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2" y="50"/>
                    </a:lnTo>
                    <a:lnTo>
                      <a:pt x="5" y="50"/>
                    </a:lnTo>
                    <a:lnTo>
                      <a:pt x="8" y="50"/>
                    </a:lnTo>
                    <a:lnTo>
                      <a:pt x="5" y="45"/>
                    </a:lnTo>
                    <a:lnTo>
                      <a:pt x="2" y="42"/>
                    </a:lnTo>
                    <a:lnTo>
                      <a:pt x="2" y="39"/>
                    </a:lnTo>
                    <a:lnTo>
                      <a:pt x="2" y="39"/>
                    </a:lnTo>
                    <a:lnTo>
                      <a:pt x="5" y="42"/>
                    </a:lnTo>
                    <a:lnTo>
                      <a:pt x="5" y="42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5" y="31"/>
                    </a:lnTo>
                    <a:lnTo>
                      <a:pt x="5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2"/>
                    </a:lnTo>
                    <a:lnTo>
                      <a:pt x="8" y="25"/>
                    </a:lnTo>
                    <a:lnTo>
                      <a:pt x="5" y="20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19" y="11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3"/>
                    </a:lnTo>
                    <a:lnTo>
                      <a:pt x="33" y="6"/>
                    </a:lnTo>
                    <a:lnTo>
                      <a:pt x="41" y="14"/>
                    </a:lnTo>
                    <a:lnTo>
                      <a:pt x="41" y="17"/>
                    </a:lnTo>
                    <a:lnTo>
                      <a:pt x="44" y="14"/>
                    </a:lnTo>
                    <a:lnTo>
                      <a:pt x="44" y="17"/>
                    </a:lnTo>
                    <a:lnTo>
                      <a:pt x="47" y="20"/>
                    </a:lnTo>
                    <a:lnTo>
                      <a:pt x="47" y="22"/>
                    </a:lnTo>
                    <a:lnTo>
                      <a:pt x="47" y="25"/>
                    </a:lnTo>
                    <a:lnTo>
                      <a:pt x="5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3" name="Freeform 506"/>
              <p:cNvSpPr>
                <a:spLocks noChangeAspect="1"/>
              </p:cNvSpPr>
              <p:nvPr>
                <p:custDataLst>
                  <p:tags r:id="rId651"/>
                </p:custDataLst>
              </p:nvPr>
            </p:nvSpPr>
            <p:spPr bwMode="gray">
              <a:xfrm>
                <a:off x="8087446" y="1732364"/>
                <a:ext cx="85034" cy="89874"/>
              </a:xfrm>
              <a:custGeom>
                <a:avLst/>
                <a:gdLst>
                  <a:gd name="T0" fmla="*/ 0 w 64"/>
                  <a:gd name="T1" fmla="*/ 0 h 69"/>
                  <a:gd name="T2" fmla="*/ 6 w 64"/>
                  <a:gd name="T3" fmla="*/ 3 h 69"/>
                  <a:gd name="T4" fmla="*/ 8 w 64"/>
                  <a:gd name="T5" fmla="*/ 8 h 69"/>
                  <a:gd name="T6" fmla="*/ 11 w 64"/>
                  <a:gd name="T7" fmla="*/ 11 h 69"/>
                  <a:gd name="T8" fmla="*/ 17 w 64"/>
                  <a:gd name="T9" fmla="*/ 16 h 69"/>
                  <a:gd name="T10" fmla="*/ 17 w 64"/>
                  <a:gd name="T11" fmla="*/ 16 h 69"/>
                  <a:gd name="T12" fmla="*/ 25 w 64"/>
                  <a:gd name="T13" fmla="*/ 19 h 69"/>
                  <a:gd name="T14" fmla="*/ 31 w 64"/>
                  <a:gd name="T15" fmla="*/ 16 h 69"/>
                  <a:gd name="T16" fmla="*/ 33 w 64"/>
                  <a:gd name="T17" fmla="*/ 14 h 69"/>
                  <a:gd name="T18" fmla="*/ 39 w 64"/>
                  <a:gd name="T19" fmla="*/ 16 h 69"/>
                  <a:gd name="T20" fmla="*/ 42 w 64"/>
                  <a:gd name="T21" fmla="*/ 25 h 69"/>
                  <a:gd name="T22" fmla="*/ 56 w 64"/>
                  <a:gd name="T23" fmla="*/ 33 h 69"/>
                  <a:gd name="T24" fmla="*/ 61 w 64"/>
                  <a:gd name="T25" fmla="*/ 39 h 69"/>
                  <a:gd name="T26" fmla="*/ 64 w 64"/>
                  <a:gd name="T27" fmla="*/ 39 h 69"/>
                  <a:gd name="T28" fmla="*/ 64 w 64"/>
                  <a:gd name="T29" fmla="*/ 39 h 69"/>
                  <a:gd name="T30" fmla="*/ 59 w 64"/>
                  <a:gd name="T31" fmla="*/ 39 h 69"/>
                  <a:gd name="T32" fmla="*/ 56 w 64"/>
                  <a:gd name="T33" fmla="*/ 41 h 69"/>
                  <a:gd name="T34" fmla="*/ 56 w 64"/>
                  <a:gd name="T35" fmla="*/ 41 h 69"/>
                  <a:gd name="T36" fmla="*/ 50 w 64"/>
                  <a:gd name="T37" fmla="*/ 44 h 69"/>
                  <a:gd name="T38" fmla="*/ 53 w 64"/>
                  <a:gd name="T39" fmla="*/ 44 h 69"/>
                  <a:gd name="T40" fmla="*/ 53 w 64"/>
                  <a:gd name="T41" fmla="*/ 50 h 69"/>
                  <a:gd name="T42" fmla="*/ 53 w 64"/>
                  <a:gd name="T43" fmla="*/ 53 h 69"/>
                  <a:gd name="T44" fmla="*/ 53 w 64"/>
                  <a:gd name="T45" fmla="*/ 55 h 69"/>
                  <a:gd name="T46" fmla="*/ 50 w 64"/>
                  <a:gd name="T47" fmla="*/ 61 h 69"/>
                  <a:gd name="T48" fmla="*/ 47 w 64"/>
                  <a:gd name="T49" fmla="*/ 64 h 69"/>
                  <a:gd name="T50" fmla="*/ 47 w 64"/>
                  <a:gd name="T51" fmla="*/ 64 h 69"/>
                  <a:gd name="T52" fmla="*/ 39 w 64"/>
                  <a:gd name="T53" fmla="*/ 69 h 69"/>
                  <a:gd name="T54" fmla="*/ 36 w 64"/>
                  <a:gd name="T55" fmla="*/ 67 h 69"/>
                  <a:gd name="T56" fmla="*/ 25 w 64"/>
                  <a:gd name="T57" fmla="*/ 67 h 69"/>
                  <a:gd name="T58" fmla="*/ 22 w 64"/>
                  <a:gd name="T59" fmla="*/ 61 h 69"/>
                  <a:gd name="T60" fmla="*/ 14 w 64"/>
                  <a:gd name="T61" fmla="*/ 44 h 69"/>
                  <a:gd name="T62" fmla="*/ 20 w 64"/>
                  <a:gd name="T63" fmla="*/ 22 h 69"/>
                  <a:gd name="T64" fmla="*/ 17 w 64"/>
                  <a:gd name="T65" fmla="*/ 22 h 69"/>
                  <a:gd name="T66" fmla="*/ 17 w 64"/>
                  <a:gd name="T67" fmla="*/ 19 h 69"/>
                  <a:gd name="T68" fmla="*/ 0 w 64"/>
                  <a:gd name="T69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4" h="69">
                    <a:moveTo>
                      <a:pt x="0" y="0"/>
                    </a:moveTo>
                    <a:lnTo>
                      <a:pt x="6" y="3"/>
                    </a:lnTo>
                    <a:lnTo>
                      <a:pt x="8" y="8"/>
                    </a:lnTo>
                    <a:lnTo>
                      <a:pt x="11" y="11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25" y="19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9" y="16"/>
                    </a:lnTo>
                    <a:lnTo>
                      <a:pt x="42" y="25"/>
                    </a:lnTo>
                    <a:lnTo>
                      <a:pt x="56" y="33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59" y="39"/>
                    </a:lnTo>
                    <a:lnTo>
                      <a:pt x="56" y="41"/>
                    </a:lnTo>
                    <a:lnTo>
                      <a:pt x="56" y="41"/>
                    </a:lnTo>
                    <a:lnTo>
                      <a:pt x="50" y="44"/>
                    </a:lnTo>
                    <a:lnTo>
                      <a:pt x="53" y="44"/>
                    </a:lnTo>
                    <a:lnTo>
                      <a:pt x="53" y="50"/>
                    </a:lnTo>
                    <a:lnTo>
                      <a:pt x="53" y="53"/>
                    </a:lnTo>
                    <a:lnTo>
                      <a:pt x="53" y="55"/>
                    </a:lnTo>
                    <a:lnTo>
                      <a:pt x="50" y="61"/>
                    </a:lnTo>
                    <a:lnTo>
                      <a:pt x="47" y="64"/>
                    </a:lnTo>
                    <a:lnTo>
                      <a:pt x="47" y="64"/>
                    </a:lnTo>
                    <a:lnTo>
                      <a:pt x="39" y="69"/>
                    </a:lnTo>
                    <a:lnTo>
                      <a:pt x="36" y="67"/>
                    </a:lnTo>
                    <a:lnTo>
                      <a:pt x="25" y="67"/>
                    </a:lnTo>
                    <a:lnTo>
                      <a:pt x="22" y="61"/>
                    </a:lnTo>
                    <a:lnTo>
                      <a:pt x="14" y="44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7" y="1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4" name="Freeform 507"/>
              <p:cNvSpPr>
                <a:spLocks noChangeAspect="1"/>
              </p:cNvSpPr>
              <p:nvPr>
                <p:custDataLst>
                  <p:tags r:id="rId652"/>
                </p:custDataLst>
              </p:nvPr>
            </p:nvSpPr>
            <p:spPr bwMode="gray">
              <a:xfrm>
                <a:off x="8087446" y="1732364"/>
                <a:ext cx="85034" cy="89874"/>
              </a:xfrm>
              <a:custGeom>
                <a:avLst/>
                <a:gdLst>
                  <a:gd name="T0" fmla="*/ 0 w 64"/>
                  <a:gd name="T1" fmla="*/ 0 h 69"/>
                  <a:gd name="T2" fmla="*/ 6 w 64"/>
                  <a:gd name="T3" fmla="*/ 3 h 69"/>
                  <a:gd name="T4" fmla="*/ 8 w 64"/>
                  <a:gd name="T5" fmla="*/ 8 h 69"/>
                  <a:gd name="T6" fmla="*/ 11 w 64"/>
                  <a:gd name="T7" fmla="*/ 11 h 69"/>
                  <a:gd name="T8" fmla="*/ 17 w 64"/>
                  <a:gd name="T9" fmla="*/ 16 h 69"/>
                  <a:gd name="T10" fmla="*/ 17 w 64"/>
                  <a:gd name="T11" fmla="*/ 16 h 69"/>
                  <a:gd name="T12" fmla="*/ 25 w 64"/>
                  <a:gd name="T13" fmla="*/ 19 h 69"/>
                  <a:gd name="T14" fmla="*/ 31 w 64"/>
                  <a:gd name="T15" fmla="*/ 16 h 69"/>
                  <a:gd name="T16" fmla="*/ 33 w 64"/>
                  <a:gd name="T17" fmla="*/ 14 h 69"/>
                  <a:gd name="T18" fmla="*/ 39 w 64"/>
                  <a:gd name="T19" fmla="*/ 16 h 69"/>
                  <a:gd name="T20" fmla="*/ 42 w 64"/>
                  <a:gd name="T21" fmla="*/ 25 h 69"/>
                  <a:gd name="T22" fmla="*/ 56 w 64"/>
                  <a:gd name="T23" fmla="*/ 33 h 69"/>
                  <a:gd name="T24" fmla="*/ 61 w 64"/>
                  <a:gd name="T25" fmla="*/ 39 h 69"/>
                  <a:gd name="T26" fmla="*/ 64 w 64"/>
                  <a:gd name="T27" fmla="*/ 39 h 69"/>
                  <a:gd name="T28" fmla="*/ 64 w 64"/>
                  <a:gd name="T29" fmla="*/ 39 h 69"/>
                  <a:gd name="T30" fmla="*/ 59 w 64"/>
                  <a:gd name="T31" fmla="*/ 39 h 69"/>
                  <a:gd name="T32" fmla="*/ 56 w 64"/>
                  <a:gd name="T33" fmla="*/ 41 h 69"/>
                  <a:gd name="T34" fmla="*/ 56 w 64"/>
                  <a:gd name="T35" fmla="*/ 41 h 69"/>
                  <a:gd name="T36" fmla="*/ 50 w 64"/>
                  <a:gd name="T37" fmla="*/ 44 h 69"/>
                  <a:gd name="T38" fmla="*/ 53 w 64"/>
                  <a:gd name="T39" fmla="*/ 44 h 69"/>
                  <a:gd name="T40" fmla="*/ 53 w 64"/>
                  <a:gd name="T41" fmla="*/ 50 h 69"/>
                  <a:gd name="T42" fmla="*/ 53 w 64"/>
                  <a:gd name="T43" fmla="*/ 53 h 69"/>
                  <a:gd name="T44" fmla="*/ 53 w 64"/>
                  <a:gd name="T45" fmla="*/ 55 h 69"/>
                  <a:gd name="T46" fmla="*/ 50 w 64"/>
                  <a:gd name="T47" fmla="*/ 61 h 69"/>
                  <a:gd name="T48" fmla="*/ 47 w 64"/>
                  <a:gd name="T49" fmla="*/ 64 h 69"/>
                  <a:gd name="T50" fmla="*/ 47 w 64"/>
                  <a:gd name="T51" fmla="*/ 64 h 69"/>
                  <a:gd name="T52" fmla="*/ 39 w 64"/>
                  <a:gd name="T53" fmla="*/ 69 h 69"/>
                  <a:gd name="T54" fmla="*/ 36 w 64"/>
                  <a:gd name="T55" fmla="*/ 67 h 69"/>
                  <a:gd name="T56" fmla="*/ 25 w 64"/>
                  <a:gd name="T57" fmla="*/ 67 h 69"/>
                  <a:gd name="T58" fmla="*/ 22 w 64"/>
                  <a:gd name="T59" fmla="*/ 61 h 69"/>
                  <a:gd name="T60" fmla="*/ 14 w 64"/>
                  <a:gd name="T61" fmla="*/ 44 h 69"/>
                  <a:gd name="T62" fmla="*/ 20 w 64"/>
                  <a:gd name="T63" fmla="*/ 22 h 69"/>
                  <a:gd name="T64" fmla="*/ 17 w 64"/>
                  <a:gd name="T65" fmla="*/ 22 h 69"/>
                  <a:gd name="T66" fmla="*/ 17 w 64"/>
                  <a:gd name="T67" fmla="*/ 19 h 69"/>
                  <a:gd name="T68" fmla="*/ 0 w 64"/>
                  <a:gd name="T69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4" h="69">
                    <a:moveTo>
                      <a:pt x="0" y="0"/>
                    </a:moveTo>
                    <a:lnTo>
                      <a:pt x="6" y="3"/>
                    </a:lnTo>
                    <a:lnTo>
                      <a:pt x="8" y="8"/>
                    </a:lnTo>
                    <a:lnTo>
                      <a:pt x="11" y="11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25" y="19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9" y="16"/>
                    </a:lnTo>
                    <a:lnTo>
                      <a:pt x="42" y="25"/>
                    </a:lnTo>
                    <a:lnTo>
                      <a:pt x="56" y="33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4" y="39"/>
                    </a:lnTo>
                    <a:lnTo>
                      <a:pt x="59" y="39"/>
                    </a:lnTo>
                    <a:lnTo>
                      <a:pt x="56" y="41"/>
                    </a:lnTo>
                    <a:lnTo>
                      <a:pt x="56" y="41"/>
                    </a:lnTo>
                    <a:lnTo>
                      <a:pt x="50" y="44"/>
                    </a:lnTo>
                    <a:lnTo>
                      <a:pt x="53" y="44"/>
                    </a:lnTo>
                    <a:lnTo>
                      <a:pt x="53" y="50"/>
                    </a:lnTo>
                    <a:lnTo>
                      <a:pt x="53" y="53"/>
                    </a:lnTo>
                    <a:lnTo>
                      <a:pt x="53" y="55"/>
                    </a:lnTo>
                    <a:lnTo>
                      <a:pt x="50" y="61"/>
                    </a:lnTo>
                    <a:lnTo>
                      <a:pt x="47" y="64"/>
                    </a:lnTo>
                    <a:lnTo>
                      <a:pt x="47" y="64"/>
                    </a:lnTo>
                    <a:lnTo>
                      <a:pt x="39" y="69"/>
                    </a:lnTo>
                    <a:lnTo>
                      <a:pt x="36" y="67"/>
                    </a:lnTo>
                    <a:lnTo>
                      <a:pt x="25" y="67"/>
                    </a:lnTo>
                    <a:lnTo>
                      <a:pt x="22" y="61"/>
                    </a:lnTo>
                    <a:lnTo>
                      <a:pt x="14" y="44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7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5" name="Freeform 508"/>
              <p:cNvSpPr>
                <a:spLocks noChangeAspect="1"/>
              </p:cNvSpPr>
              <p:nvPr>
                <p:custDataLst>
                  <p:tags r:id="rId653"/>
                </p:custDataLst>
              </p:nvPr>
            </p:nvSpPr>
            <p:spPr bwMode="gray">
              <a:xfrm>
                <a:off x="8186146" y="1779667"/>
                <a:ext cx="101737" cy="64647"/>
              </a:xfrm>
              <a:custGeom>
                <a:avLst/>
                <a:gdLst>
                  <a:gd name="T0" fmla="*/ 3 w 78"/>
                  <a:gd name="T1" fmla="*/ 0 h 50"/>
                  <a:gd name="T2" fmla="*/ 3 w 78"/>
                  <a:gd name="T3" fmla="*/ 3 h 50"/>
                  <a:gd name="T4" fmla="*/ 6 w 78"/>
                  <a:gd name="T5" fmla="*/ 3 h 50"/>
                  <a:gd name="T6" fmla="*/ 9 w 78"/>
                  <a:gd name="T7" fmla="*/ 5 h 50"/>
                  <a:gd name="T8" fmla="*/ 9 w 78"/>
                  <a:gd name="T9" fmla="*/ 8 h 50"/>
                  <a:gd name="T10" fmla="*/ 17 w 78"/>
                  <a:gd name="T11" fmla="*/ 11 h 50"/>
                  <a:gd name="T12" fmla="*/ 20 w 78"/>
                  <a:gd name="T13" fmla="*/ 11 h 50"/>
                  <a:gd name="T14" fmla="*/ 22 w 78"/>
                  <a:gd name="T15" fmla="*/ 8 h 50"/>
                  <a:gd name="T16" fmla="*/ 36 w 78"/>
                  <a:gd name="T17" fmla="*/ 11 h 50"/>
                  <a:gd name="T18" fmla="*/ 39 w 78"/>
                  <a:gd name="T19" fmla="*/ 14 h 50"/>
                  <a:gd name="T20" fmla="*/ 36 w 78"/>
                  <a:gd name="T21" fmla="*/ 14 h 50"/>
                  <a:gd name="T22" fmla="*/ 36 w 78"/>
                  <a:gd name="T23" fmla="*/ 17 h 50"/>
                  <a:gd name="T24" fmla="*/ 34 w 78"/>
                  <a:gd name="T25" fmla="*/ 19 h 50"/>
                  <a:gd name="T26" fmla="*/ 45 w 78"/>
                  <a:gd name="T27" fmla="*/ 19 h 50"/>
                  <a:gd name="T28" fmla="*/ 48 w 78"/>
                  <a:gd name="T29" fmla="*/ 17 h 50"/>
                  <a:gd name="T30" fmla="*/ 50 w 78"/>
                  <a:gd name="T31" fmla="*/ 17 h 50"/>
                  <a:gd name="T32" fmla="*/ 53 w 78"/>
                  <a:gd name="T33" fmla="*/ 19 h 50"/>
                  <a:gd name="T34" fmla="*/ 56 w 78"/>
                  <a:gd name="T35" fmla="*/ 22 h 50"/>
                  <a:gd name="T36" fmla="*/ 59 w 78"/>
                  <a:gd name="T37" fmla="*/ 22 h 50"/>
                  <a:gd name="T38" fmla="*/ 64 w 78"/>
                  <a:gd name="T39" fmla="*/ 22 h 50"/>
                  <a:gd name="T40" fmla="*/ 64 w 78"/>
                  <a:gd name="T41" fmla="*/ 25 h 50"/>
                  <a:gd name="T42" fmla="*/ 78 w 78"/>
                  <a:gd name="T43" fmla="*/ 28 h 50"/>
                  <a:gd name="T44" fmla="*/ 75 w 78"/>
                  <a:gd name="T45" fmla="*/ 31 h 50"/>
                  <a:gd name="T46" fmla="*/ 75 w 78"/>
                  <a:gd name="T47" fmla="*/ 39 h 50"/>
                  <a:gd name="T48" fmla="*/ 70 w 78"/>
                  <a:gd name="T49" fmla="*/ 44 h 50"/>
                  <a:gd name="T50" fmla="*/ 61 w 78"/>
                  <a:gd name="T51" fmla="*/ 50 h 50"/>
                  <a:gd name="T52" fmla="*/ 59 w 78"/>
                  <a:gd name="T53" fmla="*/ 50 h 50"/>
                  <a:gd name="T54" fmla="*/ 56 w 78"/>
                  <a:gd name="T55" fmla="*/ 50 h 50"/>
                  <a:gd name="T56" fmla="*/ 53 w 78"/>
                  <a:gd name="T57" fmla="*/ 50 h 50"/>
                  <a:gd name="T58" fmla="*/ 53 w 78"/>
                  <a:gd name="T59" fmla="*/ 50 h 50"/>
                  <a:gd name="T60" fmla="*/ 50 w 78"/>
                  <a:gd name="T61" fmla="*/ 47 h 50"/>
                  <a:gd name="T62" fmla="*/ 50 w 78"/>
                  <a:gd name="T63" fmla="*/ 50 h 50"/>
                  <a:gd name="T64" fmla="*/ 48 w 78"/>
                  <a:gd name="T65" fmla="*/ 50 h 50"/>
                  <a:gd name="T66" fmla="*/ 42 w 78"/>
                  <a:gd name="T67" fmla="*/ 47 h 50"/>
                  <a:gd name="T68" fmla="*/ 39 w 78"/>
                  <a:gd name="T69" fmla="*/ 44 h 50"/>
                  <a:gd name="T70" fmla="*/ 34 w 78"/>
                  <a:gd name="T71" fmla="*/ 44 h 50"/>
                  <a:gd name="T72" fmla="*/ 31 w 78"/>
                  <a:gd name="T73" fmla="*/ 44 h 50"/>
                  <a:gd name="T74" fmla="*/ 28 w 78"/>
                  <a:gd name="T75" fmla="*/ 39 h 50"/>
                  <a:gd name="T76" fmla="*/ 25 w 78"/>
                  <a:gd name="T77" fmla="*/ 39 h 50"/>
                  <a:gd name="T78" fmla="*/ 22 w 78"/>
                  <a:gd name="T79" fmla="*/ 36 h 50"/>
                  <a:gd name="T80" fmla="*/ 17 w 78"/>
                  <a:gd name="T81" fmla="*/ 33 h 50"/>
                  <a:gd name="T82" fmla="*/ 14 w 78"/>
                  <a:gd name="T83" fmla="*/ 31 h 50"/>
                  <a:gd name="T84" fmla="*/ 14 w 78"/>
                  <a:gd name="T85" fmla="*/ 22 h 50"/>
                  <a:gd name="T86" fmla="*/ 11 w 78"/>
                  <a:gd name="T87" fmla="*/ 19 h 50"/>
                  <a:gd name="T88" fmla="*/ 9 w 78"/>
                  <a:gd name="T89" fmla="*/ 14 h 50"/>
                  <a:gd name="T90" fmla="*/ 3 w 78"/>
                  <a:gd name="T91" fmla="*/ 5 h 50"/>
                  <a:gd name="T92" fmla="*/ 0 w 78"/>
                  <a:gd name="T93" fmla="*/ 0 h 50"/>
                  <a:gd name="T94" fmla="*/ 3 w 78"/>
                  <a:gd name="T9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8" h="50">
                    <a:moveTo>
                      <a:pt x="3" y="0"/>
                    </a:moveTo>
                    <a:lnTo>
                      <a:pt x="3" y="3"/>
                    </a:lnTo>
                    <a:lnTo>
                      <a:pt x="6" y="3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17" y="11"/>
                    </a:lnTo>
                    <a:lnTo>
                      <a:pt x="20" y="11"/>
                    </a:lnTo>
                    <a:lnTo>
                      <a:pt x="22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6" y="17"/>
                    </a:lnTo>
                    <a:lnTo>
                      <a:pt x="34" y="19"/>
                    </a:lnTo>
                    <a:lnTo>
                      <a:pt x="45" y="19"/>
                    </a:lnTo>
                    <a:lnTo>
                      <a:pt x="48" y="17"/>
                    </a:lnTo>
                    <a:lnTo>
                      <a:pt x="50" y="17"/>
                    </a:lnTo>
                    <a:lnTo>
                      <a:pt x="53" y="19"/>
                    </a:lnTo>
                    <a:lnTo>
                      <a:pt x="56" y="22"/>
                    </a:lnTo>
                    <a:lnTo>
                      <a:pt x="59" y="22"/>
                    </a:lnTo>
                    <a:lnTo>
                      <a:pt x="64" y="22"/>
                    </a:lnTo>
                    <a:lnTo>
                      <a:pt x="64" y="25"/>
                    </a:lnTo>
                    <a:lnTo>
                      <a:pt x="78" y="28"/>
                    </a:lnTo>
                    <a:lnTo>
                      <a:pt x="75" y="31"/>
                    </a:lnTo>
                    <a:lnTo>
                      <a:pt x="75" y="39"/>
                    </a:lnTo>
                    <a:lnTo>
                      <a:pt x="70" y="44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6" y="50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50" y="47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2" y="47"/>
                    </a:lnTo>
                    <a:lnTo>
                      <a:pt x="39" y="44"/>
                    </a:lnTo>
                    <a:lnTo>
                      <a:pt x="34" y="44"/>
                    </a:lnTo>
                    <a:lnTo>
                      <a:pt x="31" y="44"/>
                    </a:lnTo>
                    <a:lnTo>
                      <a:pt x="28" y="39"/>
                    </a:lnTo>
                    <a:lnTo>
                      <a:pt x="25" y="39"/>
                    </a:lnTo>
                    <a:lnTo>
                      <a:pt x="22" y="36"/>
                    </a:lnTo>
                    <a:lnTo>
                      <a:pt x="17" y="33"/>
                    </a:lnTo>
                    <a:lnTo>
                      <a:pt x="14" y="31"/>
                    </a:lnTo>
                    <a:lnTo>
                      <a:pt x="14" y="22"/>
                    </a:lnTo>
                    <a:lnTo>
                      <a:pt x="11" y="19"/>
                    </a:lnTo>
                    <a:lnTo>
                      <a:pt x="9" y="14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6" name="Freeform 509"/>
              <p:cNvSpPr>
                <a:spLocks noChangeAspect="1"/>
              </p:cNvSpPr>
              <p:nvPr>
                <p:custDataLst>
                  <p:tags r:id="rId654"/>
                </p:custDataLst>
              </p:nvPr>
            </p:nvSpPr>
            <p:spPr bwMode="gray">
              <a:xfrm>
                <a:off x="8186146" y="1779667"/>
                <a:ext cx="101737" cy="64647"/>
              </a:xfrm>
              <a:custGeom>
                <a:avLst/>
                <a:gdLst>
                  <a:gd name="T0" fmla="*/ 3 w 78"/>
                  <a:gd name="T1" fmla="*/ 0 h 50"/>
                  <a:gd name="T2" fmla="*/ 3 w 78"/>
                  <a:gd name="T3" fmla="*/ 3 h 50"/>
                  <a:gd name="T4" fmla="*/ 6 w 78"/>
                  <a:gd name="T5" fmla="*/ 3 h 50"/>
                  <a:gd name="T6" fmla="*/ 9 w 78"/>
                  <a:gd name="T7" fmla="*/ 5 h 50"/>
                  <a:gd name="T8" fmla="*/ 9 w 78"/>
                  <a:gd name="T9" fmla="*/ 8 h 50"/>
                  <a:gd name="T10" fmla="*/ 17 w 78"/>
                  <a:gd name="T11" fmla="*/ 11 h 50"/>
                  <a:gd name="T12" fmla="*/ 20 w 78"/>
                  <a:gd name="T13" fmla="*/ 11 h 50"/>
                  <a:gd name="T14" fmla="*/ 22 w 78"/>
                  <a:gd name="T15" fmla="*/ 8 h 50"/>
                  <a:gd name="T16" fmla="*/ 36 w 78"/>
                  <a:gd name="T17" fmla="*/ 11 h 50"/>
                  <a:gd name="T18" fmla="*/ 39 w 78"/>
                  <a:gd name="T19" fmla="*/ 14 h 50"/>
                  <a:gd name="T20" fmla="*/ 36 w 78"/>
                  <a:gd name="T21" fmla="*/ 14 h 50"/>
                  <a:gd name="T22" fmla="*/ 36 w 78"/>
                  <a:gd name="T23" fmla="*/ 17 h 50"/>
                  <a:gd name="T24" fmla="*/ 34 w 78"/>
                  <a:gd name="T25" fmla="*/ 19 h 50"/>
                  <a:gd name="T26" fmla="*/ 45 w 78"/>
                  <a:gd name="T27" fmla="*/ 19 h 50"/>
                  <a:gd name="T28" fmla="*/ 48 w 78"/>
                  <a:gd name="T29" fmla="*/ 17 h 50"/>
                  <a:gd name="T30" fmla="*/ 50 w 78"/>
                  <a:gd name="T31" fmla="*/ 17 h 50"/>
                  <a:gd name="T32" fmla="*/ 53 w 78"/>
                  <a:gd name="T33" fmla="*/ 19 h 50"/>
                  <a:gd name="T34" fmla="*/ 56 w 78"/>
                  <a:gd name="T35" fmla="*/ 22 h 50"/>
                  <a:gd name="T36" fmla="*/ 59 w 78"/>
                  <a:gd name="T37" fmla="*/ 22 h 50"/>
                  <a:gd name="T38" fmla="*/ 64 w 78"/>
                  <a:gd name="T39" fmla="*/ 22 h 50"/>
                  <a:gd name="T40" fmla="*/ 64 w 78"/>
                  <a:gd name="T41" fmla="*/ 25 h 50"/>
                  <a:gd name="T42" fmla="*/ 78 w 78"/>
                  <a:gd name="T43" fmla="*/ 28 h 50"/>
                  <a:gd name="T44" fmla="*/ 75 w 78"/>
                  <a:gd name="T45" fmla="*/ 31 h 50"/>
                  <a:gd name="T46" fmla="*/ 75 w 78"/>
                  <a:gd name="T47" fmla="*/ 39 h 50"/>
                  <a:gd name="T48" fmla="*/ 70 w 78"/>
                  <a:gd name="T49" fmla="*/ 44 h 50"/>
                  <a:gd name="T50" fmla="*/ 61 w 78"/>
                  <a:gd name="T51" fmla="*/ 50 h 50"/>
                  <a:gd name="T52" fmla="*/ 59 w 78"/>
                  <a:gd name="T53" fmla="*/ 50 h 50"/>
                  <a:gd name="T54" fmla="*/ 56 w 78"/>
                  <a:gd name="T55" fmla="*/ 50 h 50"/>
                  <a:gd name="T56" fmla="*/ 53 w 78"/>
                  <a:gd name="T57" fmla="*/ 50 h 50"/>
                  <a:gd name="T58" fmla="*/ 53 w 78"/>
                  <a:gd name="T59" fmla="*/ 50 h 50"/>
                  <a:gd name="T60" fmla="*/ 50 w 78"/>
                  <a:gd name="T61" fmla="*/ 47 h 50"/>
                  <a:gd name="T62" fmla="*/ 50 w 78"/>
                  <a:gd name="T63" fmla="*/ 50 h 50"/>
                  <a:gd name="T64" fmla="*/ 48 w 78"/>
                  <a:gd name="T65" fmla="*/ 50 h 50"/>
                  <a:gd name="T66" fmla="*/ 42 w 78"/>
                  <a:gd name="T67" fmla="*/ 47 h 50"/>
                  <a:gd name="T68" fmla="*/ 39 w 78"/>
                  <a:gd name="T69" fmla="*/ 44 h 50"/>
                  <a:gd name="T70" fmla="*/ 34 w 78"/>
                  <a:gd name="T71" fmla="*/ 44 h 50"/>
                  <a:gd name="T72" fmla="*/ 31 w 78"/>
                  <a:gd name="T73" fmla="*/ 44 h 50"/>
                  <a:gd name="T74" fmla="*/ 28 w 78"/>
                  <a:gd name="T75" fmla="*/ 39 h 50"/>
                  <a:gd name="T76" fmla="*/ 25 w 78"/>
                  <a:gd name="T77" fmla="*/ 39 h 50"/>
                  <a:gd name="T78" fmla="*/ 22 w 78"/>
                  <a:gd name="T79" fmla="*/ 36 h 50"/>
                  <a:gd name="T80" fmla="*/ 17 w 78"/>
                  <a:gd name="T81" fmla="*/ 33 h 50"/>
                  <a:gd name="T82" fmla="*/ 14 w 78"/>
                  <a:gd name="T83" fmla="*/ 31 h 50"/>
                  <a:gd name="T84" fmla="*/ 14 w 78"/>
                  <a:gd name="T85" fmla="*/ 22 h 50"/>
                  <a:gd name="T86" fmla="*/ 11 w 78"/>
                  <a:gd name="T87" fmla="*/ 19 h 50"/>
                  <a:gd name="T88" fmla="*/ 9 w 78"/>
                  <a:gd name="T89" fmla="*/ 14 h 50"/>
                  <a:gd name="T90" fmla="*/ 3 w 78"/>
                  <a:gd name="T91" fmla="*/ 5 h 50"/>
                  <a:gd name="T92" fmla="*/ 0 w 78"/>
                  <a:gd name="T93" fmla="*/ 0 h 50"/>
                  <a:gd name="T94" fmla="*/ 3 w 78"/>
                  <a:gd name="T9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8" h="50">
                    <a:moveTo>
                      <a:pt x="3" y="0"/>
                    </a:moveTo>
                    <a:lnTo>
                      <a:pt x="3" y="3"/>
                    </a:lnTo>
                    <a:lnTo>
                      <a:pt x="6" y="3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17" y="11"/>
                    </a:lnTo>
                    <a:lnTo>
                      <a:pt x="20" y="11"/>
                    </a:lnTo>
                    <a:lnTo>
                      <a:pt x="22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6" y="17"/>
                    </a:lnTo>
                    <a:lnTo>
                      <a:pt x="34" y="19"/>
                    </a:lnTo>
                    <a:lnTo>
                      <a:pt x="45" y="19"/>
                    </a:lnTo>
                    <a:lnTo>
                      <a:pt x="48" y="17"/>
                    </a:lnTo>
                    <a:lnTo>
                      <a:pt x="50" y="17"/>
                    </a:lnTo>
                    <a:lnTo>
                      <a:pt x="53" y="19"/>
                    </a:lnTo>
                    <a:lnTo>
                      <a:pt x="56" y="22"/>
                    </a:lnTo>
                    <a:lnTo>
                      <a:pt x="59" y="22"/>
                    </a:lnTo>
                    <a:lnTo>
                      <a:pt x="64" y="22"/>
                    </a:lnTo>
                    <a:lnTo>
                      <a:pt x="64" y="25"/>
                    </a:lnTo>
                    <a:lnTo>
                      <a:pt x="78" y="28"/>
                    </a:lnTo>
                    <a:lnTo>
                      <a:pt x="75" y="31"/>
                    </a:lnTo>
                    <a:lnTo>
                      <a:pt x="75" y="39"/>
                    </a:lnTo>
                    <a:lnTo>
                      <a:pt x="70" y="44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6" y="50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50" y="47"/>
                    </a:lnTo>
                    <a:lnTo>
                      <a:pt x="50" y="50"/>
                    </a:lnTo>
                    <a:lnTo>
                      <a:pt x="48" y="50"/>
                    </a:lnTo>
                    <a:lnTo>
                      <a:pt x="42" y="47"/>
                    </a:lnTo>
                    <a:lnTo>
                      <a:pt x="39" y="44"/>
                    </a:lnTo>
                    <a:lnTo>
                      <a:pt x="34" y="44"/>
                    </a:lnTo>
                    <a:lnTo>
                      <a:pt x="31" y="44"/>
                    </a:lnTo>
                    <a:lnTo>
                      <a:pt x="28" y="39"/>
                    </a:lnTo>
                    <a:lnTo>
                      <a:pt x="25" y="39"/>
                    </a:lnTo>
                    <a:lnTo>
                      <a:pt x="22" y="36"/>
                    </a:lnTo>
                    <a:lnTo>
                      <a:pt x="17" y="33"/>
                    </a:lnTo>
                    <a:lnTo>
                      <a:pt x="14" y="31"/>
                    </a:lnTo>
                    <a:lnTo>
                      <a:pt x="14" y="22"/>
                    </a:lnTo>
                    <a:lnTo>
                      <a:pt x="11" y="19"/>
                    </a:lnTo>
                    <a:lnTo>
                      <a:pt x="9" y="14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7" name="Freeform 510"/>
              <p:cNvSpPr>
                <a:spLocks noChangeAspect="1"/>
              </p:cNvSpPr>
              <p:nvPr>
                <p:custDataLst>
                  <p:tags r:id="rId655"/>
                </p:custDataLst>
              </p:nvPr>
            </p:nvSpPr>
            <p:spPr bwMode="gray">
              <a:xfrm>
                <a:off x="8063151" y="1875848"/>
                <a:ext cx="18222" cy="31534"/>
              </a:xfrm>
              <a:custGeom>
                <a:avLst/>
                <a:gdLst>
                  <a:gd name="T0" fmla="*/ 13 w 13"/>
                  <a:gd name="T1" fmla="*/ 8 h 25"/>
                  <a:gd name="T2" fmla="*/ 13 w 13"/>
                  <a:gd name="T3" fmla="*/ 6 h 25"/>
                  <a:gd name="T4" fmla="*/ 11 w 13"/>
                  <a:gd name="T5" fmla="*/ 3 h 25"/>
                  <a:gd name="T6" fmla="*/ 5 w 13"/>
                  <a:gd name="T7" fmla="*/ 0 h 25"/>
                  <a:gd name="T8" fmla="*/ 2 w 13"/>
                  <a:gd name="T9" fmla="*/ 3 h 25"/>
                  <a:gd name="T10" fmla="*/ 0 w 13"/>
                  <a:gd name="T11" fmla="*/ 6 h 25"/>
                  <a:gd name="T12" fmla="*/ 0 w 13"/>
                  <a:gd name="T13" fmla="*/ 20 h 25"/>
                  <a:gd name="T14" fmla="*/ 5 w 13"/>
                  <a:gd name="T15" fmla="*/ 25 h 25"/>
                  <a:gd name="T16" fmla="*/ 8 w 13"/>
                  <a:gd name="T17" fmla="*/ 25 h 25"/>
                  <a:gd name="T18" fmla="*/ 5 w 13"/>
                  <a:gd name="T19" fmla="*/ 22 h 25"/>
                  <a:gd name="T20" fmla="*/ 5 w 13"/>
                  <a:gd name="T21" fmla="*/ 20 h 25"/>
                  <a:gd name="T22" fmla="*/ 8 w 13"/>
                  <a:gd name="T23" fmla="*/ 20 h 25"/>
                  <a:gd name="T24" fmla="*/ 8 w 13"/>
                  <a:gd name="T25" fmla="*/ 20 h 25"/>
                  <a:gd name="T26" fmla="*/ 11 w 13"/>
                  <a:gd name="T27" fmla="*/ 17 h 25"/>
                  <a:gd name="T28" fmla="*/ 13 w 13"/>
                  <a:gd name="T29" fmla="*/ 14 h 25"/>
                  <a:gd name="T30" fmla="*/ 13 w 13"/>
                  <a:gd name="T31" fmla="*/ 14 h 25"/>
                  <a:gd name="T32" fmla="*/ 13 w 13"/>
                  <a:gd name="T33" fmla="*/ 11 h 25"/>
                  <a:gd name="T34" fmla="*/ 13 w 13"/>
                  <a:gd name="T35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25">
                    <a:moveTo>
                      <a:pt x="13" y="8"/>
                    </a:moveTo>
                    <a:lnTo>
                      <a:pt x="13" y="6"/>
                    </a:lnTo>
                    <a:lnTo>
                      <a:pt x="11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20"/>
                    </a:lnTo>
                    <a:lnTo>
                      <a:pt x="5" y="25"/>
                    </a:lnTo>
                    <a:lnTo>
                      <a:pt x="8" y="25"/>
                    </a:lnTo>
                    <a:lnTo>
                      <a:pt x="5" y="22"/>
                    </a:lnTo>
                    <a:lnTo>
                      <a:pt x="5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1" y="17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1"/>
                    </a:lnTo>
                    <a:lnTo>
                      <a:pt x="13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8" name="Freeform 511"/>
              <p:cNvSpPr>
                <a:spLocks noChangeAspect="1"/>
              </p:cNvSpPr>
              <p:nvPr>
                <p:custDataLst>
                  <p:tags r:id="rId656"/>
                </p:custDataLst>
              </p:nvPr>
            </p:nvSpPr>
            <p:spPr bwMode="gray">
              <a:xfrm>
                <a:off x="8063151" y="1875848"/>
                <a:ext cx="18222" cy="31534"/>
              </a:xfrm>
              <a:custGeom>
                <a:avLst/>
                <a:gdLst>
                  <a:gd name="T0" fmla="*/ 13 w 13"/>
                  <a:gd name="T1" fmla="*/ 8 h 25"/>
                  <a:gd name="T2" fmla="*/ 13 w 13"/>
                  <a:gd name="T3" fmla="*/ 6 h 25"/>
                  <a:gd name="T4" fmla="*/ 11 w 13"/>
                  <a:gd name="T5" fmla="*/ 3 h 25"/>
                  <a:gd name="T6" fmla="*/ 5 w 13"/>
                  <a:gd name="T7" fmla="*/ 0 h 25"/>
                  <a:gd name="T8" fmla="*/ 2 w 13"/>
                  <a:gd name="T9" fmla="*/ 3 h 25"/>
                  <a:gd name="T10" fmla="*/ 0 w 13"/>
                  <a:gd name="T11" fmla="*/ 6 h 25"/>
                  <a:gd name="T12" fmla="*/ 0 w 13"/>
                  <a:gd name="T13" fmla="*/ 20 h 25"/>
                  <a:gd name="T14" fmla="*/ 5 w 13"/>
                  <a:gd name="T15" fmla="*/ 25 h 25"/>
                  <a:gd name="T16" fmla="*/ 8 w 13"/>
                  <a:gd name="T17" fmla="*/ 25 h 25"/>
                  <a:gd name="T18" fmla="*/ 5 w 13"/>
                  <a:gd name="T19" fmla="*/ 22 h 25"/>
                  <a:gd name="T20" fmla="*/ 5 w 13"/>
                  <a:gd name="T21" fmla="*/ 20 h 25"/>
                  <a:gd name="T22" fmla="*/ 8 w 13"/>
                  <a:gd name="T23" fmla="*/ 20 h 25"/>
                  <a:gd name="T24" fmla="*/ 8 w 13"/>
                  <a:gd name="T25" fmla="*/ 20 h 25"/>
                  <a:gd name="T26" fmla="*/ 11 w 13"/>
                  <a:gd name="T27" fmla="*/ 17 h 25"/>
                  <a:gd name="T28" fmla="*/ 13 w 13"/>
                  <a:gd name="T29" fmla="*/ 14 h 25"/>
                  <a:gd name="T30" fmla="*/ 13 w 13"/>
                  <a:gd name="T31" fmla="*/ 14 h 25"/>
                  <a:gd name="T32" fmla="*/ 13 w 13"/>
                  <a:gd name="T33" fmla="*/ 11 h 25"/>
                  <a:gd name="T34" fmla="*/ 13 w 13"/>
                  <a:gd name="T35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" h="25">
                    <a:moveTo>
                      <a:pt x="13" y="8"/>
                    </a:moveTo>
                    <a:lnTo>
                      <a:pt x="13" y="6"/>
                    </a:lnTo>
                    <a:lnTo>
                      <a:pt x="11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20"/>
                    </a:lnTo>
                    <a:lnTo>
                      <a:pt x="5" y="25"/>
                    </a:lnTo>
                    <a:lnTo>
                      <a:pt x="8" y="25"/>
                    </a:lnTo>
                    <a:lnTo>
                      <a:pt x="5" y="22"/>
                    </a:lnTo>
                    <a:lnTo>
                      <a:pt x="5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1" y="17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13" y="11"/>
                    </a:lnTo>
                    <a:lnTo>
                      <a:pt x="13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9" name="Freeform 512"/>
              <p:cNvSpPr>
                <a:spLocks noChangeAspect="1"/>
              </p:cNvSpPr>
              <p:nvPr>
                <p:custDataLst>
                  <p:tags r:id="rId657"/>
                </p:custDataLst>
              </p:nvPr>
            </p:nvSpPr>
            <p:spPr bwMode="gray">
              <a:xfrm>
                <a:off x="8055558" y="1904229"/>
                <a:ext cx="75923" cy="50456"/>
              </a:xfrm>
              <a:custGeom>
                <a:avLst/>
                <a:gdLst>
                  <a:gd name="T0" fmla="*/ 25 w 58"/>
                  <a:gd name="T1" fmla="*/ 3 h 39"/>
                  <a:gd name="T2" fmla="*/ 31 w 58"/>
                  <a:gd name="T3" fmla="*/ 0 h 39"/>
                  <a:gd name="T4" fmla="*/ 33 w 58"/>
                  <a:gd name="T5" fmla="*/ 0 h 39"/>
                  <a:gd name="T6" fmla="*/ 36 w 58"/>
                  <a:gd name="T7" fmla="*/ 0 h 39"/>
                  <a:gd name="T8" fmla="*/ 42 w 58"/>
                  <a:gd name="T9" fmla="*/ 3 h 39"/>
                  <a:gd name="T10" fmla="*/ 42 w 58"/>
                  <a:gd name="T11" fmla="*/ 6 h 39"/>
                  <a:gd name="T12" fmla="*/ 47 w 58"/>
                  <a:gd name="T13" fmla="*/ 12 h 39"/>
                  <a:gd name="T14" fmla="*/ 53 w 58"/>
                  <a:gd name="T15" fmla="*/ 14 h 39"/>
                  <a:gd name="T16" fmla="*/ 56 w 58"/>
                  <a:gd name="T17" fmla="*/ 23 h 39"/>
                  <a:gd name="T18" fmla="*/ 58 w 58"/>
                  <a:gd name="T19" fmla="*/ 39 h 39"/>
                  <a:gd name="T20" fmla="*/ 56 w 58"/>
                  <a:gd name="T21" fmla="*/ 37 h 39"/>
                  <a:gd name="T22" fmla="*/ 53 w 58"/>
                  <a:gd name="T23" fmla="*/ 39 h 39"/>
                  <a:gd name="T24" fmla="*/ 50 w 58"/>
                  <a:gd name="T25" fmla="*/ 39 h 39"/>
                  <a:gd name="T26" fmla="*/ 47 w 58"/>
                  <a:gd name="T27" fmla="*/ 37 h 39"/>
                  <a:gd name="T28" fmla="*/ 39 w 58"/>
                  <a:gd name="T29" fmla="*/ 37 h 39"/>
                  <a:gd name="T30" fmla="*/ 33 w 58"/>
                  <a:gd name="T31" fmla="*/ 34 h 39"/>
                  <a:gd name="T32" fmla="*/ 31 w 58"/>
                  <a:gd name="T33" fmla="*/ 31 h 39"/>
                  <a:gd name="T34" fmla="*/ 28 w 58"/>
                  <a:gd name="T35" fmla="*/ 31 h 39"/>
                  <a:gd name="T36" fmla="*/ 22 w 58"/>
                  <a:gd name="T37" fmla="*/ 31 h 39"/>
                  <a:gd name="T38" fmla="*/ 17 w 58"/>
                  <a:gd name="T39" fmla="*/ 28 h 39"/>
                  <a:gd name="T40" fmla="*/ 11 w 58"/>
                  <a:gd name="T41" fmla="*/ 25 h 39"/>
                  <a:gd name="T42" fmla="*/ 6 w 58"/>
                  <a:gd name="T43" fmla="*/ 31 h 39"/>
                  <a:gd name="T44" fmla="*/ 3 w 58"/>
                  <a:gd name="T45" fmla="*/ 31 h 39"/>
                  <a:gd name="T46" fmla="*/ 0 w 58"/>
                  <a:gd name="T47" fmla="*/ 28 h 39"/>
                  <a:gd name="T48" fmla="*/ 0 w 58"/>
                  <a:gd name="T49" fmla="*/ 25 h 39"/>
                  <a:gd name="T50" fmla="*/ 8 w 58"/>
                  <a:gd name="T51" fmla="*/ 25 h 39"/>
                  <a:gd name="T52" fmla="*/ 17 w 58"/>
                  <a:gd name="T53" fmla="*/ 9 h 39"/>
                  <a:gd name="T54" fmla="*/ 17 w 58"/>
                  <a:gd name="T55" fmla="*/ 6 h 39"/>
                  <a:gd name="T56" fmla="*/ 17 w 58"/>
                  <a:gd name="T57" fmla="*/ 3 h 39"/>
                  <a:gd name="T58" fmla="*/ 25 w 58"/>
                  <a:gd name="T59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8" h="39">
                    <a:moveTo>
                      <a:pt x="25" y="3"/>
                    </a:moveTo>
                    <a:lnTo>
                      <a:pt x="31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42" y="3"/>
                    </a:lnTo>
                    <a:lnTo>
                      <a:pt x="42" y="6"/>
                    </a:lnTo>
                    <a:lnTo>
                      <a:pt x="47" y="12"/>
                    </a:lnTo>
                    <a:lnTo>
                      <a:pt x="53" y="14"/>
                    </a:lnTo>
                    <a:lnTo>
                      <a:pt x="56" y="23"/>
                    </a:lnTo>
                    <a:lnTo>
                      <a:pt x="58" y="39"/>
                    </a:lnTo>
                    <a:lnTo>
                      <a:pt x="56" y="37"/>
                    </a:lnTo>
                    <a:lnTo>
                      <a:pt x="53" y="39"/>
                    </a:lnTo>
                    <a:lnTo>
                      <a:pt x="50" y="39"/>
                    </a:lnTo>
                    <a:lnTo>
                      <a:pt x="47" y="37"/>
                    </a:lnTo>
                    <a:lnTo>
                      <a:pt x="39" y="37"/>
                    </a:lnTo>
                    <a:lnTo>
                      <a:pt x="33" y="34"/>
                    </a:lnTo>
                    <a:lnTo>
                      <a:pt x="31" y="31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17" y="28"/>
                    </a:lnTo>
                    <a:lnTo>
                      <a:pt x="11" y="25"/>
                    </a:lnTo>
                    <a:lnTo>
                      <a:pt x="6" y="31"/>
                    </a:lnTo>
                    <a:lnTo>
                      <a:pt x="3" y="31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8" y="25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2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0" name="Freeform 513"/>
              <p:cNvSpPr>
                <a:spLocks noChangeAspect="1"/>
              </p:cNvSpPr>
              <p:nvPr>
                <p:custDataLst>
                  <p:tags r:id="rId658"/>
                </p:custDataLst>
              </p:nvPr>
            </p:nvSpPr>
            <p:spPr bwMode="gray">
              <a:xfrm>
                <a:off x="8055558" y="1904229"/>
                <a:ext cx="75923" cy="50456"/>
              </a:xfrm>
              <a:custGeom>
                <a:avLst/>
                <a:gdLst>
                  <a:gd name="T0" fmla="*/ 25 w 58"/>
                  <a:gd name="T1" fmla="*/ 3 h 39"/>
                  <a:gd name="T2" fmla="*/ 31 w 58"/>
                  <a:gd name="T3" fmla="*/ 0 h 39"/>
                  <a:gd name="T4" fmla="*/ 33 w 58"/>
                  <a:gd name="T5" fmla="*/ 0 h 39"/>
                  <a:gd name="T6" fmla="*/ 36 w 58"/>
                  <a:gd name="T7" fmla="*/ 0 h 39"/>
                  <a:gd name="T8" fmla="*/ 42 w 58"/>
                  <a:gd name="T9" fmla="*/ 3 h 39"/>
                  <a:gd name="T10" fmla="*/ 42 w 58"/>
                  <a:gd name="T11" fmla="*/ 6 h 39"/>
                  <a:gd name="T12" fmla="*/ 47 w 58"/>
                  <a:gd name="T13" fmla="*/ 12 h 39"/>
                  <a:gd name="T14" fmla="*/ 53 w 58"/>
                  <a:gd name="T15" fmla="*/ 14 h 39"/>
                  <a:gd name="T16" fmla="*/ 56 w 58"/>
                  <a:gd name="T17" fmla="*/ 23 h 39"/>
                  <a:gd name="T18" fmla="*/ 58 w 58"/>
                  <a:gd name="T19" fmla="*/ 39 h 39"/>
                  <a:gd name="T20" fmla="*/ 56 w 58"/>
                  <a:gd name="T21" fmla="*/ 37 h 39"/>
                  <a:gd name="T22" fmla="*/ 53 w 58"/>
                  <a:gd name="T23" fmla="*/ 39 h 39"/>
                  <a:gd name="T24" fmla="*/ 50 w 58"/>
                  <a:gd name="T25" fmla="*/ 39 h 39"/>
                  <a:gd name="T26" fmla="*/ 47 w 58"/>
                  <a:gd name="T27" fmla="*/ 37 h 39"/>
                  <a:gd name="T28" fmla="*/ 39 w 58"/>
                  <a:gd name="T29" fmla="*/ 37 h 39"/>
                  <a:gd name="T30" fmla="*/ 33 w 58"/>
                  <a:gd name="T31" fmla="*/ 34 h 39"/>
                  <a:gd name="T32" fmla="*/ 31 w 58"/>
                  <a:gd name="T33" fmla="*/ 31 h 39"/>
                  <a:gd name="T34" fmla="*/ 28 w 58"/>
                  <a:gd name="T35" fmla="*/ 31 h 39"/>
                  <a:gd name="T36" fmla="*/ 22 w 58"/>
                  <a:gd name="T37" fmla="*/ 31 h 39"/>
                  <a:gd name="T38" fmla="*/ 17 w 58"/>
                  <a:gd name="T39" fmla="*/ 28 h 39"/>
                  <a:gd name="T40" fmla="*/ 11 w 58"/>
                  <a:gd name="T41" fmla="*/ 25 h 39"/>
                  <a:gd name="T42" fmla="*/ 6 w 58"/>
                  <a:gd name="T43" fmla="*/ 31 h 39"/>
                  <a:gd name="T44" fmla="*/ 3 w 58"/>
                  <a:gd name="T45" fmla="*/ 31 h 39"/>
                  <a:gd name="T46" fmla="*/ 0 w 58"/>
                  <a:gd name="T47" fmla="*/ 28 h 39"/>
                  <a:gd name="T48" fmla="*/ 0 w 58"/>
                  <a:gd name="T49" fmla="*/ 25 h 39"/>
                  <a:gd name="T50" fmla="*/ 8 w 58"/>
                  <a:gd name="T51" fmla="*/ 25 h 39"/>
                  <a:gd name="T52" fmla="*/ 17 w 58"/>
                  <a:gd name="T53" fmla="*/ 9 h 39"/>
                  <a:gd name="T54" fmla="*/ 17 w 58"/>
                  <a:gd name="T55" fmla="*/ 6 h 39"/>
                  <a:gd name="T56" fmla="*/ 17 w 58"/>
                  <a:gd name="T57" fmla="*/ 3 h 39"/>
                  <a:gd name="T58" fmla="*/ 25 w 58"/>
                  <a:gd name="T59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8" h="39">
                    <a:moveTo>
                      <a:pt x="25" y="3"/>
                    </a:moveTo>
                    <a:lnTo>
                      <a:pt x="31" y="0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42" y="3"/>
                    </a:lnTo>
                    <a:lnTo>
                      <a:pt x="42" y="6"/>
                    </a:lnTo>
                    <a:lnTo>
                      <a:pt x="47" y="12"/>
                    </a:lnTo>
                    <a:lnTo>
                      <a:pt x="53" y="14"/>
                    </a:lnTo>
                    <a:lnTo>
                      <a:pt x="56" y="23"/>
                    </a:lnTo>
                    <a:lnTo>
                      <a:pt x="58" y="39"/>
                    </a:lnTo>
                    <a:lnTo>
                      <a:pt x="56" y="37"/>
                    </a:lnTo>
                    <a:lnTo>
                      <a:pt x="53" y="39"/>
                    </a:lnTo>
                    <a:lnTo>
                      <a:pt x="50" y="39"/>
                    </a:lnTo>
                    <a:lnTo>
                      <a:pt x="47" y="37"/>
                    </a:lnTo>
                    <a:lnTo>
                      <a:pt x="39" y="37"/>
                    </a:lnTo>
                    <a:lnTo>
                      <a:pt x="33" y="34"/>
                    </a:lnTo>
                    <a:lnTo>
                      <a:pt x="31" y="31"/>
                    </a:lnTo>
                    <a:lnTo>
                      <a:pt x="28" y="31"/>
                    </a:lnTo>
                    <a:lnTo>
                      <a:pt x="22" y="31"/>
                    </a:lnTo>
                    <a:lnTo>
                      <a:pt x="17" y="28"/>
                    </a:lnTo>
                    <a:lnTo>
                      <a:pt x="11" y="25"/>
                    </a:lnTo>
                    <a:lnTo>
                      <a:pt x="6" y="31"/>
                    </a:lnTo>
                    <a:lnTo>
                      <a:pt x="3" y="31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8" y="25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25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1" name="Freeform 514"/>
              <p:cNvSpPr>
                <a:spLocks noChangeAspect="1"/>
              </p:cNvSpPr>
              <p:nvPr>
                <p:custDataLst>
                  <p:tags r:id="rId659"/>
                </p:custDataLst>
              </p:nvPr>
            </p:nvSpPr>
            <p:spPr bwMode="gray">
              <a:xfrm>
                <a:off x="6263779" y="1943647"/>
                <a:ext cx="122996" cy="187632"/>
              </a:xfrm>
              <a:custGeom>
                <a:avLst/>
                <a:gdLst>
                  <a:gd name="T0" fmla="*/ 41 w 94"/>
                  <a:gd name="T1" fmla="*/ 6 h 145"/>
                  <a:gd name="T2" fmla="*/ 55 w 94"/>
                  <a:gd name="T3" fmla="*/ 0 h 145"/>
                  <a:gd name="T4" fmla="*/ 66 w 94"/>
                  <a:gd name="T5" fmla="*/ 6 h 145"/>
                  <a:gd name="T6" fmla="*/ 78 w 94"/>
                  <a:gd name="T7" fmla="*/ 14 h 145"/>
                  <a:gd name="T8" fmla="*/ 75 w 94"/>
                  <a:gd name="T9" fmla="*/ 20 h 145"/>
                  <a:gd name="T10" fmla="*/ 66 w 94"/>
                  <a:gd name="T11" fmla="*/ 25 h 145"/>
                  <a:gd name="T12" fmla="*/ 75 w 94"/>
                  <a:gd name="T13" fmla="*/ 28 h 145"/>
                  <a:gd name="T14" fmla="*/ 69 w 94"/>
                  <a:gd name="T15" fmla="*/ 33 h 145"/>
                  <a:gd name="T16" fmla="*/ 66 w 94"/>
                  <a:gd name="T17" fmla="*/ 33 h 145"/>
                  <a:gd name="T18" fmla="*/ 64 w 94"/>
                  <a:gd name="T19" fmla="*/ 45 h 145"/>
                  <a:gd name="T20" fmla="*/ 64 w 94"/>
                  <a:gd name="T21" fmla="*/ 47 h 145"/>
                  <a:gd name="T22" fmla="*/ 61 w 94"/>
                  <a:gd name="T23" fmla="*/ 61 h 145"/>
                  <a:gd name="T24" fmla="*/ 61 w 94"/>
                  <a:gd name="T25" fmla="*/ 75 h 145"/>
                  <a:gd name="T26" fmla="*/ 69 w 94"/>
                  <a:gd name="T27" fmla="*/ 106 h 145"/>
                  <a:gd name="T28" fmla="*/ 83 w 94"/>
                  <a:gd name="T29" fmla="*/ 125 h 145"/>
                  <a:gd name="T30" fmla="*/ 94 w 94"/>
                  <a:gd name="T31" fmla="*/ 134 h 145"/>
                  <a:gd name="T32" fmla="*/ 91 w 94"/>
                  <a:gd name="T33" fmla="*/ 139 h 145"/>
                  <a:gd name="T34" fmla="*/ 89 w 94"/>
                  <a:gd name="T35" fmla="*/ 142 h 145"/>
                  <a:gd name="T36" fmla="*/ 83 w 94"/>
                  <a:gd name="T37" fmla="*/ 142 h 145"/>
                  <a:gd name="T38" fmla="*/ 80 w 94"/>
                  <a:gd name="T39" fmla="*/ 134 h 145"/>
                  <a:gd name="T40" fmla="*/ 72 w 94"/>
                  <a:gd name="T41" fmla="*/ 136 h 145"/>
                  <a:gd name="T42" fmla="*/ 78 w 94"/>
                  <a:gd name="T43" fmla="*/ 139 h 145"/>
                  <a:gd name="T44" fmla="*/ 69 w 94"/>
                  <a:gd name="T45" fmla="*/ 139 h 145"/>
                  <a:gd name="T46" fmla="*/ 69 w 94"/>
                  <a:gd name="T47" fmla="*/ 139 h 145"/>
                  <a:gd name="T48" fmla="*/ 61 w 94"/>
                  <a:gd name="T49" fmla="*/ 136 h 145"/>
                  <a:gd name="T50" fmla="*/ 58 w 94"/>
                  <a:gd name="T51" fmla="*/ 139 h 145"/>
                  <a:gd name="T52" fmla="*/ 50 w 94"/>
                  <a:gd name="T53" fmla="*/ 136 h 145"/>
                  <a:gd name="T54" fmla="*/ 53 w 94"/>
                  <a:gd name="T55" fmla="*/ 134 h 145"/>
                  <a:gd name="T56" fmla="*/ 39 w 94"/>
                  <a:gd name="T57" fmla="*/ 134 h 145"/>
                  <a:gd name="T58" fmla="*/ 36 w 94"/>
                  <a:gd name="T59" fmla="*/ 131 h 145"/>
                  <a:gd name="T60" fmla="*/ 33 w 94"/>
                  <a:gd name="T61" fmla="*/ 120 h 145"/>
                  <a:gd name="T62" fmla="*/ 39 w 94"/>
                  <a:gd name="T63" fmla="*/ 120 h 145"/>
                  <a:gd name="T64" fmla="*/ 44 w 94"/>
                  <a:gd name="T65" fmla="*/ 117 h 145"/>
                  <a:gd name="T66" fmla="*/ 41 w 94"/>
                  <a:gd name="T67" fmla="*/ 114 h 145"/>
                  <a:gd name="T68" fmla="*/ 30 w 94"/>
                  <a:gd name="T69" fmla="*/ 111 h 145"/>
                  <a:gd name="T70" fmla="*/ 33 w 94"/>
                  <a:gd name="T71" fmla="*/ 106 h 145"/>
                  <a:gd name="T72" fmla="*/ 30 w 94"/>
                  <a:gd name="T73" fmla="*/ 109 h 145"/>
                  <a:gd name="T74" fmla="*/ 30 w 94"/>
                  <a:gd name="T75" fmla="*/ 95 h 145"/>
                  <a:gd name="T76" fmla="*/ 25 w 94"/>
                  <a:gd name="T77" fmla="*/ 100 h 145"/>
                  <a:gd name="T78" fmla="*/ 19 w 94"/>
                  <a:gd name="T79" fmla="*/ 92 h 145"/>
                  <a:gd name="T80" fmla="*/ 14 w 94"/>
                  <a:gd name="T81" fmla="*/ 97 h 145"/>
                  <a:gd name="T82" fmla="*/ 11 w 94"/>
                  <a:gd name="T83" fmla="*/ 97 h 145"/>
                  <a:gd name="T84" fmla="*/ 2 w 94"/>
                  <a:gd name="T85" fmla="*/ 97 h 145"/>
                  <a:gd name="T86" fmla="*/ 0 w 94"/>
                  <a:gd name="T87" fmla="*/ 70 h 145"/>
                  <a:gd name="T88" fmla="*/ 8 w 94"/>
                  <a:gd name="T89" fmla="*/ 67 h 145"/>
                  <a:gd name="T90" fmla="*/ 14 w 94"/>
                  <a:gd name="T91" fmla="*/ 70 h 145"/>
                  <a:gd name="T92" fmla="*/ 16 w 94"/>
                  <a:gd name="T93" fmla="*/ 58 h 145"/>
                  <a:gd name="T94" fmla="*/ 16 w 94"/>
                  <a:gd name="T95" fmla="*/ 53 h 145"/>
                  <a:gd name="T96" fmla="*/ 19 w 94"/>
                  <a:gd name="T97" fmla="*/ 47 h 145"/>
                  <a:gd name="T98" fmla="*/ 25 w 94"/>
                  <a:gd name="T99" fmla="*/ 42 h 145"/>
                  <a:gd name="T100" fmla="*/ 22 w 94"/>
                  <a:gd name="T101" fmla="*/ 39 h 145"/>
                  <a:gd name="T102" fmla="*/ 14 w 94"/>
                  <a:gd name="T103" fmla="*/ 31 h 145"/>
                  <a:gd name="T104" fmla="*/ 25 w 94"/>
                  <a:gd name="T105" fmla="*/ 28 h 145"/>
                  <a:gd name="T106" fmla="*/ 25 w 94"/>
                  <a:gd name="T107" fmla="*/ 22 h 145"/>
                  <a:gd name="T108" fmla="*/ 27 w 94"/>
                  <a:gd name="T109" fmla="*/ 20 h 145"/>
                  <a:gd name="T110" fmla="*/ 30 w 94"/>
                  <a:gd name="T111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" h="145">
                    <a:moveTo>
                      <a:pt x="33" y="6"/>
                    </a:moveTo>
                    <a:lnTo>
                      <a:pt x="36" y="6"/>
                    </a:lnTo>
                    <a:lnTo>
                      <a:pt x="41" y="6"/>
                    </a:lnTo>
                    <a:lnTo>
                      <a:pt x="44" y="3"/>
                    </a:lnTo>
                    <a:lnTo>
                      <a:pt x="53" y="0"/>
                    </a:lnTo>
                    <a:lnTo>
                      <a:pt x="55" y="0"/>
                    </a:lnTo>
                    <a:lnTo>
                      <a:pt x="58" y="3"/>
                    </a:lnTo>
                    <a:lnTo>
                      <a:pt x="61" y="3"/>
                    </a:lnTo>
                    <a:lnTo>
                      <a:pt x="66" y="6"/>
                    </a:lnTo>
                    <a:lnTo>
                      <a:pt x="72" y="8"/>
                    </a:lnTo>
                    <a:lnTo>
                      <a:pt x="75" y="8"/>
                    </a:lnTo>
                    <a:lnTo>
                      <a:pt x="78" y="14"/>
                    </a:lnTo>
                    <a:lnTo>
                      <a:pt x="78" y="17"/>
                    </a:lnTo>
                    <a:lnTo>
                      <a:pt x="69" y="17"/>
                    </a:lnTo>
                    <a:lnTo>
                      <a:pt x="75" y="20"/>
                    </a:lnTo>
                    <a:lnTo>
                      <a:pt x="75" y="22"/>
                    </a:lnTo>
                    <a:lnTo>
                      <a:pt x="72" y="20"/>
                    </a:lnTo>
                    <a:lnTo>
                      <a:pt x="66" y="25"/>
                    </a:lnTo>
                    <a:lnTo>
                      <a:pt x="69" y="25"/>
                    </a:lnTo>
                    <a:lnTo>
                      <a:pt x="75" y="22"/>
                    </a:lnTo>
                    <a:lnTo>
                      <a:pt x="75" y="28"/>
                    </a:lnTo>
                    <a:lnTo>
                      <a:pt x="72" y="28"/>
                    </a:lnTo>
                    <a:lnTo>
                      <a:pt x="72" y="31"/>
                    </a:lnTo>
                    <a:lnTo>
                      <a:pt x="69" y="33"/>
                    </a:lnTo>
                    <a:lnTo>
                      <a:pt x="64" y="31"/>
                    </a:lnTo>
                    <a:lnTo>
                      <a:pt x="61" y="33"/>
                    </a:lnTo>
                    <a:lnTo>
                      <a:pt x="66" y="33"/>
                    </a:lnTo>
                    <a:lnTo>
                      <a:pt x="66" y="36"/>
                    </a:lnTo>
                    <a:lnTo>
                      <a:pt x="66" y="42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1" y="45"/>
                    </a:lnTo>
                    <a:lnTo>
                      <a:pt x="64" y="47"/>
                    </a:lnTo>
                    <a:lnTo>
                      <a:pt x="64" y="50"/>
                    </a:lnTo>
                    <a:lnTo>
                      <a:pt x="61" y="50"/>
                    </a:lnTo>
                    <a:lnTo>
                      <a:pt x="61" y="61"/>
                    </a:lnTo>
                    <a:lnTo>
                      <a:pt x="64" y="64"/>
                    </a:lnTo>
                    <a:lnTo>
                      <a:pt x="61" y="72"/>
                    </a:lnTo>
                    <a:lnTo>
                      <a:pt x="61" y="75"/>
                    </a:lnTo>
                    <a:lnTo>
                      <a:pt x="61" y="78"/>
                    </a:lnTo>
                    <a:lnTo>
                      <a:pt x="66" y="97"/>
                    </a:lnTo>
                    <a:lnTo>
                      <a:pt x="69" y="106"/>
                    </a:lnTo>
                    <a:lnTo>
                      <a:pt x="72" y="111"/>
                    </a:lnTo>
                    <a:lnTo>
                      <a:pt x="80" y="123"/>
                    </a:lnTo>
                    <a:lnTo>
                      <a:pt x="83" y="125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1" y="139"/>
                    </a:lnTo>
                    <a:lnTo>
                      <a:pt x="86" y="139"/>
                    </a:lnTo>
                    <a:lnTo>
                      <a:pt x="83" y="139"/>
                    </a:lnTo>
                    <a:lnTo>
                      <a:pt x="89" y="142"/>
                    </a:lnTo>
                    <a:lnTo>
                      <a:pt x="86" y="142"/>
                    </a:lnTo>
                    <a:lnTo>
                      <a:pt x="86" y="145"/>
                    </a:lnTo>
                    <a:lnTo>
                      <a:pt x="83" y="142"/>
                    </a:lnTo>
                    <a:lnTo>
                      <a:pt x="80" y="139"/>
                    </a:lnTo>
                    <a:lnTo>
                      <a:pt x="78" y="136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5" y="134"/>
                    </a:lnTo>
                    <a:lnTo>
                      <a:pt x="72" y="136"/>
                    </a:lnTo>
                    <a:lnTo>
                      <a:pt x="72" y="139"/>
                    </a:lnTo>
                    <a:lnTo>
                      <a:pt x="75" y="139"/>
                    </a:lnTo>
                    <a:lnTo>
                      <a:pt x="78" y="139"/>
                    </a:lnTo>
                    <a:lnTo>
                      <a:pt x="78" y="142"/>
                    </a:lnTo>
                    <a:lnTo>
                      <a:pt x="72" y="142"/>
                    </a:lnTo>
                    <a:lnTo>
                      <a:pt x="69" y="139"/>
                    </a:lnTo>
                    <a:lnTo>
                      <a:pt x="69" y="139"/>
                    </a:lnTo>
                    <a:lnTo>
                      <a:pt x="69" y="142"/>
                    </a:lnTo>
                    <a:lnTo>
                      <a:pt x="69" y="139"/>
                    </a:lnTo>
                    <a:lnTo>
                      <a:pt x="66" y="136"/>
                    </a:lnTo>
                    <a:lnTo>
                      <a:pt x="64" y="136"/>
                    </a:lnTo>
                    <a:lnTo>
                      <a:pt x="61" y="136"/>
                    </a:lnTo>
                    <a:lnTo>
                      <a:pt x="61" y="139"/>
                    </a:lnTo>
                    <a:lnTo>
                      <a:pt x="58" y="136"/>
                    </a:lnTo>
                    <a:lnTo>
                      <a:pt x="58" y="139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53" y="134"/>
                    </a:lnTo>
                    <a:lnTo>
                      <a:pt x="53" y="134"/>
                    </a:lnTo>
                    <a:lnTo>
                      <a:pt x="47" y="131"/>
                    </a:lnTo>
                    <a:lnTo>
                      <a:pt x="41" y="134"/>
                    </a:lnTo>
                    <a:lnTo>
                      <a:pt x="39" y="134"/>
                    </a:lnTo>
                    <a:lnTo>
                      <a:pt x="39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23"/>
                    </a:lnTo>
                    <a:lnTo>
                      <a:pt x="33" y="120"/>
                    </a:lnTo>
                    <a:lnTo>
                      <a:pt x="33" y="120"/>
                    </a:lnTo>
                    <a:lnTo>
                      <a:pt x="39" y="123"/>
                    </a:lnTo>
                    <a:lnTo>
                      <a:pt x="39" y="120"/>
                    </a:lnTo>
                    <a:lnTo>
                      <a:pt x="39" y="117"/>
                    </a:lnTo>
                    <a:lnTo>
                      <a:pt x="39" y="120"/>
                    </a:lnTo>
                    <a:lnTo>
                      <a:pt x="44" y="117"/>
                    </a:lnTo>
                    <a:lnTo>
                      <a:pt x="44" y="117"/>
                    </a:lnTo>
                    <a:lnTo>
                      <a:pt x="41" y="117"/>
                    </a:lnTo>
                    <a:lnTo>
                      <a:pt x="41" y="114"/>
                    </a:lnTo>
                    <a:lnTo>
                      <a:pt x="39" y="114"/>
                    </a:lnTo>
                    <a:lnTo>
                      <a:pt x="33" y="111"/>
                    </a:lnTo>
                    <a:lnTo>
                      <a:pt x="30" y="111"/>
                    </a:lnTo>
                    <a:lnTo>
                      <a:pt x="30" y="109"/>
                    </a:lnTo>
                    <a:lnTo>
                      <a:pt x="33" y="109"/>
                    </a:lnTo>
                    <a:lnTo>
                      <a:pt x="33" y="106"/>
                    </a:lnTo>
                    <a:lnTo>
                      <a:pt x="39" y="97"/>
                    </a:lnTo>
                    <a:lnTo>
                      <a:pt x="33" y="100"/>
                    </a:lnTo>
                    <a:lnTo>
                      <a:pt x="30" y="109"/>
                    </a:lnTo>
                    <a:lnTo>
                      <a:pt x="30" y="103"/>
                    </a:lnTo>
                    <a:lnTo>
                      <a:pt x="30" y="100"/>
                    </a:lnTo>
                    <a:lnTo>
                      <a:pt x="30" y="95"/>
                    </a:lnTo>
                    <a:lnTo>
                      <a:pt x="27" y="100"/>
                    </a:lnTo>
                    <a:lnTo>
                      <a:pt x="25" y="97"/>
                    </a:lnTo>
                    <a:lnTo>
                      <a:pt x="25" y="100"/>
                    </a:lnTo>
                    <a:lnTo>
                      <a:pt x="22" y="97"/>
                    </a:lnTo>
                    <a:lnTo>
                      <a:pt x="19" y="100"/>
                    </a:lnTo>
                    <a:lnTo>
                      <a:pt x="19" y="92"/>
                    </a:lnTo>
                    <a:lnTo>
                      <a:pt x="16" y="89"/>
                    </a:lnTo>
                    <a:lnTo>
                      <a:pt x="16" y="95"/>
                    </a:lnTo>
                    <a:lnTo>
                      <a:pt x="14" y="97"/>
                    </a:lnTo>
                    <a:lnTo>
                      <a:pt x="14" y="95"/>
                    </a:lnTo>
                    <a:lnTo>
                      <a:pt x="11" y="95"/>
                    </a:lnTo>
                    <a:lnTo>
                      <a:pt x="11" y="97"/>
                    </a:lnTo>
                    <a:lnTo>
                      <a:pt x="5" y="97"/>
                    </a:lnTo>
                    <a:lnTo>
                      <a:pt x="5" y="97"/>
                    </a:lnTo>
                    <a:lnTo>
                      <a:pt x="2" y="97"/>
                    </a:lnTo>
                    <a:lnTo>
                      <a:pt x="0" y="89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5" y="67"/>
                    </a:lnTo>
                    <a:lnTo>
                      <a:pt x="8" y="70"/>
                    </a:lnTo>
                    <a:lnTo>
                      <a:pt x="8" y="67"/>
                    </a:lnTo>
                    <a:lnTo>
                      <a:pt x="11" y="67"/>
                    </a:lnTo>
                    <a:lnTo>
                      <a:pt x="11" y="70"/>
                    </a:lnTo>
                    <a:lnTo>
                      <a:pt x="14" y="70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16" y="53"/>
                    </a:lnTo>
                    <a:lnTo>
                      <a:pt x="19" y="53"/>
                    </a:lnTo>
                    <a:lnTo>
                      <a:pt x="19" y="50"/>
                    </a:lnTo>
                    <a:lnTo>
                      <a:pt x="19" y="47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25" y="42"/>
                    </a:lnTo>
                    <a:lnTo>
                      <a:pt x="19" y="45"/>
                    </a:lnTo>
                    <a:lnTo>
                      <a:pt x="19" y="42"/>
                    </a:lnTo>
                    <a:lnTo>
                      <a:pt x="22" y="39"/>
                    </a:lnTo>
                    <a:lnTo>
                      <a:pt x="19" y="39"/>
                    </a:lnTo>
                    <a:lnTo>
                      <a:pt x="14" y="36"/>
                    </a:lnTo>
                    <a:lnTo>
                      <a:pt x="14" y="31"/>
                    </a:lnTo>
                    <a:lnTo>
                      <a:pt x="19" y="28"/>
                    </a:lnTo>
                    <a:lnTo>
                      <a:pt x="22" y="25"/>
                    </a:lnTo>
                    <a:lnTo>
                      <a:pt x="25" y="28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30" y="8"/>
                    </a:lnTo>
                    <a:lnTo>
                      <a:pt x="3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2" name="Freeform 515"/>
              <p:cNvSpPr>
                <a:spLocks noChangeAspect="1"/>
              </p:cNvSpPr>
              <p:nvPr>
                <p:custDataLst>
                  <p:tags r:id="rId660"/>
                </p:custDataLst>
              </p:nvPr>
            </p:nvSpPr>
            <p:spPr bwMode="gray">
              <a:xfrm>
                <a:off x="6263779" y="1943647"/>
                <a:ext cx="122996" cy="187632"/>
              </a:xfrm>
              <a:custGeom>
                <a:avLst/>
                <a:gdLst>
                  <a:gd name="T0" fmla="*/ 41 w 94"/>
                  <a:gd name="T1" fmla="*/ 6 h 145"/>
                  <a:gd name="T2" fmla="*/ 55 w 94"/>
                  <a:gd name="T3" fmla="*/ 0 h 145"/>
                  <a:gd name="T4" fmla="*/ 66 w 94"/>
                  <a:gd name="T5" fmla="*/ 6 h 145"/>
                  <a:gd name="T6" fmla="*/ 78 w 94"/>
                  <a:gd name="T7" fmla="*/ 14 h 145"/>
                  <a:gd name="T8" fmla="*/ 75 w 94"/>
                  <a:gd name="T9" fmla="*/ 20 h 145"/>
                  <a:gd name="T10" fmla="*/ 66 w 94"/>
                  <a:gd name="T11" fmla="*/ 25 h 145"/>
                  <a:gd name="T12" fmla="*/ 75 w 94"/>
                  <a:gd name="T13" fmla="*/ 28 h 145"/>
                  <a:gd name="T14" fmla="*/ 69 w 94"/>
                  <a:gd name="T15" fmla="*/ 33 h 145"/>
                  <a:gd name="T16" fmla="*/ 66 w 94"/>
                  <a:gd name="T17" fmla="*/ 33 h 145"/>
                  <a:gd name="T18" fmla="*/ 64 w 94"/>
                  <a:gd name="T19" fmla="*/ 45 h 145"/>
                  <a:gd name="T20" fmla="*/ 64 w 94"/>
                  <a:gd name="T21" fmla="*/ 47 h 145"/>
                  <a:gd name="T22" fmla="*/ 61 w 94"/>
                  <a:gd name="T23" fmla="*/ 61 h 145"/>
                  <a:gd name="T24" fmla="*/ 61 w 94"/>
                  <a:gd name="T25" fmla="*/ 75 h 145"/>
                  <a:gd name="T26" fmla="*/ 69 w 94"/>
                  <a:gd name="T27" fmla="*/ 106 h 145"/>
                  <a:gd name="T28" fmla="*/ 83 w 94"/>
                  <a:gd name="T29" fmla="*/ 125 h 145"/>
                  <a:gd name="T30" fmla="*/ 94 w 94"/>
                  <a:gd name="T31" fmla="*/ 134 h 145"/>
                  <a:gd name="T32" fmla="*/ 91 w 94"/>
                  <a:gd name="T33" fmla="*/ 139 h 145"/>
                  <a:gd name="T34" fmla="*/ 89 w 94"/>
                  <a:gd name="T35" fmla="*/ 142 h 145"/>
                  <a:gd name="T36" fmla="*/ 83 w 94"/>
                  <a:gd name="T37" fmla="*/ 142 h 145"/>
                  <a:gd name="T38" fmla="*/ 80 w 94"/>
                  <a:gd name="T39" fmla="*/ 134 h 145"/>
                  <a:gd name="T40" fmla="*/ 72 w 94"/>
                  <a:gd name="T41" fmla="*/ 136 h 145"/>
                  <a:gd name="T42" fmla="*/ 78 w 94"/>
                  <a:gd name="T43" fmla="*/ 139 h 145"/>
                  <a:gd name="T44" fmla="*/ 69 w 94"/>
                  <a:gd name="T45" fmla="*/ 139 h 145"/>
                  <a:gd name="T46" fmla="*/ 69 w 94"/>
                  <a:gd name="T47" fmla="*/ 139 h 145"/>
                  <a:gd name="T48" fmla="*/ 61 w 94"/>
                  <a:gd name="T49" fmla="*/ 136 h 145"/>
                  <a:gd name="T50" fmla="*/ 58 w 94"/>
                  <a:gd name="T51" fmla="*/ 139 h 145"/>
                  <a:gd name="T52" fmla="*/ 50 w 94"/>
                  <a:gd name="T53" fmla="*/ 136 h 145"/>
                  <a:gd name="T54" fmla="*/ 53 w 94"/>
                  <a:gd name="T55" fmla="*/ 134 h 145"/>
                  <a:gd name="T56" fmla="*/ 39 w 94"/>
                  <a:gd name="T57" fmla="*/ 134 h 145"/>
                  <a:gd name="T58" fmla="*/ 36 w 94"/>
                  <a:gd name="T59" fmla="*/ 131 h 145"/>
                  <a:gd name="T60" fmla="*/ 33 w 94"/>
                  <a:gd name="T61" fmla="*/ 120 h 145"/>
                  <a:gd name="T62" fmla="*/ 39 w 94"/>
                  <a:gd name="T63" fmla="*/ 120 h 145"/>
                  <a:gd name="T64" fmla="*/ 44 w 94"/>
                  <a:gd name="T65" fmla="*/ 117 h 145"/>
                  <a:gd name="T66" fmla="*/ 41 w 94"/>
                  <a:gd name="T67" fmla="*/ 114 h 145"/>
                  <a:gd name="T68" fmla="*/ 30 w 94"/>
                  <a:gd name="T69" fmla="*/ 111 h 145"/>
                  <a:gd name="T70" fmla="*/ 33 w 94"/>
                  <a:gd name="T71" fmla="*/ 106 h 145"/>
                  <a:gd name="T72" fmla="*/ 30 w 94"/>
                  <a:gd name="T73" fmla="*/ 109 h 145"/>
                  <a:gd name="T74" fmla="*/ 30 w 94"/>
                  <a:gd name="T75" fmla="*/ 95 h 145"/>
                  <a:gd name="T76" fmla="*/ 25 w 94"/>
                  <a:gd name="T77" fmla="*/ 100 h 145"/>
                  <a:gd name="T78" fmla="*/ 19 w 94"/>
                  <a:gd name="T79" fmla="*/ 92 h 145"/>
                  <a:gd name="T80" fmla="*/ 14 w 94"/>
                  <a:gd name="T81" fmla="*/ 97 h 145"/>
                  <a:gd name="T82" fmla="*/ 11 w 94"/>
                  <a:gd name="T83" fmla="*/ 97 h 145"/>
                  <a:gd name="T84" fmla="*/ 2 w 94"/>
                  <a:gd name="T85" fmla="*/ 97 h 145"/>
                  <a:gd name="T86" fmla="*/ 0 w 94"/>
                  <a:gd name="T87" fmla="*/ 70 h 145"/>
                  <a:gd name="T88" fmla="*/ 8 w 94"/>
                  <a:gd name="T89" fmla="*/ 67 h 145"/>
                  <a:gd name="T90" fmla="*/ 14 w 94"/>
                  <a:gd name="T91" fmla="*/ 70 h 145"/>
                  <a:gd name="T92" fmla="*/ 16 w 94"/>
                  <a:gd name="T93" fmla="*/ 58 h 145"/>
                  <a:gd name="T94" fmla="*/ 16 w 94"/>
                  <a:gd name="T95" fmla="*/ 53 h 145"/>
                  <a:gd name="T96" fmla="*/ 19 w 94"/>
                  <a:gd name="T97" fmla="*/ 47 h 145"/>
                  <a:gd name="T98" fmla="*/ 25 w 94"/>
                  <a:gd name="T99" fmla="*/ 42 h 145"/>
                  <a:gd name="T100" fmla="*/ 22 w 94"/>
                  <a:gd name="T101" fmla="*/ 39 h 145"/>
                  <a:gd name="T102" fmla="*/ 14 w 94"/>
                  <a:gd name="T103" fmla="*/ 31 h 145"/>
                  <a:gd name="T104" fmla="*/ 25 w 94"/>
                  <a:gd name="T105" fmla="*/ 28 h 145"/>
                  <a:gd name="T106" fmla="*/ 25 w 94"/>
                  <a:gd name="T107" fmla="*/ 22 h 145"/>
                  <a:gd name="T108" fmla="*/ 27 w 94"/>
                  <a:gd name="T109" fmla="*/ 20 h 145"/>
                  <a:gd name="T110" fmla="*/ 30 w 94"/>
                  <a:gd name="T111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" h="145">
                    <a:moveTo>
                      <a:pt x="33" y="6"/>
                    </a:moveTo>
                    <a:lnTo>
                      <a:pt x="36" y="6"/>
                    </a:lnTo>
                    <a:lnTo>
                      <a:pt x="41" y="6"/>
                    </a:lnTo>
                    <a:lnTo>
                      <a:pt x="44" y="3"/>
                    </a:lnTo>
                    <a:lnTo>
                      <a:pt x="53" y="0"/>
                    </a:lnTo>
                    <a:lnTo>
                      <a:pt x="55" y="0"/>
                    </a:lnTo>
                    <a:lnTo>
                      <a:pt x="58" y="3"/>
                    </a:lnTo>
                    <a:lnTo>
                      <a:pt x="61" y="3"/>
                    </a:lnTo>
                    <a:lnTo>
                      <a:pt x="66" y="6"/>
                    </a:lnTo>
                    <a:lnTo>
                      <a:pt x="72" y="8"/>
                    </a:lnTo>
                    <a:lnTo>
                      <a:pt x="75" y="8"/>
                    </a:lnTo>
                    <a:lnTo>
                      <a:pt x="78" y="14"/>
                    </a:lnTo>
                    <a:lnTo>
                      <a:pt x="78" y="17"/>
                    </a:lnTo>
                    <a:lnTo>
                      <a:pt x="69" y="17"/>
                    </a:lnTo>
                    <a:lnTo>
                      <a:pt x="75" y="20"/>
                    </a:lnTo>
                    <a:lnTo>
                      <a:pt x="75" y="22"/>
                    </a:lnTo>
                    <a:lnTo>
                      <a:pt x="72" y="20"/>
                    </a:lnTo>
                    <a:lnTo>
                      <a:pt x="66" y="25"/>
                    </a:lnTo>
                    <a:lnTo>
                      <a:pt x="69" y="25"/>
                    </a:lnTo>
                    <a:lnTo>
                      <a:pt x="75" y="22"/>
                    </a:lnTo>
                    <a:lnTo>
                      <a:pt x="75" y="28"/>
                    </a:lnTo>
                    <a:lnTo>
                      <a:pt x="72" y="28"/>
                    </a:lnTo>
                    <a:lnTo>
                      <a:pt x="72" y="31"/>
                    </a:lnTo>
                    <a:lnTo>
                      <a:pt x="69" y="33"/>
                    </a:lnTo>
                    <a:lnTo>
                      <a:pt x="64" y="31"/>
                    </a:lnTo>
                    <a:lnTo>
                      <a:pt x="61" y="33"/>
                    </a:lnTo>
                    <a:lnTo>
                      <a:pt x="66" y="33"/>
                    </a:lnTo>
                    <a:lnTo>
                      <a:pt x="66" y="36"/>
                    </a:lnTo>
                    <a:lnTo>
                      <a:pt x="66" y="42"/>
                    </a:lnTo>
                    <a:lnTo>
                      <a:pt x="64" y="45"/>
                    </a:lnTo>
                    <a:lnTo>
                      <a:pt x="64" y="45"/>
                    </a:lnTo>
                    <a:lnTo>
                      <a:pt x="61" y="45"/>
                    </a:lnTo>
                    <a:lnTo>
                      <a:pt x="64" y="47"/>
                    </a:lnTo>
                    <a:lnTo>
                      <a:pt x="64" y="50"/>
                    </a:lnTo>
                    <a:lnTo>
                      <a:pt x="61" y="50"/>
                    </a:lnTo>
                    <a:lnTo>
                      <a:pt x="61" y="61"/>
                    </a:lnTo>
                    <a:lnTo>
                      <a:pt x="64" y="64"/>
                    </a:lnTo>
                    <a:lnTo>
                      <a:pt x="61" y="72"/>
                    </a:lnTo>
                    <a:lnTo>
                      <a:pt x="61" y="75"/>
                    </a:lnTo>
                    <a:lnTo>
                      <a:pt x="61" y="78"/>
                    </a:lnTo>
                    <a:lnTo>
                      <a:pt x="66" y="97"/>
                    </a:lnTo>
                    <a:lnTo>
                      <a:pt x="69" y="106"/>
                    </a:lnTo>
                    <a:lnTo>
                      <a:pt x="72" y="111"/>
                    </a:lnTo>
                    <a:lnTo>
                      <a:pt x="80" y="123"/>
                    </a:lnTo>
                    <a:lnTo>
                      <a:pt x="83" y="125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1" y="139"/>
                    </a:lnTo>
                    <a:lnTo>
                      <a:pt x="86" y="139"/>
                    </a:lnTo>
                    <a:lnTo>
                      <a:pt x="83" y="139"/>
                    </a:lnTo>
                    <a:lnTo>
                      <a:pt x="89" y="142"/>
                    </a:lnTo>
                    <a:lnTo>
                      <a:pt x="86" y="142"/>
                    </a:lnTo>
                    <a:lnTo>
                      <a:pt x="86" y="145"/>
                    </a:lnTo>
                    <a:lnTo>
                      <a:pt x="83" y="142"/>
                    </a:lnTo>
                    <a:lnTo>
                      <a:pt x="80" y="139"/>
                    </a:lnTo>
                    <a:lnTo>
                      <a:pt x="78" y="136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5" y="134"/>
                    </a:lnTo>
                    <a:lnTo>
                      <a:pt x="72" y="136"/>
                    </a:lnTo>
                    <a:lnTo>
                      <a:pt x="72" y="139"/>
                    </a:lnTo>
                    <a:lnTo>
                      <a:pt x="75" y="139"/>
                    </a:lnTo>
                    <a:lnTo>
                      <a:pt x="78" y="139"/>
                    </a:lnTo>
                    <a:lnTo>
                      <a:pt x="78" y="142"/>
                    </a:lnTo>
                    <a:lnTo>
                      <a:pt x="72" y="142"/>
                    </a:lnTo>
                    <a:lnTo>
                      <a:pt x="69" y="139"/>
                    </a:lnTo>
                    <a:lnTo>
                      <a:pt x="69" y="139"/>
                    </a:lnTo>
                    <a:lnTo>
                      <a:pt x="69" y="142"/>
                    </a:lnTo>
                    <a:lnTo>
                      <a:pt x="69" y="139"/>
                    </a:lnTo>
                    <a:lnTo>
                      <a:pt x="66" y="136"/>
                    </a:lnTo>
                    <a:lnTo>
                      <a:pt x="64" y="136"/>
                    </a:lnTo>
                    <a:lnTo>
                      <a:pt x="61" y="136"/>
                    </a:lnTo>
                    <a:lnTo>
                      <a:pt x="61" y="139"/>
                    </a:lnTo>
                    <a:lnTo>
                      <a:pt x="58" y="136"/>
                    </a:lnTo>
                    <a:lnTo>
                      <a:pt x="58" y="139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53" y="134"/>
                    </a:lnTo>
                    <a:lnTo>
                      <a:pt x="53" y="134"/>
                    </a:lnTo>
                    <a:lnTo>
                      <a:pt x="47" y="131"/>
                    </a:lnTo>
                    <a:lnTo>
                      <a:pt x="41" y="134"/>
                    </a:lnTo>
                    <a:lnTo>
                      <a:pt x="39" y="134"/>
                    </a:lnTo>
                    <a:lnTo>
                      <a:pt x="39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31"/>
                    </a:lnTo>
                    <a:lnTo>
                      <a:pt x="36" y="123"/>
                    </a:lnTo>
                    <a:lnTo>
                      <a:pt x="33" y="120"/>
                    </a:lnTo>
                    <a:lnTo>
                      <a:pt x="33" y="120"/>
                    </a:lnTo>
                    <a:lnTo>
                      <a:pt x="39" y="123"/>
                    </a:lnTo>
                    <a:lnTo>
                      <a:pt x="39" y="120"/>
                    </a:lnTo>
                    <a:lnTo>
                      <a:pt x="39" y="117"/>
                    </a:lnTo>
                    <a:lnTo>
                      <a:pt x="39" y="120"/>
                    </a:lnTo>
                    <a:lnTo>
                      <a:pt x="44" y="117"/>
                    </a:lnTo>
                    <a:lnTo>
                      <a:pt x="44" y="117"/>
                    </a:lnTo>
                    <a:lnTo>
                      <a:pt x="41" y="117"/>
                    </a:lnTo>
                    <a:lnTo>
                      <a:pt x="41" y="114"/>
                    </a:lnTo>
                    <a:lnTo>
                      <a:pt x="39" y="114"/>
                    </a:lnTo>
                    <a:lnTo>
                      <a:pt x="33" y="111"/>
                    </a:lnTo>
                    <a:lnTo>
                      <a:pt x="30" y="111"/>
                    </a:lnTo>
                    <a:lnTo>
                      <a:pt x="30" y="109"/>
                    </a:lnTo>
                    <a:lnTo>
                      <a:pt x="33" y="109"/>
                    </a:lnTo>
                    <a:lnTo>
                      <a:pt x="33" y="106"/>
                    </a:lnTo>
                    <a:lnTo>
                      <a:pt x="39" y="97"/>
                    </a:lnTo>
                    <a:lnTo>
                      <a:pt x="33" y="100"/>
                    </a:lnTo>
                    <a:lnTo>
                      <a:pt x="30" y="109"/>
                    </a:lnTo>
                    <a:lnTo>
                      <a:pt x="30" y="103"/>
                    </a:lnTo>
                    <a:lnTo>
                      <a:pt x="30" y="100"/>
                    </a:lnTo>
                    <a:lnTo>
                      <a:pt x="30" y="95"/>
                    </a:lnTo>
                    <a:lnTo>
                      <a:pt x="27" y="100"/>
                    </a:lnTo>
                    <a:lnTo>
                      <a:pt x="25" y="97"/>
                    </a:lnTo>
                    <a:lnTo>
                      <a:pt x="25" y="100"/>
                    </a:lnTo>
                    <a:lnTo>
                      <a:pt x="22" y="97"/>
                    </a:lnTo>
                    <a:lnTo>
                      <a:pt x="19" y="100"/>
                    </a:lnTo>
                    <a:lnTo>
                      <a:pt x="19" y="92"/>
                    </a:lnTo>
                    <a:lnTo>
                      <a:pt x="16" y="89"/>
                    </a:lnTo>
                    <a:lnTo>
                      <a:pt x="16" y="95"/>
                    </a:lnTo>
                    <a:lnTo>
                      <a:pt x="14" y="97"/>
                    </a:lnTo>
                    <a:lnTo>
                      <a:pt x="14" y="95"/>
                    </a:lnTo>
                    <a:lnTo>
                      <a:pt x="11" y="95"/>
                    </a:lnTo>
                    <a:lnTo>
                      <a:pt x="11" y="97"/>
                    </a:lnTo>
                    <a:lnTo>
                      <a:pt x="5" y="97"/>
                    </a:lnTo>
                    <a:lnTo>
                      <a:pt x="5" y="97"/>
                    </a:lnTo>
                    <a:lnTo>
                      <a:pt x="2" y="97"/>
                    </a:lnTo>
                    <a:lnTo>
                      <a:pt x="0" y="89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5" y="67"/>
                    </a:lnTo>
                    <a:lnTo>
                      <a:pt x="8" y="70"/>
                    </a:lnTo>
                    <a:lnTo>
                      <a:pt x="8" y="67"/>
                    </a:lnTo>
                    <a:lnTo>
                      <a:pt x="11" y="67"/>
                    </a:lnTo>
                    <a:lnTo>
                      <a:pt x="11" y="70"/>
                    </a:lnTo>
                    <a:lnTo>
                      <a:pt x="14" y="70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16" y="53"/>
                    </a:lnTo>
                    <a:lnTo>
                      <a:pt x="19" y="53"/>
                    </a:lnTo>
                    <a:lnTo>
                      <a:pt x="19" y="50"/>
                    </a:lnTo>
                    <a:lnTo>
                      <a:pt x="19" y="47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25" y="42"/>
                    </a:lnTo>
                    <a:lnTo>
                      <a:pt x="19" y="45"/>
                    </a:lnTo>
                    <a:lnTo>
                      <a:pt x="19" y="42"/>
                    </a:lnTo>
                    <a:lnTo>
                      <a:pt x="22" y="39"/>
                    </a:lnTo>
                    <a:lnTo>
                      <a:pt x="19" y="39"/>
                    </a:lnTo>
                    <a:lnTo>
                      <a:pt x="14" y="36"/>
                    </a:lnTo>
                    <a:lnTo>
                      <a:pt x="14" y="31"/>
                    </a:lnTo>
                    <a:lnTo>
                      <a:pt x="19" y="28"/>
                    </a:lnTo>
                    <a:lnTo>
                      <a:pt x="22" y="25"/>
                    </a:lnTo>
                    <a:lnTo>
                      <a:pt x="25" y="28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30" y="8"/>
                    </a:lnTo>
                    <a:lnTo>
                      <a:pt x="3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3" name="Freeform 516"/>
              <p:cNvSpPr>
                <a:spLocks noChangeAspect="1"/>
              </p:cNvSpPr>
              <p:nvPr>
                <p:custDataLst>
                  <p:tags r:id="rId661"/>
                </p:custDataLst>
              </p:nvPr>
            </p:nvSpPr>
            <p:spPr bwMode="gray">
              <a:xfrm>
                <a:off x="6307816" y="1659834"/>
                <a:ext cx="311283" cy="294851"/>
              </a:xfrm>
              <a:custGeom>
                <a:avLst/>
                <a:gdLst>
                  <a:gd name="T0" fmla="*/ 8 w 239"/>
                  <a:gd name="T1" fmla="*/ 192 h 228"/>
                  <a:gd name="T2" fmla="*/ 25 w 239"/>
                  <a:gd name="T3" fmla="*/ 181 h 228"/>
                  <a:gd name="T4" fmla="*/ 25 w 239"/>
                  <a:gd name="T5" fmla="*/ 175 h 228"/>
                  <a:gd name="T6" fmla="*/ 25 w 239"/>
                  <a:gd name="T7" fmla="*/ 164 h 228"/>
                  <a:gd name="T8" fmla="*/ 31 w 239"/>
                  <a:gd name="T9" fmla="*/ 159 h 228"/>
                  <a:gd name="T10" fmla="*/ 36 w 239"/>
                  <a:gd name="T11" fmla="*/ 148 h 228"/>
                  <a:gd name="T12" fmla="*/ 39 w 239"/>
                  <a:gd name="T13" fmla="*/ 142 h 228"/>
                  <a:gd name="T14" fmla="*/ 36 w 239"/>
                  <a:gd name="T15" fmla="*/ 131 h 228"/>
                  <a:gd name="T16" fmla="*/ 31 w 239"/>
                  <a:gd name="T17" fmla="*/ 128 h 228"/>
                  <a:gd name="T18" fmla="*/ 36 w 239"/>
                  <a:gd name="T19" fmla="*/ 117 h 228"/>
                  <a:gd name="T20" fmla="*/ 47 w 239"/>
                  <a:gd name="T21" fmla="*/ 111 h 228"/>
                  <a:gd name="T22" fmla="*/ 64 w 239"/>
                  <a:gd name="T23" fmla="*/ 97 h 228"/>
                  <a:gd name="T24" fmla="*/ 75 w 239"/>
                  <a:gd name="T25" fmla="*/ 86 h 228"/>
                  <a:gd name="T26" fmla="*/ 97 w 239"/>
                  <a:gd name="T27" fmla="*/ 67 h 228"/>
                  <a:gd name="T28" fmla="*/ 109 w 239"/>
                  <a:gd name="T29" fmla="*/ 67 h 228"/>
                  <a:gd name="T30" fmla="*/ 114 w 239"/>
                  <a:gd name="T31" fmla="*/ 53 h 228"/>
                  <a:gd name="T32" fmla="*/ 120 w 239"/>
                  <a:gd name="T33" fmla="*/ 45 h 228"/>
                  <a:gd name="T34" fmla="*/ 139 w 239"/>
                  <a:gd name="T35" fmla="*/ 53 h 228"/>
                  <a:gd name="T36" fmla="*/ 162 w 239"/>
                  <a:gd name="T37" fmla="*/ 47 h 228"/>
                  <a:gd name="T38" fmla="*/ 170 w 239"/>
                  <a:gd name="T39" fmla="*/ 42 h 228"/>
                  <a:gd name="T40" fmla="*/ 189 w 239"/>
                  <a:gd name="T41" fmla="*/ 31 h 228"/>
                  <a:gd name="T42" fmla="*/ 195 w 239"/>
                  <a:gd name="T43" fmla="*/ 11 h 228"/>
                  <a:gd name="T44" fmla="*/ 214 w 239"/>
                  <a:gd name="T45" fmla="*/ 0 h 228"/>
                  <a:gd name="T46" fmla="*/ 237 w 239"/>
                  <a:gd name="T47" fmla="*/ 11 h 228"/>
                  <a:gd name="T48" fmla="*/ 237 w 239"/>
                  <a:gd name="T49" fmla="*/ 33 h 228"/>
                  <a:gd name="T50" fmla="*/ 228 w 239"/>
                  <a:gd name="T51" fmla="*/ 56 h 228"/>
                  <a:gd name="T52" fmla="*/ 203 w 239"/>
                  <a:gd name="T53" fmla="*/ 67 h 228"/>
                  <a:gd name="T54" fmla="*/ 184 w 239"/>
                  <a:gd name="T55" fmla="*/ 72 h 228"/>
                  <a:gd name="T56" fmla="*/ 159 w 239"/>
                  <a:gd name="T57" fmla="*/ 89 h 228"/>
                  <a:gd name="T58" fmla="*/ 153 w 239"/>
                  <a:gd name="T59" fmla="*/ 89 h 228"/>
                  <a:gd name="T60" fmla="*/ 134 w 239"/>
                  <a:gd name="T61" fmla="*/ 103 h 228"/>
                  <a:gd name="T62" fmla="*/ 109 w 239"/>
                  <a:gd name="T63" fmla="*/ 125 h 228"/>
                  <a:gd name="T64" fmla="*/ 109 w 239"/>
                  <a:gd name="T65" fmla="*/ 134 h 228"/>
                  <a:gd name="T66" fmla="*/ 95 w 239"/>
                  <a:gd name="T67" fmla="*/ 145 h 228"/>
                  <a:gd name="T68" fmla="*/ 86 w 239"/>
                  <a:gd name="T69" fmla="*/ 148 h 228"/>
                  <a:gd name="T70" fmla="*/ 86 w 239"/>
                  <a:gd name="T71" fmla="*/ 156 h 228"/>
                  <a:gd name="T72" fmla="*/ 81 w 239"/>
                  <a:gd name="T73" fmla="*/ 164 h 228"/>
                  <a:gd name="T74" fmla="*/ 78 w 239"/>
                  <a:gd name="T75" fmla="*/ 170 h 228"/>
                  <a:gd name="T76" fmla="*/ 75 w 239"/>
                  <a:gd name="T77" fmla="*/ 175 h 228"/>
                  <a:gd name="T78" fmla="*/ 72 w 239"/>
                  <a:gd name="T79" fmla="*/ 181 h 228"/>
                  <a:gd name="T80" fmla="*/ 61 w 239"/>
                  <a:gd name="T81" fmla="*/ 173 h 228"/>
                  <a:gd name="T82" fmla="*/ 64 w 239"/>
                  <a:gd name="T83" fmla="*/ 187 h 228"/>
                  <a:gd name="T84" fmla="*/ 64 w 239"/>
                  <a:gd name="T85" fmla="*/ 201 h 228"/>
                  <a:gd name="T86" fmla="*/ 50 w 239"/>
                  <a:gd name="T87" fmla="*/ 198 h 228"/>
                  <a:gd name="T88" fmla="*/ 58 w 239"/>
                  <a:gd name="T89" fmla="*/ 209 h 228"/>
                  <a:gd name="T90" fmla="*/ 53 w 239"/>
                  <a:gd name="T91" fmla="*/ 212 h 228"/>
                  <a:gd name="T92" fmla="*/ 50 w 239"/>
                  <a:gd name="T93" fmla="*/ 223 h 228"/>
                  <a:gd name="T94" fmla="*/ 33 w 239"/>
                  <a:gd name="T95" fmla="*/ 223 h 228"/>
                  <a:gd name="T96" fmla="*/ 8 w 239"/>
                  <a:gd name="T97" fmla="*/ 223 h 228"/>
                  <a:gd name="T98" fmla="*/ 11 w 239"/>
                  <a:gd name="T99" fmla="*/ 212 h 228"/>
                  <a:gd name="T100" fmla="*/ 20 w 239"/>
                  <a:gd name="T101" fmla="*/ 201 h 228"/>
                  <a:gd name="T102" fmla="*/ 6 w 239"/>
                  <a:gd name="T103" fmla="*/ 203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9" h="228">
                    <a:moveTo>
                      <a:pt x="0" y="198"/>
                    </a:moveTo>
                    <a:lnTo>
                      <a:pt x="0" y="198"/>
                    </a:lnTo>
                    <a:lnTo>
                      <a:pt x="3" y="198"/>
                    </a:lnTo>
                    <a:lnTo>
                      <a:pt x="6" y="198"/>
                    </a:lnTo>
                    <a:lnTo>
                      <a:pt x="8" y="192"/>
                    </a:lnTo>
                    <a:lnTo>
                      <a:pt x="17" y="189"/>
                    </a:lnTo>
                    <a:lnTo>
                      <a:pt x="17" y="187"/>
                    </a:lnTo>
                    <a:lnTo>
                      <a:pt x="17" y="181"/>
                    </a:lnTo>
                    <a:lnTo>
                      <a:pt x="22" y="178"/>
                    </a:lnTo>
                    <a:lnTo>
                      <a:pt x="25" y="181"/>
                    </a:lnTo>
                    <a:lnTo>
                      <a:pt x="31" y="181"/>
                    </a:lnTo>
                    <a:lnTo>
                      <a:pt x="33" y="184"/>
                    </a:lnTo>
                    <a:lnTo>
                      <a:pt x="39" y="184"/>
                    </a:lnTo>
                    <a:lnTo>
                      <a:pt x="36" y="181"/>
                    </a:lnTo>
                    <a:lnTo>
                      <a:pt x="25" y="175"/>
                    </a:lnTo>
                    <a:lnTo>
                      <a:pt x="22" y="173"/>
                    </a:lnTo>
                    <a:lnTo>
                      <a:pt x="25" y="173"/>
                    </a:lnTo>
                    <a:lnTo>
                      <a:pt x="31" y="173"/>
                    </a:lnTo>
                    <a:lnTo>
                      <a:pt x="31" y="170"/>
                    </a:lnTo>
                    <a:lnTo>
                      <a:pt x="25" y="164"/>
                    </a:lnTo>
                    <a:lnTo>
                      <a:pt x="25" y="164"/>
                    </a:lnTo>
                    <a:lnTo>
                      <a:pt x="33" y="164"/>
                    </a:lnTo>
                    <a:lnTo>
                      <a:pt x="36" y="162"/>
                    </a:lnTo>
                    <a:lnTo>
                      <a:pt x="33" y="159"/>
                    </a:lnTo>
                    <a:lnTo>
                      <a:pt x="31" y="159"/>
                    </a:lnTo>
                    <a:lnTo>
                      <a:pt x="28" y="153"/>
                    </a:lnTo>
                    <a:lnTo>
                      <a:pt x="28" y="150"/>
                    </a:lnTo>
                    <a:lnTo>
                      <a:pt x="28" y="148"/>
                    </a:lnTo>
                    <a:lnTo>
                      <a:pt x="31" y="150"/>
                    </a:lnTo>
                    <a:lnTo>
                      <a:pt x="36" y="148"/>
                    </a:lnTo>
                    <a:lnTo>
                      <a:pt x="42" y="148"/>
                    </a:lnTo>
                    <a:lnTo>
                      <a:pt x="47" y="148"/>
                    </a:lnTo>
                    <a:lnTo>
                      <a:pt x="45" y="148"/>
                    </a:lnTo>
                    <a:lnTo>
                      <a:pt x="42" y="145"/>
                    </a:lnTo>
                    <a:lnTo>
                      <a:pt x="39" y="142"/>
                    </a:lnTo>
                    <a:lnTo>
                      <a:pt x="36" y="142"/>
                    </a:lnTo>
                    <a:lnTo>
                      <a:pt x="31" y="142"/>
                    </a:lnTo>
                    <a:lnTo>
                      <a:pt x="31" y="139"/>
                    </a:lnTo>
                    <a:lnTo>
                      <a:pt x="33" y="136"/>
                    </a:lnTo>
                    <a:lnTo>
                      <a:pt x="36" y="131"/>
                    </a:lnTo>
                    <a:lnTo>
                      <a:pt x="33" y="131"/>
                    </a:lnTo>
                    <a:lnTo>
                      <a:pt x="33" y="131"/>
                    </a:lnTo>
                    <a:lnTo>
                      <a:pt x="33" y="128"/>
                    </a:lnTo>
                    <a:lnTo>
                      <a:pt x="31" y="131"/>
                    </a:lnTo>
                    <a:lnTo>
                      <a:pt x="31" y="128"/>
                    </a:lnTo>
                    <a:lnTo>
                      <a:pt x="28" y="125"/>
                    </a:lnTo>
                    <a:lnTo>
                      <a:pt x="31" y="123"/>
                    </a:lnTo>
                    <a:lnTo>
                      <a:pt x="28" y="120"/>
                    </a:lnTo>
                    <a:lnTo>
                      <a:pt x="31" y="117"/>
                    </a:lnTo>
                    <a:lnTo>
                      <a:pt x="36" y="117"/>
                    </a:lnTo>
                    <a:lnTo>
                      <a:pt x="36" y="123"/>
                    </a:lnTo>
                    <a:lnTo>
                      <a:pt x="39" y="123"/>
                    </a:lnTo>
                    <a:lnTo>
                      <a:pt x="45" y="120"/>
                    </a:lnTo>
                    <a:lnTo>
                      <a:pt x="47" y="117"/>
                    </a:lnTo>
                    <a:lnTo>
                      <a:pt x="47" y="111"/>
                    </a:lnTo>
                    <a:lnTo>
                      <a:pt x="53" y="109"/>
                    </a:lnTo>
                    <a:lnTo>
                      <a:pt x="58" y="111"/>
                    </a:lnTo>
                    <a:lnTo>
                      <a:pt x="64" y="103"/>
                    </a:lnTo>
                    <a:lnTo>
                      <a:pt x="67" y="100"/>
                    </a:lnTo>
                    <a:lnTo>
                      <a:pt x="64" y="97"/>
                    </a:lnTo>
                    <a:lnTo>
                      <a:pt x="67" y="95"/>
                    </a:lnTo>
                    <a:lnTo>
                      <a:pt x="67" y="92"/>
                    </a:lnTo>
                    <a:lnTo>
                      <a:pt x="72" y="89"/>
                    </a:lnTo>
                    <a:lnTo>
                      <a:pt x="75" y="89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8" y="81"/>
                    </a:lnTo>
                    <a:lnTo>
                      <a:pt x="78" y="78"/>
                    </a:lnTo>
                    <a:lnTo>
                      <a:pt x="95" y="70"/>
                    </a:lnTo>
                    <a:lnTo>
                      <a:pt x="97" y="67"/>
                    </a:lnTo>
                    <a:lnTo>
                      <a:pt x="100" y="61"/>
                    </a:lnTo>
                    <a:lnTo>
                      <a:pt x="106" y="56"/>
                    </a:lnTo>
                    <a:lnTo>
                      <a:pt x="109" y="59"/>
                    </a:lnTo>
                    <a:lnTo>
                      <a:pt x="106" y="67"/>
                    </a:lnTo>
                    <a:lnTo>
                      <a:pt x="109" y="67"/>
                    </a:lnTo>
                    <a:lnTo>
                      <a:pt x="109" y="64"/>
                    </a:lnTo>
                    <a:lnTo>
                      <a:pt x="114" y="61"/>
                    </a:lnTo>
                    <a:lnTo>
                      <a:pt x="117" y="59"/>
                    </a:lnTo>
                    <a:lnTo>
                      <a:pt x="114" y="56"/>
                    </a:lnTo>
                    <a:lnTo>
                      <a:pt x="114" y="53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17" y="47"/>
                    </a:lnTo>
                    <a:lnTo>
                      <a:pt x="114" y="45"/>
                    </a:lnTo>
                    <a:lnTo>
                      <a:pt x="120" y="45"/>
                    </a:lnTo>
                    <a:lnTo>
                      <a:pt x="123" y="47"/>
                    </a:lnTo>
                    <a:lnTo>
                      <a:pt x="134" y="47"/>
                    </a:lnTo>
                    <a:lnTo>
                      <a:pt x="134" y="53"/>
                    </a:lnTo>
                    <a:lnTo>
                      <a:pt x="136" y="56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56" y="45"/>
                    </a:lnTo>
                    <a:lnTo>
                      <a:pt x="159" y="45"/>
                    </a:lnTo>
                    <a:lnTo>
                      <a:pt x="159" y="47"/>
                    </a:lnTo>
                    <a:lnTo>
                      <a:pt x="162" y="47"/>
                    </a:lnTo>
                    <a:lnTo>
                      <a:pt x="162" y="47"/>
                    </a:lnTo>
                    <a:lnTo>
                      <a:pt x="164" y="45"/>
                    </a:lnTo>
                    <a:lnTo>
                      <a:pt x="167" y="45"/>
                    </a:lnTo>
                    <a:lnTo>
                      <a:pt x="167" y="42"/>
                    </a:lnTo>
                    <a:lnTo>
                      <a:pt x="170" y="42"/>
                    </a:lnTo>
                    <a:lnTo>
                      <a:pt x="175" y="36"/>
                    </a:lnTo>
                    <a:lnTo>
                      <a:pt x="181" y="36"/>
                    </a:lnTo>
                    <a:lnTo>
                      <a:pt x="184" y="31"/>
                    </a:lnTo>
                    <a:lnTo>
                      <a:pt x="187" y="33"/>
                    </a:lnTo>
                    <a:lnTo>
                      <a:pt x="189" y="31"/>
                    </a:lnTo>
                    <a:lnTo>
                      <a:pt x="189" y="28"/>
                    </a:lnTo>
                    <a:lnTo>
                      <a:pt x="189" y="20"/>
                    </a:lnTo>
                    <a:lnTo>
                      <a:pt x="189" y="17"/>
                    </a:lnTo>
                    <a:lnTo>
                      <a:pt x="192" y="17"/>
                    </a:lnTo>
                    <a:lnTo>
                      <a:pt x="195" y="11"/>
                    </a:lnTo>
                    <a:lnTo>
                      <a:pt x="198" y="11"/>
                    </a:lnTo>
                    <a:lnTo>
                      <a:pt x="200" y="8"/>
                    </a:lnTo>
                    <a:lnTo>
                      <a:pt x="203" y="6"/>
                    </a:lnTo>
                    <a:lnTo>
                      <a:pt x="206" y="6"/>
                    </a:lnTo>
                    <a:lnTo>
                      <a:pt x="214" y="0"/>
                    </a:lnTo>
                    <a:lnTo>
                      <a:pt x="223" y="0"/>
                    </a:lnTo>
                    <a:lnTo>
                      <a:pt x="231" y="6"/>
                    </a:lnTo>
                    <a:lnTo>
                      <a:pt x="234" y="6"/>
                    </a:lnTo>
                    <a:lnTo>
                      <a:pt x="234" y="8"/>
                    </a:lnTo>
                    <a:lnTo>
                      <a:pt x="237" y="11"/>
                    </a:lnTo>
                    <a:lnTo>
                      <a:pt x="237" y="14"/>
                    </a:lnTo>
                    <a:lnTo>
                      <a:pt x="239" y="22"/>
                    </a:lnTo>
                    <a:lnTo>
                      <a:pt x="239" y="25"/>
                    </a:lnTo>
                    <a:lnTo>
                      <a:pt x="237" y="28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9" y="36"/>
                    </a:lnTo>
                    <a:lnTo>
                      <a:pt x="237" y="36"/>
                    </a:lnTo>
                    <a:lnTo>
                      <a:pt x="228" y="50"/>
                    </a:lnTo>
                    <a:lnTo>
                      <a:pt x="228" y="56"/>
                    </a:lnTo>
                    <a:lnTo>
                      <a:pt x="226" y="53"/>
                    </a:lnTo>
                    <a:lnTo>
                      <a:pt x="223" y="53"/>
                    </a:lnTo>
                    <a:lnTo>
                      <a:pt x="220" y="53"/>
                    </a:lnTo>
                    <a:lnTo>
                      <a:pt x="209" y="64"/>
                    </a:lnTo>
                    <a:lnTo>
                      <a:pt x="203" y="67"/>
                    </a:lnTo>
                    <a:lnTo>
                      <a:pt x="200" y="67"/>
                    </a:lnTo>
                    <a:lnTo>
                      <a:pt x="195" y="70"/>
                    </a:lnTo>
                    <a:lnTo>
                      <a:pt x="189" y="70"/>
                    </a:lnTo>
                    <a:lnTo>
                      <a:pt x="184" y="70"/>
                    </a:lnTo>
                    <a:lnTo>
                      <a:pt x="184" y="72"/>
                    </a:lnTo>
                    <a:lnTo>
                      <a:pt x="181" y="75"/>
                    </a:lnTo>
                    <a:lnTo>
                      <a:pt x="178" y="78"/>
                    </a:lnTo>
                    <a:lnTo>
                      <a:pt x="178" y="75"/>
                    </a:lnTo>
                    <a:lnTo>
                      <a:pt x="175" y="81"/>
                    </a:lnTo>
                    <a:lnTo>
                      <a:pt x="159" y="89"/>
                    </a:lnTo>
                    <a:lnTo>
                      <a:pt x="159" y="89"/>
                    </a:lnTo>
                    <a:lnTo>
                      <a:pt x="156" y="84"/>
                    </a:lnTo>
                    <a:lnTo>
                      <a:pt x="153" y="84"/>
                    </a:lnTo>
                    <a:lnTo>
                      <a:pt x="153" y="89"/>
                    </a:lnTo>
                    <a:lnTo>
                      <a:pt x="153" y="89"/>
                    </a:lnTo>
                    <a:lnTo>
                      <a:pt x="153" y="92"/>
                    </a:lnTo>
                    <a:lnTo>
                      <a:pt x="145" y="100"/>
                    </a:lnTo>
                    <a:lnTo>
                      <a:pt x="136" y="103"/>
                    </a:lnTo>
                    <a:lnTo>
                      <a:pt x="134" y="106"/>
                    </a:lnTo>
                    <a:lnTo>
                      <a:pt x="134" y="103"/>
                    </a:lnTo>
                    <a:lnTo>
                      <a:pt x="120" y="123"/>
                    </a:lnTo>
                    <a:lnTo>
                      <a:pt x="114" y="125"/>
                    </a:lnTo>
                    <a:lnTo>
                      <a:pt x="111" y="128"/>
                    </a:lnTo>
                    <a:lnTo>
                      <a:pt x="111" y="125"/>
                    </a:lnTo>
                    <a:lnTo>
                      <a:pt x="109" y="125"/>
                    </a:lnTo>
                    <a:lnTo>
                      <a:pt x="106" y="123"/>
                    </a:lnTo>
                    <a:lnTo>
                      <a:pt x="106" y="128"/>
                    </a:lnTo>
                    <a:lnTo>
                      <a:pt x="106" y="131"/>
                    </a:lnTo>
                    <a:lnTo>
                      <a:pt x="109" y="131"/>
                    </a:lnTo>
                    <a:lnTo>
                      <a:pt x="109" y="134"/>
                    </a:lnTo>
                    <a:lnTo>
                      <a:pt x="103" y="142"/>
                    </a:lnTo>
                    <a:lnTo>
                      <a:pt x="103" y="145"/>
                    </a:lnTo>
                    <a:lnTo>
                      <a:pt x="103" y="148"/>
                    </a:lnTo>
                    <a:lnTo>
                      <a:pt x="97" y="148"/>
                    </a:lnTo>
                    <a:lnTo>
                      <a:pt x="95" y="145"/>
                    </a:lnTo>
                    <a:lnTo>
                      <a:pt x="89" y="142"/>
                    </a:lnTo>
                    <a:lnTo>
                      <a:pt x="92" y="145"/>
                    </a:lnTo>
                    <a:lnTo>
                      <a:pt x="95" y="150"/>
                    </a:lnTo>
                    <a:lnTo>
                      <a:pt x="97" y="156"/>
                    </a:lnTo>
                    <a:lnTo>
                      <a:pt x="86" y="148"/>
                    </a:lnTo>
                    <a:lnTo>
                      <a:pt x="84" y="150"/>
                    </a:lnTo>
                    <a:lnTo>
                      <a:pt x="84" y="150"/>
                    </a:lnTo>
                    <a:lnTo>
                      <a:pt x="84" y="153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4" y="156"/>
                    </a:lnTo>
                    <a:lnTo>
                      <a:pt x="84" y="156"/>
                    </a:lnTo>
                    <a:lnTo>
                      <a:pt x="84" y="162"/>
                    </a:lnTo>
                    <a:lnTo>
                      <a:pt x="84" y="164"/>
                    </a:lnTo>
                    <a:lnTo>
                      <a:pt x="81" y="164"/>
                    </a:lnTo>
                    <a:lnTo>
                      <a:pt x="81" y="162"/>
                    </a:lnTo>
                    <a:lnTo>
                      <a:pt x="72" y="153"/>
                    </a:lnTo>
                    <a:lnTo>
                      <a:pt x="72" y="156"/>
                    </a:lnTo>
                    <a:lnTo>
                      <a:pt x="75" y="162"/>
                    </a:lnTo>
                    <a:lnTo>
                      <a:pt x="78" y="170"/>
                    </a:lnTo>
                    <a:lnTo>
                      <a:pt x="81" y="173"/>
                    </a:lnTo>
                    <a:lnTo>
                      <a:pt x="78" y="173"/>
                    </a:lnTo>
                    <a:lnTo>
                      <a:pt x="78" y="178"/>
                    </a:lnTo>
                    <a:lnTo>
                      <a:pt x="75" y="175"/>
                    </a:lnTo>
                    <a:lnTo>
                      <a:pt x="75" y="175"/>
                    </a:lnTo>
                    <a:lnTo>
                      <a:pt x="75" y="178"/>
                    </a:lnTo>
                    <a:lnTo>
                      <a:pt x="75" y="181"/>
                    </a:lnTo>
                    <a:lnTo>
                      <a:pt x="75" y="181"/>
                    </a:lnTo>
                    <a:lnTo>
                      <a:pt x="72" y="178"/>
                    </a:lnTo>
                    <a:lnTo>
                      <a:pt x="72" y="181"/>
                    </a:lnTo>
                    <a:lnTo>
                      <a:pt x="72" y="187"/>
                    </a:lnTo>
                    <a:lnTo>
                      <a:pt x="70" y="187"/>
                    </a:lnTo>
                    <a:lnTo>
                      <a:pt x="70" y="184"/>
                    </a:lnTo>
                    <a:lnTo>
                      <a:pt x="67" y="184"/>
                    </a:lnTo>
                    <a:lnTo>
                      <a:pt x="61" y="173"/>
                    </a:lnTo>
                    <a:lnTo>
                      <a:pt x="58" y="178"/>
                    </a:lnTo>
                    <a:lnTo>
                      <a:pt x="61" y="181"/>
                    </a:lnTo>
                    <a:lnTo>
                      <a:pt x="56" y="184"/>
                    </a:lnTo>
                    <a:lnTo>
                      <a:pt x="61" y="184"/>
                    </a:lnTo>
                    <a:lnTo>
                      <a:pt x="64" y="187"/>
                    </a:lnTo>
                    <a:lnTo>
                      <a:pt x="64" y="189"/>
                    </a:lnTo>
                    <a:lnTo>
                      <a:pt x="67" y="192"/>
                    </a:lnTo>
                    <a:lnTo>
                      <a:pt x="64" y="192"/>
                    </a:lnTo>
                    <a:lnTo>
                      <a:pt x="64" y="195"/>
                    </a:lnTo>
                    <a:lnTo>
                      <a:pt x="64" y="201"/>
                    </a:lnTo>
                    <a:lnTo>
                      <a:pt x="61" y="201"/>
                    </a:lnTo>
                    <a:lnTo>
                      <a:pt x="61" y="195"/>
                    </a:lnTo>
                    <a:lnTo>
                      <a:pt x="50" y="195"/>
                    </a:lnTo>
                    <a:lnTo>
                      <a:pt x="47" y="195"/>
                    </a:lnTo>
                    <a:lnTo>
                      <a:pt x="50" y="198"/>
                    </a:lnTo>
                    <a:lnTo>
                      <a:pt x="56" y="198"/>
                    </a:lnTo>
                    <a:lnTo>
                      <a:pt x="58" y="203"/>
                    </a:lnTo>
                    <a:lnTo>
                      <a:pt x="61" y="206"/>
                    </a:lnTo>
                    <a:lnTo>
                      <a:pt x="58" y="209"/>
                    </a:lnTo>
                    <a:lnTo>
                      <a:pt x="58" y="209"/>
                    </a:lnTo>
                    <a:lnTo>
                      <a:pt x="58" y="212"/>
                    </a:lnTo>
                    <a:lnTo>
                      <a:pt x="53" y="209"/>
                    </a:lnTo>
                    <a:lnTo>
                      <a:pt x="53" y="206"/>
                    </a:lnTo>
                    <a:lnTo>
                      <a:pt x="50" y="203"/>
                    </a:lnTo>
                    <a:lnTo>
                      <a:pt x="53" y="212"/>
                    </a:lnTo>
                    <a:lnTo>
                      <a:pt x="56" y="214"/>
                    </a:lnTo>
                    <a:lnTo>
                      <a:pt x="56" y="217"/>
                    </a:lnTo>
                    <a:lnTo>
                      <a:pt x="53" y="220"/>
                    </a:lnTo>
                    <a:lnTo>
                      <a:pt x="50" y="223"/>
                    </a:lnTo>
                    <a:lnTo>
                      <a:pt x="50" y="223"/>
                    </a:lnTo>
                    <a:lnTo>
                      <a:pt x="47" y="228"/>
                    </a:lnTo>
                    <a:lnTo>
                      <a:pt x="45" y="228"/>
                    </a:lnTo>
                    <a:lnTo>
                      <a:pt x="45" y="226"/>
                    </a:lnTo>
                    <a:lnTo>
                      <a:pt x="39" y="226"/>
                    </a:lnTo>
                    <a:lnTo>
                      <a:pt x="33" y="223"/>
                    </a:lnTo>
                    <a:lnTo>
                      <a:pt x="28" y="223"/>
                    </a:lnTo>
                    <a:lnTo>
                      <a:pt x="22" y="217"/>
                    </a:lnTo>
                    <a:lnTo>
                      <a:pt x="17" y="217"/>
                    </a:lnTo>
                    <a:lnTo>
                      <a:pt x="11" y="223"/>
                    </a:lnTo>
                    <a:lnTo>
                      <a:pt x="8" y="223"/>
                    </a:lnTo>
                    <a:lnTo>
                      <a:pt x="11" y="220"/>
                    </a:lnTo>
                    <a:lnTo>
                      <a:pt x="11" y="217"/>
                    </a:lnTo>
                    <a:lnTo>
                      <a:pt x="8" y="217"/>
                    </a:lnTo>
                    <a:lnTo>
                      <a:pt x="11" y="214"/>
                    </a:lnTo>
                    <a:lnTo>
                      <a:pt x="11" y="212"/>
                    </a:lnTo>
                    <a:lnTo>
                      <a:pt x="17" y="206"/>
                    </a:lnTo>
                    <a:lnTo>
                      <a:pt x="20" y="206"/>
                    </a:lnTo>
                    <a:lnTo>
                      <a:pt x="22" y="203"/>
                    </a:lnTo>
                    <a:lnTo>
                      <a:pt x="22" y="203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14" y="203"/>
                    </a:lnTo>
                    <a:lnTo>
                      <a:pt x="11" y="209"/>
                    </a:lnTo>
                    <a:lnTo>
                      <a:pt x="6" y="206"/>
                    </a:lnTo>
                    <a:lnTo>
                      <a:pt x="6" y="203"/>
                    </a:lnTo>
                    <a:lnTo>
                      <a:pt x="3" y="203"/>
                    </a:lnTo>
                    <a:lnTo>
                      <a:pt x="0" y="19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4" name="Freeform 517"/>
              <p:cNvSpPr>
                <a:spLocks noChangeAspect="1"/>
              </p:cNvSpPr>
              <p:nvPr>
                <p:custDataLst>
                  <p:tags r:id="rId662"/>
                </p:custDataLst>
              </p:nvPr>
            </p:nvSpPr>
            <p:spPr bwMode="gray">
              <a:xfrm>
                <a:off x="6307816" y="1659834"/>
                <a:ext cx="311283" cy="294851"/>
              </a:xfrm>
              <a:custGeom>
                <a:avLst/>
                <a:gdLst>
                  <a:gd name="T0" fmla="*/ 8 w 239"/>
                  <a:gd name="T1" fmla="*/ 192 h 228"/>
                  <a:gd name="T2" fmla="*/ 25 w 239"/>
                  <a:gd name="T3" fmla="*/ 181 h 228"/>
                  <a:gd name="T4" fmla="*/ 25 w 239"/>
                  <a:gd name="T5" fmla="*/ 175 h 228"/>
                  <a:gd name="T6" fmla="*/ 25 w 239"/>
                  <a:gd name="T7" fmla="*/ 164 h 228"/>
                  <a:gd name="T8" fmla="*/ 31 w 239"/>
                  <a:gd name="T9" fmla="*/ 159 h 228"/>
                  <a:gd name="T10" fmla="*/ 36 w 239"/>
                  <a:gd name="T11" fmla="*/ 148 h 228"/>
                  <a:gd name="T12" fmla="*/ 39 w 239"/>
                  <a:gd name="T13" fmla="*/ 142 h 228"/>
                  <a:gd name="T14" fmla="*/ 36 w 239"/>
                  <a:gd name="T15" fmla="*/ 131 h 228"/>
                  <a:gd name="T16" fmla="*/ 31 w 239"/>
                  <a:gd name="T17" fmla="*/ 128 h 228"/>
                  <a:gd name="T18" fmla="*/ 36 w 239"/>
                  <a:gd name="T19" fmla="*/ 117 h 228"/>
                  <a:gd name="T20" fmla="*/ 47 w 239"/>
                  <a:gd name="T21" fmla="*/ 111 h 228"/>
                  <a:gd name="T22" fmla="*/ 64 w 239"/>
                  <a:gd name="T23" fmla="*/ 97 h 228"/>
                  <a:gd name="T24" fmla="*/ 75 w 239"/>
                  <a:gd name="T25" fmla="*/ 86 h 228"/>
                  <a:gd name="T26" fmla="*/ 97 w 239"/>
                  <a:gd name="T27" fmla="*/ 67 h 228"/>
                  <a:gd name="T28" fmla="*/ 109 w 239"/>
                  <a:gd name="T29" fmla="*/ 67 h 228"/>
                  <a:gd name="T30" fmla="*/ 114 w 239"/>
                  <a:gd name="T31" fmla="*/ 53 h 228"/>
                  <a:gd name="T32" fmla="*/ 120 w 239"/>
                  <a:gd name="T33" fmla="*/ 45 h 228"/>
                  <a:gd name="T34" fmla="*/ 139 w 239"/>
                  <a:gd name="T35" fmla="*/ 53 h 228"/>
                  <a:gd name="T36" fmla="*/ 162 w 239"/>
                  <a:gd name="T37" fmla="*/ 47 h 228"/>
                  <a:gd name="T38" fmla="*/ 170 w 239"/>
                  <a:gd name="T39" fmla="*/ 42 h 228"/>
                  <a:gd name="T40" fmla="*/ 189 w 239"/>
                  <a:gd name="T41" fmla="*/ 31 h 228"/>
                  <a:gd name="T42" fmla="*/ 195 w 239"/>
                  <a:gd name="T43" fmla="*/ 11 h 228"/>
                  <a:gd name="T44" fmla="*/ 214 w 239"/>
                  <a:gd name="T45" fmla="*/ 0 h 228"/>
                  <a:gd name="T46" fmla="*/ 237 w 239"/>
                  <a:gd name="T47" fmla="*/ 11 h 228"/>
                  <a:gd name="T48" fmla="*/ 237 w 239"/>
                  <a:gd name="T49" fmla="*/ 33 h 228"/>
                  <a:gd name="T50" fmla="*/ 228 w 239"/>
                  <a:gd name="T51" fmla="*/ 56 h 228"/>
                  <a:gd name="T52" fmla="*/ 203 w 239"/>
                  <a:gd name="T53" fmla="*/ 67 h 228"/>
                  <a:gd name="T54" fmla="*/ 184 w 239"/>
                  <a:gd name="T55" fmla="*/ 72 h 228"/>
                  <a:gd name="T56" fmla="*/ 159 w 239"/>
                  <a:gd name="T57" fmla="*/ 89 h 228"/>
                  <a:gd name="T58" fmla="*/ 153 w 239"/>
                  <a:gd name="T59" fmla="*/ 89 h 228"/>
                  <a:gd name="T60" fmla="*/ 134 w 239"/>
                  <a:gd name="T61" fmla="*/ 103 h 228"/>
                  <a:gd name="T62" fmla="*/ 109 w 239"/>
                  <a:gd name="T63" fmla="*/ 125 h 228"/>
                  <a:gd name="T64" fmla="*/ 109 w 239"/>
                  <a:gd name="T65" fmla="*/ 134 h 228"/>
                  <a:gd name="T66" fmla="*/ 95 w 239"/>
                  <a:gd name="T67" fmla="*/ 145 h 228"/>
                  <a:gd name="T68" fmla="*/ 86 w 239"/>
                  <a:gd name="T69" fmla="*/ 148 h 228"/>
                  <a:gd name="T70" fmla="*/ 86 w 239"/>
                  <a:gd name="T71" fmla="*/ 156 h 228"/>
                  <a:gd name="T72" fmla="*/ 81 w 239"/>
                  <a:gd name="T73" fmla="*/ 164 h 228"/>
                  <a:gd name="T74" fmla="*/ 78 w 239"/>
                  <a:gd name="T75" fmla="*/ 170 h 228"/>
                  <a:gd name="T76" fmla="*/ 75 w 239"/>
                  <a:gd name="T77" fmla="*/ 175 h 228"/>
                  <a:gd name="T78" fmla="*/ 72 w 239"/>
                  <a:gd name="T79" fmla="*/ 181 h 228"/>
                  <a:gd name="T80" fmla="*/ 61 w 239"/>
                  <a:gd name="T81" fmla="*/ 173 h 228"/>
                  <a:gd name="T82" fmla="*/ 64 w 239"/>
                  <a:gd name="T83" fmla="*/ 187 h 228"/>
                  <a:gd name="T84" fmla="*/ 64 w 239"/>
                  <a:gd name="T85" fmla="*/ 201 h 228"/>
                  <a:gd name="T86" fmla="*/ 50 w 239"/>
                  <a:gd name="T87" fmla="*/ 198 h 228"/>
                  <a:gd name="T88" fmla="*/ 58 w 239"/>
                  <a:gd name="T89" fmla="*/ 209 h 228"/>
                  <a:gd name="T90" fmla="*/ 53 w 239"/>
                  <a:gd name="T91" fmla="*/ 212 h 228"/>
                  <a:gd name="T92" fmla="*/ 50 w 239"/>
                  <a:gd name="T93" fmla="*/ 223 h 228"/>
                  <a:gd name="T94" fmla="*/ 33 w 239"/>
                  <a:gd name="T95" fmla="*/ 223 h 228"/>
                  <a:gd name="T96" fmla="*/ 8 w 239"/>
                  <a:gd name="T97" fmla="*/ 223 h 228"/>
                  <a:gd name="T98" fmla="*/ 11 w 239"/>
                  <a:gd name="T99" fmla="*/ 212 h 228"/>
                  <a:gd name="T100" fmla="*/ 20 w 239"/>
                  <a:gd name="T101" fmla="*/ 201 h 228"/>
                  <a:gd name="T102" fmla="*/ 6 w 239"/>
                  <a:gd name="T103" fmla="*/ 203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9" h="228">
                    <a:moveTo>
                      <a:pt x="0" y="198"/>
                    </a:moveTo>
                    <a:lnTo>
                      <a:pt x="0" y="198"/>
                    </a:lnTo>
                    <a:lnTo>
                      <a:pt x="3" y="198"/>
                    </a:lnTo>
                    <a:lnTo>
                      <a:pt x="6" y="198"/>
                    </a:lnTo>
                    <a:lnTo>
                      <a:pt x="8" y="192"/>
                    </a:lnTo>
                    <a:lnTo>
                      <a:pt x="17" y="189"/>
                    </a:lnTo>
                    <a:lnTo>
                      <a:pt x="17" y="187"/>
                    </a:lnTo>
                    <a:lnTo>
                      <a:pt x="17" y="181"/>
                    </a:lnTo>
                    <a:lnTo>
                      <a:pt x="22" y="178"/>
                    </a:lnTo>
                    <a:lnTo>
                      <a:pt x="25" y="181"/>
                    </a:lnTo>
                    <a:lnTo>
                      <a:pt x="31" y="181"/>
                    </a:lnTo>
                    <a:lnTo>
                      <a:pt x="33" y="184"/>
                    </a:lnTo>
                    <a:lnTo>
                      <a:pt x="39" y="184"/>
                    </a:lnTo>
                    <a:lnTo>
                      <a:pt x="36" y="181"/>
                    </a:lnTo>
                    <a:lnTo>
                      <a:pt x="25" y="175"/>
                    </a:lnTo>
                    <a:lnTo>
                      <a:pt x="22" y="173"/>
                    </a:lnTo>
                    <a:lnTo>
                      <a:pt x="25" y="173"/>
                    </a:lnTo>
                    <a:lnTo>
                      <a:pt x="31" y="173"/>
                    </a:lnTo>
                    <a:lnTo>
                      <a:pt x="31" y="170"/>
                    </a:lnTo>
                    <a:lnTo>
                      <a:pt x="25" y="164"/>
                    </a:lnTo>
                    <a:lnTo>
                      <a:pt x="25" y="164"/>
                    </a:lnTo>
                    <a:lnTo>
                      <a:pt x="33" y="164"/>
                    </a:lnTo>
                    <a:lnTo>
                      <a:pt x="36" y="162"/>
                    </a:lnTo>
                    <a:lnTo>
                      <a:pt x="33" y="159"/>
                    </a:lnTo>
                    <a:lnTo>
                      <a:pt x="31" y="159"/>
                    </a:lnTo>
                    <a:lnTo>
                      <a:pt x="28" y="153"/>
                    </a:lnTo>
                    <a:lnTo>
                      <a:pt x="28" y="150"/>
                    </a:lnTo>
                    <a:lnTo>
                      <a:pt x="28" y="148"/>
                    </a:lnTo>
                    <a:lnTo>
                      <a:pt x="31" y="150"/>
                    </a:lnTo>
                    <a:lnTo>
                      <a:pt x="36" y="148"/>
                    </a:lnTo>
                    <a:lnTo>
                      <a:pt x="42" y="148"/>
                    </a:lnTo>
                    <a:lnTo>
                      <a:pt x="47" y="148"/>
                    </a:lnTo>
                    <a:lnTo>
                      <a:pt x="45" y="148"/>
                    </a:lnTo>
                    <a:lnTo>
                      <a:pt x="42" y="145"/>
                    </a:lnTo>
                    <a:lnTo>
                      <a:pt x="39" y="142"/>
                    </a:lnTo>
                    <a:lnTo>
                      <a:pt x="36" y="142"/>
                    </a:lnTo>
                    <a:lnTo>
                      <a:pt x="31" y="142"/>
                    </a:lnTo>
                    <a:lnTo>
                      <a:pt x="31" y="139"/>
                    </a:lnTo>
                    <a:lnTo>
                      <a:pt x="33" y="136"/>
                    </a:lnTo>
                    <a:lnTo>
                      <a:pt x="36" y="131"/>
                    </a:lnTo>
                    <a:lnTo>
                      <a:pt x="33" y="131"/>
                    </a:lnTo>
                    <a:lnTo>
                      <a:pt x="33" y="131"/>
                    </a:lnTo>
                    <a:lnTo>
                      <a:pt x="33" y="128"/>
                    </a:lnTo>
                    <a:lnTo>
                      <a:pt x="31" y="131"/>
                    </a:lnTo>
                    <a:lnTo>
                      <a:pt x="31" y="128"/>
                    </a:lnTo>
                    <a:lnTo>
                      <a:pt x="28" y="125"/>
                    </a:lnTo>
                    <a:lnTo>
                      <a:pt x="31" y="123"/>
                    </a:lnTo>
                    <a:lnTo>
                      <a:pt x="28" y="120"/>
                    </a:lnTo>
                    <a:lnTo>
                      <a:pt x="31" y="117"/>
                    </a:lnTo>
                    <a:lnTo>
                      <a:pt x="36" y="117"/>
                    </a:lnTo>
                    <a:lnTo>
                      <a:pt x="36" y="123"/>
                    </a:lnTo>
                    <a:lnTo>
                      <a:pt x="39" y="123"/>
                    </a:lnTo>
                    <a:lnTo>
                      <a:pt x="45" y="120"/>
                    </a:lnTo>
                    <a:lnTo>
                      <a:pt x="47" y="117"/>
                    </a:lnTo>
                    <a:lnTo>
                      <a:pt x="47" y="111"/>
                    </a:lnTo>
                    <a:lnTo>
                      <a:pt x="53" y="109"/>
                    </a:lnTo>
                    <a:lnTo>
                      <a:pt x="58" y="111"/>
                    </a:lnTo>
                    <a:lnTo>
                      <a:pt x="64" y="103"/>
                    </a:lnTo>
                    <a:lnTo>
                      <a:pt x="67" y="100"/>
                    </a:lnTo>
                    <a:lnTo>
                      <a:pt x="64" y="97"/>
                    </a:lnTo>
                    <a:lnTo>
                      <a:pt x="67" y="95"/>
                    </a:lnTo>
                    <a:lnTo>
                      <a:pt x="67" y="92"/>
                    </a:lnTo>
                    <a:lnTo>
                      <a:pt x="72" y="89"/>
                    </a:lnTo>
                    <a:lnTo>
                      <a:pt x="75" y="89"/>
                    </a:lnTo>
                    <a:lnTo>
                      <a:pt x="75" y="86"/>
                    </a:lnTo>
                    <a:lnTo>
                      <a:pt x="75" y="86"/>
                    </a:lnTo>
                    <a:lnTo>
                      <a:pt x="78" y="81"/>
                    </a:lnTo>
                    <a:lnTo>
                      <a:pt x="78" y="78"/>
                    </a:lnTo>
                    <a:lnTo>
                      <a:pt x="95" y="70"/>
                    </a:lnTo>
                    <a:lnTo>
                      <a:pt x="97" y="67"/>
                    </a:lnTo>
                    <a:lnTo>
                      <a:pt x="100" y="61"/>
                    </a:lnTo>
                    <a:lnTo>
                      <a:pt x="106" y="56"/>
                    </a:lnTo>
                    <a:lnTo>
                      <a:pt x="109" y="59"/>
                    </a:lnTo>
                    <a:lnTo>
                      <a:pt x="106" y="67"/>
                    </a:lnTo>
                    <a:lnTo>
                      <a:pt x="109" y="67"/>
                    </a:lnTo>
                    <a:lnTo>
                      <a:pt x="109" y="64"/>
                    </a:lnTo>
                    <a:lnTo>
                      <a:pt x="114" y="61"/>
                    </a:lnTo>
                    <a:lnTo>
                      <a:pt x="117" y="59"/>
                    </a:lnTo>
                    <a:lnTo>
                      <a:pt x="114" y="56"/>
                    </a:lnTo>
                    <a:lnTo>
                      <a:pt x="114" y="53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17" y="47"/>
                    </a:lnTo>
                    <a:lnTo>
                      <a:pt x="114" y="45"/>
                    </a:lnTo>
                    <a:lnTo>
                      <a:pt x="120" y="45"/>
                    </a:lnTo>
                    <a:lnTo>
                      <a:pt x="123" y="47"/>
                    </a:lnTo>
                    <a:lnTo>
                      <a:pt x="134" y="47"/>
                    </a:lnTo>
                    <a:lnTo>
                      <a:pt x="134" y="53"/>
                    </a:lnTo>
                    <a:lnTo>
                      <a:pt x="136" y="56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56" y="45"/>
                    </a:lnTo>
                    <a:lnTo>
                      <a:pt x="159" y="45"/>
                    </a:lnTo>
                    <a:lnTo>
                      <a:pt x="159" y="47"/>
                    </a:lnTo>
                    <a:lnTo>
                      <a:pt x="162" y="47"/>
                    </a:lnTo>
                    <a:lnTo>
                      <a:pt x="162" y="47"/>
                    </a:lnTo>
                    <a:lnTo>
                      <a:pt x="164" y="45"/>
                    </a:lnTo>
                    <a:lnTo>
                      <a:pt x="167" y="45"/>
                    </a:lnTo>
                    <a:lnTo>
                      <a:pt x="167" y="42"/>
                    </a:lnTo>
                    <a:lnTo>
                      <a:pt x="170" y="42"/>
                    </a:lnTo>
                    <a:lnTo>
                      <a:pt x="175" y="36"/>
                    </a:lnTo>
                    <a:lnTo>
                      <a:pt x="181" y="36"/>
                    </a:lnTo>
                    <a:lnTo>
                      <a:pt x="184" y="31"/>
                    </a:lnTo>
                    <a:lnTo>
                      <a:pt x="187" y="33"/>
                    </a:lnTo>
                    <a:lnTo>
                      <a:pt x="189" y="31"/>
                    </a:lnTo>
                    <a:lnTo>
                      <a:pt x="189" y="28"/>
                    </a:lnTo>
                    <a:lnTo>
                      <a:pt x="189" y="20"/>
                    </a:lnTo>
                    <a:lnTo>
                      <a:pt x="189" y="17"/>
                    </a:lnTo>
                    <a:lnTo>
                      <a:pt x="192" y="17"/>
                    </a:lnTo>
                    <a:lnTo>
                      <a:pt x="195" y="11"/>
                    </a:lnTo>
                    <a:lnTo>
                      <a:pt x="198" y="11"/>
                    </a:lnTo>
                    <a:lnTo>
                      <a:pt x="200" y="8"/>
                    </a:lnTo>
                    <a:lnTo>
                      <a:pt x="203" y="6"/>
                    </a:lnTo>
                    <a:lnTo>
                      <a:pt x="206" y="6"/>
                    </a:lnTo>
                    <a:lnTo>
                      <a:pt x="214" y="0"/>
                    </a:lnTo>
                    <a:lnTo>
                      <a:pt x="223" y="0"/>
                    </a:lnTo>
                    <a:lnTo>
                      <a:pt x="231" y="6"/>
                    </a:lnTo>
                    <a:lnTo>
                      <a:pt x="234" y="6"/>
                    </a:lnTo>
                    <a:lnTo>
                      <a:pt x="234" y="8"/>
                    </a:lnTo>
                    <a:lnTo>
                      <a:pt x="237" y="11"/>
                    </a:lnTo>
                    <a:lnTo>
                      <a:pt x="237" y="14"/>
                    </a:lnTo>
                    <a:lnTo>
                      <a:pt x="239" y="22"/>
                    </a:lnTo>
                    <a:lnTo>
                      <a:pt x="239" y="25"/>
                    </a:lnTo>
                    <a:lnTo>
                      <a:pt x="237" y="28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9" y="36"/>
                    </a:lnTo>
                    <a:lnTo>
                      <a:pt x="237" y="36"/>
                    </a:lnTo>
                    <a:lnTo>
                      <a:pt x="228" y="50"/>
                    </a:lnTo>
                    <a:lnTo>
                      <a:pt x="228" y="56"/>
                    </a:lnTo>
                    <a:lnTo>
                      <a:pt x="226" y="53"/>
                    </a:lnTo>
                    <a:lnTo>
                      <a:pt x="223" y="53"/>
                    </a:lnTo>
                    <a:lnTo>
                      <a:pt x="220" y="53"/>
                    </a:lnTo>
                    <a:lnTo>
                      <a:pt x="209" y="64"/>
                    </a:lnTo>
                    <a:lnTo>
                      <a:pt x="203" y="67"/>
                    </a:lnTo>
                    <a:lnTo>
                      <a:pt x="200" y="67"/>
                    </a:lnTo>
                    <a:lnTo>
                      <a:pt x="195" y="70"/>
                    </a:lnTo>
                    <a:lnTo>
                      <a:pt x="189" y="70"/>
                    </a:lnTo>
                    <a:lnTo>
                      <a:pt x="184" y="70"/>
                    </a:lnTo>
                    <a:lnTo>
                      <a:pt x="184" y="72"/>
                    </a:lnTo>
                    <a:lnTo>
                      <a:pt x="181" y="75"/>
                    </a:lnTo>
                    <a:lnTo>
                      <a:pt x="178" y="78"/>
                    </a:lnTo>
                    <a:lnTo>
                      <a:pt x="178" y="75"/>
                    </a:lnTo>
                    <a:lnTo>
                      <a:pt x="175" y="81"/>
                    </a:lnTo>
                    <a:lnTo>
                      <a:pt x="159" y="89"/>
                    </a:lnTo>
                    <a:lnTo>
                      <a:pt x="159" y="89"/>
                    </a:lnTo>
                    <a:lnTo>
                      <a:pt x="156" y="84"/>
                    </a:lnTo>
                    <a:lnTo>
                      <a:pt x="153" y="84"/>
                    </a:lnTo>
                    <a:lnTo>
                      <a:pt x="153" y="89"/>
                    </a:lnTo>
                    <a:lnTo>
                      <a:pt x="153" y="89"/>
                    </a:lnTo>
                    <a:lnTo>
                      <a:pt x="153" y="92"/>
                    </a:lnTo>
                    <a:lnTo>
                      <a:pt x="145" y="100"/>
                    </a:lnTo>
                    <a:lnTo>
                      <a:pt x="136" y="103"/>
                    </a:lnTo>
                    <a:lnTo>
                      <a:pt x="134" y="106"/>
                    </a:lnTo>
                    <a:lnTo>
                      <a:pt x="134" y="103"/>
                    </a:lnTo>
                    <a:lnTo>
                      <a:pt x="120" y="123"/>
                    </a:lnTo>
                    <a:lnTo>
                      <a:pt x="114" y="125"/>
                    </a:lnTo>
                    <a:lnTo>
                      <a:pt x="111" y="128"/>
                    </a:lnTo>
                    <a:lnTo>
                      <a:pt x="111" y="125"/>
                    </a:lnTo>
                    <a:lnTo>
                      <a:pt x="109" y="125"/>
                    </a:lnTo>
                    <a:lnTo>
                      <a:pt x="106" y="123"/>
                    </a:lnTo>
                    <a:lnTo>
                      <a:pt x="106" y="128"/>
                    </a:lnTo>
                    <a:lnTo>
                      <a:pt x="106" y="131"/>
                    </a:lnTo>
                    <a:lnTo>
                      <a:pt x="109" y="131"/>
                    </a:lnTo>
                    <a:lnTo>
                      <a:pt x="109" y="134"/>
                    </a:lnTo>
                    <a:lnTo>
                      <a:pt x="103" y="142"/>
                    </a:lnTo>
                    <a:lnTo>
                      <a:pt x="103" y="145"/>
                    </a:lnTo>
                    <a:lnTo>
                      <a:pt x="103" y="148"/>
                    </a:lnTo>
                    <a:lnTo>
                      <a:pt x="97" y="148"/>
                    </a:lnTo>
                    <a:lnTo>
                      <a:pt x="95" y="145"/>
                    </a:lnTo>
                    <a:lnTo>
                      <a:pt x="89" y="142"/>
                    </a:lnTo>
                    <a:lnTo>
                      <a:pt x="92" y="145"/>
                    </a:lnTo>
                    <a:lnTo>
                      <a:pt x="95" y="150"/>
                    </a:lnTo>
                    <a:lnTo>
                      <a:pt x="97" y="156"/>
                    </a:lnTo>
                    <a:lnTo>
                      <a:pt x="86" y="148"/>
                    </a:lnTo>
                    <a:lnTo>
                      <a:pt x="84" y="150"/>
                    </a:lnTo>
                    <a:lnTo>
                      <a:pt x="84" y="150"/>
                    </a:lnTo>
                    <a:lnTo>
                      <a:pt x="84" y="153"/>
                    </a:lnTo>
                    <a:lnTo>
                      <a:pt x="86" y="156"/>
                    </a:lnTo>
                    <a:lnTo>
                      <a:pt x="86" y="156"/>
                    </a:lnTo>
                    <a:lnTo>
                      <a:pt x="84" y="156"/>
                    </a:lnTo>
                    <a:lnTo>
                      <a:pt x="84" y="156"/>
                    </a:lnTo>
                    <a:lnTo>
                      <a:pt x="84" y="162"/>
                    </a:lnTo>
                    <a:lnTo>
                      <a:pt x="84" y="164"/>
                    </a:lnTo>
                    <a:lnTo>
                      <a:pt x="81" y="164"/>
                    </a:lnTo>
                    <a:lnTo>
                      <a:pt x="81" y="162"/>
                    </a:lnTo>
                    <a:lnTo>
                      <a:pt x="72" y="153"/>
                    </a:lnTo>
                    <a:lnTo>
                      <a:pt x="72" y="156"/>
                    </a:lnTo>
                    <a:lnTo>
                      <a:pt x="75" y="162"/>
                    </a:lnTo>
                    <a:lnTo>
                      <a:pt x="78" y="170"/>
                    </a:lnTo>
                    <a:lnTo>
                      <a:pt x="81" y="173"/>
                    </a:lnTo>
                    <a:lnTo>
                      <a:pt x="78" y="173"/>
                    </a:lnTo>
                    <a:lnTo>
                      <a:pt x="78" y="178"/>
                    </a:lnTo>
                    <a:lnTo>
                      <a:pt x="75" y="175"/>
                    </a:lnTo>
                    <a:lnTo>
                      <a:pt x="75" y="175"/>
                    </a:lnTo>
                    <a:lnTo>
                      <a:pt x="75" y="178"/>
                    </a:lnTo>
                    <a:lnTo>
                      <a:pt x="75" y="181"/>
                    </a:lnTo>
                    <a:lnTo>
                      <a:pt x="75" y="181"/>
                    </a:lnTo>
                    <a:lnTo>
                      <a:pt x="72" y="178"/>
                    </a:lnTo>
                    <a:lnTo>
                      <a:pt x="72" y="181"/>
                    </a:lnTo>
                    <a:lnTo>
                      <a:pt x="72" y="187"/>
                    </a:lnTo>
                    <a:lnTo>
                      <a:pt x="70" y="187"/>
                    </a:lnTo>
                    <a:lnTo>
                      <a:pt x="70" y="184"/>
                    </a:lnTo>
                    <a:lnTo>
                      <a:pt x="67" y="184"/>
                    </a:lnTo>
                    <a:lnTo>
                      <a:pt x="61" y="173"/>
                    </a:lnTo>
                    <a:lnTo>
                      <a:pt x="58" y="178"/>
                    </a:lnTo>
                    <a:lnTo>
                      <a:pt x="61" y="181"/>
                    </a:lnTo>
                    <a:lnTo>
                      <a:pt x="56" y="184"/>
                    </a:lnTo>
                    <a:lnTo>
                      <a:pt x="61" y="184"/>
                    </a:lnTo>
                    <a:lnTo>
                      <a:pt x="64" y="187"/>
                    </a:lnTo>
                    <a:lnTo>
                      <a:pt x="64" y="189"/>
                    </a:lnTo>
                    <a:lnTo>
                      <a:pt x="67" y="192"/>
                    </a:lnTo>
                    <a:lnTo>
                      <a:pt x="64" y="192"/>
                    </a:lnTo>
                    <a:lnTo>
                      <a:pt x="64" y="195"/>
                    </a:lnTo>
                    <a:lnTo>
                      <a:pt x="64" y="201"/>
                    </a:lnTo>
                    <a:lnTo>
                      <a:pt x="61" y="201"/>
                    </a:lnTo>
                    <a:lnTo>
                      <a:pt x="61" y="195"/>
                    </a:lnTo>
                    <a:lnTo>
                      <a:pt x="50" y="195"/>
                    </a:lnTo>
                    <a:lnTo>
                      <a:pt x="47" y="195"/>
                    </a:lnTo>
                    <a:lnTo>
                      <a:pt x="50" y="198"/>
                    </a:lnTo>
                    <a:lnTo>
                      <a:pt x="56" y="198"/>
                    </a:lnTo>
                    <a:lnTo>
                      <a:pt x="58" y="203"/>
                    </a:lnTo>
                    <a:lnTo>
                      <a:pt x="61" y="206"/>
                    </a:lnTo>
                    <a:lnTo>
                      <a:pt x="58" y="209"/>
                    </a:lnTo>
                    <a:lnTo>
                      <a:pt x="58" y="209"/>
                    </a:lnTo>
                    <a:lnTo>
                      <a:pt x="58" y="212"/>
                    </a:lnTo>
                    <a:lnTo>
                      <a:pt x="53" y="209"/>
                    </a:lnTo>
                    <a:lnTo>
                      <a:pt x="53" y="206"/>
                    </a:lnTo>
                    <a:lnTo>
                      <a:pt x="50" y="203"/>
                    </a:lnTo>
                    <a:lnTo>
                      <a:pt x="53" y="212"/>
                    </a:lnTo>
                    <a:lnTo>
                      <a:pt x="56" y="214"/>
                    </a:lnTo>
                    <a:lnTo>
                      <a:pt x="56" y="217"/>
                    </a:lnTo>
                    <a:lnTo>
                      <a:pt x="53" y="220"/>
                    </a:lnTo>
                    <a:lnTo>
                      <a:pt x="50" y="223"/>
                    </a:lnTo>
                    <a:lnTo>
                      <a:pt x="50" y="223"/>
                    </a:lnTo>
                    <a:lnTo>
                      <a:pt x="47" y="228"/>
                    </a:lnTo>
                    <a:lnTo>
                      <a:pt x="45" y="228"/>
                    </a:lnTo>
                    <a:lnTo>
                      <a:pt x="45" y="226"/>
                    </a:lnTo>
                    <a:lnTo>
                      <a:pt x="39" y="226"/>
                    </a:lnTo>
                    <a:lnTo>
                      <a:pt x="33" y="223"/>
                    </a:lnTo>
                    <a:lnTo>
                      <a:pt x="28" y="223"/>
                    </a:lnTo>
                    <a:lnTo>
                      <a:pt x="22" y="217"/>
                    </a:lnTo>
                    <a:lnTo>
                      <a:pt x="17" y="217"/>
                    </a:lnTo>
                    <a:lnTo>
                      <a:pt x="11" y="223"/>
                    </a:lnTo>
                    <a:lnTo>
                      <a:pt x="8" y="223"/>
                    </a:lnTo>
                    <a:lnTo>
                      <a:pt x="11" y="220"/>
                    </a:lnTo>
                    <a:lnTo>
                      <a:pt x="11" y="217"/>
                    </a:lnTo>
                    <a:lnTo>
                      <a:pt x="8" y="217"/>
                    </a:lnTo>
                    <a:lnTo>
                      <a:pt x="11" y="214"/>
                    </a:lnTo>
                    <a:lnTo>
                      <a:pt x="11" y="212"/>
                    </a:lnTo>
                    <a:lnTo>
                      <a:pt x="17" y="206"/>
                    </a:lnTo>
                    <a:lnTo>
                      <a:pt x="20" y="206"/>
                    </a:lnTo>
                    <a:lnTo>
                      <a:pt x="22" y="203"/>
                    </a:lnTo>
                    <a:lnTo>
                      <a:pt x="22" y="203"/>
                    </a:lnTo>
                    <a:lnTo>
                      <a:pt x="20" y="201"/>
                    </a:lnTo>
                    <a:lnTo>
                      <a:pt x="20" y="203"/>
                    </a:lnTo>
                    <a:lnTo>
                      <a:pt x="14" y="203"/>
                    </a:lnTo>
                    <a:lnTo>
                      <a:pt x="11" y="209"/>
                    </a:lnTo>
                    <a:lnTo>
                      <a:pt x="6" y="206"/>
                    </a:lnTo>
                    <a:lnTo>
                      <a:pt x="6" y="203"/>
                    </a:lnTo>
                    <a:lnTo>
                      <a:pt x="3" y="203"/>
                    </a:lnTo>
                    <a:lnTo>
                      <a:pt x="0" y="19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5" name="Freeform 518"/>
              <p:cNvSpPr>
                <a:spLocks noChangeAspect="1"/>
              </p:cNvSpPr>
              <p:nvPr>
                <p:custDataLst>
                  <p:tags r:id="rId663"/>
                </p:custDataLst>
              </p:nvPr>
            </p:nvSpPr>
            <p:spPr bwMode="gray">
              <a:xfrm>
                <a:off x="6278964" y="2076094"/>
                <a:ext cx="18222" cy="28381"/>
              </a:xfrm>
              <a:custGeom>
                <a:avLst/>
                <a:gdLst>
                  <a:gd name="T0" fmla="*/ 0 w 14"/>
                  <a:gd name="T1" fmla="*/ 3 h 22"/>
                  <a:gd name="T2" fmla="*/ 0 w 14"/>
                  <a:gd name="T3" fmla="*/ 3 h 22"/>
                  <a:gd name="T4" fmla="*/ 5 w 14"/>
                  <a:gd name="T5" fmla="*/ 0 h 22"/>
                  <a:gd name="T6" fmla="*/ 8 w 14"/>
                  <a:gd name="T7" fmla="*/ 3 h 22"/>
                  <a:gd name="T8" fmla="*/ 11 w 14"/>
                  <a:gd name="T9" fmla="*/ 6 h 22"/>
                  <a:gd name="T10" fmla="*/ 11 w 14"/>
                  <a:gd name="T11" fmla="*/ 3 h 22"/>
                  <a:gd name="T12" fmla="*/ 14 w 14"/>
                  <a:gd name="T13" fmla="*/ 8 h 22"/>
                  <a:gd name="T14" fmla="*/ 14 w 14"/>
                  <a:gd name="T15" fmla="*/ 17 h 22"/>
                  <a:gd name="T16" fmla="*/ 14 w 14"/>
                  <a:gd name="T17" fmla="*/ 17 h 22"/>
                  <a:gd name="T18" fmla="*/ 14 w 14"/>
                  <a:gd name="T19" fmla="*/ 22 h 22"/>
                  <a:gd name="T20" fmla="*/ 14 w 14"/>
                  <a:gd name="T21" fmla="*/ 22 h 22"/>
                  <a:gd name="T22" fmla="*/ 8 w 14"/>
                  <a:gd name="T23" fmla="*/ 8 h 22"/>
                  <a:gd name="T24" fmla="*/ 3 w 14"/>
                  <a:gd name="T25" fmla="*/ 6 h 22"/>
                  <a:gd name="T26" fmla="*/ 0 w 14"/>
                  <a:gd name="T2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22">
                    <a:moveTo>
                      <a:pt x="0" y="3"/>
                    </a:moveTo>
                    <a:lnTo>
                      <a:pt x="0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14" y="8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8" y="8"/>
                    </a:lnTo>
                    <a:lnTo>
                      <a:pt x="3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6" name="Freeform 519"/>
              <p:cNvSpPr>
                <a:spLocks noChangeAspect="1"/>
              </p:cNvSpPr>
              <p:nvPr>
                <p:custDataLst>
                  <p:tags r:id="rId664"/>
                </p:custDataLst>
              </p:nvPr>
            </p:nvSpPr>
            <p:spPr bwMode="gray">
              <a:xfrm>
                <a:off x="6278964" y="2076094"/>
                <a:ext cx="18222" cy="28381"/>
              </a:xfrm>
              <a:custGeom>
                <a:avLst/>
                <a:gdLst>
                  <a:gd name="T0" fmla="*/ 0 w 14"/>
                  <a:gd name="T1" fmla="*/ 3 h 22"/>
                  <a:gd name="T2" fmla="*/ 0 w 14"/>
                  <a:gd name="T3" fmla="*/ 3 h 22"/>
                  <a:gd name="T4" fmla="*/ 5 w 14"/>
                  <a:gd name="T5" fmla="*/ 0 h 22"/>
                  <a:gd name="T6" fmla="*/ 8 w 14"/>
                  <a:gd name="T7" fmla="*/ 3 h 22"/>
                  <a:gd name="T8" fmla="*/ 11 w 14"/>
                  <a:gd name="T9" fmla="*/ 6 h 22"/>
                  <a:gd name="T10" fmla="*/ 11 w 14"/>
                  <a:gd name="T11" fmla="*/ 3 h 22"/>
                  <a:gd name="T12" fmla="*/ 14 w 14"/>
                  <a:gd name="T13" fmla="*/ 8 h 22"/>
                  <a:gd name="T14" fmla="*/ 14 w 14"/>
                  <a:gd name="T15" fmla="*/ 17 h 22"/>
                  <a:gd name="T16" fmla="*/ 14 w 14"/>
                  <a:gd name="T17" fmla="*/ 17 h 22"/>
                  <a:gd name="T18" fmla="*/ 14 w 14"/>
                  <a:gd name="T19" fmla="*/ 22 h 22"/>
                  <a:gd name="T20" fmla="*/ 14 w 14"/>
                  <a:gd name="T21" fmla="*/ 22 h 22"/>
                  <a:gd name="T22" fmla="*/ 8 w 14"/>
                  <a:gd name="T23" fmla="*/ 8 h 22"/>
                  <a:gd name="T24" fmla="*/ 3 w 14"/>
                  <a:gd name="T25" fmla="*/ 6 h 22"/>
                  <a:gd name="T26" fmla="*/ 0 w 14"/>
                  <a:gd name="T27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22">
                    <a:moveTo>
                      <a:pt x="0" y="3"/>
                    </a:moveTo>
                    <a:lnTo>
                      <a:pt x="0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14" y="8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8" y="8"/>
                    </a:lnTo>
                    <a:lnTo>
                      <a:pt x="3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7" name="Freeform 526"/>
              <p:cNvSpPr>
                <a:spLocks noChangeAspect="1"/>
              </p:cNvSpPr>
              <p:nvPr>
                <p:custDataLst>
                  <p:tags r:id="rId665"/>
                </p:custDataLst>
              </p:nvPr>
            </p:nvSpPr>
            <p:spPr bwMode="gray">
              <a:xfrm>
                <a:off x="7481582" y="1858503"/>
                <a:ext cx="37961" cy="31534"/>
              </a:xfrm>
              <a:custGeom>
                <a:avLst/>
                <a:gdLst>
                  <a:gd name="T0" fmla="*/ 2147483647 w 28"/>
                  <a:gd name="T1" fmla="*/ 2147483647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2147483647 h 25"/>
                  <a:gd name="T12" fmla="*/ 2147483647 w 28"/>
                  <a:gd name="T13" fmla="*/ 2147483647 h 25"/>
                  <a:gd name="T14" fmla="*/ 2147483647 w 28"/>
                  <a:gd name="T15" fmla="*/ 2147483647 h 25"/>
                  <a:gd name="T16" fmla="*/ 2147483647 w 28"/>
                  <a:gd name="T17" fmla="*/ 2147483647 h 25"/>
                  <a:gd name="T18" fmla="*/ 0 w 28"/>
                  <a:gd name="T19" fmla="*/ 2147483647 h 25"/>
                  <a:gd name="T20" fmla="*/ 0 w 28"/>
                  <a:gd name="T21" fmla="*/ 2147483647 h 25"/>
                  <a:gd name="T22" fmla="*/ 0 w 28"/>
                  <a:gd name="T23" fmla="*/ 2147483647 h 25"/>
                  <a:gd name="T24" fmla="*/ 0 w 28"/>
                  <a:gd name="T25" fmla="*/ 2147483647 h 25"/>
                  <a:gd name="T26" fmla="*/ 2147483647 w 28"/>
                  <a:gd name="T27" fmla="*/ 2147483647 h 25"/>
                  <a:gd name="T28" fmla="*/ 2147483647 w 28"/>
                  <a:gd name="T29" fmla="*/ 2147483647 h 25"/>
                  <a:gd name="T30" fmla="*/ 2147483647 w 28"/>
                  <a:gd name="T31" fmla="*/ 2147483647 h 25"/>
                  <a:gd name="T32" fmla="*/ 2147483647 w 28"/>
                  <a:gd name="T33" fmla="*/ 2147483647 h 25"/>
                  <a:gd name="T34" fmla="*/ 2147483647 w 28"/>
                  <a:gd name="T35" fmla="*/ 2147483647 h 25"/>
                  <a:gd name="T36" fmla="*/ 2147483647 w 28"/>
                  <a:gd name="T37" fmla="*/ 0 h 25"/>
                  <a:gd name="T38" fmla="*/ 2147483647 w 28"/>
                  <a:gd name="T39" fmla="*/ 2147483647 h 25"/>
                  <a:gd name="T40" fmla="*/ 2147483647 w 28"/>
                  <a:gd name="T41" fmla="*/ 2147483647 h 2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8"/>
                  <a:gd name="T64" fmla="*/ 0 h 25"/>
                  <a:gd name="T65" fmla="*/ 28 w 28"/>
                  <a:gd name="T66" fmla="*/ 25 h 2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8" h="25">
                    <a:moveTo>
                      <a:pt x="22" y="3"/>
                    </a:moveTo>
                    <a:lnTo>
                      <a:pt x="25" y="6"/>
                    </a:lnTo>
                    <a:lnTo>
                      <a:pt x="28" y="6"/>
                    </a:lnTo>
                    <a:lnTo>
                      <a:pt x="25" y="20"/>
                    </a:lnTo>
                    <a:lnTo>
                      <a:pt x="20" y="25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8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8" y="9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20" y="3"/>
                    </a:lnTo>
                    <a:lnTo>
                      <a:pt x="2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8" name="Freeform 527"/>
              <p:cNvSpPr>
                <a:spLocks noChangeAspect="1"/>
              </p:cNvSpPr>
              <p:nvPr>
                <p:custDataLst>
                  <p:tags r:id="rId666"/>
                </p:custDataLst>
              </p:nvPr>
            </p:nvSpPr>
            <p:spPr bwMode="gray">
              <a:xfrm>
                <a:off x="7481582" y="1858503"/>
                <a:ext cx="37961" cy="31534"/>
              </a:xfrm>
              <a:custGeom>
                <a:avLst/>
                <a:gdLst>
                  <a:gd name="T0" fmla="*/ 2147483647 w 28"/>
                  <a:gd name="T1" fmla="*/ 2147483647 h 25"/>
                  <a:gd name="T2" fmla="*/ 2147483647 w 28"/>
                  <a:gd name="T3" fmla="*/ 2147483647 h 25"/>
                  <a:gd name="T4" fmla="*/ 2147483647 w 28"/>
                  <a:gd name="T5" fmla="*/ 2147483647 h 25"/>
                  <a:gd name="T6" fmla="*/ 2147483647 w 28"/>
                  <a:gd name="T7" fmla="*/ 2147483647 h 25"/>
                  <a:gd name="T8" fmla="*/ 2147483647 w 28"/>
                  <a:gd name="T9" fmla="*/ 2147483647 h 25"/>
                  <a:gd name="T10" fmla="*/ 2147483647 w 28"/>
                  <a:gd name="T11" fmla="*/ 2147483647 h 25"/>
                  <a:gd name="T12" fmla="*/ 2147483647 w 28"/>
                  <a:gd name="T13" fmla="*/ 2147483647 h 25"/>
                  <a:gd name="T14" fmla="*/ 2147483647 w 28"/>
                  <a:gd name="T15" fmla="*/ 2147483647 h 25"/>
                  <a:gd name="T16" fmla="*/ 2147483647 w 28"/>
                  <a:gd name="T17" fmla="*/ 2147483647 h 25"/>
                  <a:gd name="T18" fmla="*/ 0 w 28"/>
                  <a:gd name="T19" fmla="*/ 2147483647 h 25"/>
                  <a:gd name="T20" fmla="*/ 0 w 28"/>
                  <a:gd name="T21" fmla="*/ 2147483647 h 25"/>
                  <a:gd name="T22" fmla="*/ 0 w 28"/>
                  <a:gd name="T23" fmla="*/ 2147483647 h 25"/>
                  <a:gd name="T24" fmla="*/ 0 w 28"/>
                  <a:gd name="T25" fmla="*/ 2147483647 h 25"/>
                  <a:gd name="T26" fmla="*/ 2147483647 w 28"/>
                  <a:gd name="T27" fmla="*/ 2147483647 h 25"/>
                  <a:gd name="T28" fmla="*/ 2147483647 w 28"/>
                  <a:gd name="T29" fmla="*/ 2147483647 h 25"/>
                  <a:gd name="T30" fmla="*/ 2147483647 w 28"/>
                  <a:gd name="T31" fmla="*/ 2147483647 h 25"/>
                  <a:gd name="T32" fmla="*/ 2147483647 w 28"/>
                  <a:gd name="T33" fmla="*/ 2147483647 h 25"/>
                  <a:gd name="T34" fmla="*/ 2147483647 w 28"/>
                  <a:gd name="T35" fmla="*/ 2147483647 h 25"/>
                  <a:gd name="T36" fmla="*/ 2147483647 w 28"/>
                  <a:gd name="T37" fmla="*/ 0 h 25"/>
                  <a:gd name="T38" fmla="*/ 2147483647 w 28"/>
                  <a:gd name="T39" fmla="*/ 2147483647 h 25"/>
                  <a:gd name="T40" fmla="*/ 2147483647 w 28"/>
                  <a:gd name="T41" fmla="*/ 2147483647 h 2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8"/>
                  <a:gd name="T64" fmla="*/ 0 h 25"/>
                  <a:gd name="T65" fmla="*/ 28 w 28"/>
                  <a:gd name="T66" fmla="*/ 25 h 2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8" h="25">
                    <a:moveTo>
                      <a:pt x="22" y="3"/>
                    </a:moveTo>
                    <a:lnTo>
                      <a:pt x="25" y="6"/>
                    </a:lnTo>
                    <a:lnTo>
                      <a:pt x="28" y="6"/>
                    </a:lnTo>
                    <a:lnTo>
                      <a:pt x="25" y="20"/>
                    </a:lnTo>
                    <a:lnTo>
                      <a:pt x="20" y="25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8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8" y="9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20" y="3"/>
                    </a:lnTo>
                    <a:lnTo>
                      <a:pt x="2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9" name="Freeform 528"/>
              <p:cNvSpPr>
                <a:spLocks noChangeAspect="1"/>
              </p:cNvSpPr>
              <p:nvPr>
                <p:custDataLst>
                  <p:tags r:id="rId667"/>
                </p:custDataLst>
              </p:nvPr>
            </p:nvSpPr>
            <p:spPr bwMode="gray">
              <a:xfrm>
                <a:off x="7994820" y="2061903"/>
                <a:ext cx="24295" cy="11037"/>
              </a:xfrm>
              <a:custGeom>
                <a:avLst/>
                <a:gdLst>
                  <a:gd name="T0" fmla="*/ 5 w 19"/>
                  <a:gd name="T1" fmla="*/ 0 h 8"/>
                  <a:gd name="T2" fmla="*/ 8 w 19"/>
                  <a:gd name="T3" fmla="*/ 0 h 8"/>
                  <a:gd name="T4" fmla="*/ 8 w 19"/>
                  <a:gd name="T5" fmla="*/ 0 h 8"/>
                  <a:gd name="T6" fmla="*/ 11 w 19"/>
                  <a:gd name="T7" fmla="*/ 0 h 8"/>
                  <a:gd name="T8" fmla="*/ 19 w 19"/>
                  <a:gd name="T9" fmla="*/ 0 h 8"/>
                  <a:gd name="T10" fmla="*/ 19 w 19"/>
                  <a:gd name="T11" fmla="*/ 3 h 8"/>
                  <a:gd name="T12" fmla="*/ 16 w 19"/>
                  <a:gd name="T13" fmla="*/ 8 h 8"/>
                  <a:gd name="T14" fmla="*/ 14 w 19"/>
                  <a:gd name="T15" fmla="*/ 5 h 8"/>
                  <a:gd name="T16" fmla="*/ 11 w 19"/>
                  <a:gd name="T17" fmla="*/ 8 h 8"/>
                  <a:gd name="T18" fmla="*/ 0 w 19"/>
                  <a:gd name="T19" fmla="*/ 3 h 8"/>
                  <a:gd name="T20" fmla="*/ 0 w 19"/>
                  <a:gd name="T21" fmla="*/ 3 h 8"/>
                  <a:gd name="T22" fmla="*/ 2 w 19"/>
                  <a:gd name="T23" fmla="*/ 0 h 8"/>
                  <a:gd name="T24" fmla="*/ 5 w 19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8">
                    <a:moveTo>
                      <a:pt x="5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6" y="8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0" name="Freeform 529"/>
              <p:cNvSpPr>
                <a:spLocks noChangeAspect="1"/>
              </p:cNvSpPr>
              <p:nvPr>
                <p:custDataLst>
                  <p:tags r:id="rId668"/>
                </p:custDataLst>
              </p:nvPr>
            </p:nvSpPr>
            <p:spPr bwMode="gray">
              <a:xfrm>
                <a:off x="7994820" y="2061903"/>
                <a:ext cx="24295" cy="11037"/>
              </a:xfrm>
              <a:custGeom>
                <a:avLst/>
                <a:gdLst>
                  <a:gd name="T0" fmla="*/ 5 w 19"/>
                  <a:gd name="T1" fmla="*/ 0 h 8"/>
                  <a:gd name="T2" fmla="*/ 8 w 19"/>
                  <a:gd name="T3" fmla="*/ 0 h 8"/>
                  <a:gd name="T4" fmla="*/ 8 w 19"/>
                  <a:gd name="T5" fmla="*/ 0 h 8"/>
                  <a:gd name="T6" fmla="*/ 11 w 19"/>
                  <a:gd name="T7" fmla="*/ 0 h 8"/>
                  <a:gd name="T8" fmla="*/ 19 w 19"/>
                  <a:gd name="T9" fmla="*/ 0 h 8"/>
                  <a:gd name="T10" fmla="*/ 19 w 19"/>
                  <a:gd name="T11" fmla="*/ 3 h 8"/>
                  <a:gd name="T12" fmla="*/ 16 w 19"/>
                  <a:gd name="T13" fmla="*/ 8 h 8"/>
                  <a:gd name="T14" fmla="*/ 14 w 19"/>
                  <a:gd name="T15" fmla="*/ 5 h 8"/>
                  <a:gd name="T16" fmla="*/ 11 w 19"/>
                  <a:gd name="T17" fmla="*/ 8 h 8"/>
                  <a:gd name="T18" fmla="*/ 0 w 19"/>
                  <a:gd name="T19" fmla="*/ 3 h 8"/>
                  <a:gd name="T20" fmla="*/ 0 w 19"/>
                  <a:gd name="T21" fmla="*/ 3 h 8"/>
                  <a:gd name="T22" fmla="*/ 2 w 19"/>
                  <a:gd name="T23" fmla="*/ 0 h 8"/>
                  <a:gd name="T24" fmla="*/ 5 w 19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8">
                    <a:moveTo>
                      <a:pt x="5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6" y="8"/>
                    </a:lnTo>
                    <a:lnTo>
                      <a:pt x="14" y="5"/>
                    </a:lnTo>
                    <a:lnTo>
                      <a:pt x="11" y="8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1" name="Freeform 530"/>
              <p:cNvSpPr>
                <a:spLocks noChangeAspect="1"/>
              </p:cNvSpPr>
              <p:nvPr>
                <p:custDataLst>
                  <p:tags r:id="rId669"/>
                </p:custDataLst>
              </p:nvPr>
            </p:nvSpPr>
            <p:spPr bwMode="gray">
              <a:xfrm>
                <a:off x="8019116" y="2060326"/>
                <a:ext cx="22777" cy="20499"/>
              </a:xfrm>
              <a:custGeom>
                <a:avLst/>
                <a:gdLst>
                  <a:gd name="T0" fmla="*/ 3 w 17"/>
                  <a:gd name="T1" fmla="*/ 6 h 17"/>
                  <a:gd name="T2" fmla="*/ 6 w 17"/>
                  <a:gd name="T3" fmla="*/ 3 h 17"/>
                  <a:gd name="T4" fmla="*/ 6 w 17"/>
                  <a:gd name="T5" fmla="*/ 3 h 17"/>
                  <a:gd name="T6" fmla="*/ 9 w 17"/>
                  <a:gd name="T7" fmla="*/ 6 h 17"/>
                  <a:gd name="T8" fmla="*/ 9 w 17"/>
                  <a:gd name="T9" fmla="*/ 3 h 17"/>
                  <a:gd name="T10" fmla="*/ 9 w 17"/>
                  <a:gd name="T11" fmla="*/ 0 h 17"/>
                  <a:gd name="T12" fmla="*/ 11 w 17"/>
                  <a:gd name="T13" fmla="*/ 0 h 17"/>
                  <a:gd name="T14" fmla="*/ 14 w 17"/>
                  <a:gd name="T15" fmla="*/ 0 h 17"/>
                  <a:gd name="T16" fmla="*/ 14 w 17"/>
                  <a:gd name="T17" fmla="*/ 3 h 17"/>
                  <a:gd name="T18" fmla="*/ 17 w 17"/>
                  <a:gd name="T19" fmla="*/ 8 h 17"/>
                  <a:gd name="T20" fmla="*/ 9 w 17"/>
                  <a:gd name="T21" fmla="*/ 14 h 17"/>
                  <a:gd name="T22" fmla="*/ 6 w 17"/>
                  <a:gd name="T23" fmla="*/ 14 h 17"/>
                  <a:gd name="T24" fmla="*/ 3 w 17"/>
                  <a:gd name="T25" fmla="*/ 17 h 17"/>
                  <a:gd name="T26" fmla="*/ 0 w 17"/>
                  <a:gd name="T27" fmla="*/ 14 h 17"/>
                  <a:gd name="T28" fmla="*/ 0 w 17"/>
                  <a:gd name="T29" fmla="*/ 14 h 17"/>
                  <a:gd name="T30" fmla="*/ 0 w 17"/>
                  <a:gd name="T31" fmla="*/ 11 h 17"/>
                  <a:gd name="T32" fmla="*/ 3 w 17"/>
                  <a:gd name="T33" fmla="*/ 8 h 17"/>
                  <a:gd name="T34" fmla="*/ 0 w 17"/>
                  <a:gd name="T35" fmla="*/ 6 h 17"/>
                  <a:gd name="T36" fmla="*/ 3 w 17"/>
                  <a:gd name="T3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17">
                    <a:moveTo>
                      <a:pt x="3" y="6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4" y="3"/>
                    </a:lnTo>
                    <a:lnTo>
                      <a:pt x="17" y="8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3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2" name="Freeform 531"/>
              <p:cNvSpPr>
                <a:spLocks noChangeAspect="1"/>
              </p:cNvSpPr>
              <p:nvPr>
                <p:custDataLst>
                  <p:tags r:id="rId670"/>
                </p:custDataLst>
              </p:nvPr>
            </p:nvSpPr>
            <p:spPr bwMode="gray">
              <a:xfrm>
                <a:off x="8019116" y="2060326"/>
                <a:ext cx="22777" cy="20499"/>
              </a:xfrm>
              <a:custGeom>
                <a:avLst/>
                <a:gdLst>
                  <a:gd name="T0" fmla="*/ 3 w 17"/>
                  <a:gd name="T1" fmla="*/ 6 h 17"/>
                  <a:gd name="T2" fmla="*/ 6 w 17"/>
                  <a:gd name="T3" fmla="*/ 3 h 17"/>
                  <a:gd name="T4" fmla="*/ 6 w 17"/>
                  <a:gd name="T5" fmla="*/ 3 h 17"/>
                  <a:gd name="T6" fmla="*/ 9 w 17"/>
                  <a:gd name="T7" fmla="*/ 6 h 17"/>
                  <a:gd name="T8" fmla="*/ 9 w 17"/>
                  <a:gd name="T9" fmla="*/ 3 h 17"/>
                  <a:gd name="T10" fmla="*/ 9 w 17"/>
                  <a:gd name="T11" fmla="*/ 0 h 17"/>
                  <a:gd name="T12" fmla="*/ 11 w 17"/>
                  <a:gd name="T13" fmla="*/ 0 h 17"/>
                  <a:gd name="T14" fmla="*/ 14 w 17"/>
                  <a:gd name="T15" fmla="*/ 0 h 17"/>
                  <a:gd name="T16" fmla="*/ 14 w 17"/>
                  <a:gd name="T17" fmla="*/ 3 h 17"/>
                  <a:gd name="T18" fmla="*/ 17 w 17"/>
                  <a:gd name="T19" fmla="*/ 8 h 17"/>
                  <a:gd name="T20" fmla="*/ 9 w 17"/>
                  <a:gd name="T21" fmla="*/ 14 h 17"/>
                  <a:gd name="T22" fmla="*/ 6 w 17"/>
                  <a:gd name="T23" fmla="*/ 14 h 17"/>
                  <a:gd name="T24" fmla="*/ 3 w 17"/>
                  <a:gd name="T25" fmla="*/ 17 h 17"/>
                  <a:gd name="T26" fmla="*/ 0 w 17"/>
                  <a:gd name="T27" fmla="*/ 14 h 17"/>
                  <a:gd name="T28" fmla="*/ 0 w 17"/>
                  <a:gd name="T29" fmla="*/ 14 h 17"/>
                  <a:gd name="T30" fmla="*/ 0 w 17"/>
                  <a:gd name="T31" fmla="*/ 11 h 17"/>
                  <a:gd name="T32" fmla="*/ 3 w 17"/>
                  <a:gd name="T33" fmla="*/ 8 h 17"/>
                  <a:gd name="T34" fmla="*/ 0 w 17"/>
                  <a:gd name="T35" fmla="*/ 6 h 17"/>
                  <a:gd name="T36" fmla="*/ 3 w 17"/>
                  <a:gd name="T37" fmla="*/ 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17">
                    <a:moveTo>
                      <a:pt x="3" y="6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4" y="3"/>
                    </a:lnTo>
                    <a:lnTo>
                      <a:pt x="17" y="8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3" y="17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3" name="Freeform 532"/>
              <p:cNvSpPr>
                <a:spLocks noChangeAspect="1"/>
              </p:cNvSpPr>
              <p:nvPr>
                <p:custDataLst>
                  <p:tags r:id="rId671"/>
                </p:custDataLst>
              </p:nvPr>
            </p:nvSpPr>
            <p:spPr bwMode="gray">
              <a:xfrm>
                <a:off x="8044929" y="2003563"/>
                <a:ext cx="28850" cy="18921"/>
              </a:xfrm>
              <a:custGeom>
                <a:avLst/>
                <a:gdLst>
                  <a:gd name="T0" fmla="*/ 11 w 22"/>
                  <a:gd name="T1" fmla="*/ 2 h 16"/>
                  <a:gd name="T2" fmla="*/ 14 w 22"/>
                  <a:gd name="T3" fmla="*/ 2 h 16"/>
                  <a:gd name="T4" fmla="*/ 22 w 22"/>
                  <a:gd name="T5" fmla="*/ 2 h 16"/>
                  <a:gd name="T6" fmla="*/ 22 w 22"/>
                  <a:gd name="T7" fmla="*/ 2 h 16"/>
                  <a:gd name="T8" fmla="*/ 22 w 22"/>
                  <a:gd name="T9" fmla="*/ 11 h 16"/>
                  <a:gd name="T10" fmla="*/ 19 w 22"/>
                  <a:gd name="T11" fmla="*/ 13 h 16"/>
                  <a:gd name="T12" fmla="*/ 19 w 22"/>
                  <a:gd name="T13" fmla="*/ 8 h 16"/>
                  <a:gd name="T14" fmla="*/ 16 w 22"/>
                  <a:gd name="T15" fmla="*/ 13 h 16"/>
                  <a:gd name="T16" fmla="*/ 14 w 22"/>
                  <a:gd name="T17" fmla="*/ 13 h 16"/>
                  <a:gd name="T18" fmla="*/ 11 w 22"/>
                  <a:gd name="T19" fmla="*/ 13 h 16"/>
                  <a:gd name="T20" fmla="*/ 8 w 22"/>
                  <a:gd name="T21" fmla="*/ 16 h 16"/>
                  <a:gd name="T22" fmla="*/ 5 w 22"/>
                  <a:gd name="T23" fmla="*/ 16 h 16"/>
                  <a:gd name="T24" fmla="*/ 5 w 22"/>
                  <a:gd name="T25" fmla="*/ 16 h 16"/>
                  <a:gd name="T26" fmla="*/ 2 w 22"/>
                  <a:gd name="T27" fmla="*/ 16 h 16"/>
                  <a:gd name="T28" fmla="*/ 0 w 22"/>
                  <a:gd name="T29" fmla="*/ 13 h 16"/>
                  <a:gd name="T30" fmla="*/ 0 w 22"/>
                  <a:gd name="T31" fmla="*/ 11 h 16"/>
                  <a:gd name="T32" fmla="*/ 2 w 22"/>
                  <a:gd name="T33" fmla="*/ 11 h 16"/>
                  <a:gd name="T34" fmla="*/ 2 w 22"/>
                  <a:gd name="T35" fmla="*/ 8 h 16"/>
                  <a:gd name="T36" fmla="*/ 2 w 22"/>
                  <a:gd name="T37" fmla="*/ 8 h 16"/>
                  <a:gd name="T38" fmla="*/ 5 w 22"/>
                  <a:gd name="T39" fmla="*/ 5 h 16"/>
                  <a:gd name="T40" fmla="*/ 5 w 22"/>
                  <a:gd name="T41" fmla="*/ 5 h 16"/>
                  <a:gd name="T42" fmla="*/ 2 w 22"/>
                  <a:gd name="T43" fmla="*/ 2 h 16"/>
                  <a:gd name="T44" fmla="*/ 5 w 22"/>
                  <a:gd name="T45" fmla="*/ 0 h 16"/>
                  <a:gd name="T46" fmla="*/ 11 w 22"/>
                  <a:gd name="T47" fmla="*/ 0 h 16"/>
                  <a:gd name="T48" fmla="*/ 11 w 22"/>
                  <a:gd name="T49" fmla="*/ 2 h 16"/>
                  <a:gd name="T50" fmla="*/ 11 w 22"/>
                  <a:gd name="T51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" h="16">
                    <a:moveTo>
                      <a:pt x="11" y="2"/>
                    </a:moveTo>
                    <a:lnTo>
                      <a:pt x="1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11"/>
                    </a:lnTo>
                    <a:lnTo>
                      <a:pt x="19" y="13"/>
                    </a:lnTo>
                    <a:lnTo>
                      <a:pt x="19" y="8"/>
                    </a:lnTo>
                    <a:lnTo>
                      <a:pt x="16" y="13"/>
                    </a:lnTo>
                    <a:lnTo>
                      <a:pt x="14" y="13"/>
                    </a:lnTo>
                    <a:lnTo>
                      <a:pt x="11" y="13"/>
                    </a:lnTo>
                    <a:lnTo>
                      <a:pt x="8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4" name="Freeform 533"/>
              <p:cNvSpPr>
                <a:spLocks noChangeAspect="1"/>
              </p:cNvSpPr>
              <p:nvPr>
                <p:custDataLst>
                  <p:tags r:id="rId672"/>
                </p:custDataLst>
              </p:nvPr>
            </p:nvSpPr>
            <p:spPr bwMode="gray">
              <a:xfrm>
                <a:off x="8044929" y="2003563"/>
                <a:ext cx="28850" cy="18921"/>
              </a:xfrm>
              <a:custGeom>
                <a:avLst/>
                <a:gdLst>
                  <a:gd name="T0" fmla="*/ 11 w 22"/>
                  <a:gd name="T1" fmla="*/ 2 h 16"/>
                  <a:gd name="T2" fmla="*/ 14 w 22"/>
                  <a:gd name="T3" fmla="*/ 2 h 16"/>
                  <a:gd name="T4" fmla="*/ 22 w 22"/>
                  <a:gd name="T5" fmla="*/ 2 h 16"/>
                  <a:gd name="T6" fmla="*/ 22 w 22"/>
                  <a:gd name="T7" fmla="*/ 2 h 16"/>
                  <a:gd name="T8" fmla="*/ 22 w 22"/>
                  <a:gd name="T9" fmla="*/ 11 h 16"/>
                  <a:gd name="T10" fmla="*/ 19 w 22"/>
                  <a:gd name="T11" fmla="*/ 13 h 16"/>
                  <a:gd name="T12" fmla="*/ 19 w 22"/>
                  <a:gd name="T13" fmla="*/ 8 h 16"/>
                  <a:gd name="T14" fmla="*/ 16 w 22"/>
                  <a:gd name="T15" fmla="*/ 13 h 16"/>
                  <a:gd name="T16" fmla="*/ 14 w 22"/>
                  <a:gd name="T17" fmla="*/ 13 h 16"/>
                  <a:gd name="T18" fmla="*/ 11 w 22"/>
                  <a:gd name="T19" fmla="*/ 13 h 16"/>
                  <a:gd name="T20" fmla="*/ 8 w 22"/>
                  <a:gd name="T21" fmla="*/ 16 h 16"/>
                  <a:gd name="T22" fmla="*/ 5 w 22"/>
                  <a:gd name="T23" fmla="*/ 16 h 16"/>
                  <a:gd name="T24" fmla="*/ 5 w 22"/>
                  <a:gd name="T25" fmla="*/ 16 h 16"/>
                  <a:gd name="T26" fmla="*/ 2 w 22"/>
                  <a:gd name="T27" fmla="*/ 16 h 16"/>
                  <a:gd name="T28" fmla="*/ 0 w 22"/>
                  <a:gd name="T29" fmla="*/ 13 h 16"/>
                  <a:gd name="T30" fmla="*/ 0 w 22"/>
                  <a:gd name="T31" fmla="*/ 11 h 16"/>
                  <a:gd name="T32" fmla="*/ 2 w 22"/>
                  <a:gd name="T33" fmla="*/ 11 h 16"/>
                  <a:gd name="T34" fmla="*/ 2 w 22"/>
                  <a:gd name="T35" fmla="*/ 8 h 16"/>
                  <a:gd name="T36" fmla="*/ 2 w 22"/>
                  <a:gd name="T37" fmla="*/ 8 h 16"/>
                  <a:gd name="T38" fmla="*/ 5 w 22"/>
                  <a:gd name="T39" fmla="*/ 5 h 16"/>
                  <a:gd name="T40" fmla="*/ 5 w 22"/>
                  <a:gd name="T41" fmla="*/ 5 h 16"/>
                  <a:gd name="T42" fmla="*/ 2 w 22"/>
                  <a:gd name="T43" fmla="*/ 2 h 16"/>
                  <a:gd name="T44" fmla="*/ 5 w 22"/>
                  <a:gd name="T45" fmla="*/ 0 h 16"/>
                  <a:gd name="T46" fmla="*/ 11 w 22"/>
                  <a:gd name="T47" fmla="*/ 0 h 16"/>
                  <a:gd name="T48" fmla="*/ 11 w 22"/>
                  <a:gd name="T49" fmla="*/ 2 h 16"/>
                  <a:gd name="T50" fmla="*/ 11 w 22"/>
                  <a:gd name="T51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" h="16">
                    <a:moveTo>
                      <a:pt x="11" y="2"/>
                    </a:moveTo>
                    <a:lnTo>
                      <a:pt x="1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11"/>
                    </a:lnTo>
                    <a:lnTo>
                      <a:pt x="19" y="13"/>
                    </a:lnTo>
                    <a:lnTo>
                      <a:pt x="19" y="8"/>
                    </a:lnTo>
                    <a:lnTo>
                      <a:pt x="16" y="13"/>
                    </a:lnTo>
                    <a:lnTo>
                      <a:pt x="14" y="13"/>
                    </a:lnTo>
                    <a:lnTo>
                      <a:pt x="11" y="13"/>
                    </a:lnTo>
                    <a:lnTo>
                      <a:pt x="8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1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5" name="Freeform 534"/>
              <p:cNvSpPr>
                <a:spLocks noChangeAspect="1"/>
              </p:cNvSpPr>
              <p:nvPr>
                <p:custDataLst>
                  <p:tags r:id="rId673"/>
                </p:custDataLst>
              </p:nvPr>
            </p:nvSpPr>
            <p:spPr bwMode="gray">
              <a:xfrm>
                <a:off x="8624980" y="2159661"/>
                <a:ext cx="31887" cy="28381"/>
              </a:xfrm>
              <a:custGeom>
                <a:avLst/>
                <a:gdLst>
                  <a:gd name="T0" fmla="*/ 2147483647 w 25"/>
                  <a:gd name="T1" fmla="*/ 0 h 22"/>
                  <a:gd name="T2" fmla="*/ 2147483647 w 25"/>
                  <a:gd name="T3" fmla="*/ 0 h 22"/>
                  <a:gd name="T4" fmla="*/ 2147483647 w 25"/>
                  <a:gd name="T5" fmla="*/ 0 h 22"/>
                  <a:gd name="T6" fmla="*/ 2147483647 w 25"/>
                  <a:gd name="T7" fmla="*/ 2147483647 h 22"/>
                  <a:gd name="T8" fmla="*/ 2147483647 w 25"/>
                  <a:gd name="T9" fmla="*/ 2147483647 h 22"/>
                  <a:gd name="T10" fmla="*/ 2147483647 w 25"/>
                  <a:gd name="T11" fmla="*/ 2147483647 h 22"/>
                  <a:gd name="T12" fmla="*/ 2147483647 w 25"/>
                  <a:gd name="T13" fmla="*/ 2147483647 h 22"/>
                  <a:gd name="T14" fmla="*/ 2147483647 w 25"/>
                  <a:gd name="T15" fmla="*/ 2147483647 h 22"/>
                  <a:gd name="T16" fmla="*/ 2147483647 w 25"/>
                  <a:gd name="T17" fmla="*/ 2147483647 h 22"/>
                  <a:gd name="T18" fmla="*/ 2147483647 w 25"/>
                  <a:gd name="T19" fmla="*/ 2147483647 h 22"/>
                  <a:gd name="T20" fmla="*/ 2147483647 w 25"/>
                  <a:gd name="T21" fmla="*/ 2147483647 h 22"/>
                  <a:gd name="T22" fmla="*/ 2147483647 w 25"/>
                  <a:gd name="T23" fmla="*/ 2147483647 h 22"/>
                  <a:gd name="T24" fmla="*/ 2147483647 w 25"/>
                  <a:gd name="T25" fmla="*/ 2147483647 h 22"/>
                  <a:gd name="T26" fmla="*/ 2147483647 w 25"/>
                  <a:gd name="T27" fmla="*/ 2147483647 h 22"/>
                  <a:gd name="T28" fmla="*/ 0 w 25"/>
                  <a:gd name="T29" fmla="*/ 2147483647 h 22"/>
                  <a:gd name="T30" fmla="*/ 2147483647 w 25"/>
                  <a:gd name="T31" fmla="*/ 2147483647 h 22"/>
                  <a:gd name="T32" fmla="*/ 2147483647 w 25"/>
                  <a:gd name="T33" fmla="*/ 0 h 2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"/>
                  <a:gd name="T52" fmla="*/ 0 h 22"/>
                  <a:gd name="T53" fmla="*/ 25 w 25"/>
                  <a:gd name="T54" fmla="*/ 22 h 2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" h="22">
                    <a:moveTo>
                      <a:pt x="6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25" y="8"/>
                    </a:lnTo>
                    <a:lnTo>
                      <a:pt x="25" y="11"/>
                    </a:lnTo>
                    <a:lnTo>
                      <a:pt x="22" y="14"/>
                    </a:lnTo>
                    <a:lnTo>
                      <a:pt x="22" y="20"/>
                    </a:lnTo>
                    <a:lnTo>
                      <a:pt x="20" y="22"/>
                    </a:lnTo>
                    <a:lnTo>
                      <a:pt x="11" y="20"/>
                    </a:lnTo>
                    <a:lnTo>
                      <a:pt x="8" y="14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6" name="Freeform 535"/>
              <p:cNvSpPr>
                <a:spLocks noChangeAspect="1"/>
              </p:cNvSpPr>
              <p:nvPr>
                <p:custDataLst>
                  <p:tags r:id="rId674"/>
                </p:custDataLst>
              </p:nvPr>
            </p:nvSpPr>
            <p:spPr bwMode="gray">
              <a:xfrm>
                <a:off x="8624980" y="2159661"/>
                <a:ext cx="31887" cy="28381"/>
              </a:xfrm>
              <a:custGeom>
                <a:avLst/>
                <a:gdLst>
                  <a:gd name="T0" fmla="*/ 2147483647 w 25"/>
                  <a:gd name="T1" fmla="*/ 0 h 22"/>
                  <a:gd name="T2" fmla="*/ 2147483647 w 25"/>
                  <a:gd name="T3" fmla="*/ 0 h 22"/>
                  <a:gd name="T4" fmla="*/ 2147483647 w 25"/>
                  <a:gd name="T5" fmla="*/ 0 h 22"/>
                  <a:gd name="T6" fmla="*/ 2147483647 w 25"/>
                  <a:gd name="T7" fmla="*/ 2147483647 h 22"/>
                  <a:gd name="T8" fmla="*/ 2147483647 w 25"/>
                  <a:gd name="T9" fmla="*/ 2147483647 h 22"/>
                  <a:gd name="T10" fmla="*/ 2147483647 w 25"/>
                  <a:gd name="T11" fmla="*/ 2147483647 h 22"/>
                  <a:gd name="T12" fmla="*/ 2147483647 w 25"/>
                  <a:gd name="T13" fmla="*/ 2147483647 h 22"/>
                  <a:gd name="T14" fmla="*/ 2147483647 w 25"/>
                  <a:gd name="T15" fmla="*/ 2147483647 h 22"/>
                  <a:gd name="T16" fmla="*/ 2147483647 w 25"/>
                  <a:gd name="T17" fmla="*/ 2147483647 h 22"/>
                  <a:gd name="T18" fmla="*/ 2147483647 w 25"/>
                  <a:gd name="T19" fmla="*/ 2147483647 h 22"/>
                  <a:gd name="T20" fmla="*/ 2147483647 w 25"/>
                  <a:gd name="T21" fmla="*/ 2147483647 h 22"/>
                  <a:gd name="T22" fmla="*/ 2147483647 w 25"/>
                  <a:gd name="T23" fmla="*/ 2147483647 h 22"/>
                  <a:gd name="T24" fmla="*/ 2147483647 w 25"/>
                  <a:gd name="T25" fmla="*/ 2147483647 h 22"/>
                  <a:gd name="T26" fmla="*/ 2147483647 w 25"/>
                  <a:gd name="T27" fmla="*/ 2147483647 h 22"/>
                  <a:gd name="T28" fmla="*/ 0 w 25"/>
                  <a:gd name="T29" fmla="*/ 2147483647 h 22"/>
                  <a:gd name="T30" fmla="*/ 2147483647 w 25"/>
                  <a:gd name="T31" fmla="*/ 2147483647 h 22"/>
                  <a:gd name="T32" fmla="*/ 2147483647 w 25"/>
                  <a:gd name="T33" fmla="*/ 0 h 2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"/>
                  <a:gd name="T52" fmla="*/ 0 h 22"/>
                  <a:gd name="T53" fmla="*/ 25 w 25"/>
                  <a:gd name="T54" fmla="*/ 22 h 2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" h="22">
                    <a:moveTo>
                      <a:pt x="6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25" y="8"/>
                    </a:lnTo>
                    <a:lnTo>
                      <a:pt x="25" y="11"/>
                    </a:lnTo>
                    <a:lnTo>
                      <a:pt x="22" y="14"/>
                    </a:lnTo>
                    <a:lnTo>
                      <a:pt x="22" y="20"/>
                    </a:lnTo>
                    <a:lnTo>
                      <a:pt x="20" y="22"/>
                    </a:lnTo>
                    <a:lnTo>
                      <a:pt x="11" y="20"/>
                    </a:lnTo>
                    <a:lnTo>
                      <a:pt x="8" y="14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7" name="Freeform 536"/>
              <p:cNvSpPr>
                <a:spLocks noChangeAspect="1"/>
              </p:cNvSpPr>
              <p:nvPr>
                <p:custDataLst>
                  <p:tags r:id="rId675"/>
                </p:custDataLst>
              </p:nvPr>
            </p:nvSpPr>
            <p:spPr bwMode="gray">
              <a:xfrm>
                <a:off x="6196967" y="2188042"/>
                <a:ext cx="40998" cy="47302"/>
              </a:xfrm>
              <a:custGeom>
                <a:avLst/>
                <a:gdLst>
                  <a:gd name="T0" fmla="*/ 8 w 33"/>
                  <a:gd name="T1" fmla="*/ 3 h 37"/>
                  <a:gd name="T2" fmla="*/ 8 w 33"/>
                  <a:gd name="T3" fmla="*/ 3 h 37"/>
                  <a:gd name="T4" fmla="*/ 11 w 33"/>
                  <a:gd name="T5" fmla="*/ 3 h 37"/>
                  <a:gd name="T6" fmla="*/ 11 w 33"/>
                  <a:gd name="T7" fmla="*/ 3 h 37"/>
                  <a:gd name="T8" fmla="*/ 14 w 33"/>
                  <a:gd name="T9" fmla="*/ 0 h 37"/>
                  <a:gd name="T10" fmla="*/ 16 w 33"/>
                  <a:gd name="T11" fmla="*/ 0 h 37"/>
                  <a:gd name="T12" fmla="*/ 28 w 33"/>
                  <a:gd name="T13" fmla="*/ 11 h 37"/>
                  <a:gd name="T14" fmla="*/ 30 w 33"/>
                  <a:gd name="T15" fmla="*/ 14 h 37"/>
                  <a:gd name="T16" fmla="*/ 30 w 33"/>
                  <a:gd name="T17" fmla="*/ 17 h 37"/>
                  <a:gd name="T18" fmla="*/ 30 w 33"/>
                  <a:gd name="T19" fmla="*/ 11 h 37"/>
                  <a:gd name="T20" fmla="*/ 33 w 33"/>
                  <a:gd name="T21" fmla="*/ 20 h 37"/>
                  <a:gd name="T22" fmla="*/ 33 w 33"/>
                  <a:gd name="T23" fmla="*/ 23 h 37"/>
                  <a:gd name="T24" fmla="*/ 30 w 33"/>
                  <a:gd name="T25" fmla="*/ 20 h 37"/>
                  <a:gd name="T26" fmla="*/ 22 w 33"/>
                  <a:gd name="T27" fmla="*/ 31 h 37"/>
                  <a:gd name="T28" fmla="*/ 19 w 33"/>
                  <a:gd name="T29" fmla="*/ 34 h 37"/>
                  <a:gd name="T30" fmla="*/ 16 w 33"/>
                  <a:gd name="T31" fmla="*/ 34 h 37"/>
                  <a:gd name="T32" fmla="*/ 14 w 33"/>
                  <a:gd name="T33" fmla="*/ 37 h 37"/>
                  <a:gd name="T34" fmla="*/ 11 w 33"/>
                  <a:gd name="T35" fmla="*/ 37 h 37"/>
                  <a:gd name="T36" fmla="*/ 8 w 33"/>
                  <a:gd name="T37" fmla="*/ 34 h 37"/>
                  <a:gd name="T38" fmla="*/ 8 w 33"/>
                  <a:gd name="T39" fmla="*/ 37 h 37"/>
                  <a:gd name="T40" fmla="*/ 5 w 33"/>
                  <a:gd name="T41" fmla="*/ 34 h 37"/>
                  <a:gd name="T42" fmla="*/ 5 w 33"/>
                  <a:gd name="T43" fmla="*/ 31 h 37"/>
                  <a:gd name="T44" fmla="*/ 3 w 33"/>
                  <a:gd name="T45" fmla="*/ 31 h 37"/>
                  <a:gd name="T46" fmla="*/ 3 w 33"/>
                  <a:gd name="T47" fmla="*/ 34 h 37"/>
                  <a:gd name="T48" fmla="*/ 3 w 33"/>
                  <a:gd name="T49" fmla="*/ 37 h 37"/>
                  <a:gd name="T50" fmla="*/ 0 w 33"/>
                  <a:gd name="T51" fmla="*/ 31 h 37"/>
                  <a:gd name="T52" fmla="*/ 3 w 33"/>
                  <a:gd name="T53" fmla="*/ 17 h 37"/>
                  <a:gd name="T54" fmla="*/ 8 w 33"/>
                  <a:gd name="T55" fmla="*/ 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37">
                    <a:moveTo>
                      <a:pt x="8" y="3"/>
                    </a:moveTo>
                    <a:lnTo>
                      <a:pt x="8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28" y="11"/>
                    </a:lnTo>
                    <a:lnTo>
                      <a:pt x="30" y="14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3" y="20"/>
                    </a:lnTo>
                    <a:lnTo>
                      <a:pt x="33" y="23"/>
                    </a:lnTo>
                    <a:lnTo>
                      <a:pt x="30" y="20"/>
                    </a:lnTo>
                    <a:lnTo>
                      <a:pt x="22" y="31"/>
                    </a:lnTo>
                    <a:lnTo>
                      <a:pt x="19" y="34"/>
                    </a:lnTo>
                    <a:lnTo>
                      <a:pt x="16" y="34"/>
                    </a:lnTo>
                    <a:lnTo>
                      <a:pt x="14" y="37"/>
                    </a:lnTo>
                    <a:lnTo>
                      <a:pt x="11" y="37"/>
                    </a:lnTo>
                    <a:lnTo>
                      <a:pt x="8" y="34"/>
                    </a:lnTo>
                    <a:lnTo>
                      <a:pt x="8" y="37"/>
                    </a:lnTo>
                    <a:lnTo>
                      <a:pt x="5" y="34"/>
                    </a:lnTo>
                    <a:lnTo>
                      <a:pt x="5" y="31"/>
                    </a:lnTo>
                    <a:lnTo>
                      <a:pt x="3" y="31"/>
                    </a:lnTo>
                    <a:lnTo>
                      <a:pt x="3" y="34"/>
                    </a:lnTo>
                    <a:lnTo>
                      <a:pt x="3" y="37"/>
                    </a:lnTo>
                    <a:lnTo>
                      <a:pt x="0" y="31"/>
                    </a:lnTo>
                    <a:lnTo>
                      <a:pt x="3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8" name="Freeform 537"/>
              <p:cNvSpPr>
                <a:spLocks noChangeAspect="1"/>
              </p:cNvSpPr>
              <p:nvPr>
                <p:custDataLst>
                  <p:tags r:id="rId676"/>
                </p:custDataLst>
              </p:nvPr>
            </p:nvSpPr>
            <p:spPr bwMode="gray">
              <a:xfrm>
                <a:off x="6196967" y="2188042"/>
                <a:ext cx="40998" cy="47302"/>
              </a:xfrm>
              <a:custGeom>
                <a:avLst/>
                <a:gdLst>
                  <a:gd name="T0" fmla="*/ 8 w 33"/>
                  <a:gd name="T1" fmla="*/ 3 h 37"/>
                  <a:gd name="T2" fmla="*/ 8 w 33"/>
                  <a:gd name="T3" fmla="*/ 3 h 37"/>
                  <a:gd name="T4" fmla="*/ 11 w 33"/>
                  <a:gd name="T5" fmla="*/ 3 h 37"/>
                  <a:gd name="T6" fmla="*/ 11 w 33"/>
                  <a:gd name="T7" fmla="*/ 3 h 37"/>
                  <a:gd name="T8" fmla="*/ 14 w 33"/>
                  <a:gd name="T9" fmla="*/ 0 h 37"/>
                  <a:gd name="T10" fmla="*/ 16 w 33"/>
                  <a:gd name="T11" fmla="*/ 0 h 37"/>
                  <a:gd name="T12" fmla="*/ 28 w 33"/>
                  <a:gd name="T13" fmla="*/ 11 h 37"/>
                  <a:gd name="T14" fmla="*/ 30 w 33"/>
                  <a:gd name="T15" fmla="*/ 14 h 37"/>
                  <a:gd name="T16" fmla="*/ 30 w 33"/>
                  <a:gd name="T17" fmla="*/ 17 h 37"/>
                  <a:gd name="T18" fmla="*/ 30 w 33"/>
                  <a:gd name="T19" fmla="*/ 11 h 37"/>
                  <a:gd name="T20" fmla="*/ 33 w 33"/>
                  <a:gd name="T21" fmla="*/ 20 h 37"/>
                  <a:gd name="T22" fmla="*/ 33 w 33"/>
                  <a:gd name="T23" fmla="*/ 23 h 37"/>
                  <a:gd name="T24" fmla="*/ 30 w 33"/>
                  <a:gd name="T25" fmla="*/ 20 h 37"/>
                  <a:gd name="T26" fmla="*/ 22 w 33"/>
                  <a:gd name="T27" fmla="*/ 31 h 37"/>
                  <a:gd name="T28" fmla="*/ 19 w 33"/>
                  <a:gd name="T29" fmla="*/ 34 h 37"/>
                  <a:gd name="T30" fmla="*/ 16 w 33"/>
                  <a:gd name="T31" fmla="*/ 34 h 37"/>
                  <a:gd name="T32" fmla="*/ 14 w 33"/>
                  <a:gd name="T33" fmla="*/ 37 h 37"/>
                  <a:gd name="T34" fmla="*/ 11 w 33"/>
                  <a:gd name="T35" fmla="*/ 37 h 37"/>
                  <a:gd name="T36" fmla="*/ 8 w 33"/>
                  <a:gd name="T37" fmla="*/ 34 h 37"/>
                  <a:gd name="T38" fmla="*/ 8 w 33"/>
                  <a:gd name="T39" fmla="*/ 37 h 37"/>
                  <a:gd name="T40" fmla="*/ 5 w 33"/>
                  <a:gd name="T41" fmla="*/ 34 h 37"/>
                  <a:gd name="T42" fmla="*/ 5 w 33"/>
                  <a:gd name="T43" fmla="*/ 31 h 37"/>
                  <a:gd name="T44" fmla="*/ 3 w 33"/>
                  <a:gd name="T45" fmla="*/ 31 h 37"/>
                  <a:gd name="T46" fmla="*/ 3 w 33"/>
                  <a:gd name="T47" fmla="*/ 34 h 37"/>
                  <a:gd name="T48" fmla="*/ 3 w 33"/>
                  <a:gd name="T49" fmla="*/ 37 h 37"/>
                  <a:gd name="T50" fmla="*/ 0 w 33"/>
                  <a:gd name="T51" fmla="*/ 31 h 37"/>
                  <a:gd name="T52" fmla="*/ 3 w 33"/>
                  <a:gd name="T53" fmla="*/ 17 h 37"/>
                  <a:gd name="T54" fmla="*/ 8 w 33"/>
                  <a:gd name="T55" fmla="*/ 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37">
                    <a:moveTo>
                      <a:pt x="8" y="3"/>
                    </a:moveTo>
                    <a:lnTo>
                      <a:pt x="8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28" y="11"/>
                    </a:lnTo>
                    <a:lnTo>
                      <a:pt x="30" y="14"/>
                    </a:lnTo>
                    <a:lnTo>
                      <a:pt x="30" y="17"/>
                    </a:lnTo>
                    <a:lnTo>
                      <a:pt x="30" y="11"/>
                    </a:lnTo>
                    <a:lnTo>
                      <a:pt x="33" y="20"/>
                    </a:lnTo>
                    <a:lnTo>
                      <a:pt x="33" y="23"/>
                    </a:lnTo>
                    <a:lnTo>
                      <a:pt x="30" y="20"/>
                    </a:lnTo>
                    <a:lnTo>
                      <a:pt x="22" y="31"/>
                    </a:lnTo>
                    <a:lnTo>
                      <a:pt x="19" y="34"/>
                    </a:lnTo>
                    <a:lnTo>
                      <a:pt x="16" y="34"/>
                    </a:lnTo>
                    <a:lnTo>
                      <a:pt x="14" y="37"/>
                    </a:lnTo>
                    <a:lnTo>
                      <a:pt x="11" y="37"/>
                    </a:lnTo>
                    <a:lnTo>
                      <a:pt x="8" y="34"/>
                    </a:lnTo>
                    <a:lnTo>
                      <a:pt x="8" y="37"/>
                    </a:lnTo>
                    <a:lnTo>
                      <a:pt x="5" y="34"/>
                    </a:lnTo>
                    <a:lnTo>
                      <a:pt x="5" y="31"/>
                    </a:lnTo>
                    <a:lnTo>
                      <a:pt x="3" y="31"/>
                    </a:lnTo>
                    <a:lnTo>
                      <a:pt x="3" y="34"/>
                    </a:lnTo>
                    <a:lnTo>
                      <a:pt x="3" y="37"/>
                    </a:lnTo>
                    <a:lnTo>
                      <a:pt x="0" y="31"/>
                    </a:lnTo>
                    <a:lnTo>
                      <a:pt x="3" y="17"/>
                    </a:lnTo>
                    <a:lnTo>
                      <a:pt x="8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9" name="Freeform 538"/>
              <p:cNvSpPr>
                <a:spLocks noChangeAspect="1"/>
              </p:cNvSpPr>
              <p:nvPr>
                <p:custDataLst>
                  <p:tags r:id="rId677"/>
                </p:custDataLst>
              </p:nvPr>
            </p:nvSpPr>
            <p:spPr bwMode="gray">
              <a:xfrm>
                <a:off x="6404996" y="2136009"/>
                <a:ext cx="44034" cy="45726"/>
              </a:xfrm>
              <a:custGeom>
                <a:avLst/>
                <a:gdLst>
                  <a:gd name="T0" fmla="*/ 6 w 34"/>
                  <a:gd name="T1" fmla="*/ 22 h 36"/>
                  <a:gd name="T2" fmla="*/ 6 w 34"/>
                  <a:gd name="T3" fmla="*/ 22 h 36"/>
                  <a:gd name="T4" fmla="*/ 3 w 34"/>
                  <a:gd name="T5" fmla="*/ 16 h 36"/>
                  <a:gd name="T6" fmla="*/ 3 w 34"/>
                  <a:gd name="T7" fmla="*/ 14 h 36"/>
                  <a:gd name="T8" fmla="*/ 3 w 34"/>
                  <a:gd name="T9" fmla="*/ 14 h 36"/>
                  <a:gd name="T10" fmla="*/ 0 w 34"/>
                  <a:gd name="T11" fmla="*/ 11 h 36"/>
                  <a:gd name="T12" fmla="*/ 3 w 34"/>
                  <a:gd name="T13" fmla="*/ 11 h 36"/>
                  <a:gd name="T14" fmla="*/ 6 w 34"/>
                  <a:gd name="T15" fmla="*/ 11 h 36"/>
                  <a:gd name="T16" fmla="*/ 3 w 34"/>
                  <a:gd name="T17" fmla="*/ 8 h 36"/>
                  <a:gd name="T18" fmla="*/ 3 w 34"/>
                  <a:gd name="T19" fmla="*/ 5 h 36"/>
                  <a:gd name="T20" fmla="*/ 6 w 34"/>
                  <a:gd name="T21" fmla="*/ 0 h 36"/>
                  <a:gd name="T22" fmla="*/ 9 w 34"/>
                  <a:gd name="T23" fmla="*/ 0 h 36"/>
                  <a:gd name="T24" fmla="*/ 11 w 34"/>
                  <a:gd name="T25" fmla="*/ 5 h 36"/>
                  <a:gd name="T26" fmla="*/ 14 w 34"/>
                  <a:gd name="T27" fmla="*/ 5 h 36"/>
                  <a:gd name="T28" fmla="*/ 17 w 34"/>
                  <a:gd name="T29" fmla="*/ 11 h 36"/>
                  <a:gd name="T30" fmla="*/ 20 w 34"/>
                  <a:gd name="T31" fmla="*/ 14 h 36"/>
                  <a:gd name="T32" fmla="*/ 31 w 34"/>
                  <a:gd name="T33" fmla="*/ 27 h 36"/>
                  <a:gd name="T34" fmla="*/ 34 w 34"/>
                  <a:gd name="T35" fmla="*/ 30 h 36"/>
                  <a:gd name="T36" fmla="*/ 31 w 34"/>
                  <a:gd name="T37" fmla="*/ 36 h 36"/>
                  <a:gd name="T38" fmla="*/ 28 w 34"/>
                  <a:gd name="T39" fmla="*/ 33 h 36"/>
                  <a:gd name="T40" fmla="*/ 25 w 34"/>
                  <a:gd name="T41" fmla="*/ 33 h 36"/>
                  <a:gd name="T42" fmla="*/ 25 w 34"/>
                  <a:gd name="T43" fmla="*/ 33 h 36"/>
                  <a:gd name="T44" fmla="*/ 22 w 34"/>
                  <a:gd name="T45" fmla="*/ 33 h 36"/>
                  <a:gd name="T46" fmla="*/ 17 w 34"/>
                  <a:gd name="T47" fmla="*/ 30 h 36"/>
                  <a:gd name="T48" fmla="*/ 20 w 34"/>
                  <a:gd name="T49" fmla="*/ 30 h 36"/>
                  <a:gd name="T50" fmla="*/ 17 w 34"/>
                  <a:gd name="T51" fmla="*/ 27 h 36"/>
                  <a:gd name="T52" fmla="*/ 14 w 34"/>
                  <a:gd name="T53" fmla="*/ 27 h 36"/>
                  <a:gd name="T54" fmla="*/ 9 w 34"/>
                  <a:gd name="T55" fmla="*/ 22 h 36"/>
                  <a:gd name="T56" fmla="*/ 11 w 34"/>
                  <a:gd name="T57" fmla="*/ 30 h 36"/>
                  <a:gd name="T58" fmla="*/ 11 w 34"/>
                  <a:gd name="T59" fmla="*/ 30 h 36"/>
                  <a:gd name="T60" fmla="*/ 6 w 34"/>
                  <a:gd name="T61" fmla="*/ 2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36">
                    <a:moveTo>
                      <a:pt x="6" y="22"/>
                    </a:moveTo>
                    <a:lnTo>
                      <a:pt x="6" y="22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7" y="11"/>
                    </a:lnTo>
                    <a:lnTo>
                      <a:pt x="20" y="14"/>
                    </a:lnTo>
                    <a:lnTo>
                      <a:pt x="31" y="27"/>
                    </a:lnTo>
                    <a:lnTo>
                      <a:pt x="34" y="30"/>
                    </a:lnTo>
                    <a:lnTo>
                      <a:pt x="31" y="36"/>
                    </a:lnTo>
                    <a:lnTo>
                      <a:pt x="28" y="33"/>
                    </a:lnTo>
                    <a:lnTo>
                      <a:pt x="25" y="33"/>
                    </a:lnTo>
                    <a:lnTo>
                      <a:pt x="25" y="33"/>
                    </a:lnTo>
                    <a:lnTo>
                      <a:pt x="22" y="33"/>
                    </a:lnTo>
                    <a:lnTo>
                      <a:pt x="17" y="30"/>
                    </a:lnTo>
                    <a:lnTo>
                      <a:pt x="20" y="30"/>
                    </a:lnTo>
                    <a:lnTo>
                      <a:pt x="17" y="27"/>
                    </a:lnTo>
                    <a:lnTo>
                      <a:pt x="14" y="27"/>
                    </a:lnTo>
                    <a:lnTo>
                      <a:pt x="9" y="22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0" name="Freeform 539"/>
              <p:cNvSpPr>
                <a:spLocks noChangeAspect="1"/>
              </p:cNvSpPr>
              <p:nvPr>
                <p:custDataLst>
                  <p:tags r:id="rId678"/>
                </p:custDataLst>
              </p:nvPr>
            </p:nvSpPr>
            <p:spPr bwMode="gray">
              <a:xfrm>
                <a:off x="6404996" y="2136009"/>
                <a:ext cx="44034" cy="45726"/>
              </a:xfrm>
              <a:custGeom>
                <a:avLst/>
                <a:gdLst>
                  <a:gd name="T0" fmla="*/ 6 w 34"/>
                  <a:gd name="T1" fmla="*/ 22 h 36"/>
                  <a:gd name="T2" fmla="*/ 6 w 34"/>
                  <a:gd name="T3" fmla="*/ 22 h 36"/>
                  <a:gd name="T4" fmla="*/ 3 w 34"/>
                  <a:gd name="T5" fmla="*/ 16 h 36"/>
                  <a:gd name="T6" fmla="*/ 3 w 34"/>
                  <a:gd name="T7" fmla="*/ 14 h 36"/>
                  <a:gd name="T8" fmla="*/ 3 w 34"/>
                  <a:gd name="T9" fmla="*/ 14 h 36"/>
                  <a:gd name="T10" fmla="*/ 0 w 34"/>
                  <a:gd name="T11" fmla="*/ 11 h 36"/>
                  <a:gd name="T12" fmla="*/ 3 w 34"/>
                  <a:gd name="T13" fmla="*/ 11 h 36"/>
                  <a:gd name="T14" fmla="*/ 6 w 34"/>
                  <a:gd name="T15" fmla="*/ 11 h 36"/>
                  <a:gd name="T16" fmla="*/ 3 w 34"/>
                  <a:gd name="T17" fmla="*/ 8 h 36"/>
                  <a:gd name="T18" fmla="*/ 3 w 34"/>
                  <a:gd name="T19" fmla="*/ 5 h 36"/>
                  <a:gd name="T20" fmla="*/ 6 w 34"/>
                  <a:gd name="T21" fmla="*/ 0 h 36"/>
                  <a:gd name="T22" fmla="*/ 9 w 34"/>
                  <a:gd name="T23" fmla="*/ 0 h 36"/>
                  <a:gd name="T24" fmla="*/ 11 w 34"/>
                  <a:gd name="T25" fmla="*/ 5 h 36"/>
                  <a:gd name="T26" fmla="*/ 14 w 34"/>
                  <a:gd name="T27" fmla="*/ 5 h 36"/>
                  <a:gd name="T28" fmla="*/ 17 w 34"/>
                  <a:gd name="T29" fmla="*/ 11 h 36"/>
                  <a:gd name="T30" fmla="*/ 20 w 34"/>
                  <a:gd name="T31" fmla="*/ 14 h 36"/>
                  <a:gd name="T32" fmla="*/ 31 w 34"/>
                  <a:gd name="T33" fmla="*/ 27 h 36"/>
                  <a:gd name="T34" fmla="*/ 34 w 34"/>
                  <a:gd name="T35" fmla="*/ 30 h 36"/>
                  <a:gd name="T36" fmla="*/ 31 w 34"/>
                  <a:gd name="T37" fmla="*/ 36 h 36"/>
                  <a:gd name="T38" fmla="*/ 28 w 34"/>
                  <a:gd name="T39" fmla="*/ 33 h 36"/>
                  <a:gd name="T40" fmla="*/ 25 w 34"/>
                  <a:gd name="T41" fmla="*/ 33 h 36"/>
                  <a:gd name="T42" fmla="*/ 25 w 34"/>
                  <a:gd name="T43" fmla="*/ 33 h 36"/>
                  <a:gd name="T44" fmla="*/ 22 w 34"/>
                  <a:gd name="T45" fmla="*/ 33 h 36"/>
                  <a:gd name="T46" fmla="*/ 17 w 34"/>
                  <a:gd name="T47" fmla="*/ 30 h 36"/>
                  <a:gd name="T48" fmla="*/ 20 w 34"/>
                  <a:gd name="T49" fmla="*/ 30 h 36"/>
                  <a:gd name="T50" fmla="*/ 17 w 34"/>
                  <a:gd name="T51" fmla="*/ 27 h 36"/>
                  <a:gd name="T52" fmla="*/ 14 w 34"/>
                  <a:gd name="T53" fmla="*/ 27 h 36"/>
                  <a:gd name="T54" fmla="*/ 9 w 34"/>
                  <a:gd name="T55" fmla="*/ 22 h 36"/>
                  <a:gd name="T56" fmla="*/ 11 w 34"/>
                  <a:gd name="T57" fmla="*/ 30 h 36"/>
                  <a:gd name="T58" fmla="*/ 11 w 34"/>
                  <a:gd name="T59" fmla="*/ 30 h 36"/>
                  <a:gd name="T60" fmla="*/ 6 w 34"/>
                  <a:gd name="T61" fmla="*/ 2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36">
                    <a:moveTo>
                      <a:pt x="6" y="22"/>
                    </a:moveTo>
                    <a:lnTo>
                      <a:pt x="6" y="22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7" y="11"/>
                    </a:lnTo>
                    <a:lnTo>
                      <a:pt x="20" y="14"/>
                    </a:lnTo>
                    <a:lnTo>
                      <a:pt x="31" y="27"/>
                    </a:lnTo>
                    <a:lnTo>
                      <a:pt x="34" y="30"/>
                    </a:lnTo>
                    <a:lnTo>
                      <a:pt x="31" y="36"/>
                    </a:lnTo>
                    <a:lnTo>
                      <a:pt x="28" y="33"/>
                    </a:lnTo>
                    <a:lnTo>
                      <a:pt x="25" y="33"/>
                    </a:lnTo>
                    <a:lnTo>
                      <a:pt x="25" y="33"/>
                    </a:lnTo>
                    <a:lnTo>
                      <a:pt x="22" y="33"/>
                    </a:lnTo>
                    <a:lnTo>
                      <a:pt x="17" y="30"/>
                    </a:lnTo>
                    <a:lnTo>
                      <a:pt x="20" y="30"/>
                    </a:lnTo>
                    <a:lnTo>
                      <a:pt x="17" y="27"/>
                    </a:lnTo>
                    <a:lnTo>
                      <a:pt x="14" y="27"/>
                    </a:lnTo>
                    <a:lnTo>
                      <a:pt x="9" y="22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6" y="2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1" name="Freeform 540"/>
              <p:cNvSpPr>
                <a:spLocks noChangeAspect="1"/>
              </p:cNvSpPr>
              <p:nvPr>
                <p:custDataLst>
                  <p:tags r:id="rId679"/>
                </p:custDataLst>
              </p:nvPr>
            </p:nvSpPr>
            <p:spPr bwMode="gray">
              <a:xfrm>
                <a:off x="6640357" y="1935765"/>
                <a:ext cx="28851" cy="33111"/>
              </a:xfrm>
              <a:custGeom>
                <a:avLst/>
                <a:gdLst>
                  <a:gd name="T0" fmla="*/ 3 w 22"/>
                  <a:gd name="T1" fmla="*/ 26 h 26"/>
                  <a:gd name="T2" fmla="*/ 0 w 22"/>
                  <a:gd name="T3" fmla="*/ 26 h 26"/>
                  <a:gd name="T4" fmla="*/ 3 w 22"/>
                  <a:gd name="T5" fmla="*/ 17 h 26"/>
                  <a:gd name="T6" fmla="*/ 3 w 22"/>
                  <a:gd name="T7" fmla="*/ 12 h 26"/>
                  <a:gd name="T8" fmla="*/ 6 w 22"/>
                  <a:gd name="T9" fmla="*/ 3 h 26"/>
                  <a:gd name="T10" fmla="*/ 11 w 22"/>
                  <a:gd name="T11" fmla="*/ 0 h 26"/>
                  <a:gd name="T12" fmla="*/ 17 w 22"/>
                  <a:gd name="T13" fmla="*/ 3 h 26"/>
                  <a:gd name="T14" fmla="*/ 17 w 22"/>
                  <a:gd name="T15" fmla="*/ 6 h 26"/>
                  <a:gd name="T16" fmla="*/ 17 w 22"/>
                  <a:gd name="T17" fmla="*/ 12 h 26"/>
                  <a:gd name="T18" fmla="*/ 22 w 22"/>
                  <a:gd name="T19" fmla="*/ 14 h 26"/>
                  <a:gd name="T20" fmla="*/ 22 w 22"/>
                  <a:gd name="T21" fmla="*/ 17 h 26"/>
                  <a:gd name="T22" fmla="*/ 20 w 22"/>
                  <a:gd name="T23" fmla="*/ 17 h 26"/>
                  <a:gd name="T24" fmla="*/ 17 w 22"/>
                  <a:gd name="T25" fmla="*/ 20 h 26"/>
                  <a:gd name="T26" fmla="*/ 11 w 22"/>
                  <a:gd name="T27" fmla="*/ 20 h 26"/>
                  <a:gd name="T28" fmla="*/ 6 w 22"/>
                  <a:gd name="T29" fmla="*/ 23 h 26"/>
                  <a:gd name="T30" fmla="*/ 6 w 22"/>
                  <a:gd name="T31" fmla="*/ 20 h 26"/>
                  <a:gd name="T32" fmla="*/ 3 w 22"/>
                  <a:gd name="T33" fmla="*/ 26 h 26"/>
                  <a:gd name="T34" fmla="*/ 3 w 22"/>
                  <a:gd name="T3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" h="26">
                    <a:moveTo>
                      <a:pt x="3" y="26"/>
                    </a:moveTo>
                    <a:lnTo>
                      <a:pt x="0" y="26"/>
                    </a:lnTo>
                    <a:lnTo>
                      <a:pt x="3" y="17"/>
                    </a:lnTo>
                    <a:lnTo>
                      <a:pt x="3" y="12"/>
                    </a:lnTo>
                    <a:lnTo>
                      <a:pt x="6" y="3"/>
                    </a:lnTo>
                    <a:lnTo>
                      <a:pt x="11" y="0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1" y="20"/>
                    </a:lnTo>
                    <a:lnTo>
                      <a:pt x="6" y="23"/>
                    </a:lnTo>
                    <a:lnTo>
                      <a:pt x="6" y="20"/>
                    </a:lnTo>
                    <a:lnTo>
                      <a:pt x="3" y="26"/>
                    </a:lnTo>
                    <a:lnTo>
                      <a:pt x="3" y="2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2" name="Freeform 541"/>
              <p:cNvSpPr>
                <a:spLocks noChangeAspect="1"/>
              </p:cNvSpPr>
              <p:nvPr>
                <p:custDataLst>
                  <p:tags r:id="rId680"/>
                </p:custDataLst>
              </p:nvPr>
            </p:nvSpPr>
            <p:spPr bwMode="gray">
              <a:xfrm>
                <a:off x="6640357" y="1935765"/>
                <a:ext cx="28851" cy="33111"/>
              </a:xfrm>
              <a:custGeom>
                <a:avLst/>
                <a:gdLst>
                  <a:gd name="T0" fmla="*/ 3 w 22"/>
                  <a:gd name="T1" fmla="*/ 26 h 26"/>
                  <a:gd name="T2" fmla="*/ 0 w 22"/>
                  <a:gd name="T3" fmla="*/ 26 h 26"/>
                  <a:gd name="T4" fmla="*/ 3 w 22"/>
                  <a:gd name="T5" fmla="*/ 17 h 26"/>
                  <a:gd name="T6" fmla="*/ 3 w 22"/>
                  <a:gd name="T7" fmla="*/ 12 h 26"/>
                  <a:gd name="T8" fmla="*/ 6 w 22"/>
                  <a:gd name="T9" fmla="*/ 3 h 26"/>
                  <a:gd name="T10" fmla="*/ 11 w 22"/>
                  <a:gd name="T11" fmla="*/ 0 h 26"/>
                  <a:gd name="T12" fmla="*/ 17 w 22"/>
                  <a:gd name="T13" fmla="*/ 3 h 26"/>
                  <a:gd name="T14" fmla="*/ 17 w 22"/>
                  <a:gd name="T15" fmla="*/ 6 h 26"/>
                  <a:gd name="T16" fmla="*/ 17 w 22"/>
                  <a:gd name="T17" fmla="*/ 12 h 26"/>
                  <a:gd name="T18" fmla="*/ 22 w 22"/>
                  <a:gd name="T19" fmla="*/ 14 h 26"/>
                  <a:gd name="T20" fmla="*/ 22 w 22"/>
                  <a:gd name="T21" fmla="*/ 17 h 26"/>
                  <a:gd name="T22" fmla="*/ 20 w 22"/>
                  <a:gd name="T23" fmla="*/ 17 h 26"/>
                  <a:gd name="T24" fmla="*/ 17 w 22"/>
                  <a:gd name="T25" fmla="*/ 20 h 26"/>
                  <a:gd name="T26" fmla="*/ 11 w 22"/>
                  <a:gd name="T27" fmla="*/ 20 h 26"/>
                  <a:gd name="T28" fmla="*/ 6 w 22"/>
                  <a:gd name="T29" fmla="*/ 23 h 26"/>
                  <a:gd name="T30" fmla="*/ 6 w 22"/>
                  <a:gd name="T31" fmla="*/ 20 h 26"/>
                  <a:gd name="T32" fmla="*/ 3 w 22"/>
                  <a:gd name="T33" fmla="*/ 26 h 26"/>
                  <a:gd name="T34" fmla="*/ 3 w 22"/>
                  <a:gd name="T3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" h="26">
                    <a:moveTo>
                      <a:pt x="3" y="26"/>
                    </a:moveTo>
                    <a:lnTo>
                      <a:pt x="0" y="26"/>
                    </a:lnTo>
                    <a:lnTo>
                      <a:pt x="3" y="17"/>
                    </a:lnTo>
                    <a:lnTo>
                      <a:pt x="3" y="12"/>
                    </a:lnTo>
                    <a:lnTo>
                      <a:pt x="6" y="3"/>
                    </a:lnTo>
                    <a:lnTo>
                      <a:pt x="11" y="0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17" y="12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20" y="17"/>
                    </a:lnTo>
                    <a:lnTo>
                      <a:pt x="17" y="20"/>
                    </a:lnTo>
                    <a:lnTo>
                      <a:pt x="11" y="20"/>
                    </a:lnTo>
                    <a:lnTo>
                      <a:pt x="6" y="23"/>
                    </a:lnTo>
                    <a:lnTo>
                      <a:pt x="6" y="20"/>
                    </a:lnTo>
                    <a:lnTo>
                      <a:pt x="3" y="26"/>
                    </a:lnTo>
                    <a:lnTo>
                      <a:pt x="3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3" name="Freeform 542"/>
              <p:cNvSpPr>
                <a:spLocks noChangeAspect="1"/>
              </p:cNvSpPr>
              <p:nvPr>
                <p:custDataLst>
                  <p:tags r:id="rId681"/>
                </p:custDataLst>
              </p:nvPr>
            </p:nvSpPr>
            <p:spPr bwMode="gray">
              <a:xfrm>
                <a:off x="6725391" y="1962568"/>
                <a:ext cx="13667" cy="18921"/>
              </a:xfrm>
              <a:custGeom>
                <a:avLst/>
                <a:gdLst>
                  <a:gd name="T0" fmla="*/ 0 w 11"/>
                  <a:gd name="T1" fmla="*/ 2147483647 h 14"/>
                  <a:gd name="T2" fmla="*/ 0 w 11"/>
                  <a:gd name="T3" fmla="*/ 2147483647 h 14"/>
                  <a:gd name="T4" fmla="*/ 2147483647 w 11"/>
                  <a:gd name="T5" fmla="*/ 0 h 14"/>
                  <a:gd name="T6" fmla="*/ 2147483647 w 11"/>
                  <a:gd name="T7" fmla="*/ 2147483647 h 14"/>
                  <a:gd name="T8" fmla="*/ 2147483647 w 11"/>
                  <a:gd name="T9" fmla="*/ 2147483647 h 14"/>
                  <a:gd name="T10" fmla="*/ 2147483647 w 11"/>
                  <a:gd name="T11" fmla="*/ 2147483647 h 14"/>
                  <a:gd name="T12" fmla="*/ 2147483647 w 11"/>
                  <a:gd name="T13" fmla="*/ 2147483647 h 14"/>
                  <a:gd name="T14" fmla="*/ 0 w 11"/>
                  <a:gd name="T15" fmla="*/ 2147483647 h 14"/>
                  <a:gd name="T16" fmla="*/ 0 w 11"/>
                  <a:gd name="T17" fmla="*/ 2147483647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4"/>
                  <a:gd name="T29" fmla="*/ 11 w 11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4">
                    <a:moveTo>
                      <a:pt x="0" y="6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9" y="6"/>
                    </a:lnTo>
                    <a:lnTo>
                      <a:pt x="9" y="14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4" name="Freeform 543"/>
              <p:cNvSpPr>
                <a:spLocks noChangeAspect="1"/>
              </p:cNvSpPr>
              <p:nvPr>
                <p:custDataLst>
                  <p:tags r:id="rId682"/>
                </p:custDataLst>
              </p:nvPr>
            </p:nvSpPr>
            <p:spPr bwMode="gray">
              <a:xfrm>
                <a:off x="6725391" y="1962568"/>
                <a:ext cx="13667" cy="18921"/>
              </a:xfrm>
              <a:custGeom>
                <a:avLst/>
                <a:gdLst>
                  <a:gd name="T0" fmla="*/ 0 w 11"/>
                  <a:gd name="T1" fmla="*/ 2147483647 h 14"/>
                  <a:gd name="T2" fmla="*/ 0 w 11"/>
                  <a:gd name="T3" fmla="*/ 2147483647 h 14"/>
                  <a:gd name="T4" fmla="*/ 2147483647 w 11"/>
                  <a:gd name="T5" fmla="*/ 0 h 14"/>
                  <a:gd name="T6" fmla="*/ 2147483647 w 11"/>
                  <a:gd name="T7" fmla="*/ 2147483647 h 14"/>
                  <a:gd name="T8" fmla="*/ 2147483647 w 11"/>
                  <a:gd name="T9" fmla="*/ 2147483647 h 14"/>
                  <a:gd name="T10" fmla="*/ 2147483647 w 11"/>
                  <a:gd name="T11" fmla="*/ 2147483647 h 14"/>
                  <a:gd name="T12" fmla="*/ 2147483647 w 11"/>
                  <a:gd name="T13" fmla="*/ 2147483647 h 14"/>
                  <a:gd name="T14" fmla="*/ 0 w 11"/>
                  <a:gd name="T15" fmla="*/ 2147483647 h 14"/>
                  <a:gd name="T16" fmla="*/ 0 w 11"/>
                  <a:gd name="T17" fmla="*/ 2147483647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4"/>
                  <a:gd name="T29" fmla="*/ 11 w 11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4">
                    <a:moveTo>
                      <a:pt x="0" y="6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9" y="6"/>
                    </a:lnTo>
                    <a:lnTo>
                      <a:pt x="9" y="14"/>
                    </a:lnTo>
                    <a:lnTo>
                      <a:pt x="0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5" name="Freeform 544"/>
              <p:cNvSpPr>
                <a:spLocks noChangeAspect="1"/>
              </p:cNvSpPr>
              <p:nvPr>
                <p:custDataLst>
                  <p:tags r:id="rId683"/>
                </p:custDataLst>
              </p:nvPr>
            </p:nvSpPr>
            <p:spPr bwMode="gray">
              <a:xfrm>
                <a:off x="6814980" y="1967299"/>
                <a:ext cx="19739" cy="23651"/>
              </a:xfrm>
              <a:custGeom>
                <a:avLst/>
                <a:gdLst>
                  <a:gd name="T0" fmla="*/ 2147483647 w 14"/>
                  <a:gd name="T1" fmla="*/ 2147483647 h 19"/>
                  <a:gd name="T2" fmla="*/ 2147483647 w 14"/>
                  <a:gd name="T3" fmla="*/ 2147483647 h 19"/>
                  <a:gd name="T4" fmla="*/ 2147483647 w 14"/>
                  <a:gd name="T5" fmla="*/ 2147483647 h 19"/>
                  <a:gd name="T6" fmla="*/ 2147483647 w 14"/>
                  <a:gd name="T7" fmla="*/ 2147483647 h 19"/>
                  <a:gd name="T8" fmla="*/ 2147483647 w 14"/>
                  <a:gd name="T9" fmla="*/ 2147483647 h 19"/>
                  <a:gd name="T10" fmla="*/ 2147483647 w 14"/>
                  <a:gd name="T11" fmla="*/ 2147483647 h 19"/>
                  <a:gd name="T12" fmla="*/ 2147483647 w 14"/>
                  <a:gd name="T13" fmla="*/ 2147483647 h 19"/>
                  <a:gd name="T14" fmla="*/ 2147483647 w 14"/>
                  <a:gd name="T15" fmla="*/ 2147483647 h 19"/>
                  <a:gd name="T16" fmla="*/ 0 w 14"/>
                  <a:gd name="T17" fmla="*/ 2147483647 h 19"/>
                  <a:gd name="T18" fmla="*/ 2147483647 w 14"/>
                  <a:gd name="T19" fmla="*/ 0 h 19"/>
                  <a:gd name="T20" fmla="*/ 2147483647 w 14"/>
                  <a:gd name="T21" fmla="*/ 2147483647 h 19"/>
                  <a:gd name="T22" fmla="*/ 2147483647 w 14"/>
                  <a:gd name="T23" fmla="*/ 2147483647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19"/>
                  <a:gd name="T38" fmla="*/ 14 w 14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19">
                    <a:moveTo>
                      <a:pt x="8" y="3"/>
                    </a:moveTo>
                    <a:lnTo>
                      <a:pt x="8" y="5"/>
                    </a:lnTo>
                    <a:lnTo>
                      <a:pt x="14" y="8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5" y="19"/>
                    </a:lnTo>
                    <a:lnTo>
                      <a:pt x="3" y="16"/>
                    </a:lnTo>
                    <a:lnTo>
                      <a:pt x="0" y="14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6" name="Freeform 545"/>
              <p:cNvSpPr>
                <a:spLocks noChangeAspect="1"/>
              </p:cNvSpPr>
              <p:nvPr>
                <p:custDataLst>
                  <p:tags r:id="rId684"/>
                </p:custDataLst>
              </p:nvPr>
            </p:nvSpPr>
            <p:spPr bwMode="gray">
              <a:xfrm>
                <a:off x="6814980" y="1967299"/>
                <a:ext cx="19739" cy="23651"/>
              </a:xfrm>
              <a:custGeom>
                <a:avLst/>
                <a:gdLst>
                  <a:gd name="T0" fmla="*/ 2147483647 w 14"/>
                  <a:gd name="T1" fmla="*/ 2147483647 h 19"/>
                  <a:gd name="T2" fmla="*/ 2147483647 w 14"/>
                  <a:gd name="T3" fmla="*/ 2147483647 h 19"/>
                  <a:gd name="T4" fmla="*/ 2147483647 w 14"/>
                  <a:gd name="T5" fmla="*/ 2147483647 h 19"/>
                  <a:gd name="T6" fmla="*/ 2147483647 w 14"/>
                  <a:gd name="T7" fmla="*/ 2147483647 h 19"/>
                  <a:gd name="T8" fmla="*/ 2147483647 w 14"/>
                  <a:gd name="T9" fmla="*/ 2147483647 h 19"/>
                  <a:gd name="T10" fmla="*/ 2147483647 w 14"/>
                  <a:gd name="T11" fmla="*/ 2147483647 h 19"/>
                  <a:gd name="T12" fmla="*/ 2147483647 w 14"/>
                  <a:gd name="T13" fmla="*/ 2147483647 h 19"/>
                  <a:gd name="T14" fmla="*/ 2147483647 w 14"/>
                  <a:gd name="T15" fmla="*/ 2147483647 h 19"/>
                  <a:gd name="T16" fmla="*/ 0 w 14"/>
                  <a:gd name="T17" fmla="*/ 2147483647 h 19"/>
                  <a:gd name="T18" fmla="*/ 2147483647 w 14"/>
                  <a:gd name="T19" fmla="*/ 0 h 19"/>
                  <a:gd name="T20" fmla="*/ 2147483647 w 14"/>
                  <a:gd name="T21" fmla="*/ 2147483647 h 19"/>
                  <a:gd name="T22" fmla="*/ 2147483647 w 14"/>
                  <a:gd name="T23" fmla="*/ 2147483647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"/>
                  <a:gd name="T37" fmla="*/ 0 h 19"/>
                  <a:gd name="T38" fmla="*/ 14 w 14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" h="19">
                    <a:moveTo>
                      <a:pt x="8" y="3"/>
                    </a:moveTo>
                    <a:lnTo>
                      <a:pt x="8" y="5"/>
                    </a:lnTo>
                    <a:lnTo>
                      <a:pt x="14" y="8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5" y="19"/>
                    </a:lnTo>
                    <a:lnTo>
                      <a:pt x="3" y="16"/>
                    </a:lnTo>
                    <a:lnTo>
                      <a:pt x="0" y="14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8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7" name="Freeform 546"/>
              <p:cNvSpPr>
                <a:spLocks noChangeAspect="1"/>
              </p:cNvSpPr>
              <p:nvPr>
                <p:custDataLst>
                  <p:tags r:id="rId685"/>
                </p:custDataLst>
              </p:nvPr>
            </p:nvSpPr>
            <p:spPr bwMode="gray">
              <a:xfrm>
                <a:off x="6783091" y="1997257"/>
                <a:ext cx="24295" cy="23652"/>
              </a:xfrm>
              <a:custGeom>
                <a:avLst/>
                <a:gdLst>
                  <a:gd name="T0" fmla="*/ 2147483647 w 19"/>
                  <a:gd name="T1" fmla="*/ 2147483647 h 16"/>
                  <a:gd name="T2" fmla="*/ 2147483647 w 19"/>
                  <a:gd name="T3" fmla="*/ 2147483647 h 16"/>
                  <a:gd name="T4" fmla="*/ 2147483647 w 19"/>
                  <a:gd name="T5" fmla="*/ 0 h 16"/>
                  <a:gd name="T6" fmla="*/ 2147483647 w 19"/>
                  <a:gd name="T7" fmla="*/ 2147483647 h 16"/>
                  <a:gd name="T8" fmla="*/ 2147483647 w 19"/>
                  <a:gd name="T9" fmla="*/ 2147483647 h 16"/>
                  <a:gd name="T10" fmla="*/ 2147483647 w 19"/>
                  <a:gd name="T11" fmla="*/ 2147483647 h 16"/>
                  <a:gd name="T12" fmla="*/ 2147483647 w 19"/>
                  <a:gd name="T13" fmla="*/ 2147483647 h 16"/>
                  <a:gd name="T14" fmla="*/ 2147483647 w 19"/>
                  <a:gd name="T15" fmla="*/ 2147483647 h 16"/>
                  <a:gd name="T16" fmla="*/ 0 w 19"/>
                  <a:gd name="T17" fmla="*/ 2147483647 h 16"/>
                  <a:gd name="T18" fmla="*/ 0 w 19"/>
                  <a:gd name="T19" fmla="*/ 2147483647 h 16"/>
                  <a:gd name="T20" fmla="*/ 0 w 19"/>
                  <a:gd name="T21" fmla="*/ 2147483647 h 16"/>
                  <a:gd name="T22" fmla="*/ 2147483647 w 19"/>
                  <a:gd name="T23" fmla="*/ 2147483647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"/>
                  <a:gd name="T37" fmla="*/ 0 h 16"/>
                  <a:gd name="T38" fmla="*/ 19 w 19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" h="16">
                    <a:moveTo>
                      <a:pt x="5" y="5"/>
                    </a:moveTo>
                    <a:lnTo>
                      <a:pt x="5" y="3"/>
                    </a:lnTo>
                    <a:lnTo>
                      <a:pt x="8" y="0"/>
                    </a:lnTo>
                    <a:lnTo>
                      <a:pt x="16" y="3"/>
                    </a:lnTo>
                    <a:lnTo>
                      <a:pt x="19" y="5"/>
                    </a:lnTo>
                    <a:lnTo>
                      <a:pt x="19" y="8"/>
                    </a:lnTo>
                    <a:lnTo>
                      <a:pt x="16" y="11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8" name="Freeform 547"/>
              <p:cNvSpPr>
                <a:spLocks noChangeAspect="1"/>
              </p:cNvSpPr>
              <p:nvPr>
                <p:custDataLst>
                  <p:tags r:id="rId686"/>
                </p:custDataLst>
              </p:nvPr>
            </p:nvSpPr>
            <p:spPr bwMode="gray">
              <a:xfrm>
                <a:off x="6783091" y="1997257"/>
                <a:ext cx="24295" cy="23652"/>
              </a:xfrm>
              <a:custGeom>
                <a:avLst/>
                <a:gdLst>
                  <a:gd name="T0" fmla="*/ 2147483647 w 19"/>
                  <a:gd name="T1" fmla="*/ 2147483647 h 16"/>
                  <a:gd name="T2" fmla="*/ 2147483647 w 19"/>
                  <a:gd name="T3" fmla="*/ 2147483647 h 16"/>
                  <a:gd name="T4" fmla="*/ 2147483647 w 19"/>
                  <a:gd name="T5" fmla="*/ 0 h 16"/>
                  <a:gd name="T6" fmla="*/ 2147483647 w 19"/>
                  <a:gd name="T7" fmla="*/ 2147483647 h 16"/>
                  <a:gd name="T8" fmla="*/ 2147483647 w 19"/>
                  <a:gd name="T9" fmla="*/ 2147483647 h 16"/>
                  <a:gd name="T10" fmla="*/ 2147483647 w 19"/>
                  <a:gd name="T11" fmla="*/ 2147483647 h 16"/>
                  <a:gd name="T12" fmla="*/ 2147483647 w 19"/>
                  <a:gd name="T13" fmla="*/ 2147483647 h 16"/>
                  <a:gd name="T14" fmla="*/ 2147483647 w 19"/>
                  <a:gd name="T15" fmla="*/ 2147483647 h 16"/>
                  <a:gd name="T16" fmla="*/ 0 w 19"/>
                  <a:gd name="T17" fmla="*/ 2147483647 h 16"/>
                  <a:gd name="T18" fmla="*/ 0 w 19"/>
                  <a:gd name="T19" fmla="*/ 2147483647 h 16"/>
                  <a:gd name="T20" fmla="*/ 0 w 19"/>
                  <a:gd name="T21" fmla="*/ 2147483647 h 16"/>
                  <a:gd name="T22" fmla="*/ 2147483647 w 19"/>
                  <a:gd name="T23" fmla="*/ 2147483647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"/>
                  <a:gd name="T37" fmla="*/ 0 h 16"/>
                  <a:gd name="T38" fmla="*/ 19 w 19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" h="16">
                    <a:moveTo>
                      <a:pt x="5" y="5"/>
                    </a:moveTo>
                    <a:lnTo>
                      <a:pt x="5" y="3"/>
                    </a:lnTo>
                    <a:lnTo>
                      <a:pt x="8" y="0"/>
                    </a:lnTo>
                    <a:lnTo>
                      <a:pt x="16" y="3"/>
                    </a:lnTo>
                    <a:lnTo>
                      <a:pt x="19" y="5"/>
                    </a:lnTo>
                    <a:lnTo>
                      <a:pt x="19" y="8"/>
                    </a:lnTo>
                    <a:lnTo>
                      <a:pt x="16" y="11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5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9" name="Freeform 548"/>
              <p:cNvSpPr>
                <a:spLocks noChangeAspect="1"/>
              </p:cNvSpPr>
              <p:nvPr>
                <p:custDataLst>
                  <p:tags r:id="rId687"/>
                </p:custDataLst>
              </p:nvPr>
            </p:nvSpPr>
            <p:spPr bwMode="gray">
              <a:xfrm>
                <a:off x="6874199" y="1784397"/>
                <a:ext cx="13667" cy="23651"/>
              </a:xfrm>
              <a:custGeom>
                <a:avLst/>
                <a:gdLst>
                  <a:gd name="T0" fmla="*/ 2147483647 w 11"/>
                  <a:gd name="T1" fmla="*/ 2147483647 h 19"/>
                  <a:gd name="T2" fmla="*/ 2147483647 w 11"/>
                  <a:gd name="T3" fmla="*/ 2147483647 h 19"/>
                  <a:gd name="T4" fmla="*/ 2147483647 w 11"/>
                  <a:gd name="T5" fmla="*/ 2147483647 h 19"/>
                  <a:gd name="T6" fmla="*/ 2147483647 w 11"/>
                  <a:gd name="T7" fmla="*/ 2147483647 h 19"/>
                  <a:gd name="T8" fmla="*/ 2147483647 w 11"/>
                  <a:gd name="T9" fmla="*/ 2147483647 h 19"/>
                  <a:gd name="T10" fmla="*/ 2147483647 w 11"/>
                  <a:gd name="T11" fmla="*/ 2147483647 h 19"/>
                  <a:gd name="T12" fmla="*/ 2147483647 w 11"/>
                  <a:gd name="T13" fmla="*/ 2147483647 h 19"/>
                  <a:gd name="T14" fmla="*/ 2147483647 w 11"/>
                  <a:gd name="T15" fmla="*/ 2147483647 h 19"/>
                  <a:gd name="T16" fmla="*/ 2147483647 w 11"/>
                  <a:gd name="T17" fmla="*/ 2147483647 h 19"/>
                  <a:gd name="T18" fmla="*/ 2147483647 w 11"/>
                  <a:gd name="T19" fmla="*/ 2147483647 h 19"/>
                  <a:gd name="T20" fmla="*/ 2147483647 w 11"/>
                  <a:gd name="T21" fmla="*/ 2147483647 h 19"/>
                  <a:gd name="T22" fmla="*/ 2147483647 w 11"/>
                  <a:gd name="T23" fmla="*/ 2147483647 h 19"/>
                  <a:gd name="T24" fmla="*/ 0 w 11"/>
                  <a:gd name="T25" fmla="*/ 2147483647 h 19"/>
                  <a:gd name="T26" fmla="*/ 0 w 11"/>
                  <a:gd name="T27" fmla="*/ 2147483647 h 19"/>
                  <a:gd name="T28" fmla="*/ 2147483647 w 11"/>
                  <a:gd name="T29" fmla="*/ 2147483647 h 19"/>
                  <a:gd name="T30" fmla="*/ 2147483647 w 11"/>
                  <a:gd name="T31" fmla="*/ 2147483647 h 19"/>
                  <a:gd name="T32" fmla="*/ 2147483647 w 11"/>
                  <a:gd name="T33" fmla="*/ 2147483647 h 19"/>
                  <a:gd name="T34" fmla="*/ 2147483647 w 11"/>
                  <a:gd name="T35" fmla="*/ 0 h 19"/>
                  <a:gd name="T36" fmla="*/ 2147483647 w 11"/>
                  <a:gd name="T37" fmla="*/ 2147483647 h 19"/>
                  <a:gd name="T38" fmla="*/ 2147483647 w 11"/>
                  <a:gd name="T39" fmla="*/ 0 h 19"/>
                  <a:gd name="T40" fmla="*/ 2147483647 w 11"/>
                  <a:gd name="T41" fmla="*/ 0 h 19"/>
                  <a:gd name="T42" fmla="*/ 2147483647 w 11"/>
                  <a:gd name="T43" fmla="*/ 2147483647 h 19"/>
                  <a:gd name="T44" fmla="*/ 2147483647 w 11"/>
                  <a:gd name="T45" fmla="*/ 2147483647 h 19"/>
                  <a:gd name="T46" fmla="*/ 2147483647 w 11"/>
                  <a:gd name="T47" fmla="*/ 2147483647 h 1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1"/>
                  <a:gd name="T73" fmla="*/ 0 h 19"/>
                  <a:gd name="T74" fmla="*/ 11 w 11"/>
                  <a:gd name="T75" fmla="*/ 19 h 1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1" h="19">
                    <a:moveTo>
                      <a:pt x="11" y="5"/>
                    </a:moveTo>
                    <a:lnTo>
                      <a:pt x="11" y="8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9" y="19"/>
                    </a:lnTo>
                    <a:lnTo>
                      <a:pt x="6" y="16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1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11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0" name="Freeform 549"/>
              <p:cNvSpPr>
                <a:spLocks noChangeAspect="1"/>
              </p:cNvSpPr>
              <p:nvPr>
                <p:custDataLst>
                  <p:tags r:id="rId688"/>
                </p:custDataLst>
              </p:nvPr>
            </p:nvSpPr>
            <p:spPr bwMode="gray">
              <a:xfrm>
                <a:off x="6874199" y="1784397"/>
                <a:ext cx="13667" cy="23651"/>
              </a:xfrm>
              <a:custGeom>
                <a:avLst/>
                <a:gdLst>
                  <a:gd name="T0" fmla="*/ 2147483647 w 11"/>
                  <a:gd name="T1" fmla="*/ 2147483647 h 19"/>
                  <a:gd name="T2" fmla="*/ 2147483647 w 11"/>
                  <a:gd name="T3" fmla="*/ 2147483647 h 19"/>
                  <a:gd name="T4" fmla="*/ 2147483647 w 11"/>
                  <a:gd name="T5" fmla="*/ 2147483647 h 19"/>
                  <a:gd name="T6" fmla="*/ 2147483647 w 11"/>
                  <a:gd name="T7" fmla="*/ 2147483647 h 19"/>
                  <a:gd name="T8" fmla="*/ 2147483647 w 11"/>
                  <a:gd name="T9" fmla="*/ 2147483647 h 19"/>
                  <a:gd name="T10" fmla="*/ 2147483647 w 11"/>
                  <a:gd name="T11" fmla="*/ 2147483647 h 19"/>
                  <a:gd name="T12" fmla="*/ 2147483647 w 11"/>
                  <a:gd name="T13" fmla="*/ 2147483647 h 19"/>
                  <a:gd name="T14" fmla="*/ 2147483647 w 11"/>
                  <a:gd name="T15" fmla="*/ 2147483647 h 19"/>
                  <a:gd name="T16" fmla="*/ 2147483647 w 11"/>
                  <a:gd name="T17" fmla="*/ 2147483647 h 19"/>
                  <a:gd name="T18" fmla="*/ 2147483647 w 11"/>
                  <a:gd name="T19" fmla="*/ 2147483647 h 19"/>
                  <a:gd name="T20" fmla="*/ 2147483647 w 11"/>
                  <a:gd name="T21" fmla="*/ 2147483647 h 19"/>
                  <a:gd name="T22" fmla="*/ 2147483647 w 11"/>
                  <a:gd name="T23" fmla="*/ 2147483647 h 19"/>
                  <a:gd name="T24" fmla="*/ 0 w 11"/>
                  <a:gd name="T25" fmla="*/ 2147483647 h 19"/>
                  <a:gd name="T26" fmla="*/ 0 w 11"/>
                  <a:gd name="T27" fmla="*/ 2147483647 h 19"/>
                  <a:gd name="T28" fmla="*/ 2147483647 w 11"/>
                  <a:gd name="T29" fmla="*/ 2147483647 h 19"/>
                  <a:gd name="T30" fmla="*/ 2147483647 w 11"/>
                  <a:gd name="T31" fmla="*/ 2147483647 h 19"/>
                  <a:gd name="T32" fmla="*/ 2147483647 w 11"/>
                  <a:gd name="T33" fmla="*/ 2147483647 h 19"/>
                  <a:gd name="T34" fmla="*/ 2147483647 w 11"/>
                  <a:gd name="T35" fmla="*/ 0 h 19"/>
                  <a:gd name="T36" fmla="*/ 2147483647 w 11"/>
                  <a:gd name="T37" fmla="*/ 2147483647 h 19"/>
                  <a:gd name="T38" fmla="*/ 2147483647 w 11"/>
                  <a:gd name="T39" fmla="*/ 0 h 19"/>
                  <a:gd name="T40" fmla="*/ 2147483647 w 11"/>
                  <a:gd name="T41" fmla="*/ 0 h 19"/>
                  <a:gd name="T42" fmla="*/ 2147483647 w 11"/>
                  <a:gd name="T43" fmla="*/ 2147483647 h 19"/>
                  <a:gd name="T44" fmla="*/ 2147483647 w 11"/>
                  <a:gd name="T45" fmla="*/ 2147483647 h 19"/>
                  <a:gd name="T46" fmla="*/ 2147483647 w 11"/>
                  <a:gd name="T47" fmla="*/ 2147483647 h 1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1"/>
                  <a:gd name="T73" fmla="*/ 0 h 19"/>
                  <a:gd name="T74" fmla="*/ 11 w 11"/>
                  <a:gd name="T75" fmla="*/ 19 h 1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1" h="19">
                    <a:moveTo>
                      <a:pt x="11" y="5"/>
                    </a:moveTo>
                    <a:lnTo>
                      <a:pt x="11" y="8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9" y="19"/>
                    </a:lnTo>
                    <a:lnTo>
                      <a:pt x="6" y="16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19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11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1" name="Freeform 550"/>
              <p:cNvSpPr>
                <a:spLocks noChangeAspect="1"/>
              </p:cNvSpPr>
              <p:nvPr>
                <p:custDataLst>
                  <p:tags r:id="rId689"/>
                </p:custDataLst>
              </p:nvPr>
            </p:nvSpPr>
            <p:spPr bwMode="gray">
              <a:xfrm>
                <a:off x="6644913" y="2333104"/>
                <a:ext cx="24295" cy="17344"/>
              </a:xfrm>
              <a:custGeom>
                <a:avLst/>
                <a:gdLst>
                  <a:gd name="T0" fmla="*/ 0 w 19"/>
                  <a:gd name="T1" fmla="*/ 8 h 14"/>
                  <a:gd name="T2" fmla="*/ 6 w 19"/>
                  <a:gd name="T3" fmla="*/ 8 h 14"/>
                  <a:gd name="T4" fmla="*/ 11 w 19"/>
                  <a:gd name="T5" fmla="*/ 3 h 14"/>
                  <a:gd name="T6" fmla="*/ 19 w 19"/>
                  <a:gd name="T7" fmla="*/ 0 h 14"/>
                  <a:gd name="T8" fmla="*/ 19 w 19"/>
                  <a:gd name="T9" fmla="*/ 3 h 14"/>
                  <a:gd name="T10" fmla="*/ 19 w 19"/>
                  <a:gd name="T11" fmla="*/ 8 h 14"/>
                  <a:gd name="T12" fmla="*/ 17 w 19"/>
                  <a:gd name="T13" fmla="*/ 8 h 14"/>
                  <a:gd name="T14" fmla="*/ 8 w 19"/>
                  <a:gd name="T15" fmla="*/ 14 h 14"/>
                  <a:gd name="T16" fmla="*/ 6 w 19"/>
                  <a:gd name="T17" fmla="*/ 14 h 14"/>
                  <a:gd name="T18" fmla="*/ 3 w 19"/>
                  <a:gd name="T19" fmla="*/ 11 h 14"/>
                  <a:gd name="T20" fmla="*/ 0 w 19"/>
                  <a:gd name="T2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4">
                    <a:moveTo>
                      <a:pt x="0" y="8"/>
                    </a:moveTo>
                    <a:lnTo>
                      <a:pt x="6" y="8"/>
                    </a:lnTo>
                    <a:lnTo>
                      <a:pt x="11" y="3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2" name="Freeform 551"/>
              <p:cNvSpPr>
                <a:spLocks noChangeAspect="1"/>
              </p:cNvSpPr>
              <p:nvPr>
                <p:custDataLst>
                  <p:tags r:id="rId690"/>
                </p:custDataLst>
              </p:nvPr>
            </p:nvSpPr>
            <p:spPr bwMode="gray">
              <a:xfrm>
                <a:off x="6644913" y="2333104"/>
                <a:ext cx="24295" cy="17344"/>
              </a:xfrm>
              <a:custGeom>
                <a:avLst/>
                <a:gdLst>
                  <a:gd name="T0" fmla="*/ 0 w 19"/>
                  <a:gd name="T1" fmla="*/ 8 h 14"/>
                  <a:gd name="T2" fmla="*/ 6 w 19"/>
                  <a:gd name="T3" fmla="*/ 8 h 14"/>
                  <a:gd name="T4" fmla="*/ 11 w 19"/>
                  <a:gd name="T5" fmla="*/ 3 h 14"/>
                  <a:gd name="T6" fmla="*/ 19 w 19"/>
                  <a:gd name="T7" fmla="*/ 0 h 14"/>
                  <a:gd name="T8" fmla="*/ 19 w 19"/>
                  <a:gd name="T9" fmla="*/ 3 h 14"/>
                  <a:gd name="T10" fmla="*/ 19 w 19"/>
                  <a:gd name="T11" fmla="*/ 8 h 14"/>
                  <a:gd name="T12" fmla="*/ 17 w 19"/>
                  <a:gd name="T13" fmla="*/ 8 h 14"/>
                  <a:gd name="T14" fmla="*/ 8 w 19"/>
                  <a:gd name="T15" fmla="*/ 14 h 14"/>
                  <a:gd name="T16" fmla="*/ 6 w 19"/>
                  <a:gd name="T17" fmla="*/ 14 h 14"/>
                  <a:gd name="T18" fmla="*/ 3 w 19"/>
                  <a:gd name="T19" fmla="*/ 11 h 14"/>
                  <a:gd name="T20" fmla="*/ 0 w 19"/>
                  <a:gd name="T2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14">
                    <a:moveTo>
                      <a:pt x="0" y="8"/>
                    </a:moveTo>
                    <a:lnTo>
                      <a:pt x="6" y="8"/>
                    </a:lnTo>
                    <a:lnTo>
                      <a:pt x="11" y="3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3" name="Freeform 552"/>
              <p:cNvSpPr>
                <a:spLocks noChangeAspect="1"/>
              </p:cNvSpPr>
              <p:nvPr>
                <p:custDataLst>
                  <p:tags r:id="rId691"/>
                </p:custDataLst>
              </p:nvPr>
            </p:nvSpPr>
            <p:spPr bwMode="gray">
              <a:xfrm>
                <a:off x="6887866" y="2126548"/>
                <a:ext cx="12148" cy="23652"/>
              </a:xfrm>
              <a:custGeom>
                <a:avLst/>
                <a:gdLst>
                  <a:gd name="T0" fmla="*/ 0 w 9"/>
                  <a:gd name="T1" fmla="*/ 2147483647 h 17"/>
                  <a:gd name="T2" fmla="*/ 2147483647 w 9"/>
                  <a:gd name="T3" fmla="*/ 2147483647 h 17"/>
                  <a:gd name="T4" fmla="*/ 2147483647 w 9"/>
                  <a:gd name="T5" fmla="*/ 2147483647 h 17"/>
                  <a:gd name="T6" fmla="*/ 2147483647 w 9"/>
                  <a:gd name="T7" fmla="*/ 0 h 17"/>
                  <a:gd name="T8" fmla="*/ 2147483647 w 9"/>
                  <a:gd name="T9" fmla="*/ 2147483647 h 17"/>
                  <a:gd name="T10" fmla="*/ 2147483647 w 9"/>
                  <a:gd name="T11" fmla="*/ 2147483647 h 17"/>
                  <a:gd name="T12" fmla="*/ 2147483647 w 9"/>
                  <a:gd name="T13" fmla="*/ 2147483647 h 17"/>
                  <a:gd name="T14" fmla="*/ 2147483647 w 9"/>
                  <a:gd name="T15" fmla="*/ 2147483647 h 17"/>
                  <a:gd name="T16" fmla="*/ 0 w 9"/>
                  <a:gd name="T17" fmla="*/ 2147483647 h 17"/>
                  <a:gd name="T18" fmla="*/ 0 w 9"/>
                  <a:gd name="T19" fmla="*/ 2147483647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7"/>
                  <a:gd name="T32" fmla="*/ 9 w 9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7">
                    <a:moveTo>
                      <a:pt x="0" y="8"/>
                    </a:moveTo>
                    <a:lnTo>
                      <a:pt x="3" y="3"/>
                    </a:lnTo>
                    <a:lnTo>
                      <a:pt x="6" y="0"/>
                    </a:lnTo>
                    <a:lnTo>
                      <a:pt x="9" y="14"/>
                    </a:lnTo>
                    <a:lnTo>
                      <a:pt x="6" y="17"/>
                    </a:lnTo>
                    <a:lnTo>
                      <a:pt x="3" y="1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4" name="Freeform 553"/>
              <p:cNvSpPr>
                <a:spLocks noChangeAspect="1"/>
              </p:cNvSpPr>
              <p:nvPr>
                <p:custDataLst>
                  <p:tags r:id="rId692"/>
                </p:custDataLst>
              </p:nvPr>
            </p:nvSpPr>
            <p:spPr bwMode="gray">
              <a:xfrm>
                <a:off x="6887866" y="2126548"/>
                <a:ext cx="12148" cy="23652"/>
              </a:xfrm>
              <a:custGeom>
                <a:avLst/>
                <a:gdLst>
                  <a:gd name="T0" fmla="*/ 0 w 9"/>
                  <a:gd name="T1" fmla="*/ 2147483647 h 17"/>
                  <a:gd name="T2" fmla="*/ 2147483647 w 9"/>
                  <a:gd name="T3" fmla="*/ 2147483647 h 17"/>
                  <a:gd name="T4" fmla="*/ 2147483647 w 9"/>
                  <a:gd name="T5" fmla="*/ 2147483647 h 17"/>
                  <a:gd name="T6" fmla="*/ 2147483647 w 9"/>
                  <a:gd name="T7" fmla="*/ 0 h 17"/>
                  <a:gd name="T8" fmla="*/ 2147483647 w 9"/>
                  <a:gd name="T9" fmla="*/ 2147483647 h 17"/>
                  <a:gd name="T10" fmla="*/ 2147483647 w 9"/>
                  <a:gd name="T11" fmla="*/ 2147483647 h 17"/>
                  <a:gd name="T12" fmla="*/ 2147483647 w 9"/>
                  <a:gd name="T13" fmla="*/ 2147483647 h 17"/>
                  <a:gd name="T14" fmla="*/ 2147483647 w 9"/>
                  <a:gd name="T15" fmla="*/ 2147483647 h 17"/>
                  <a:gd name="T16" fmla="*/ 0 w 9"/>
                  <a:gd name="T17" fmla="*/ 2147483647 h 17"/>
                  <a:gd name="T18" fmla="*/ 0 w 9"/>
                  <a:gd name="T19" fmla="*/ 2147483647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7"/>
                  <a:gd name="T32" fmla="*/ 9 w 9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7">
                    <a:moveTo>
                      <a:pt x="0" y="8"/>
                    </a:moveTo>
                    <a:lnTo>
                      <a:pt x="3" y="3"/>
                    </a:lnTo>
                    <a:lnTo>
                      <a:pt x="6" y="0"/>
                    </a:lnTo>
                    <a:lnTo>
                      <a:pt x="9" y="14"/>
                    </a:lnTo>
                    <a:lnTo>
                      <a:pt x="6" y="17"/>
                    </a:lnTo>
                    <a:lnTo>
                      <a:pt x="3" y="14"/>
                    </a:lnTo>
                    <a:lnTo>
                      <a:pt x="0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5" name="Freeform 554"/>
              <p:cNvSpPr>
                <a:spLocks noChangeAspect="1"/>
              </p:cNvSpPr>
              <p:nvPr>
                <p:custDataLst>
                  <p:tags r:id="rId693"/>
                </p:custDataLst>
              </p:nvPr>
            </p:nvSpPr>
            <p:spPr bwMode="gray">
              <a:xfrm>
                <a:off x="5008016" y="2818739"/>
                <a:ext cx="86551" cy="126139"/>
              </a:xfrm>
              <a:custGeom>
                <a:avLst/>
                <a:gdLst>
                  <a:gd name="T0" fmla="*/ 64 w 67"/>
                  <a:gd name="T1" fmla="*/ 34 h 98"/>
                  <a:gd name="T2" fmla="*/ 59 w 67"/>
                  <a:gd name="T3" fmla="*/ 23 h 98"/>
                  <a:gd name="T4" fmla="*/ 50 w 67"/>
                  <a:gd name="T5" fmla="*/ 28 h 98"/>
                  <a:gd name="T6" fmla="*/ 42 w 67"/>
                  <a:gd name="T7" fmla="*/ 28 h 98"/>
                  <a:gd name="T8" fmla="*/ 36 w 67"/>
                  <a:gd name="T9" fmla="*/ 20 h 98"/>
                  <a:gd name="T10" fmla="*/ 39 w 67"/>
                  <a:gd name="T11" fmla="*/ 14 h 98"/>
                  <a:gd name="T12" fmla="*/ 45 w 67"/>
                  <a:gd name="T13" fmla="*/ 12 h 98"/>
                  <a:gd name="T14" fmla="*/ 45 w 67"/>
                  <a:gd name="T15" fmla="*/ 0 h 98"/>
                  <a:gd name="T16" fmla="*/ 39 w 67"/>
                  <a:gd name="T17" fmla="*/ 3 h 98"/>
                  <a:gd name="T18" fmla="*/ 34 w 67"/>
                  <a:gd name="T19" fmla="*/ 6 h 98"/>
                  <a:gd name="T20" fmla="*/ 31 w 67"/>
                  <a:gd name="T21" fmla="*/ 9 h 98"/>
                  <a:gd name="T22" fmla="*/ 31 w 67"/>
                  <a:gd name="T23" fmla="*/ 12 h 98"/>
                  <a:gd name="T24" fmla="*/ 25 w 67"/>
                  <a:gd name="T25" fmla="*/ 17 h 98"/>
                  <a:gd name="T26" fmla="*/ 31 w 67"/>
                  <a:gd name="T27" fmla="*/ 17 h 98"/>
                  <a:gd name="T28" fmla="*/ 34 w 67"/>
                  <a:gd name="T29" fmla="*/ 17 h 98"/>
                  <a:gd name="T30" fmla="*/ 34 w 67"/>
                  <a:gd name="T31" fmla="*/ 20 h 98"/>
                  <a:gd name="T32" fmla="*/ 28 w 67"/>
                  <a:gd name="T33" fmla="*/ 25 h 98"/>
                  <a:gd name="T34" fmla="*/ 20 w 67"/>
                  <a:gd name="T35" fmla="*/ 28 h 98"/>
                  <a:gd name="T36" fmla="*/ 11 w 67"/>
                  <a:gd name="T37" fmla="*/ 25 h 98"/>
                  <a:gd name="T38" fmla="*/ 9 w 67"/>
                  <a:gd name="T39" fmla="*/ 34 h 98"/>
                  <a:gd name="T40" fmla="*/ 6 w 67"/>
                  <a:gd name="T41" fmla="*/ 34 h 98"/>
                  <a:gd name="T42" fmla="*/ 11 w 67"/>
                  <a:gd name="T43" fmla="*/ 37 h 98"/>
                  <a:gd name="T44" fmla="*/ 9 w 67"/>
                  <a:gd name="T45" fmla="*/ 42 h 98"/>
                  <a:gd name="T46" fmla="*/ 6 w 67"/>
                  <a:gd name="T47" fmla="*/ 45 h 98"/>
                  <a:gd name="T48" fmla="*/ 9 w 67"/>
                  <a:gd name="T49" fmla="*/ 51 h 98"/>
                  <a:gd name="T50" fmla="*/ 9 w 67"/>
                  <a:gd name="T51" fmla="*/ 51 h 98"/>
                  <a:gd name="T52" fmla="*/ 11 w 67"/>
                  <a:gd name="T53" fmla="*/ 53 h 98"/>
                  <a:gd name="T54" fmla="*/ 23 w 67"/>
                  <a:gd name="T55" fmla="*/ 56 h 98"/>
                  <a:gd name="T56" fmla="*/ 17 w 67"/>
                  <a:gd name="T57" fmla="*/ 59 h 98"/>
                  <a:gd name="T58" fmla="*/ 14 w 67"/>
                  <a:gd name="T59" fmla="*/ 64 h 98"/>
                  <a:gd name="T60" fmla="*/ 9 w 67"/>
                  <a:gd name="T61" fmla="*/ 70 h 98"/>
                  <a:gd name="T62" fmla="*/ 23 w 67"/>
                  <a:gd name="T63" fmla="*/ 64 h 98"/>
                  <a:gd name="T64" fmla="*/ 25 w 67"/>
                  <a:gd name="T65" fmla="*/ 70 h 98"/>
                  <a:gd name="T66" fmla="*/ 11 w 67"/>
                  <a:gd name="T67" fmla="*/ 73 h 98"/>
                  <a:gd name="T68" fmla="*/ 9 w 67"/>
                  <a:gd name="T69" fmla="*/ 78 h 98"/>
                  <a:gd name="T70" fmla="*/ 6 w 67"/>
                  <a:gd name="T71" fmla="*/ 78 h 98"/>
                  <a:gd name="T72" fmla="*/ 3 w 67"/>
                  <a:gd name="T73" fmla="*/ 78 h 98"/>
                  <a:gd name="T74" fmla="*/ 0 w 67"/>
                  <a:gd name="T75" fmla="*/ 84 h 98"/>
                  <a:gd name="T76" fmla="*/ 9 w 67"/>
                  <a:gd name="T77" fmla="*/ 84 h 98"/>
                  <a:gd name="T78" fmla="*/ 3 w 67"/>
                  <a:gd name="T79" fmla="*/ 90 h 98"/>
                  <a:gd name="T80" fmla="*/ 3 w 67"/>
                  <a:gd name="T81" fmla="*/ 90 h 98"/>
                  <a:gd name="T82" fmla="*/ 6 w 67"/>
                  <a:gd name="T83" fmla="*/ 92 h 98"/>
                  <a:gd name="T84" fmla="*/ 11 w 67"/>
                  <a:gd name="T85" fmla="*/ 92 h 98"/>
                  <a:gd name="T86" fmla="*/ 6 w 67"/>
                  <a:gd name="T87" fmla="*/ 95 h 98"/>
                  <a:gd name="T88" fmla="*/ 14 w 67"/>
                  <a:gd name="T89" fmla="*/ 95 h 98"/>
                  <a:gd name="T90" fmla="*/ 11 w 67"/>
                  <a:gd name="T91" fmla="*/ 95 h 98"/>
                  <a:gd name="T92" fmla="*/ 11 w 67"/>
                  <a:gd name="T93" fmla="*/ 98 h 98"/>
                  <a:gd name="T94" fmla="*/ 14 w 67"/>
                  <a:gd name="T95" fmla="*/ 98 h 98"/>
                  <a:gd name="T96" fmla="*/ 17 w 67"/>
                  <a:gd name="T97" fmla="*/ 98 h 98"/>
                  <a:gd name="T98" fmla="*/ 20 w 67"/>
                  <a:gd name="T99" fmla="*/ 98 h 98"/>
                  <a:gd name="T100" fmla="*/ 31 w 67"/>
                  <a:gd name="T101" fmla="*/ 95 h 98"/>
                  <a:gd name="T102" fmla="*/ 31 w 67"/>
                  <a:gd name="T103" fmla="*/ 90 h 98"/>
                  <a:gd name="T104" fmla="*/ 34 w 67"/>
                  <a:gd name="T105" fmla="*/ 90 h 98"/>
                  <a:gd name="T106" fmla="*/ 39 w 67"/>
                  <a:gd name="T107" fmla="*/ 90 h 98"/>
                  <a:gd name="T108" fmla="*/ 42 w 67"/>
                  <a:gd name="T109" fmla="*/ 87 h 98"/>
                  <a:gd name="T110" fmla="*/ 45 w 67"/>
                  <a:gd name="T111" fmla="*/ 84 h 98"/>
                  <a:gd name="T112" fmla="*/ 59 w 67"/>
                  <a:gd name="T113" fmla="*/ 81 h 98"/>
                  <a:gd name="T114" fmla="*/ 62 w 67"/>
                  <a:gd name="T115" fmla="*/ 81 h 98"/>
                  <a:gd name="T116" fmla="*/ 62 w 67"/>
                  <a:gd name="T117" fmla="*/ 78 h 98"/>
                  <a:gd name="T118" fmla="*/ 64 w 67"/>
                  <a:gd name="T119" fmla="*/ 51 h 98"/>
                  <a:gd name="T120" fmla="*/ 67 w 67"/>
                  <a:gd name="T121" fmla="*/ 45 h 98"/>
                  <a:gd name="T122" fmla="*/ 64 w 67"/>
                  <a:gd name="T123" fmla="*/ 3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" h="98">
                    <a:moveTo>
                      <a:pt x="64" y="34"/>
                    </a:moveTo>
                    <a:lnTo>
                      <a:pt x="64" y="34"/>
                    </a:lnTo>
                    <a:lnTo>
                      <a:pt x="64" y="25"/>
                    </a:lnTo>
                    <a:lnTo>
                      <a:pt x="59" y="23"/>
                    </a:lnTo>
                    <a:lnTo>
                      <a:pt x="50" y="25"/>
                    </a:lnTo>
                    <a:lnTo>
                      <a:pt x="50" y="28"/>
                    </a:lnTo>
                    <a:lnTo>
                      <a:pt x="45" y="31"/>
                    </a:lnTo>
                    <a:lnTo>
                      <a:pt x="42" y="28"/>
                    </a:lnTo>
                    <a:lnTo>
                      <a:pt x="42" y="25"/>
                    </a:lnTo>
                    <a:lnTo>
                      <a:pt x="36" y="20"/>
                    </a:lnTo>
                    <a:lnTo>
                      <a:pt x="39" y="20"/>
                    </a:lnTo>
                    <a:lnTo>
                      <a:pt x="39" y="14"/>
                    </a:lnTo>
                    <a:lnTo>
                      <a:pt x="42" y="14"/>
                    </a:lnTo>
                    <a:lnTo>
                      <a:pt x="45" y="12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39" y="3"/>
                    </a:lnTo>
                    <a:lnTo>
                      <a:pt x="39" y="0"/>
                    </a:lnTo>
                    <a:lnTo>
                      <a:pt x="34" y="6"/>
                    </a:lnTo>
                    <a:lnTo>
                      <a:pt x="31" y="6"/>
                    </a:lnTo>
                    <a:lnTo>
                      <a:pt x="31" y="9"/>
                    </a:lnTo>
                    <a:lnTo>
                      <a:pt x="31" y="12"/>
                    </a:lnTo>
                    <a:lnTo>
                      <a:pt x="31" y="12"/>
                    </a:lnTo>
                    <a:lnTo>
                      <a:pt x="25" y="17"/>
                    </a:lnTo>
                    <a:lnTo>
                      <a:pt x="25" y="17"/>
                    </a:lnTo>
                    <a:lnTo>
                      <a:pt x="28" y="17"/>
                    </a:lnTo>
                    <a:lnTo>
                      <a:pt x="31" y="17"/>
                    </a:lnTo>
                    <a:lnTo>
                      <a:pt x="31" y="17"/>
                    </a:lnTo>
                    <a:lnTo>
                      <a:pt x="34" y="17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28" y="25"/>
                    </a:lnTo>
                    <a:lnTo>
                      <a:pt x="28" y="25"/>
                    </a:lnTo>
                    <a:lnTo>
                      <a:pt x="28" y="28"/>
                    </a:lnTo>
                    <a:lnTo>
                      <a:pt x="20" y="28"/>
                    </a:lnTo>
                    <a:lnTo>
                      <a:pt x="17" y="25"/>
                    </a:lnTo>
                    <a:lnTo>
                      <a:pt x="11" y="25"/>
                    </a:lnTo>
                    <a:lnTo>
                      <a:pt x="9" y="31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6" y="34"/>
                    </a:lnTo>
                    <a:lnTo>
                      <a:pt x="6" y="37"/>
                    </a:lnTo>
                    <a:lnTo>
                      <a:pt x="11" y="37"/>
                    </a:lnTo>
                    <a:lnTo>
                      <a:pt x="14" y="39"/>
                    </a:lnTo>
                    <a:lnTo>
                      <a:pt x="9" y="42"/>
                    </a:lnTo>
                    <a:lnTo>
                      <a:pt x="9" y="45"/>
                    </a:lnTo>
                    <a:lnTo>
                      <a:pt x="6" y="45"/>
                    </a:lnTo>
                    <a:lnTo>
                      <a:pt x="6" y="48"/>
                    </a:lnTo>
                    <a:lnTo>
                      <a:pt x="9" y="51"/>
                    </a:lnTo>
                    <a:lnTo>
                      <a:pt x="9" y="51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1" y="53"/>
                    </a:lnTo>
                    <a:lnTo>
                      <a:pt x="23" y="53"/>
                    </a:lnTo>
                    <a:lnTo>
                      <a:pt x="23" y="56"/>
                    </a:lnTo>
                    <a:lnTo>
                      <a:pt x="23" y="56"/>
                    </a:lnTo>
                    <a:lnTo>
                      <a:pt x="17" y="59"/>
                    </a:lnTo>
                    <a:lnTo>
                      <a:pt x="17" y="62"/>
                    </a:lnTo>
                    <a:lnTo>
                      <a:pt x="14" y="64"/>
                    </a:lnTo>
                    <a:lnTo>
                      <a:pt x="14" y="67"/>
                    </a:lnTo>
                    <a:lnTo>
                      <a:pt x="9" y="70"/>
                    </a:lnTo>
                    <a:lnTo>
                      <a:pt x="20" y="70"/>
                    </a:lnTo>
                    <a:lnTo>
                      <a:pt x="23" y="64"/>
                    </a:lnTo>
                    <a:lnTo>
                      <a:pt x="23" y="67"/>
                    </a:lnTo>
                    <a:lnTo>
                      <a:pt x="25" y="70"/>
                    </a:lnTo>
                    <a:lnTo>
                      <a:pt x="25" y="70"/>
                    </a:lnTo>
                    <a:lnTo>
                      <a:pt x="11" y="73"/>
                    </a:lnTo>
                    <a:lnTo>
                      <a:pt x="9" y="76"/>
                    </a:lnTo>
                    <a:lnTo>
                      <a:pt x="9" y="78"/>
                    </a:lnTo>
                    <a:lnTo>
                      <a:pt x="9" y="78"/>
                    </a:lnTo>
                    <a:lnTo>
                      <a:pt x="6" y="78"/>
                    </a:lnTo>
                    <a:lnTo>
                      <a:pt x="6" y="81"/>
                    </a:lnTo>
                    <a:lnTo>
                      <a:pt x="3" y="78"/>
                    </a:lnTo>
                    <a:lnTo>
                      <a:pt x="0" y="81"/>
                    </a:lnTo>
                    <a:lnTo>
                      <a:pt x="0" y="84"/>
                    </a:lnTo>
                    <a:lnTo>
                      <a:pt x="9" y="84"/>
                    </a:lnTo>
                    <a:lnTo>
                      <a:pt x="9" y="84"/>
                    </a:lnTo>
                    <a:lnTo>
                      <a:pt x="6" y="87"/>
                    </a:lnTo>
                    <a:lnTo>
                      <a:pt x="3" y="90"/>
                    </a:lnTo>
                    <a:lnTo>
                      <a:pt x="3" y="90"/>
                    </a:lnTo>
                    <a:lnTo>
                      <a:pt x="3" y="90"/>
                    </a:lnTo>
                    <a:lnTo>
                      <a:pt x="6" y="92"/>
                    </a:lnTo>
                    <a:lnTo>
                      <a:pt x="6" y="92"/>
                    </a:lnTo>
                    <a:lnTo>
                      <a:pt x="11" y="90"/>
                    </a:lnTo>
                    <a:lnTo>
                      <a:pt x="11" y="92"/>
                    </a:lnTo>
                    <a:lnTo>
                      <a:pt x="6" y="95"/>
                    </a:lnTo>
                    <a:lnTo>
                      <a:pt x="6" y="95"/>
                    </a:lnTo>
                    <a:lnTo>
                      <a:pt x="14" y="92"/>
                    </a:lnTo>
                    <a:lnTo>
                      <a:pt x="14" y="95"/>
                    </a:lnTo>
                    <a:lnTo>
                      <a:pt x="14" y="95"/>
                    </a:lnTo>
                    <a:lnTo>
                      <a:pt x="11" y="95"/>
                    </a:lnTo>
                    <a:lnTo>
                      <a:pt x="9" y="98"/>
                    </a:lnTo>
                    <a:lnTo>
                      <a:pt x="11" y="98"/>
                    </a:lnTo>
                    <a:lnTo>
                      <a:pt x="11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7" y="98"/>
                    </a:lnTo>
                    <a:lnTo>
                      <a:pt x="17" y="98"/>
                    </a:lnTo>
                    <a:lnTo>
                      <a:pt x="20" y="98"/>
                    </a:lnTo>
                    <a:lnTo>
                      <a:pt x="23" y="98"/>
                    </a:lnTo>
                    <a:lnTo>
                      <a:pt x="31" y="95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4" y="92"/>
                    </a:lnTo>
                    <a:lnTo>
                      <a:pt x="39" y="90"/>
                    </a:lnTo>
                    <a:lnTo>
                      <a:pt x="39" y="87"/>
                    </a:lnTo>
                    <a:lnTo>
                      <a:pt x="42" y="87"/>
                    </a:lnTo>
                    <a:lnTo>
                      <a:pt x="42" y="87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9" y="81"/>
                    </a:lnTo>
                    <a:lnTo>
                      <a:pt x="59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2" y="78"/>
                    </a:lnTo>
                    <a:lnTo>
                      <a:pt x="67" y="62"/>
                    </a:lnTo>
                    <a:lnTo>
                      <a:pt x="64" y="51"/>
                    </a:lnTo>
                    <a:lnTo>
                      <a:pt x="67" y="51"/>
                    </a:lnTo>
                    <a:lnTo>
                      <a:pt x="67" y="45"/>
                    </a:lnTo>
                    <a:lnTo>
                      <a:pt x="64" y="37"/>
                    </a:lnTo>
                    <a:lnTo>
                      <a:pt x="64" y="34"/>
                    </a:lnTo>
                    <a:lnTo>
                      <a:pt x="64" y="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6" name="Freeform 555"/>
              <p:cNvSpPr>
                <a:spLocks noChangeAspect="1"/>
              </p:cNvSpPr>
              <p:nvPr>
                <p:custDataLst>
                  <p:tags r:id="rId694"/>
                </p:custDataLst>
              </p:nvPr>
            </p:nvSpPr>
            <p:spPr bwMode="gray">
              <a:xfrm>
                <a:off x="5440777" y="2213270"/>
                <a:ext cx="264211" cy="603891"/>
              </a:xfrm>
              <a:custGeom>
                <a:avLst/>
                <a:gdLst>
                  <a:gd name="T0" fmla="*/ 5 w 203"/>
                  <a:gd name="T1" fmla="*/ 384 h 468"/>
                  <a:gd name="T2" fmla="*/ 8 w 203"/>
                  <a:gd name="T3" fmla="*/ 384 h 468"/>
                  <a:gd name="T4" fmla="*/ 11 w 203"/>
                  <a:gd name="T5" fmla="*/ 398 h 468"/>
                  <a:gd name="T6" fmla="*/ 14 w 203"/>
                  <a:gd name="T7" fmla="*/ 409 h 468"/>
                  <a:gd name="T8" fmla="*/ 27 w 203"/>
                  <a:gd name="T9" fmla="*/ 437 h 468"/>
                  <a:gd name="T10" fmla="*/ 22 w 203"/>
                  <a:gd name="T11" fmla="*/ 443 h 468"/>
                  <a:gd name="T12" fmla="*/ 27 w 203"/>
                  <a:gd name="T13" fmla="*/ 465 h 468"/>
                  <a:gd name="T14" fmla="*/ 47 w 203"/>
                  <a:gd name="T15" fmla="*/ 465 h 468"/>
                  <a:gd name="T16" fmla="*/ 58 w 203"/>
                  <a:gd name="T17" fmla="*/ 443 h 468"/>
                  <a:gd name="T18" fmla="*/ 80 w 203"/>
                  <a:gd name="T19" fmla="*/ 429 h 468"/>
                  <a:gd name="T20" fmla="*/ 83 w 203"/>
                  <a:gd name="T21" fmla="*/ 404 h 468"/>
                  <a:gd name="T22" fmla="*/ 86 w 203"/>
                  <a:gd name="T23" fmla="*/ 392 h 468"/>
                  <a:gd name="T24" fmla="*/ 89 w 203"/>
                  <a:gd name="T25" fmla="*/ 381 h 468"/>
                  <a:gd name="T26" fmla="*/ 89 w 203"/>
                  <a:gd name="T27" fmla="*/ 376 h 468"/>
                  <a:gd name="T28" fmla="*/ 91 w 203"/>
                  <a:gd name="T29" fmla="*/ 373 h 468"/>
                  <a:gd name="T30" fmla="*/ 103 w 203"/>
                  <a:gd name="T31" fmla="*/ 365 h 468"/>
                  <a:gd name="T32" fmla="*/ 114 w 203"/>
                  <a:gd name="T33" fmla="*/ 353 h 468"/>
                  <a:gd name="T34" fmla="*/ 97 w 203"/>
                  <a:gd name="T35" fmla="*/ 353 h 468"/>
                  <a:gd name="T36" fmla="*/ 83 w 203"/>
                  <a:gd name="T37" fmla="*/ 345 h 468"/>
                  <a:gd name="T38" fmla="*/ 94 w 203"/>
                  <a:gd name="T39" fmla="*/ 348 h 468"/>
                  <a:gd name="T40" fmla="*/ 103 w 203"/>
                  <a:gd name="T41" fmla="*/ 348 h 468"/>
                  <a:gd name="T42" fmla="*/ 119 w 203"/>
                  <a:gd name="T43" fmla="*/ 334 h 468"/>
                  <a:gd name="T44" fmla="*/ 108 w 203"/>
                  <a:gd name="T45" fmla="*/ 320 h 468"/>
                  <a:gd name="T46" fmla="*/ 97 w 203"/>
                  <a:gd name="T47" fmla="*/ 317 h 468"/>
                  <a:gd name="T48" fmla="*/ 86 w 203"/>
                  <a:gd name="T49" fmla="*/ 323 h 468"/>
                  <a:gd name="T50" fmla="*/ 94 w 203"/>
                  <a:gd name="T51" fmla="*/ 309 h 468"/>
                  <a:gd name="T52" fmla="*/ 94 w 203"/>
                  <a:gd name="T53" fmla="*/ 276 h 468"/>
                  <a:gd name="T54" fmla="*/ 97 w 203"/>
                  <a:gd name="T55" fmla="*/ 253 h 468"/>
                  <a:gd name="T56" fmla="*/ 105 w 203"/>
                  <a:gd name="T57" fmla="*/ 248 h 468"/>
                  <a:gd name="T58" fmla="*/ 108 w 203"/>
                  <a:gd name="T59" fmla="*/ 242 h 468"/>
                  <a:gd name="T60" fmla="*/ 111 w 203"/>
                  <a:gd name="T61" fmla="*/ 234 h 468"/>
                  <a:gd name="T62" fmla="*/ 119 w 203"/>
                  <a:gd name="T63" fmla="*/ 225 h 468"/>
                  <a:gd name="T64" fmla="*/ 133 w 203"/>
                  <a:gd name="T65" fmla="*/ 214 h 468"/>
                  <a:gd name="T66" fmla="*/ 144 w 203"/>
                  <a:gd name="T67" fmla="*/ 209 h 468"/>
                  <a:gd name="T68" fmla="*/ 161 w 203"/>
                  <a:gd name="T69" fmla="*/ 189 h 468"/>
                  <a:gd name="T70" fmla="*/ 158 w 203"/>
                  <a:gd name="T71" fmla="*/ 172 h 468"/>
                  <a:gd name="T72" fmla="*/ 161 w 203"/>
                  <a:gd name="T73" fmla="*/ 164 h 468"/>
                  <a:gd name="T74" fmla="*/ 167 w 203"/>
                  <a:gd name="T75" fmla="*/ 145 h 468"/>
                  <a:gd name="T76" fmla="*/ 172 w 203"/>
                  <a:gd name="T77" fmla="*/ 142 h 468"/>
                  <a:gd name="T78" fmla="*/ 175 w 203"/>
                  <a:gd name="T79" fmla="*/ 136 h 468"/>
                  <a:gd name="T80" fmla="*/ 178 w 203"/>
                  <a:gd name="T81" fmla="*/ 131 h 468"/>
                  <a:gd name="T82" fmla="*/ 186 w 203"/>
                  <a:gd name="T83" fmla="*/ 134 h 468"/>
                  <a:gd name="T84" fmla="*/ 203 w 203"/>
                  <a:gd name="T85" fmla="*/ 131 h 468"/>
                  <a:gd name="T86" fmla="*/ 195 w 203"/>
                  <a:gd name="T87" fmla="*/ 83 h 468"/>
                  <a:gd name="T88" fmla="*/ 197 w 203"/>
                  <a:gd name="T89" fmla="*/ 50 h 468"/>
                  <a:gd name="T90" fmla="*/ 142 w 203"/>
                  <a:gd name="T91" fmla="*/ 0 h 468"/>
                  <a:gd name="T92" fmla="*/ 142 w 203"/>
                  <a:gd name="T93" fmla="*/ 11 h 468"/>
                  <a:gd name="T94" fmla="*/ 139 w 203"/>
                  <a:gd name="T95" fmla="*/ 28 h 468"/>
                  <a:gd name="T96" fmla="*/ 108 w 203"/>
                  <a:gd name="T97" fmla="*/ 42 h 468"/>
                  <a:gd name="T98" fmla="*/ 89 w 203"/>
                  <a:gd name="T99" fmla="*/ 50 h 468"/>
                  <a:gd name="T100" fmla="*/ 69 w 203"/>
                  <a:gd name="T101" fmla="*/ 103 h 468"/>
                  <a:gd name="T102" fmla="*/ 41 w 203"/>
                  <a:gd name="T103" fmla="*/ 175 h 468"/>
                  <a:gd name="T104" fmla="*/ 30 w 203"/>
                  <a:gd name="T105" fmla="*/ 198 h 468"/>
                  <a:gd name="T106" fmla="*/ 19 w 203"/>
                  <a:gd name="T107" fmla="*/ 231 h 468"/>
                  <a:gd name="T108" fmla="*/ 19 w 203"/>
                  <a:gd name="T109" fmla="*/ 278 h 468"/>
                  <a:gd name="T110" fmla="*/ 16 w 203"/>
                  <a:gd name="T111" fmla="*/ 301 h 468"/>
                  <a:gd name="T112" fmla="*/ 19 w 203"/>
                  <a:gd name="T113" fmla="*/ 331 h 468"/>
                  <a:gd name="T114" fmla="*/ 5 w 203"/>
                  <a:gd name="T115" fmla="*/ 365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3" h="468">
                    <a:moveTo>
                      <a:pt x="2" y="359"/>
                    </a:moveTo>
                    <a:lnTo>
                      <a:pt x="0" y="362"/>
                    </a:lnTo>
                    <a:lnTo>
                      <a:pt x="2" y="379"/>
                    </a:lnTo>
                    <a:lnTo>
                      <a:pt x="5" y="379"/>
                    </a:lnTo>
                    <a:lnTo>
                      <a:pt x="5" y="381"/>
                    </a:lnTo>
                    <a:lnTo>
                      <a:pt x="5" y="384"/>
                    </a:lnTo>
                    <a:lnTo>
                      <a:pt x="5" y="384"/>
                    </a:lnTo>
                    <a:lnTo>
                      <a:pt x="5" y="381"/>
                    </a:lnTo>
                    <a:lnTo>
                      <a:pt x="5" y="379"/>
                    </a:lnTo>
                    <a:lnTo>
                      <a:pt x="8" y="381"/>
                    </a:lnTo>
                    <a:lnTo>
                      <a:pt x="8" y="384"/>
                    </a:lnTo>
                    <a:lnTo>
                      <a:pt x="8" y="384"/>
                    </a:lnTo>
                    <a:lnTo>
                      <a:pt x="8" y="384"/>
                    </a:lnTo>
                    <a:lnTo>
                      <a:pt x="8" y="384"/>
                    </a:lnTo>
                    <a:lnTo>
                      <a:pt x="5" y="390"/>
                    </a:lnTo>
                    <a:lnTo>
                      <a:pt x="11" y="390"/>
                    </a:lnTo>
                    <a:lnTo>
                      <a:pt x="11" y="392"/>
                    </a:lnTo>
                    <a:lnTo>
                      <a:pt x="11" y="398"/>
                    </a:lnTo>
                    <a:lnTo>
                      <a:pt x="14" y="395"/>
                    </a:lnTo>
                    <a:lnTo>
                      <a:pt x="14" y="401"/>
                    </a:lnTo>
                    <a:lnTo>
                      <a:pt x="11" y="404"/>
                    </a:lnTo>
                    <a:lnTo>
                      <a:pt x="14" y="406"/>
                    </a:lnTo>
                    <a:lnTo>
                      <a:pt x="14" y="409"/>
                    </a:lnTo>
                    <a:lnTo>
                      <a:pt x="14" y="409"/>
                    </a:lnTo>
                    <a:lnTo>
                      <a:pt x="19" y="423"/>
                    </a:lnTo>
                    <a:lnTo>
                      <a:pt x="22" y="426"/>
                    </a:lnTo>
                    <a:lnTo>
                      <a:pt x="22" y="429"/>
                    </a:lnTo>
                    <a:lnTo>
                      <a:pt x="27" y="431"/>
                    </a:lnTo>
                    <a:lnTo>
                      <a:pt x="27" y="434"/>
                    </a:lnTo>
                    <a:lnTo>
                      <a:pt x="27" y="437"/>
                    </a:lnTo>
                    <a:lnTo>
                      <a:pt x="27" y="437"/>
                    </a:lnTo>
                    <a:lnTo>
                      <a:pt x="25" y="437"/>
                    </a:lnTo>
                    <a:lnTo>
                      <a:pt x="25" y="437"/>
                    </a:lnTo>
                    <a:lnTo>
                      <a:pt x="27" y="443"/>
                    </a:lnTo>
                    <a:lnTo>
                      <a:pt x="25" y="443"/>
                    </a:lnTo>
                    <a:lnTo>
                      <a:pt x="22" y="443"/>
                    </a:lnTo>
                    <a:lnTo>
                      <a:pt x="22" y="443"/>
                    </a:lnTo>
                    <a:lnTo>
                      <a:pt x="30" y="459"/>
                    </a:lnTo>
                    <a:lnTo>
                      <a:pt x="27" y="459"/>
                    </a:lnTo>
                    <a:lnTo>
                      <a:pt x="27" y="465"/>
                    </a:lnTo>
                    <a:lnTo>
                      <a:pt x="27" y="465"/>
                    </a:lnTo>
                    <a:lnTo>
                      <a:pt x="27" y="465"/>
                    </a:lnTo>
                    <a:lnTo>
                      <a:pt x="30" y="465"/>
                    </a:lnTo>
                    <a:lnTo>
                      <a:pt x="33" y="468"/>
                    </a:lnTo>
                    <a:lnTo>
                      <a:pt x="39" y="465"/>
                    </a:lnTo>
                    <a:lnTo>
                      <a:pt x="44" y="465"/>
                    </a:lnTo>
                    <a:lnTo>
                      <a:pt x="47" y="465"/>
                    </a:lnTo>
                    <a:lnTo>
                      <a:pt x="47" y="465"/>
                    </a:lnTo>
                    <a:lnTo>
                      <a:pt x="50" y="459"/>
                    </a:lnTo>
                    <a:lnTo>
                      <a:pt x="50" y="454"/>
                    </a:lnTo>
                    <a:lnTo>
                      <a:pt x="53" y="448"/>
                    </a:lnTo>
                    <a:lnTo>
                      <a:pt x="55" y="448"/>
                    </a:lnTo>
                    <a:lnTo>
                      <a:pt x="55" y="445"/>
                    </a:lnTo>
                    <a:lnTo>
                      <a:pt x="58" y="443"/>
                    </a:lnTo>
                    <a:lnTo>
                      <a:pt x="64" y="443"/>
                    </a:lnTo>
                    <a:lnTo>
                      <a:pt x="66" y="445"/>
                    </a:lnTo>
                    <a:lnTo>
                      <a:pt x="69" y="443"/>
                    </a:lnTo>
                    <a:lnTo>
                      <a:pt x="72" y="445"/>
                    </a:lnTo>
                    <a:lnTo>
                      <a:pt x="75" y="445"/>
                    </a:lnTo>
                    <a:lnTo>
                      <a:pt x="80" y="429"/>
                    </a:lnTo>
                    <a:lnTo>
                      <a:pt x="83" y="423"/>
                    </a:lnTo>
                    <a:lnTo>
                      <a:pt x="83" y="418"/>
                    </a:lnTo>
                    <a:lnTo>
                      <a:pt x="83" y="415"/>
                    </a:lnTo>
                    <a:lnTo>
                      <a:pt x="86" y="409"/>
                    </a:lnTo>
                    <a:lnTo>
                      <a:pt x="86" y="404"/>
                    </a:lnTo>
                    <a:lnTo>
                      <a:pt x="83" y="404"/>
                    </a:lnTo>
                    <a:lnTo>
                      <a:pt x="86" y="401"/>
                    </a:lnTo>
                    <a:lnTo>
                      <a:pt x="86" y="398"/>
                    </a:lnTo>
                    <a:lnTo>
                      <a:pt x="83" y="395"/>
                    </a:lnTo>
                    <a:lnTo>
                      <a:pt x="83" y="395"/>
                    </a:lnTo>
                    <a:lnTo>
                      <a:pt x="83" y="392"/>
                    </a:lnTo>
                    <a:lnTo>
                      <a:pt x="86" y="392"/>
                    </a:lnTo>
                    <a:lnTo>
                      <a:pt x="86" y="392"/>
                    </a:lnTo>
                    <a:lnTo>
                      <a:pt x="86" y="392"/>
                    </a:lnTo>
                    <a:lnTo>
                      <a:pt x="86" y="390"/>
                    </a:lnTo>
                    <a:lnTo>
                      <a:pt x="86" y="390"/>
                    </a:lnTo>
                    <a:lnTo>
                      <a:pt x="86" y="387"/>
                    </a:lnTo>
                    <a:lnTo>
                      <a:pt x="89" y="381"/>
                    </a:lnTo>
                    <a:lnTo>
                      <a:pt x="89" y="381"/>
                    </a:lnTo>
                    <a:lnTo>
                      <a:pt x="83" y="379"/>
                    </a:lnTo>
                    <a:lnTo>
                      <a:pt x="83" y="379"/>
                    </a:lnTo>
                    <a:lnTo>
                      <a:pt x="86" y="379"/>
                    </a:lnTo>
                    <a:lnTo>
                      <a:pt x="89" y="379"/>
                    </a:lnTo>
                    <a:lnTo>
                      <a:pt x="89" y="376"/>
                    </a:lnTo>
                    <a:lnTo>
                      <a:pt x="86" y="373"/>
                    </a:lnTo>
                    <a:lnTo>
                      <a:pt x="78" y="373"/>
                    </a:lnTo>
                    <a:lnTo>
                      <a:pt x="80" y="373"/>
                    </a:lnTo>
                    <a:lnTo>
                      <a:pt x="86" y="370"/>
                    </a:lnTo>
                    <a:lnTo>
                      <a:pt x="89" y="373"/>
                    </a:lnTo>
                    <a:lnTo>
                      <a:pt x="91" y="373"/>
                    </a:lnTo>
                    <a:lnTo>
                      <a:pt x="91" y="370"/>
                    </a:lnTo>
                    <a:lnTo>
                      <a:pt x="94" y="370"/>
                    </a:lnTo>
                    <a:lnTo>
                      <a:pt x="100" y="365"/>
                    </a:lnTo>
                    <a:lnTo>
                      <a:pt x="100" y="359"/>
                    </a:lnTo>
                    <a:lnTo>
                      <a:pt x="103" y="362"/>
                    </a:lnTo>
                    <a:lnTo>
                      <a:pt x="103" y="365"/>
                    </a:lnTo>
                    <a:lnTo>
                      <a:pt x="105" y="365"/>
                    </a:lnTo>
                    <a:lnTo>
                      <a:pt x="108" y="362"/>
                    </a:lnTo>
                    <a:lnTo>
                      <a:pt x="111" y="356"/>
                    </a:lnTo>
                    <a:lnTo>
                      <a:pt x="111" y="353"/>
                    </a:lnTo>
                    <a:lnTo>
                      <a:pt x="114" y="353"/>
                    </a:lnTo>
                    <a:lnTo>
                      <a:pt x="114" y="353"/>
                    </a:lnTo>
                    <a:lnTo>
                      <a:pt x="114" y="353"/>
                    </a:lnTo>
                    <a:lnTo>
                      <a:pt x="117" y="351"/>
                    </a:lnTo>
                    <a:lnTo>
                      <a:pt x="117" y="351"/>
                    </a:lnTo>
                    <a:lnTo>
                      <a:pt x="100" y="353"/>
                    </a:lnTo>
                    <a:lnTo>
                      <a:pt x="97" y="353"/>
                    </a:lnTo>
                    <a:lnTo>
                      <a:pt x="97" y="353"/>
                    </a:lnTo>
                    <a:lnTo>
                      <a:pt x="94" y="351"/>
                    </a:lnTo>
                    <a:lnTo>
                      <a:pt x="94" y="351"/>
                    </a:lnTo>
                    <a:lnTo>
                      <a:pt x="86" y="348"/>
                    </a:lnTo>
                    <a:lnTo>
                      <a:pt x="83" y="348"/>
                    </a:lnTo>
                    <a:lnTo>
                      <a:pt x="80" y="348"/>
                    </a:lnTo>
                    <a:lnTo>
                      <a:pt x="83" y="345"/>
                    </a:lnTo>
                    <a:lnTo>
                      <a:pt x="83" y="345"/>
                    </a:lnTo>
                    <a:lnTo>
                      <a:pt x="86" y="345"/>
                    </a:lnTo>
                    <a:lnTo>
                      <a:pt x="89" y="345"/>
                    </a:lnTo>
                    <a:lnTo>
                      <a:pt x="91" y="345"/>
                    </a:lnTo>
                    <a:lnTo>
                      <a:pt x="91" y="345"/>
                    </a:lnTo>
                    <a:lnTo>
                      <a:pt x="94" y="348"/>
                    </a:lnTo>
                    <a:lnTo>
                      <a:pt x="97" y="345"/>
                    </a:lnTo>
                    <a:lnTo>
                      <a:pt x="97" y="345"/>
                    </a:lnTo>
                    <a:lnTo>
                      <a:pt x="100" y="348"/>
                    </a:lnTo>
                    <a:lnTo>
                      <a:pt x="100" y="348"/>
                    </a:lnTo>
                    <a:lnTo>
                      <a:pt x="103" y="345"/>
                    </a:lnTo>
                    <a:lnTo>
                      <a:pt x="103" y="348"/>
                    </a:lnTo>
                    <a:lnTo>
                      <a:pt x="103" y="351"/>
                    </a:lnTo>
                    <a:lnTo>
                      <a:pt x="105" y="351"/>
                    </a:lnTo>
                    <a:lnTo>
                      <a:pt x="114" y="345"/>
                    </a:lnTo>
                    <a:lnTo>
                      <a:pt x="119" y="340"/>
                    </a:lnTo>
                    <a:lnTo>
                      <a:pt x="119" y="340"/>
                    </a:lnTo>
                    <a:lnTo>
                      <a:pt x="119" y="334"/>
                    </a:lnTo>
                    <a:lnTo>
                      <a:pt x="119" y="331"/>
                    </a:lnTo>
                    <a:lnTo>
                      <a:pt x="117" y="328"/>
                    </a:lnTo>
                    <a:lnTo>
                      <a:pt x="114" y="323"/>
                    </a:lnTo>
                    <a:lnTo>
                      <a:pt x="114" y="323"/>
                    </a:lnTo>
                    <a:lnTo>
                      <a:pt x="114" y="323"/>
                    </a:lnTo>
                    <a:lnTo>
                      <a:pt x="108" y="320"/>
                    </a:lnTo>
                    <a:lnTo>
                      <a:pt x="108" y="315"/>
                    </a:lnTo>
                    <a:lnTo>
                      <a:pt x="103" y="315"/>
                    </a:lnTo>
                    <a:lnTo>
                      <a:pt x="100" y="312"/>
                    </a:lnTo>
                    <a:lnTo>
                      <a:pt x="100" y="312"/>
                    </a:lnTo>
                    <a:lnTo>
                      <a:pt x="100" y="312"/>
                    </a:lnTo>
                    <a:lnTo>
                      <a:pt x="97" y="317"/>
                    </a:lnTo>
                    <a:lnTo>
                      <a:pt x="89" y="326"/>
                    </a:lnTo>
                    <a:lnTo>
                      <a:pt x="86" y="326"/>
                    </a:lnTo>
                    <a:lnTo>
                      <a:pt x="83" y="328"/>
                    </a:lnTo>
                    <a:lnTo>
                      <a:pt x="80" y="326"/>
                    </a:lnTo>
                    <a:lnTo>
                      <a:pt x="83" y="326"/>
                    </a:lnTo>
                    <a:lnTo>
                      <a:pt x="86" y="323"/>
                    </a:lnTo>
                    <a:lnTo>
                      <a:pt x="89" y="323"/>
                    </a:lnTo>
                    <a:lnTo>
                      <a:pt x="91" y="320"/>
                    </a:lnTo>
                    <a:lnTo>
                      <a:pt x="97" y="317"/>
                    </a:lnTo>
                    <a:lnTo>
                      <a:pt x="97" y="315"/>
                    </a:lnTo>
                    <a:lnTo>
                      <a:pt x="97" y="309"/>
                    </a:lnTo>
                    <a:lnTo>
                      <a:pt x="94" y="309"/>
                    </a:lnTo>
                    <a:lnTo>
                      <a:pt x="94" y="306"/>
                    </a:lnTo>
                    <a:lnTo>
                      <a:pt x="94" y="303"/>
                    </a:lnTo>
                    <a:lnTo>
                      <a:pt x="94" y="301"/>
                    </a:lnTo>
                    <a:lnTo>
                      <a:pt x="94" y="281"/>
                    </a:lnTo>
                    <a:lnTo>
                      <a:pt x="94" y="278"/>
                    </a:lnTo>
                    <a:lnTo>
                      <a:pt x="94" y="276"/>
                    </a:lnTo>
                    <a:lnTo>
                      <a:pt x="97" y="278"/>
                    </a:lnTo>
                    <a:lnTo>
                      <a:pt x="100" y="276"/>
                    </a:lnTo>
                    <a:lnTo>
                      <a:pt x="97" y="270"/>
                    </a:lnTo>
                    <a:lnTo>
                      <a:pt x="100" y="259"/>
                    </a:lnTo>
                    <a:lnTo>
                      <a:pt x="97" y="256"/>
                    </a:lnTo>
                    <a:lnTo>
                      <a:pt x="97" y="253"/>
                    </a:lnTo>
                    <a:lnTo>
                      <a:pt x="97" y="250"/>
                    </a:lnTo>
                    <a:lnTo>
                      <a:pt x="103" y="253"/>
                    </a:lnTo>
                    <a:lnTo>
                      <a:pt x="103" y="250"/>
                    </a:lnTo>
                    <a:lnTo>
                      <a:pt x="103" y="250"/>
                    </a:lnTo>
                    <a:lnTo>
                      <a:pt x="105" y="248"/>
                    </a:lnTo>
                    <a:lnTo>
                      <a:pt x="105" y="248"/>
                    </a:lnTo>
                    <a:lnTo>
                      <a:pt x="105" y="245"/>
                    </a:lnTo>
                    <a:lnTo>
                      <a:pt x="105" y="242"/>
                    </a:lnTo>
                    <a:lnTo>
                      <a:pt x="105" y="239"/>
                    </a:lnTo>
                    <a:lnTo>
                      <a:pt x="105" y="237"/>
                    </a:lnTo>
                    <a:lnTo>
                      <a:pt x="105" y="239"/>
                    </a:lnTo>
                    <a:lnTo>
                      <a:pt x="108" y="242"/>
                    </a:lnTo>
                    <a:lnTo>
                      <a:pt x="108" y="239"/>
                    </a:lnTo>
                    <a:lnTo>
                      <a:pt x="111" y="237"/>
                    </a:lnTo>
                    <a:lnTo>
                      <a:pt x="111" y="239"/>
                    </a:lnTo>
                    <a:lnTo>
                      <a:pt x="114" y="237"/>
                    </a:lnTo>
                    <a:lnTo>
                      <a:pt x="114" y="234"/>
                    </a:lnTo>
                    <a:lnTo>
                      <a:pt x="111" y="234"/>
                    </a:lnTo>
                    <a:lnTo>
                      <a:pt x="114" y="234"/>
                    </a:lnTo>
                    <a:lnTo>
                      <a:pt x="114" y="231"/>
                    </a:lnTo>
                    <a:lnTo>
                      <a:pt x="114" y="231"/>
                    </a:lnTo>
                    <a:lnTo>
                      <a:pt x="117" y="231"/>
                    </a:lnTo>
                    <a:lnTo>
                      <a:pt x="117" y="228"/>
                    </a:lnTo>
                    <a:lnTo>
                      <a:pt x="119" y="225"/>
                    </a:lnTo>
                    <a:lnTo>
                      <a:pt x="119" y="223"/>
                    </a:lnTo>
                    <a:lnTo>
                      <a:pt x="122" y="223"/>
                    </a:lnTo>
                    <a:lnTo>
                      <a:pt x="125" y="223"/>
                    </a:lnTo>
                    <a:lnTo>
                      <a:pt x="128" y="220"/>
                    </a:lnTo>
                    <a:lnTo>
                      <a:pt x="128" y="217"/>
                    </a:lnTo>
                    <a:lnTo>
                      <a:pt x="133" y="214"/>
                    </a:lnTo>
                    <a:lnTo>
                      <a:pt x="133" y="217"/>
                    </a:lnTo>
                    <a:lnTo>
                      <a:pt x="136" y="214"/>
                    </a:lnTo>
                    <a:lnTo>
                      <a:pt x="139" y="211"/>
                    </a:lnTo>
                    <a:lnTo>
                      <a:pt x="142" y="209"/>
                    </a:lnTo>
                    <a:lnTo>
                      <a:pt x="142" y="211"/>
                    </a:lnTo>
                    <a:lnTo>
                      <a:pt x="144" y="209"/>
                    </a:lnTo>
                    <a:lnTo>
                      <a:pt x="147" y="206"/>
                    </a:lnTo>
                    <a:lnTo>
                      <a:pt x="150" y="203"/>
                    </a:lnTo>
                    <a:lnTo>
                      <a:pt x="150" y="203"/>
                    </a:lnTo>
                    <a:lnTo>
                      <a:pt x="161" y="184"/>
                    </a:lnTo>
                    <a:lnTo>
                      <a:pt x="161" y="186"/>
                    </a:lnTo>
                    <a:lnTo>
                      <a:pt x="161" y="189"/>
                    </a:lnTo>
                    <a:lnTo>
                      <a:pt x="164" y="184"/>
                    </a:lnTo>
                    <a:lnTo>
                      <a:pt x="164" y="181"/>
                    </a:lnTo>
                    <a:lnTo>
                      <a:pt x="164" y="181"/>
                    </a:lnTo>
                    <a:lnTo>
                      <a:pt x="158" y="175"/>
                    </a:lnTo>
                    <a:lnTo>
                      <a:pt x="158" y="172"/>
                    </a:lnTo>
                    <a:lnTo>
                      <a:pt x="158" y="172"/>
                    </a:lnTo>
                    <a:lnTo>
                      <a:pt x="158" y="172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58" y="167"/>
                    </a:lnTo>
                    <a:lnTo>
                      <a:pt x="158" y="167"/>
                    </a:lnTo>
                    <a:lnTo>
                      <a:pt x="161" y="164"/>
                    </a:lnTo>
                    <a:lnTo>
                      <a:pt x="164" y="156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4" y="147"/>
                    </a:lnTo>
                    <a:lnTo>
                      <a:pt x="167" y="145"/>
                    </a:lnTo>
                    <a:lnTo>
                      <a:pt x="167" y="145"/>
                    </a:lnTo>
                    <a:lnTo>
                      <a:pt x="169" y="147"/>
                    </a:lnTo>
                    <a:lnTo>
                      <a:pt x="169" y="145"/>
                    </a:lnTo>
                    <a:lnTo>
                      <a:pt x="169" y="145"/>
                    </a:lnTo>
                    <a:lnTo>
                      <a:pt x="169" y="142"/>
                    </a:lnTo>
                    <a:lnTo>
                      <a:pt x="172" y="142"/>
                    </a:lnTo>
                    <a:lnTo>
                      <a:pt x="172" y="142"/>
                    </a:lnTo>
                    <a:lnTo>
                      <a:pt x="169" y="136"/>
                    </a:lnTo>
                    <a:lnTo>
                      <a:pt x="169" y="136"/>
                    </a:lnTo>
                    <a:lnTo>
                      <a:pt x="172" y="136"/>
                    </a:lnTo>
                    <a:lnTo>
                      <a:pt x="175" y="139"/>
                    </a:lnTo>
                    <a:lnTo>
                      <a:pt x="175" y="139"/>
                    </a:lnTo>
                    <a:lnTo>
                      <a:pt x="175" y="136"/>
                    </a:lnTo>
                    <a:lnTo>
                      <a:pt x="175" y="136"/>
                    </a:lnTo>
                    <a:lnTo>
                      <a:pt x="175" y="136"/>
                    </a:lnTo>
                    <a:lnTo>
                      <a:pt x="178" y="131"/>
                    </a:lnTo>
                    <a:lnTo>
                      <a:pt x="178" y="128"/>
                    </a:lnTo>
                    <a:lnTo>
                      <a:pt x="178" y="128"/>
                    </a:lnTo>
                    <a:lnTo>
                      <a:pt x="178" y="131"/>
                    </a:lnTo>
                    <a:lnTo>
                      <a:pt x="181" y="131"/>
                    </a:lnTo>
                    <a:lnTo>
                      <a:pt x="181" y="134"/>
                    </a:lnTo>
                    <a:lnTo>
                      <a:pt x="183" y="128"/>
                    </a:lnTo>
                    <a:lnTo>
                      <a:pt x="183" y="131"/>
                    </a:lnTo>
                    <a:lnTo>
                      <a:pt x="186" y="134"/>
                    </a:lnTo>
                    <a:lnTo>
                      <a:pt x="186" y="134"/>
                    </a:lnTo>
                    <a:lnTo>
                      <a:pt x="189" y="134"/>
                    </a:lnTo>
                    <a:lnTo>
                      <a:pt x="189" y="131"/>
                    </a:lnTo>
                    <a:lnTo>
                      <a:pt x="197" y="131"/>
                    </a:lnTo>
                    <a:lnTo>
                      <a:pt x="200" y="131"/>
                    </a:lnTo>
                    <a:lnTo>
                      <a:pt x="200" y="134"/>
                    </a:lnTo>
                    <a:lnTo>
                      <a:pt x="203" y="131"/>
                    </a:lnTo>
                    <a:lnTo>
                      <a:pt x="203" y="131"/>
                    </a:lnTo>
                    <a:lnTo>
                      <a:pt x="197" y="111"/>
                    </a:lnTo>
                    <a:lnTo>
                      <a:pt x="200" y="108"/>
                    </a:lnTo>
                    <a:lnTo>
                      <a:pt x="200" y="103"/>
                    </a:lnTo>
                    <a:lnTo>
                      <a:pt x="203" y="97"/>
                    </a:lnTo>
                    <a:lnTo>
                      <a:pt x="195" y="83"/>
                    </a:lnTo>
                    <a:lnTo>
                      <a:pt x="195" y="81"/>
                    </a:lnTo>
                    <a:lnTo>
                      <a:pt x="197" y="72"/>
                    </a:lnTo>
                    <a:lnTo>
                      <a:pt x="197" y="69"/>
                    </a:lnTo>
                    <a:lnTo>
                      <a:pt x="195" y="67"/>
                    </a:lnTo>
                    <a:lnTo>
                      <a:pt x="195" y="58"/>
                    </a:lnTo>
                    <a:lnTo>
                      <a:pt x="197" y="50"/>
                    </a:lnTo>
                    <a:lnTo>
                      <a:pt x="186" y="30"/>
                    </a:lnTo>
                    <a:lnTo>
                      <a:pt x="181" y="25"/>
                    </a:lnTo>
                    <a:lnTo>
                      <a:pt x="172" y="22"/>
                    </a:lnTo>
                    <a:lnTo>
                      <a:pt x="150" y="3"/>
                    </a:lnTo>
                    <a:lnTo>
                      <a:pt x="150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3"/>
                    </a:lnTo>
                    <a:lnTo>
                      <a:pt x="142" y="5"/>
                    </a:lnTo>
                    <a:lnTo>
                      <a:pt x="144" y="8"/>
                    </a:lnTo>
                    <a:lnTo>
                      <a:pt x="142" y="11"/>
                    </a:lnTo>
                    <a:lnTo>
                      <a:pt x="142" y="11"/>
                    </a:lnTo>
                    <a:lnTo>
                      <a:pt x="142" y="17"/>
                    </a:lnTo>
                    <a:lnTo>
                      <a:pt x="139" y="19"/>
                    </a:lnTo>
                    <a:lnTo>
                      <a:pt x="139" y="22"/>
                    </a:lnTo>
                    <a:lnTo>
                      <a:pt x="142" y="25"/>
                    </a:lnTo>
                    <a:lnTo>
                      <a:pt x="139" y="28"/>
                    </a:lnTo>
                    <a:lnTo>
                      <a:pt x="139" y="28"/>
                    </a:lnTo>
                    <a:lnTo>
                      <a:pt x="117" y="22"/>
                    </a:lnTo>
                    <a:lnTo>
                      <a:pt x="114" y="22"/>
                    </a:lnTo>
                    <a:lnTo>
                      <a:pt x="111" y="25"/>
                    </a:lnTo>
                    <a:lnTo>
                      <a:pt x="111" y="28"/>
                    </a:lnTo>
                    <a:lnTo>
                      <a:pt x="111" y="33"/>
                    </a:lnTo>
                    <a:lnTo>
                      <a:pt x="108" y="42"/>
                    </a:lnTo>
                    <a:lnTo>
                      <a:pt x="105" y="47"/>
                    </a:lnTo>
                    <a:lnTo>
                      <a:pt x="105" y="47"/>
                    </a:lnTo>
                    <a:lnTo>
                      <a:pt x="103" y="44"/>
                    </a:lnTo>
                    <a:lnTo>
                      <a:pt x="100" y="42"/>
                    </a:lnTo>
                    <a:lnTo>
                      <a:pt x="97" y="42"/>
                    </a:lnTo>
                    <a:lnTo>
                      <a:pt x="89" y="50"/>
                    </a:lnTo>
                    <a:lnTo>
                      <a:pt x="86" y="58"/>
                    </a:lnTo>
                    <a:lnTo>
                      <a:pt x="80" y="67"/>
                    </a:lnTo>
                    <a:lnTo>
                      <a:pt x="80" y="72"/>
                    </a:lnTo>
                    <a:lnTo>
                      <a:pt x="83" y="78"/>
                    </a:lnTo>
                    <a:lnTo>
                      <a:pt x="83" y="81"/>
                    </a:lnTo>
                    <a:lnTo>
                      <a:pt x="69" y="103"/>
                    </a:lnTo>
                    <a:lnTo>
                      <a:pt x="66" y="117"/>
                    </a:lnTo>
                    <a:lnTo>
                      <a:pt x="61" y="122"/>
                    </a:lnTo>
                    <a:lnTo>
                      <a:pt x="58" y="122"/>
                    </a:lnTo>
                    <a:lnTo>
                      <a:pt x="55" y="122"/>
                    </a:lnTo>
                    <a:lnTo>
                      <a:pt x="53" y="156"/>
                    </a:lnTo>
                    <a:lnTo>
                      <a:pt x="41" y="175"/>
                    </a:lnTo>
                    <a:lnTo>
                      <a:pt x="41" y="178"/>
                    </a:lnTo>
                    <a:lnTo>
                      <a:pt x="50" y="186"/>
                    </a:lnTo>
                    <a:lnTo>
                      <a:pt x="47" y="195"/>
                    </a:lnTo>
                    <a:lnTo>
                      <a:pt x="44" y="198"/>
                    </a:lnTo>
                    <a:lnTo>
                      <a:pt x="36" y="198"/>
                    </a:lnTo>
                    <a:lnTo>
                      <a:pt x="30" y="198"/>
                    </a:lnTo>
                    <a:lnTo>
                      <a:pt x="25" y="200"/>
                    </a:lnTo>
                    <a:lnTo>
                      <a:pt x="19" y="211"/>
                    </a:lnTo>
                    <a:lnTo>
                      <a:pt x="16" y="220"/>
                    </a:lnTo>
                    <a:lnTo>
                      <a:pt x="16" y="225"/>
                    </a:lnTo>
                    <a:lnTo>
                      <a:pt x="19" y="228"/>
                    </a:lnTo>
                    <a:lnTo>
                      <a:pt x="19" y="231"/>
                    </a:lnTo>
                    <a:lnTo>
                      <a:pt x="16" y="234"/>
                    </a:lnTo>
                    <a:lnTo>
                      <a:pt x="16" y="250"/>
                    </a:lnTo>
                    <a:lnTo>
                      <a:pt x="16" y="253"/>
                    </a:lnTo>
                    <a:lnTo>
                      <a:pt x="16" y="256"/>
                    </a:lnTo>
                    <a:lnTo>
                      <a:pt x="16" y="276"/>
                    </a:lnTo>
                    <a:lnTo>
                      <a:pt x="19" y="278"/>
                    </a:lnTo>
                    <a:lnTo>
                      <a:pt x="25" y="284"/>
                    </a:lnTo>
                    <a:lnTo>
                      <a:pt x="27" y="289"/>
                    </a:lnTo>
                    <a:lnTo>
                      <a:pt x="25" y="295"/>
                    </a:lnTo>
                    <a:lnTo>
                      <a:pt x="22" y="298"/>
                    </a:lnTo>
                    <a:lnTo>
                      <a:pt x="19" y="298"/>
                    </a:lnTo>
                    <a:lnTo>
                      <a:pt x="16" y="301"/>
                    </a:lnTo>
                    <a:lnTo>
                      <a:pt x="19" y="303"/>
                    </a:lnTo>
                    <a:lnTo>
                      <a:pt x="22" y="315"/>
                    </a:lnTo>
                    <a:lnTo>
                      <a:pt x="19" y="323"/>
                    </a:lnTo>
                    <a:lnTo>
                      <a:pt x="22" y="326"/>
                    </a:lnTo>
                    <a:lnTo>
                      <a:pt x="22" y="328"/>
                    </a:lnTo>
                    <a:lnTo>
                      <a:pt x="19" y="331"/>
                    </a:lnTo>
                    <a:lnTo>
                      <a:pt x="11" y="334"/>
                    </a:lnTo>
                    <a:lnTo>
                      <a:pt x="11" y="340"/>
                    </a:lnTo>
                    <a:lnTo>
                      <a:pt x="8" y="345"/>
                    </a:lnTo>
                    <a:lnTo>
                      <a:pt x="11" y="353"/>
                    </a:lnTo>
                    <a:lnTo>
                      <a:pt x="8" y="365"/>
                    </a:lnTo>
                    <a:lnTo>
                      <a:pt x="5" y="365"/>
                    </a:lnTo>
                    <a:lnTo>
                      <a:pt x="5" y="362"/>
                    </a:lnTo>
                    <a:lnTo>
                      <a:pt x="2" y="367"/>
                    </a:lnTo>
                    <a:lnTo>
                      <a:pt x="2" y="362"/>
                    </a:lnTo>
                    <a:lnTo>
                      <a:pt x="2" y="35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7" name="Freeform 556"/>
              <p:cNvSpPr>
                <a:spLocks noChangeAspect="1"/>
              </p:cNvSpPr>
              <p:nvPr>
                <p:custDataLst>
                  <p:tags r:id="rId695"/>
                </p:custDataLst>
              </p:nvPr>
            </p:nvSpPr>
            <p:spPr bwMode="gray">
              <a:xfrm>
                <a:off x="5755097" y="3039481"/>
                <a:ext cx="68330" cy="85144"/>
              </a:xfrm>
              <a:custGeom>
                <a:avLst/>
                <a:gdLst>
                  <a:gd name="T0" fmla="*/ 25 w 53"/>
                  <a:gd name="T1" fmla="*/ 67 h 67"/>
                  <a:gd name="T2" fmla="*/ 25 w 53"/>
                  <a:gd name="T3" fmla="*/ 39 h 67"/>
                  <a:gd name="T4" fmla="*/ 14 w 53"/>
                  <a:gd name="T5" fmla="*/ 20 h 67"/>
                  <a:gd name="T6" fmla="*/ 14 w 53"/>
                  <a:gd name="T7" fmla="*/ 17 h 67"/>
                  <a:gd name="T8" fmla="*/ 3 w 53"/>
                  <a:gd name="T9" fmla="*/ 6 h 67"/>
                  <a:gd name="T10" fmla="*/ 0 w 53"/>
                  <a:gd name="T11" fmla="*/ 6 h 67"/>
                  <a:gd name="T12" fmla="*/ 3 w 53"/>
                  <a:gd name="T13" fmla="*/ 3 h 67"/>
                  <a:gd name="T14" fmla="*/ 5 w 53"/>
                  <a:gd name="T15" fmla="*/ 0 h 67"/>
                  <a:gd name="T16" fmla="*/ 8 w 53"/>
                  <a:gd name="T17" fmla="*/ 3 h 67"/>
                  <a:gd name="T18" fmla="*/ 14 w 53"/>
                  <a:gd name="T19" fmla="*/ 0 h 67"/>
                  <a:gd name="T20" fmla="*/ 19 w 53"/>
                  <a:gd name="T21" fmla="*/ 3 h 67"/>
                  <a:gd name="T22" fmla="*/ 25 w 53"/>
                  <a:gd name="T23" fmla="*/ 6 h 67"/>
                  <a:gd name="T24" fmla="*/ 28 w 53"/>
                  <a:gd name="T25" fmla="*/ 9 h 67"/>
                  <a:gd name="T26" fmla="*/ 33 w 53"/>
                  <a:gd name="T27" fmla="*/ 6 h 67"/>
                  <a:gd name="T28" fmla="*/ 36 w 53"/>
                  <a:gd name="T29" fmla="*/ 9 h 67"/>
                  <a:gd name="T30" fmla="*/ 39 w 53"/>
                  <a:gd name="T31" fmla="*/ 11 h 67"/>
                  <a:gd name="T32" fmla="*/ 42 w 53"/>
                  <a:gd name="T33" fmla="*/ 11 h 67"/>
                  <a:gd name="T34" fmla="*/ 42 w 53"/>
                  <a:gd name="T35" fmla="*/ 11 h 67"/>
                  <a:gd name="T36" fmla="*/ 42 w 53"/>
                  <a:gd name="T37" fmla="*/ 23 h 67"/>
                  <a:gd name="T38" fmla="*/ 42 w 53"/>
                  <a:gd name="T39" fmla="*/ 23 h 67"/>
                  <a:gd name="T40" fmla="*/ 44 w 53"/>
                  <a:gd name="T41" fmla="*/ 25 h 67"/>
                  <a:gd name="T42" fmla="*/ 44 w 53"/>
                  <a:gd name="T43" fmla="*/ 25 h 67"/>
                  <a:gd name="T44" fmla="*/ 47 w 53"/>
                  <a:gd name="T45" fmla="*/ 28 h 67"/>
                  <a:gd name="T46" fmla="*/ 47 w 53"/>
                  <a:gd name="T47" fmla="*/ 31 h 67"/>
                  <a:gd name="T48" fmla="*/ 47 w 53"/>
                  <a:gd name="T49" fmla="*/ 34 h 67"/>
                  <a:gd name="T50" fmla="*/ 53 w 53"/>
                  <a:gd name="T51" fmla="*/ 36 h 67"/>
                  <a:gd name="T52" fmla="*/ 53 w 53"/>
                  <a:gd name="T53" fmla="*/ 39 h 67"/>
                  <a:gd name="T54" fmla="*/ 53 w 53"/>
                  <a:gd name="T55" fmla="*/ 39 h 67"/>
                  <a:gd name="T56" fmla="*/ 53 w 53"/>
                  <a:gd name="T57" fmla="*/ 42 h 67"/>
                  <a:gd name="T58" fmla="*/ 53 w 53"/>
                  <a:gd name="T59" fmla="*/ 45 h 67"/>
                  <a:gd name="T60" fmla="*/ 53 w 53"/>
                  <a:gd name="T61" fmla="*/ 48 h 67"/>
                  <a:gd name="T62" fmla="*/ 50 w 53"/>
                  <a:gd name="T63" fmla="*/ 48 h 67"/>
                  <a:gd name="T64" fmla="*/ 44 w 53"/>
                  <a:gd name="T65" fmla="*/ 48 h 67"/>
                  <a:gd name="T66" fmla="*/ 42 w 53"/>
                  <a:gd name="T67" fmla="*/ 48 h 67"/>
                  <a:gd name="T68" fmla="*/ 42 w 53"/>
                  <a:gd name="T69" fmla="*/ 45 h 67"/>
                  <a:gd name="T70" fmla="*/ 39 w 53"/>
                  <a:gd name="T71" fmla="*/ 48 h 67"/>
                  <a:gd name="T72" fmla="*/ 39 w 53"/>
                  <a:gd name="T73" fmla="*/ 50 h 67"/>
                  <a:gd name="T74" fmla="*/ 36 w 53"/>
                  <a:gd name="T75" fmla="*/ 56 h 67"/>
                  <a:gd name="T76" fmla="*/ 36 w 53"/>
                  <a:gd name="T77" fmla="*/ 56 h 67"/>
                  <a:gd name="T78" fmla="*/ 33 w 53"/>
                  <a:gd name="T79" fmla="*/ 59 h 67"/>
                  <a:gd name="T80" fmla="*/ 33 w 53"/>
                  <a:gd name="T81" fmla="*/ 62 h 67"/>
                  <a:gd name="T82" fmla="*/ 30 w 53"/>
                  <a:gd name="T83" fmla="*/ 62 h 67"/>
                  <a:gd name="T84" fmla="*/ 30 w 53"/>
                  <a:gd name="T85" fmla="*/ 64 h 67"/>
                  <a:gd name="T86" fmla="*/ 30 w 53"/>
                  <a:gd name="T87" fmla="*/ 67 h 67"/>
                  <a:gd name="T88" fmla="*/ 28 w 53"/>
                  <a:gd name="T89" fmla="*/ 67 h 67"/>
                  <a:gd name="T90" fmla="*/ 25 w 53"/>
                  <a:gd name="T9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3" h="67">
                    <a:moveTo>
                      <a:pt x="25" y="67"/>
                    </a:moveTo>
                    <a:lnTo>
                      <a:pt x="25" y="39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14" y="0"/>
                    </a:lnTo>
                    <a:lnTo>
                      <a:pt x="19" y="3"/>
                    </a:lnTo>
                    <a:lnTo>
                      <a:pt x="25" y="6"/>
                    </a:lnTo>
                    <a:lnTo>
                      <a:pt x="28" y="9"/>
                    </a:lnTo>
                    <a:lnTo>
                      <a:pt x="33" y="6"/>
                    </a:lnTo>
                    <a:lnTo>
                      <a:pt x="36" y="9"/>
                    </a:lnTo>
                    <a:lnTo>
                      <a:pt x="39" y="11"/>
                    </a:lnTo>
                    <a:lnTo>
                      <a:pt x="42" y="11"/>
                    </a:lnTo>
                    <a:lnTo>
                      <a:pt x="42" y="11"/>
                    </a:lnTo>
                    <a:lnTo>
                      <a:pt x="42" y="23"/>
                    </a:lnTo>
                    <a:lnTo>
                      <a:pt x="42" y="23"/>
                    </a:lnTo>
                    <a:lnTo>
                      <a:pt x="44" y="25"/>
                    </a:lnTo>
                    <a:lnTo>
                      <a:pt x="44" y="25"/>
                    </a:lnTo>
                    <a:lnTo>
                      <a:pt x="47" y="28"/>
                    </a:lnTo>
                    <a:lnTo>
                      <a:pt x="47" y="31"/>
                    </a:lnTo>
                    <a:lnTo>
                      <a:pt x="47" y="34"/>
                    </a:lnTo>
                    <a:lnTo>
                      <a:pt x="53" y="36"/>
                    </a:lnTo>
                    <a:lnTo>
                      <a:pt x="53" y="39"/>
                    </a:lnTo>
                    <a:lnTo>
                      <a:pt x="53" y="39"/>
                    </a:lnTo>
                    <a:lnTo>
                      <a:pt x="53" y="42"/>
                    </a:lnTo>
                    <a:lnTo>
                      <a:pt x="53" y="45"/>
                    </a:lnTo>
                    <a:lnTo>
                      <a:pt x="53" y="48"/>
                    </a:lnTo>
                    <a:lnTo>
                      <a:pt x="50" y="48"/>
                    </a:lnTo>
                    <a:lnTo>
                      <a:pt x="44" y="48"/>
                    </a:lnTo>
                    <a:lnTo>
                      <a:pt x="42" y="48"/>
                    </a:lnTo>
                    <a:lnTo>
                      <a:pt x="42" y="45"/>
                    </a:lnTo>
                    <a:lnTo>
                      <a:pt x="39" y="48"/>
                    </a:lnTo>
                    <a:lnTo>
                      <a:pt x="39" y="50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3" y="59"/>
                    </a:lnTo>
                    <a:lnTo>
                      <a:pt x="33" y="62"/>
                    </a:lnTo>
                    <a:lnTo>
                      <a:pt x="30" y="62"/>
                    </a:lnTo>
                    <a:lnTo>
                      <a:pt x="30" y="64"/>
                    </a:lnTo>
                    <a:lnTo>
                      <a:pt x="30" y="67"/>
                    </a:lnTo>
                    <a:lnTo>
                      <a:pt x="28" y="67"/>
                    </a:lnTo>
                    <a:lnTo>
                      <a:pt x="25" y="6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8" name="Freeform 557"/>
              <p:cNvSpPr>
                <a:spLocks noChangeAspect="1"/>
              </p:cNvSpPr>
              <p:nvPr>
                <p:custDataLst>
                  <p:tags r:id="rId696"/>
                </p:custDataLst>
              </p:nvPr>
            </p:nvSpPr>
            <p:spPr bwMode="gray">
              <a:xfrm>
                <a:off x="5407370" y="3023715"/>
                <a:ext cx="154883" cy="77259"/>
              </a:xfrm>
              <a:custGeom>
                <a:avLst/>
                <a:gdLst>
                  <a:gd name="T0" fmla="*/ 66 w 119"/>
                  <a:gd name="T1" fmla="*/ 9 h 59"/>
                  <a:gd name="T2" fmla="*/ 61 w 119"/>
                  <a:gd name="T3" fmla="*/ 14 h 59"/>
                  <a:gd name="T4" fmla="*/ 52 w 119"/>
                  <a:gd name="T5" fmla="*/ 20 h 59"/>
                  <a:gd name="T6" fmla="*/ 55 w 119"/>
                  <a:gd name="T7" fmla="*/ 31 h 59"/>
                  <a:gd name="T8" fmla="*/ 52 w 119"/>
                  <a:gd name="T9" fmla="*/ 34 h 59"/>
                  <a:gd name="T10" fmla="*/ 47 w 119"/>
                  <a:gd name="T11" fmla="*/ 31 h 59"/>
                  <a:gd name="T12" fmla="*/ 44 w 119"/>
                  <a:gd name="T13" fmla="*/ 31 h 59"/>
                  <a:gd name="T14" fmla="*/ 27 w 119"/>
                  <a:gd name="T15" fmla="*/ 36 h 59"/>
                  <a:gd name="T16" fmla="*/ 22 w 119"/>
                  <a:gd name="T17" fmla="*/ 34 h 59"/>
                  <a:gd name="T18" fmla="*/ 16 w 119"/>
                  <a:gd name="T19" fmla="*/ 36 h 59"/>
                  <a:gd name="T20" fmla="*/ 13 w 119"/>
                  <a:gd name="T21" fmla="*/ 39 h 59"/>
                  <a:gd name="T22" fmla="*/ 8 w 119"/>
                  <a:gd name="T23" fmla="*/ 34 h 59"/>
                  <a:gd name="T24" fmla="*/ 2 w 119"/>
                  <a:gd name="T25" fmla="*/ 34 h 59"/>
                  <a:gd name="T26" fmla="*/ 2 w 119"/>
                  <a:gd name="T27" fmla="*/ 36 h 59"/>
                  <a:gd name="T28" fmla="*/ 5 w 119"/>
                  <a:gd name="T29" fmla="*/ 45 h 59"/>
                  <a:gd name="T30" fmla="*/ 5 w 119"/>
                  <a:gd name="T31" fmla="*/ 47 h 59"/>
                  <a:gd name="T32" fmla="*/ 13 w 119"/>
                  <a:gd name="T33" fmla="*/ 47 h 59"/>
                  <a:gd name="T34" fmla="*/ 19 w 119"/>
                  <a:gd name="T35" fmla="*/ 50 h 59"/>
                  <a:gd name="T36" fmla="*/ 39 w 119"/>
                  <a:gd name="T37" fmla="*/ 45 h 59"/>
                  <a:gd name="T38" fmla="*/ 41 w 119"/>
                  <a:gd name="T39" fmla="*/ 45 h 59"/>
                  <a:gd name="T40" fmla="*/ 44 w 119"/>
                  <a:gd name="T41" fmla="*/ 50 h 59"/>
                  <a:gd name="T42" fmla="*/ 50 w 119"/>
                  <a:gd name="T43" fmla="*/ 53 h 59"/>
                  <a:gd name="T44" fmla="*/ 80 w 119"/>
                  <a:gd name="T45" fmla="*/ 59 h 59"/>
                  <a:gd name="T46" fmla="*/ 83 w 119"/>
                  <a:gd name="T47" fmla="*/ 53 h 59"/>
                  <a:gd name="T48" fmla="*/ 94 w 119"/>
                  <a:gd name="T49" fmla="*/ 53 h 59"/>
                  <a:gd name="T50" fmla="*/ 97 w 119"/>
                  <a:gd name="T51" fmla="*/ 50 h 59"/>
                  <a:gd name="T52" fmla="*/ 103 w 119"/>
                  <a:gd name="T53" fmla="*/ 50 h 59"/>
                  <a:gd name="T54" fmla="*/ 105 w 119"/>
                  <a:gd name="T55" fmla="*/ 45 h 59"/>
                  <a:gd name="T56" fmla="*/ 108 w 119"/>
                  <a:gd name="T57" fmla="*/ 39 h 59"/>
                  <a:gd name="T58" fmla="*/ 111 w 119"/>
                  <a:gd name="T59" fmla="*/ 31 h 59"/>
                  <a:gd name="T60" fmla="*/ 119 w 119"/>
                  <a:gd name="T61" fmla="*/ 28 h 59"/>
                  <a:gd name="T62" fmla="*/ 119 w 119"/>
                  <a:gd name="T63" fmla="*/ 20 h 59"/>
                  <a:gd name="T64" fmla="*/ 116 w 119"/>
                  <a:gd name="T65" fmla="*/ 6 h 59"/>
                  <a:gd name="T66" fmla="*/ 103 w 119"/>
                  <a:gd name="T67" fmla="*/ 6 h 59"/>
                  <a:gd name="T68" fmla="*/ 89 w 119"/>
                  <a:gd name="T69" fmla="*/ 0 h 59"/>
                  <a:gd name="T70" fmla="*/ 83 w 119"/>
                  <a:gd name="T71" fmla="*/ 9 h 59"/>
                  <a:gd name="T72" fmla="*/ 75 w 119"/>
                  <a:gd name="T73" fmla="*/ 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19" h="59">
                    <a:moveTo>
                      <a:pt x="69" y="6"/>
                    </a:moveTo>
                    <a:lnTo>
                      <a:pt x="66" y="9"/>
                    </a:lnTo>
                    <a:lnTo>
                      <a:pt x="64" y="9"/>
                    </a:lnTo>
                    <a:lnTo>
                      <a:pt x="61" y="14"/>
                    </a:lnTo>
                    <a:lnTo>
                      <a:pt x="55" y="17"/>
                    </a:lnTo>
                    <a:lnTo>
                      <a:pt x="52" y="20"/>
                    </a:lnTo>
                    <a:lnTo>
                      <a:pt x="52" y="25"/>
                    </a:lnTo>
                    <a:lnTo>
                      <a:pt x="55" y="31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52" y="31"/>
                    </a:lnTo>
                    <a:lnTo>
                      <a:pt x="47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33" y="34"/>
                    </a:lnTo>
                    <a:lnTo>
                      <a:pt x="27" y="36"/>
                    </a:lnTo>
                    <a:lnTo>
                      <a:pt x="25" y="36"/>
                    </a:lnTo>
                    <a:lnTo>
                      <a:pt x="22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3" y="36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8" y="34"/>
                    </a:lnTo>
                    <a:lnTo>
                      <a:pt x="5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5" y="39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5" y="47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6" y="50"/>
                    </a:lnTo>
                    <a:lnTo>
                      <a:pt x="19" y="50"/>
                    </a:lnTo>
                    <a:lnTo>
                      <a:pt x="39" y="45"/>
                    </a:lnTo>
                    <a:lnTo>
                      <a:pt x="39" y="45"/>
                    </a:lnTo>
                    <a:lnTo>
                      <a:pt x="41" y="45"/>
                    </a:lnTo>
                    <a:lnTo>
                      <a:pt x="41" y="45"/>
                    </a:lnTo>
                    <a:lnTo>
                      <a:pt x="44" y="47"/>
                    </a:lnTo>
                    <a:lnTo>
                      <a:pt x="44" y="50"/>
                    </a:lnTo>
                    <a:lnTo>
                      <a:pt x="47" y="53"/>
                    </a:lnTo>
                    <a:lnTo>
                      <a:pt x="50" y="53"/>
                    </a:lnTo>
                    <a:lnTo>
                      <a:pt x="52" y="56"/>
                    </a:lnTo>
                    <a:lnTo>
                      <a:pt x="80" y="59"/>
                    </a:lnTo>
                    <a:lnTo>
                      <a:pt x="80" y="56"/>
                    </a:lnTo>
                    <a:lnTo>
                      <a:pt x="83" y="53"/>
                    </a:lnTo>
                    <a:lnTo>
                      <a:pt x="89" y="53"/>
                    </a:lnTo>
                    <a:lnTo>
                      <a:pt x="94" y="53"/>
                    </a:lnTo>
                    <a:lnTo>
                      <a:pt x="94" y="50"/>
                    </a:lnTo>
                    <a:lnTo>
                      <a:pt x="97" y="50"/>
                    </a:lnTo>
                    <a:lnTo>
                      <a:pt x="100" y="53"/>
                    </a:lnTo>
                    <a:lnTo>
                      <a:pt x="103" y="50"/>
                    </a:lnTo>
                    <a:lnTo>
                      <a:pt x="103" y="47"/>
                    </a:lnTo>
                    <a:lnTo>
                      <a:pt x="105" y="45"/>
                    </a:lnTo>
                    <a:lnTo>
                      <a:pt x="111" y="45"/>
                    </a:lnTo>
                    <a:lnTo>
                      <a:pt x="108" y="39"/>
                    </a:lnTo>
                    <a:lnTo>
                      <a:pt x="111" y="34"/>
                    </a:lnTo>
                    <a:lnTo>
                      <a:pt x="111" y="31"/>
                    </a:lnTo>
                    <a:lnTo>
                      <a:pt x="111" y="28"/>
                    </a:lnTo>
                    <a:lnTo>
                      <a:pt x="119" y="28"/>
                    </a:lnTo>
                    <a:lnTo>
                      <a:pt x="119" y="28"/>
                    </a:lnTo>
                    <a:lnTo>
                      <a:pt x="119" y="20"/>
                    </a:lnTo>
                    <a:lnTo>
                      <a:pt x="116" y="11"/>
                    </a:lnTo>
                    <a:lnTo>
                      <a:pt x="116" y="6"/>
                    </a:lnTo>
                    <a:lnTo>
                      <a:pt x="114" y="3"/>
                    </a:lnTo>
                    <a:lnTo>
                      <a:pt x="103" y="6"/>
                    </a:lnTo>
                    <a:lnTo>
                      <a:pt x="97" y="0"/>
                    </a:lnTo>
                    <a:lnTo>
                      <a:pt x="89" y="0"/>
                    </a:lnTo>
                    <a:lnTo>
                      <a:pt x="86" y="6"/>
                    </a:lnTo>
                    <a:lnTo>
                      <a:pt x="83" y="9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69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69" name="Freeform 558"/>
              <p:cNvSpPr>
                <a:spLocks noChangeAspect="1"/>
              </p:cNvSpPr>
              <p:nvPr>
                <p:custDataLst>
                  <p:tags r:id="rId697"/>
                </p:custDataLst>
              </p:nvPr>
            </p:nvSpPr>
            <p:spPr bwMode="gray">
              <a:xfrm>
                <a:off x="5287413" y="2881809"/>
                <a:ext cx="71367" cy="88297"/>
              </a:xfrm>
              <a:custGeom>
                <a:avLst/>
                <a:gdLst>
                  <a:gd name="T0" fmla="*/ 36 w 55"/>
                  <a:gd name="T1" fmla="*/ 69 h 69"/>
                  <a:gd name="T2" fmla="*/ 33 w 55"/>
                  <a:gd name="T3" fmla="*/ 58 h 69"/>
                  <a:gd name="T4" fmla="*/ 28 w 55"/>
                  <a:gd name="T5" fmla="*/ 55 h 69"/>
                  <a:gd name="T6" fmla="*/ 25 w 55"/>
                  <a:gd name="T7" fmla="*/ 53 h 69"/>
                  <a:gd name="T8" fmla="*/ 22 w 55"/>
                  <a:gd name="T9" fmla="*/ 50 h 69"/>
                  <a:gd name="T10" fmla="*/ 5 w 55"/>
                  <a:gd name="T11" fmla="*/ 55 h 69"/>
                  <a:gd name="T12" fmla="*/ 0 w 55"/>
                  <a:gd name="T13" fmla="*/ 53 h 69"/>
                  <a:gd name="T14" fmla="*/ 2 w 55"/>
                  <a:gd name="T15" fmla="*/ 53 h 69"/>
                  <a:gd name="T16" fmla="*/ 8 w 55"/>
                  <a:gd name="T17" fmla="*/ 53 h 69"/>
                  <a:gd name="T18" fmla="*/ 14 w 55"/>
                  <a:gd name="T19" fmla="*/ 53 h 69"/>
                  <a:gd name="T20" fmla="*/ 8 w 55"/>
                  <a:gd name="T21" fmla="*/ 53 h 69"/>
                  <a:gd name="T22" fmla="*/ 8 w 55"/>
                  <a:gd name="T23" fmla="*/ 50 h 69"/>
                  <a:gd name="T24" fmla="*/ 16 w 55"/>
                  <a:gd name="T25" fmla="*/ 47 h 69"/>
                  <a:gd name="T26" fmla="*/ 22 w 55"/>
                  <a:gd name="T27" fmla="*/ 44 h 69"/>
                  <a:gd name="T28" fmla="*/ 19 w 55"/>
                  <a:gd name="T29" fmla="*/ 44 h 69"/>
                  <a:gd name="T30" fmla="*/ 14 w 55"/>
                  <a:gd name="T31" fmla="*/ 44 h 69"/>
                  <a:gd name="T32" fmla="*/ 11 w 55"/>
                  <a:gd name="T33" fmla="*/ 39 h 69"/>
                  <a:gd name="T34" fmla="*/ 19 w 55"/>
                  <a:gd name="T35" fmla="*/ 30 h 69"/>
                  <a:gd name="T36" fmla="*/ 25 w 55"/>
                  <a:gd name="T37" fmla="*/ 14 h 69"/>
                  <a:gd name="T38" fmla="*/ 28 w 55"/>
                  <a:gd name="T39" fmla="*/ 19 h 69"/>
                  <a:gd name="T40" fmla="*/ 28 w 55"/>
                  <a:gd name="T41" fmla="*/ 19 h 69"/>
                  <a:gd name="T42" fmla="*/ 25 w 55"/>
                  <a:gd name="T43" fmla="*/ 22 h 69"/>
                  <a:gd name="T44" fmla="*/ 25 w 55"/>
                  <a:gd name="T45" fmla="*/ 28 h 69"/>
                  <a:gd name="T46" fmla="*/ 25 w 55"/>
                  <a:gd name="T47" fmla="*/ 28 h 69"/>
                  <a:gd name="T48" fmla="*/ 30 w 55"/>
                  <a:gd name="T49" fmla="*/ 30 h 69"/>
                  <a:gd name="T50" fmla="*/ 30 w 55"/>
                  <a:gd name="T51" fmla="*/ 28 h 69"/>
                  <a:gd name="T52" fmla="*/ 28 w 55"/>
                  <a:gd name="T53" fmla="*/ 25 h 69"/>
                  <a:gd name="T54" fmla="*/ 30 w 55"/>
                  <a:gd name="T55" fmla="*/ 22 h 69"/>
                  <a:gd name="T56" fmla="*/ 33 w 55"/>
                  <a:gd name="T57" fmla="*/ 14 h 69"/>
                  <a:gd name="T58" fmla="*/ 30 w 55"/>
                  <a:gd name="T59" fmla="*/ 14 h 69"/>
                  <a:gd name="T60" fmla="*/ 30 w 55"/>
                  <a:gd name="T61" fmla="*/ 8 h 69"/>
                  <a:gd name="T62" fmla="*/ 36 w 55"/>
                  <a:gd name="T63" fmla="*/ 3 h 69"/>
                  <a:gd name="T64" fmla="*/ 44 w 55"/>
                  <a:gd name="T65" fmla="*/ 3 h 69"/>
                  <a:gd name="T66" fmla="*/ 50 w 55"/>
                  <a:gd name="T67" fmla="*/ 0 h 69"/>
                  <a:gd name="T68" fmla="*/ 55 w 55"/>
                  <a:gd name="T69" fmla="*/ 5 h 69"/>
                  <a:gd name="T70" fmla="*/ 50 w 55"/>
                  <a:gd name="T71" fmla="*/ 22 h 69"/>
                  <a:gd name="T72" fmla="*/ 55 w 55"/>
                  <a:gd name="T73" fmla="*/ 25 h 69"/>
                  <a:gd name="T74" fmla="*/ 53 w 55"/>
                  <a:gd name="T75" fmla="*/ 33 h 69"/>
                  <a:gd name="T76" fmla="*/ 50 w 55"/>
                  <a:gd name="T77" fmla="*/ 39 h 69"/>
                  <a:gd name="T78" fmla="*/ 44 w 55"/>
                  <a:gd name="T79" fmla="*/ 42 h 69"/>
                  <a:gd name="T80" fmla="*/ 39 w 55"/>
                  <a:gd name="T81" fmla="*/ 39 h 69"/>
                  <a:gd name="T82" fmla="*/ 39 w 55"/>
                  <a:gd name="T83" fmla="*/ 61 h 69"/>
                  <a:gd name="T84" fmla="*/ 39 w 55"/>
                  <a:gd name="T85" fmla="*/ 6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5" h="69">
                    <a:moveTo>
                      <a:pt x="39" y="69"/>
                    </a:moveTo>
                    <a:lnTo>
                      <a:pt x="36" y="69"/>
                    </a:lnTo>
                    <a:lnTo>
                      <a:pt x="33" y="67"/>
                    </a:lnTo>
                    <a:lnTo>
                      <a:pt x="33" y="58"/>
                    </a:lnTo>
                    <a:lnTo>
                      <a:pt x="30" y="55"/>
                    </a:lnTo>
                    <a:lnTo>
                      <a:pt x="28" y="55"/>
                    </a:lnTo>
                    <a:lnTo>
                      <a:pt x="25" y="55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2" y="50"/>
                    </a:lnTo>
                    <a:lnTo>
                      <a:pt x="16" y="53"/>
                    </a:lnTo>
                    <a:lnTo>
                      <a:pt x="5" y="55"/>
                    </a:lnTo>
                    <a:lnTo>
                      <a:pt x="0" y="53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2" y="53"/>
                    </a:lnTo>
                    <a:lnTo>
                      <a:pt x="5" y="55"/>
                    </a:lnTo>
                    <a:lnTo>
                      <a:pt x="8" y="53"/>
                    </a:lnTo>
                    <a:lnTo>
                      <a:pt x="11" y="53"/>
                    </a:lnTo>
                    <a:lnTo>
                      <a:pt x="14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5" y="53"/>
                    </a:lnTo>
                    <a:lnTo>
                      <a:pt x="8" y="50"/>
                    </a:lnTo>
                    <a:lnTo>
                      <a:pt x="14" y="47"/>
                    </a:lnTo>
                    <a:lnTo>
                      <a:pt x="16" y="47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9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1" y="42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19" y="30"/>
                    </a:lnTo>
                    <a:lnTo>
                      <a:pt x="22" y="16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5" y="19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30" y="25"/>
                    </a:lnTo>
                    <a:lnTo>
                      <a:pt x="28" y="25"/>
                    </a:lnTo>
                    <a:lnTo>
                      <a:pt x="30" y="25"/>
                    </a:lnTo>
                    <a:lnTo>
                      <a:pt x="30" y="22"/>
                    </a:lnTo>
                    <a:lnTo>
                      <a:pt x="33" y="16"/>
                    </a:lnTo>
                    <a:lnTo>
                      <a:pt x="33" y="14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5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4" y="3"/>
                    </a:lnTo>
                    <a:lnTo>
                      <a:pt x="47" y="0"/>
                    </a:lnTo>
                    <a:lnTo>
                      <a:pt x="50" y="0"/>
                    </a:lnTo>
                    <a:lnTo>
                      <a:pt x="53" y="3"/>
                    </a:lnTo>
                    <a:lnTo>
                      <a:pt x="55" y="5"/>
                    </a:lnTo>
                    <a:lnTo>
                      <a:pt x="53" y="19"/>
                    </a:lnTo>
                    <a:lnTo>
                      <a:pt x="50" y="22"/>
                    </a:lnTo>
                    <a:lnTo>
                      <a:pt x="50" y="25"/>
                    </a:lnTo>
                    <a:lnTo>
                      <a:pt x="55" y="25"/>
                    </a:lnTo>
                    <a:lnTo>
                      <a:pt x="55" y="30"/>
                    </a:lnTo>
                    <a:lnTo>
                      <a:pt x="53" y="33"/>
                    </a:lnTo>
                    <a:lnTo>
                      <a:pt x="50" y="33"/>
                    </a:lnTo>
                    <a:lnTo>
                      <a:pt x="50" y="39"/>
                    </a:lnTo>
                    <a:lnTo>
                      <a:pt x="47" y="42"/>
                    </a:lnTo>
                    <a:lnTo>
                      <a:pt x="44" y="42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9" y="58"/>
                    </a:lnTo>
                    <a:lnTo>
                      <a:pt x="39" y="61"/>
                    </a:lnTo>
                    <a:lnTo>
                      <a:pt x="39" y="61"/>
                    </a:lnTo>
                    <a:lnTo>
                      <a:pt x="39" y="67"/>
                    </a:lnTo>
                    <a:lnTo>
                      <a:pt x="39" y="6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0" name="Freeform 559"/>
              <p:cNvSpPr>
                <a:spLocks noChangeAspect="1"/>
              </p:cNvSpPr>
              <p:nvPr>
                <p:custDataLst>
                  <p:tags r:id="rId698"/>
                </p:custDataLst>
              </p:nvPr>
            </p:nvSpPr>
            <p:spPr bwMode="gray">
              <a:xfrm>
                <a:off x="5287413" y="2881809"/>
                <a:ext cx="71367" cy="88297"/>
              </a:xfrm>
              <a:custGeom>
                <a:avLst/>
                <a:gdLst>
                  <a:gd name="T0" fmla="*/ 36 w 55"/>
                  <a:gd name="T1" fmla="*/ 69 h 69"/>
                  <a:gd name="T2" fmla="*/ 33 w 55"/>
                  <a:gd name="T3" fmla="*/ 58 h 69"/>
                  <a:gd name="T4" fmla="*/ 28 w 55"/>
                  <a:gd name="T5" fmla="*/ 55 h 69"/>
                  <a:gd name="T6" fmla="*/ 25 w 55"/>
                  <a:gd name="T7" fmla="*/ 53 h 69"/>
                  <a:gd name="T8" fmla="*/ 22 w 55"/>
                  <a:gd name="T9" fmla="*/ 50 h 69"/>
                  <a:gd name="T10" fmla="*/ 5 w 55"/>
                  <a:gd name="T11" fmla="*/ 55 h 69"/>
                  <a:gd name="T12" fmla="*/ 0 w 55"/>
                  <a:gd name="T13" fmla="*/ 53 h 69"/>
                  <a:gd name="T14" fmla="*/ 2 w 55"/>
                  <a:gd name="T15" fmla="*/ 53 h 69"/>
                  <a:gd name="T16" fmla="*/ 8 w 55"/>
                  <a:gd name="T17" fmla="*/ 53 h 69"/>
                  <a:gd name="T18" fmla="*/ 14 w 55"/>
                  <a:gd name="T19" fmla="*/ 53 h 69"/>
                  <a:gd name="T20" fmla="*/ 8 w 55"/>
                  <a:gd name="T21" fmla="*/ 53 h 69"/>
                  <a:gd name="T22" fmla="*/ 8 w 55"/>
                  <a:gd name="T23" fmla="*/ 50 h 69"/>
                  <a:gd name="T24" fmla="*/ 16 w 55"/>
                  <a:gd name="T25" fmla="*/ 47 h 69"/>
                  <a:gd name="T26" fmla="*/ 22 w 55"/>
                  <a:gd name="T27" fmla="*/ 44 h 69"/>
                  <a:gd name="T28" fmla="*/ 19 w 55"/>
                  <a:gd name="T29" fmla="*/ 44 h 69"/>
                  <a:gd name="T30" fmla="*/ 14 w 55"/>
                  <a:gd name="T31" fmla="*/ 44 h 69"/>
                  <a:gd name="T32" fmla="*/ 11 w 55"/>
                  <a:gd name="T33" fmla="*/ 39 h 69"/>
                  <a:gd name="T34" fmla="*/ 19 w 55"/>
                  <a:gd name="T35" fmla="*/ 30 h 69"/>
                  <a:gd name="T36" fmla="*/ 25 w 55"/>
                  <a:gd name="T37" fmla="*/ 14 h 69"/>
                  <a:gd name="T38" fmla="*/ 28 w 55"/>
                  <a:gd name="T39" fmla="*/ 19 h 69"/>
                  <a:gd name="T40" fmla="*/ 28 w 55"/>
                  <a:gd name="T41" fmla="*/ 19 h 69"/>
                  <a:gd name="T42" fmla="*/ 25 w 55"/>
                  <a:gd name="T43" fmla="*/ 22 h 69"/>
                  <a:gd name="T44" fmla="*/ 25 w 55"/>
                  <a:gd name="T45" fmla="*/ 28 h 69"/>
                  <a:gd name="T46" fmla="*/ 25 w 55"/>
                  <a:gd name="T47" fmla="*/ 28 h 69"/>
                  <a:gd name="T48" fmla="*/ 30 w 55"/>
                  <a:gd name="T49" fmla="*/ 30 h 69"/>
                  <a:gd name="T50" fmla="*/ 30 w 55"/>
                  <a:gd name="T51" fmla="*/ 28 h 69"/>
                  <a:gd name="T52" fmla="*/ 28 w 55"/>
                  <a:gd name="T53" fmla="*/ 25 h 69"/>
                  <a:gd name="T54" fmla="*/ 30 w 55"/>
                  <a:gd name="T55" fmla="*/ 22 h 69"/>
                  <a:gd name="T56" fmla="*/ 33 w 55"/>
                  <a:gd name="T57" fmla="*/ 14 h 69"/>
                  <a:gd name="T58" fmla="*/ 30 w 55"/>
                  <a:gd name="T59" fmla="*/ 14 h 69"/>
                  <a:gd name="T60" fmla="*/ 30 w 55"/>
                  <a:gd name="T61" fmla="*/ 8 h 69"/>
                  <a:gd name="T62" fmla="*/ 36 w 55"/>
                  <a:gd name="T63" fmla="*/ 3 h 69"/>
                  <a:gd name="T64" fmla="*/ 44 w 55"/>
                  <a:gd name="T65" fmla="*/ 3 h 69"/>
                  <a:gd name="T66" fmla="*/ 50 w 55"/>
                  <a:gd name="T67" fmla="*/ 0 h 69"/>
                  <a:gd name="T68" fmla="*/ 55 w 55"/>
                  <a:gd name="T69" fmla="*/ 5 h 69"/>
                  <a:gd name="T70" fmla="*/ 50 w 55"/>
                  <a:gd name="T71" fmla="*/ 22 h 69"/>
                  <a:gd name="T72" fmla="*/ 55 w 55"/>
                  <a:gd name="T73" fmla="*/ 25 h 69"/>
                  <a:gd name="T74" fmla="*/ 53 w 55"/>
                  <a:gd name="T75" fmla="*/ 33 h 69"/>
                  <a:gd name="T76" fmla="*/ 50 w 55"/>
                  <a:gd name="T77" fmla="*/ 39 h 69"/>
                  <a:gd name="T78" fmla="*/ 44 w 55"/>
                  <a:gd name="T79" fmla="*/ 42 h 69"/>
                  <a:gd name="T80" fmla="*/ 39 w 55"/>
                  <a:gd name="T81" fmla="*/ 39 h 69"/>
                  <a:gd name="T82" fmla="*/ 39 w 55"/>
                  <a:gd name="T83" fmla="*/ 61 h 69"/>
                  <a:gd name="T84" fmla="*/ 39 w 55"/>
                  <a:gd name="T85" fmla="*/ 6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5" h="69">
                    <a:moveTo>
                      <a:pt x="39" y="69"/>
                    </a:moveTo>
                    <a:lnTo>
                      <a:pt x="36" y="69"/>
                    </a:lnTo>
                    <a:lnTo>
                      <a:pt x="33" y="67"/>
                    </a:lnTo>
                    <a:lnTo>
                      <a:pt x="33" y="58"/>
                    </a:lnTo>
                    <a:lnTo>
                      <a:pt x="30" y="55"/>
                    </a:lnTo>
                    <a:lnTo>
                      <a:pt x="28" y="55"/>
                    </a:lnTo>
                    <a:lnTo>
                      <a:pt x="25" y="55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2" y="50"/>
                    </a:lnTo>
                    <a:lnTo>
                      <a:pt x="16" y="53"/>
                    </a:lnTo>
                    <a:lnTo>
                      <a:pt x="5" y="55"/>
                    </a:lnTo>
                    <a:lnTo>
                      <a:pt x="0" y="53"/>
                    </a:lnTo>
                    <a:lnTo>
                      <a:pt x="0" y="53"/>
                    </a:lnTo>
                    <a:lnTo>
                      <a:pt x="2" y="53"/>
                    </a:lnTo>
                    <a:lnTo>
                      <a:pt x="2" y="53"/>
                    </a:lnTo>
                    <a:lnTo>
                      <a:pt x="5" y="55"/>
                    </a:lnTo>
                    <a:lnTo>
                      <a:pt x="8" y="53"/>
                    </a:lnTo>
                    <a:lnTo>
                      <a:pt x="11" y="53"/>
                    </a:lnTo>
                    <a:lnTo>
                      <a:pt x="14" y="53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5" y="53"/>
                    </a:lnTo>
                    <a:lnTo>
                      <a:pt x="8" y="50"/>
                    </a:lnTo>
                    <a:lnTo>
                      <a:pt x="14" y="47"/>
                    </a:lnTo>
                    <a:lnTo>
                      <a:pt x="16" y="47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9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1" y="42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19" y="30"/>
                    </a:lnTo>
                    <a:lnTo>
                      <a:pt x="22" y="16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5" y="19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30" y="25"/>
                    </a:lnTo>
                    <a:lnTo>
                      <a:pt x="28" y="25"/>
                    </a:lnTo>
                    <a:lnTo>
                      <a:pt x="30" y="25"/>
                    </a:lnTo>
                    <a:lnTo>
                      <a:pt x="30" y="22"/>
                    </a:lnTo>
                    <a:lnTo>
                      <a:pt x="33" y="16"/>
                    </a:lnTo>
                    <a:lnTo>
                      <a:pt x="33" y="14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5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4" y="3"/>
                    </a:lnTo>
                    <a:lnTo>
                      <a:pt x="47" y="0"/>
                    </a:lnTo>
                    <a:lnTo>
                      <a:pt x="50" y="0"/>
                    </a:lnTo>
                    <a:lnTo>
                      <a:pt x="53" y="3"/>
                    </a:lnTo>
                    <a:lnTo>
                      <a:pt x="55" y="5"/>
                    </a:lnTo>
                    <a:lnTo>
                      <a:pt x="53" y="19"/>
                    </a:lnTo>
                    <a:lnTo>
                      <a:pt x="50" y="22"/>
                    </a:lnTo>
                    <a:lnTo>
                      <a:pt x="50" y="25"/>
                    </a:lnTo>
                    <a:lnTo>
                      <a:pt x="55" y="25"/>
                    </a:lnTo>
                    <a:lnTo>
                      <a:pt x="55" y="30"/>
                    </a:lnTo>
                    <a:lnTo>
                      <a:pt x="53" y="33"/>
                    </a:lnTo>
                    <a:lnTo>
                      <a:pt x="50" y="33"/>
                    </a:lnTo>
                    <a:lnTo>
                      <a:pt x="50" y="39"/>
                    </a:lnTo>
                    <a:lnTo>
                      <a:pt x="47" y="42"/>
                    </a:lnTo>
                    <a:lnTo>
                      <a:pt x="44" y="42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9" y="58"/>
                    </a:lnTo>
                    <a:lnTo>
                      <a:pt x="39" y="61"/>
                    </a:lnTo>
                    <a:lnTo>
                      <a:pt x="39" y="61"/>
                    </a:lnTo>
                    <a:lnTo>
                      <a:pt x="39" y="67"/>
                    </a:lnTo>
                    <a:lnTo>
                      <a:pt x="39" y="6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1" name="Freeform 560"/>
              <p:cNvSpPr>
                <a:spLocks noChangeAspect="1"/>
              </p:cNvSpPr>
              <p:nvPr>
                <p:custDataLst>
                  <p:tags r:id="rId699"/>
                </p:custDataLst>
              </p:nvPr>
            </p:nvSpPr>
            <p:spPr bwMode="gray">
              <a:xfrm>
                <a:off x="5123419" y="2960645"/>
                <a:ext cx="258138" cy="253855"/>
              </a:xfrm>
              <a:custGeom>
                <a:avLst/>
                <a:gdLst>
                  <a:gd name="T0" fmla="*/ 98 w 198"/>
                  <a:gd name="T1" fmla="*/ 17 h 198"/>
                  <a:gd name="T2" fmla="*/ 81 w 198"/>
                  <a:gd name="T3" fmla="*/ 31 h 198"/>
                  <a:gd name="T4" fmla="*/ 81 w 198"/>
                  <a:gd name="T5" fmla="*/ 39 h 198"/>
                  <a:gd name="T6" fmla="*/ 73 w 198"/>
                  <a:gd name="T7" fmla="*/ 42 h 198"/>
                  <a:gd name="T8" fmla="*/ 53 w 198"/>
                  <a:gd name="T9" fmla="*/ 36 h 198"/>
                  <a:gd name="T10" fmla="*/ 45 w 198"/>
                  <a:gd name="T11" fmla="*/ 33 h 198"/>
                  <a:gd name="T12" fmla="*/ 51 w 198"/>
                  <a:gd name="T13" fmla="*/ 59 h 198"/>
                  <a:gd name="T14" fmla="*/ 45 w 198"/>
                  <a:gd name="T15" fmla="*/ 59 h 198"/>
                  <a:gd name="T16" fmla="*/ 25 w 198"/>
                  <a:gd name="T17" fmla="*/ 53 h 198"/>
                  <a:gd name="T18" fmla="*/ 17 w 198"/>
                  <a:gd name="T19" fmla="*/ 56 h 198"/>
                  <a:gd name="T20" fmla="*/ 6 w 198"/>
                  <a:gd name="T21" fmla="*/ 64 h 198"/>
                  <a:gd name="T22" fmla="*/ 3 w 198"/>
                  <a:gd name="T23" fmla="*/ 70 h 198"/>
                  <a:gd name="T24" fmla="*/ 3 w 198"/>
                  <a:gd name="T25" fmla="*/ 75 h 198"/>
                  <a:gd name="T26" fmla="*/ 9 w 198"/>
                  <a:gd name="T27" fmla="*/ 78 h 198"/>
                  <a:gd name="T28" fmla="*/ 25 w 198"/>
                  <a:gd name="T29" fmla="*/ 84 h 198"/>
                  <a:gd name="T30" fmla="*/ 34 w 198"/>
                  <a:gd name="T31" fmla="*/ 86 h 198"/>
                  <a:gd name="T32" fmla="*/ 39 w 198"/>
                  <a:gd name="T33" fmla="*/ 92 h 198"/>
                  <a:gd name="T34" fmla="*/ 42 w 198"/>
                  <a:gd name="T35" fmla="*/ 95 h 198"/>
                  <a:gd name="T36" fmla="*/ 39 w 198"/>
                  <a:gd name="T37" fmla="*/ 100 h 198"/>
                  <a:gd name="T38" fmla="*/ 56 w 198"/>
                  <a:gd name="T39" fmla="*/ 114 h 198"/>
                  <a:gd name="T40" fmla="*/ 56 w 198"/>
                  <a:gd name="T41" fmla="*/ 125 h 198"/>
                  <a:gd name="T42" fmla="*/ 62 w 198"/>
                  <a:gd name="T43" fmla="*/ 136 h 198"/>
                  <a:gd name="T44" fmla="*/ 56 w 198"/>
                  <a:gd name="T45" fmla="*/ 148 h 198"/>
                  <a:gd name="T46" fmla="*/ 48 w 198"/>
                  <a:gd name="T47" fmla="*/ 175 h 198"/>
                  <a:gd name="T48" fmla="*/ 56 w 198"/>
                  <a:gd name="T49" fmla="*/ 184 h 198"/>
                  <a:gd name="T50" fmla="*/ 84 w 198"/>
                  <a:gd name="T51" fmla="*/ 189 h 198"/>
                  <a:gd name="T52" fmla="*/ 103 w 198"/>
                  <a:gd name="T53" fmla="*/ 198 h 198"/>
                  <a:gd name="T54" fmla="*/ 120 w 198"/>
                  <a:gd name="T55" fmla="*/ 187 h 198"/>
                  <a:gd name="T56" fmla="*/ 131 w 198"/>
                  <a:gd name="T57" fmla="*/ 175 h 198"/>
                  <a:gd name="T58" fmla="*/ 142 w 198"/>
                  <a:gd name="T59" fmla="*/ 175 h 198"/>
                  <a:gd name="T60" fmla="*/ 148 w 198"/>
                  <a:gd name="T61" fmla="*/ 175 h 198"/>
                  <a:gd name="T62" fmla="*/ 156 w 198"/>
                  <a:gd name="T63" fmla="*/ 178 h 198"/>
                  <a:gd name="T64" fmla="*/ 165 w 198"/>
                  <a:gd name="T65" fmla="*/ 181 h 198"/>
                  <a:gd name="T66" fmla="*/ 176 w 198"/>
                  <a:gd name="T67" fmla="*/ 175 h 198"/>
                  <a:gd name="T68" fmla="*/ 190 w 198"/>
                  <a:gd name="T69" fmla="*/ 167 h 198"/>
                  <a:gd name="T70" fmla="*/ 190 w 198"/>
                  <a:gd name="T71" fmla="*/ 159 h 198"/>
                  <a:gd name="T72" fmla="*/ 179 w 198"/>
                  <a:gd name="T73" fmla="*/ 148 h 198"/>
                  <a:gd name="T74" fmla="*/ 176 w 198"/>
                  <a:gd name="T75" fmla="*/ 142 h 198"/>
                  <a:gd name="T76" fmla="*/ 179 w 198"/>
                  <a:gd name="T77" fmla="*/ 123 h 198"/>
                  <a:gd name="T78" fmla="*/ 179 w 198"/>
                  <a:gd name="T79" fmla="*/ 117 h 198"/>
                  <a:gd name="T80" fmla="*/ 167 w 198"/>
                  <a:gd name="T81" fmla="*/ 114 h 198"/>
                  <a:gd name="T82" fmla="*/ 167 w 198"/>
                  <a:gd name="T83" fmla="*/ 103 h 198"/>
                  <a:gd name="T84" fmla="*/ 170 w 198"/>
                  <a:gd name="T85" fmla="*/ 97 h 198"/>
                  <a:gd name="T86" fmla="*/ 184 w 198"/>
                  <a:gd name="T87" fmla="*/ 84 h 198"/>
                  <a:gd name="T88" fmla="*/ 190 w 198"/>
                  <a:gd name="T89" fmla="*/ 59 h 198"/>
                  <a:gd name="T90" fmla="*/ 173 w 198"/>
                  <a:gd name="T91" fmla="*/ 39 h 198"/>
                  <a:gd name="T92" fmla="*/ 159 w 198"/>
                  <a:gd name="T93" fmla="*/ 36 h 198"/>
                  <a:gd name="T94" fmla="*/ 148 w 198"/>
                  <a:gd name="T95" fmla="*/ 28 h 198"/>
                  <a:gd name="T96" fmla="*/ 142 w 198"/>
                  <a:gd name="T97" fmla="*/ 28 h 198"/>
                  <a:gd name="T98" fmla="*/ 126 w 198"/>
                  <a:gd name="T99" fmla="*/ 14 h 198"/>
                  <a:gd name="T100" fmla="*/ 115 w 198"/>
                  <a:gd name="T101" fmla="*/ 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8" h="198">
                    <a:moveTo>
                      <a:pt x="115" y="0"/>
                    </a:moveTo>
                    <a:lnTo>
                      <a:pt x="115" y="0"/>
                    </a:lnTo>
                    <a:lnTo>
                      <a:pt x="101" y="3"/>
                    </a:lnTo>
                    <a:lnTo>
                      <a:pt x="98" y="17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89" y="28"/>
                    </a:lnTo>
                    <a:lnTo>
                      <a:pt x="81" y="31"/>
                    </a:lnTo>
                    <a:lnTo>
                      <a:pt x="78" y="33"/>
                    </a:lnTo>
                    <a:lnTo>
                      <a:pt x="76" y="36"/>
                    </a:lnTo>
                    <a:lnTo>
                      <a:pt x="76" y="39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81" y="39"/>
                    </a:lnTo>
                    <a:lnTo>
                      <a:pt x="76" y="39"/>
                    </a:lnTo>
                    <a:lnTo>
                      <a:pt x="73" y="42"/>
                    </a:lnTo>
                    <a:lnTo>
                      <a:pt x="67" y="42"/>
                    </a:lnTo>
                    <a:lnTo>
                      <a:pt x="59" y="42"/>
                    </a:lnTo>
                    <a:lnTo>
                      <a:pt x="56" y="42"/>
                    </a:lnTo>
                    <a:lnTo>
                      <a:pt x="53" y="36"/>
                    </a:lnTo>
                    <a:lnTo>
                      <a:pt x="53" y="33"/>
                    </a:lnTo>
                    <a:lnTo>
                      <a:pt x="53" y="33"/>
                    </a:lnTo>
                    <a:lnTo>
                      <a:pt x="48" y="33"/>
                    </a:lnTo>
                    <a:lnTo>
                      <a:pt x="45" y="33"/>
                    </a:lnTo>
                    <a:lnTo>
                      <a:pt x="45" y="42"/>
                    </a:lnTo>
                    <a:lnTo>
                      <a:pt x="48" y="42"/>
                    </a:lnTo>
                    <a:lnTo>
                      <a:pt x="51" y="56"/>
                    </a:lnTo>
                    <a:lnTo>
                      <a:pt x="51" y="59"/>
                    </a:lnTo>
                    <a:lnTo>
                      <a:pt x="51" y="59"/>
                    </a:lnTo>
                    <a:lnTo>
                      <a:pt x="48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39" y="59"/>
                    </a:lnTo>
                    <a:lnTo>
                      <a:pt x="39" y="59"/>
                    </a:lnTo>
                    <a:lnTo>
                      <a:pt x="34" y="61"/>
                    </a:lnTo>
                    <a:lnTo>
                      <a:pt x="25" y="53"/>
                    </a:lnTo>
                    <a:lnTo>
                      <a:pt x="20" y="56"/>
                    </a:lnTo>
                    <a:lnTo>
                      <a:pt x="20" y="53"/>
                    </a:lnTo>
                    <a:lnTo>
                      <a:pt x="17" y="56"/>
                    </a:lnTo>
                    <a:lnTo>
                      <a:pt x="17" y="56"/>
                    </a:lnTo>
                    <a:lnTo>
                      <a:pt x="0" y="61"/>
                    </a:lnTo>
                    <a:lnTo>
                      <a:pt x="0" y="64"/>
                    </a:lnTo>
                    <a:lnTo>
                      <a:pt x="0" y="67"/>
                    </a:lnTo>
                    <a:lnTo>
                      <a:pt x="6" y="64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3" y="70"/>
                    </a:lnTo>
                    <a:lnTo>
                      <a:pt x="6" y="70"/>
                    </a:lnTo>
                    <a:lnTo>
                      <a:pt x="6" y="72"/>
                    </a:lnTo>
                    <a:lnTo>
                      <a:pt x="0" y="72"/>
                    </a:lnTo>
                    <a:lnTo>
                      <a:pt x="3" y="75"/>
                    </a:lnTo>
                    <a:lnTo>
                      <a:pt x="6" y="75"/>
                    </a:lnTo>
                    <a:lnTo>
                      <a:pt x="6" y="78"/>
                    </a:lnTo>
                    <a:lnTo>
                      <a:pt x="9" y="78"/>
                    </a:lnTo>
                    <a:lnTo>
                      <a:pt x="9" y="78"/>
                    </a:lnTo>
                    <a:lnTo>
                      <a:pt x="12" y="78"/>
                    </a:lnTo>
                    <a:lnTo>
                      <a:pt x="23" y="81"/>
                    </a:lnTo>
                    <a:lnTo>
                      <a:pt x="23" y="84"/>
                    </a:lnTo>
                    <a:lnTo>
                      <a:pt x="25" y="84"/>
                    </a:lnTo>
                    <a:lnTo>
                      <a:pt x="28" y="84"/>
                    </a:lnTo>
                    <a:lnTo>
                      <a:pt x="31" y="84"/>
                    </a:lnTo>
                    <a:lnTo>
                      <a:pt x="28" y="84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7" y="84"/>
                    </a:lnTo>
                    <a:lnTo>
                      <a:pt x="34" y="89"/>
                    </a:lnTo>
                    <a:lnTo>
                      <a:pt x="39" y="92"/>
                    </a:lnTo>
                    <a:lnTo>
                      <a:pt x="42" y="89"/>
                    </a:lnTo>
                    <a:lnTo>
                      <a:pt x="45" y="92"/>
                    </a:lnTo>
                    <a:lnTo>
                      <a:pt x="42" y="92"/>
                    </a:lnTo>
                    <a:lnTo>
                      <a:pt x="42" y="95"/>
                    </a:lnTo>
                    <a:lnTo>
                      <a:pt x="42" y="95"/>
                    </a:lnTo>
                    <a:lnTo>
                      <a:pt x="42" y="97"/>
                    </a:lnTo>
                    <a:lnTo>
                      <a:pt x="39" y="97"/>
                    </a:lnTo>
                    <a:lnTo>
                      <a:pt x="39" y="100"/>
                    </a:lnTo>
                    <a:lnTo>
                      <a:pt x="45" y="106"/>
                    </a:lnTo>
                    <a:lnTo>
                      <a:pt x="45" y="109"/>
                    </a:lnTo>
                    <a:lnTo>
                      <a:pt x="53" y="111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7"/>
                    </a:lnTo>
                    <a:lnTo>
                      <a:pt x="56" y="120"/>
                    </a:lnTo>
                    <a:lnTo>
                      <a:pt x="56" y="125"/>
                    </a:lnTo>
                    <a:lnTo>
                      <a:pt x="56" y="128"/>
                    </a:lnTo>
                    <a:lnTo>
                      <a:pt x="59" y="128"/>
                    </a:lnTo>
                    <a:lnTo>
                      <a:pt x="62" y="131"/>
                    </a:lnTo>
                    <a:lnTo>
                      <a:pt x="62" y="136"/>
                    </a:lnTo>
                    <a:lnTo>
                      <a:pt x="59" y="131"/>
                    </a:lnTo>
                    <a:lnTo>
                      <a:pt x="56" y="131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9" y="148"/>
                    </a:lnTo>
                    <a:lnTo>
                      <a:pt x="56" y="150"/>
                    </a:lnTo>
                    <a:lnTo>
                      <a:pt x="51" y="175"/>
                    </a:lnTo>
                    <a:lnTo>
                      <a:pt x="48" y="175"/>
                    </a:lnTo>
                    <a:lnTo>
                      <a:pt x="45" y="175"/>
                    </a:lnTo>
                    <a:lnTo>
                      <a:pt x="45" y="178"/>
                    </a:lnTo>
                    <a:lnTo>
                      <a:pt x="53" y="184"/>
                    </a:lnTo>
                    <a:lnTo>
                      <a:pt x="56" y="184"/>
                    </a:lnTo>
                    <a:lnTo>
                      <a:pt x="62" y="189"/>
                    </a:lnTo>
                    <a:lnTo>
                      <a:pt x="81" y="192"/>
                    </a:lnTo>
                    <a:lnTo>
                      <a:pt x="81" y="192"/>
                    </a:lnTo>
                    <a:lnTo>
                      <a:pt x="84" y="189"/>
                    </a:lnTo>
                    <a:lnTo>
                      <a:pt x="87" y="189"/>
                    </a:lnTo>
                    <a:lnTo>
                      <a:pt x="92" y="192"/>
                    </a:lnTo>
                    <a:lnTo>
                      <a:pt x="98" y="192"/>
                    </a:lnTo>
                    <a:lnTo>
                      <a:pt x="103" y="198"/>
                    </a:lnTo>
                    <a:lnTo>
                      <a:pt x="103" y="198"/>
                    </a:lnTo>
                    <a:lnTo>
                      <a:pt x="123" y="198"/>
                    </a:lnTo>
                    <a:lnTo>
                      <a:pt x="120" y="189"/>
                    </a:lnTo>
                    <a:lnTo>
                      <a:pt x="120" y="187"/>
                    </a:lnTo>
                    <a:lnTo>
                      <a:pt x="120" y="184"/>
                    </a:lnTo>
                    <a:lnTo>
                      <a:pt x="123" y="181"/>
                    </a:lnTo>
                    <a:lnTo>
                      <a:pt x="131" y="175"/>
                    </a:lnTo>
                    <a:lnTo>
                      <a:pt x="131" y="175"/>
                    </a:lnTo>
                    <a:lnTo>
                      <a:pt x="134" y="173"/>
                    </a:lnTo>
                    <a:lnTo>
                      <a:pt x="137" y="173"/>
                    </a:lnTo>
                    <a:lnTo>
                      <a:pt x="137" y="173"/>
                    </a:lnTo>
                    <a:lnTo>
                      <a:pt x="142" y="175"/>
                    </a:lnTo>
                    <a:lnTo>
                      <a:pt x="142" y="175"/>
                    </a:lnTo>
                    <a:lnTo>
                      <a:pt x="142" y="175"/>
                    </a:lnTo>
                    <a:lnTo>
                      <a:pt x="148" y="178"/>
                    </a:lnTo>
                    <a:lnTo>
                      <a:pt x="148" y="175"/>
                    </a:lnTo>
                    <a:lnTo>
                      <a:pt x="151" y="175"/>
                    </a:lnTo>
                    <a:lnTo>
                      <a:pt x="154" y="175"/>
                    </a:lnTo>
                    <a:lnTo>
                      <a:pt x="154" y="175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9" y="178"/>
                    </a:lnTo>
                    <a:lnTo>
                      <a:pt x="162" y="178"/>
                    </a:lnTo>
                    <a:lnTo>
                      <a:pt x="165" y="181"/>
                    </a:lnTo>
                    <a:lnTo>
                      <a:pt x="167" y="181"/>
                    </a:lnTo>
                    <a:lnTo>
                      <a:pt x="176" y="178"/>
                    </a:lnTo>
                    <a:lnTo>
                      <a:pt x="176" y="178"/>
                    </a:lnTo>
                    <a:lnTo>
                      <a:pt x="176" y="175"/>
                    </a:lnTo>
                    <a:lnTo>
                      <a:pt x="184" y="170"/>
                    </a:lnTo>
                    <a:lnTo>
                      <a:pt x="184" y="170"/>
                    </a:lnTo>
                    <a:lnTo>
                      <a:pt x="190" y="167"/>
                    </a:lnTo>
                    <a:lnTo>
                      <a:pt x="190" y="167"/>
                    </a:lnTo>
                    <a:lnTo>
                      <a:pt x="190" y="164"/>
                    </a:lnTo>
                    <a:lnTo>
                      <a:pt x="190" y="164"/>
                    </a:lnTo>
                    <a:lnTo>
                      <a:pt x="190" y="162"/>
                    </a:lnTo>
                    <a:lnTo>
                      <a:pt x="190" y="159"/>
                    </a:lnTo>
                    <a:lnTo>
                      <a:pt x="181" y="159"/>
                    </a:lnTo>
                    <a:lnTo>
                      <a:pt x="179" y="156"/>
                    </a:lnTo>
                    <a:lnTo>
                      <a:pt x="179" y="150"/>
                    </a:lnTo>
                    <a:lnTo>
                      <a:pt x="179" y="148"/>
                    </a:lnTo>
                    <a:lnTo>
                      <a:pt x="179" y="145"/>
                    </a:lnTo>
                    <a:lnTo>
                      <a:pt x="176" y="145"/>
                    </a:lnTo>
                    <a:lnTo>
                      <a:pt x="176" y="142"/>
                    </a:lnTo>
                    <a:lnTo>
                      <a:pt x="176" y="142"/>
                    </a:lnTo>
                    <a:lnTo>
                      <a:pt x="176" y="139"/>
                    </a:lnTo>
                    <a:lnTo>
                      <a:pt x="179" y="136"/>
                    </a:lnTo>
                    <a:lnTo>
                      <a:pt x="181" y="134"/>
                    </a:lnTo>
                    <a:lnTo>
                      <a:pt x="179" y="123"/>
                    </a:lnTo>
                    <a:lnTo>
                      <a:pt x="179" y="123"/>
                    </a:lnTo>
                    <a:lnTo>
                      <a:pt x="181" y="123"/>
                    </a:lnTo>
                    <a:lnTo>
                      <a:pt x="179" y="117"/>
                    </a:lnTo>
                    <a:lnTo>
                      <a:pt x="179" y="117"/>
                    </a:lnTo>
                    <a:lnTo>
                      <a:pt x="176" y="109"/>
                    </a:lnTo>
                    <a:lnTo>
                      <a:pt x="176" y="109"/>
                    </a:lnTo>
                    <a:lnTo>
                      <a:pt x="170" y="109"/>
                    </a:lnTo>
                    <a:lnTo>
                      <a:pt x="167" y="114"/>
                    </a:lnTo>
                    <a:lnTo>
                      <a:pt x="165" y="114"/>
                    </a:lnTo>
                    <a:lnTo>
                      <a:pt x="165" y="114"/>
                    </a:lnTo>
                    <a:lnTo>
                      <a:pt x="167" y="106"/>
                    </a:lnTo>
                    <a:lnTo>
                      <a:pt x="167" y="103"/>
                    </a:lnTo>
                    <a:lnTo>
                      <a:pt x="167" y="103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0" y="97"/>
                    </a:lnTo>
                    <a:lnTo>
                      <a:pt x="179" y="86"/>
                    </a:lnTo>
                    <a:lnTo>
                      <a:pt x="179" y="86"/>
                    </a:lnTo>
                    <a:lnTo>
                      <a:pt x="179" y="84"/>
                    </a:lnTo>
                    <a:lnTo>
                      <a:pt x="184" y="84"/>
                    </a:lnTo>
                    <a:lnTo>
                      <a:pt x="190" y="81"/>
                    </a:lnTo>
                    <a:lnTo>
                      <a:pt x="187" y="81"/>
                    </a:lnTo>
                    <a:lnTo>
                      <a:pt x="187" y="70"/>
                    </a:lnTo>
                    <a:lnTo>
                      <a:pt x="190" y="59"/>
                    </a:lnTo>
                    <a:lnTo>
                      <a:pt x="195" y="53"/>
                    </a:lnTo>
                    <a:lnTo>
                      <a:pt x="198" y="50"/>
                    </a:lnTo>
                    <a:lnTo>
                      <a:pt x="176" y="45"/>
                    </a:lnTo>
                    <a:lnTo>
                      <a:pt x="173" y="39"/>
                    </a:lnTo>
                    <a:lnTo>
                      <a:pt x="167" y="36"/>
                    </a:lnTo>
                    <a:lnTo>
                      <a:pt x="165" y="36"/>
                    </a:lnTo>
                    <a:lnTo>
                      <a:pt x="162" y="36"/>
                    </a:lnTo>
                    <a:lnTo>
                      <a:pt x="159" y="36"/>
                    </a:lnTo>
                    <a:lnTo>
                      <a:pt x="156" y="36"/>
                    </a:lnTo>
                    <a:lnTo>
                      <a:pt x="151" y="31"/>
                    </a:lnTo>
                    <a:lnTo>
                      <a:pt x="151" y="31"/>
                    </a:lnTo>
                    <a:lnTo>
                      <a:pt x="148" y="28"/>
                    </a:lnTo>
                    <a:lnTo>
                      <a:pt x="148" y="22"/>
                    </a:lnTo>
                    <a:lnTo>
                      <a:pt x="148" y="22"/>
                    </a:lnTo>
                    <a:lnTo>
                      <a:pt x="145" y="28"/>
                    </a:lnTo>
                    <a:lnTo>
                      <a:pt x="142" y="28"/>
                    </a:lnTo>
                    <a:lnTo>
                      <a:pt x="140" y="25"/>
                    </a:lnTo>
                    <a:lnTo>
                      <a:pt x="137" y="20"/>
                    </a:lnTo>
                    <a:lnTo>
                      <a:pt x="134" y="17"/>
                    </a:lnTo>
                    <a:lnTo>
                      <a:pt x="126" y="14"/>
                    </a:lnTo>
                    <a:lnTo>
                      <a:pt x="123" y="8"/>
                    </a:lnTo>
                    <a:lnTo>
                      <a:pt x="120" y="8"/>
                    </a:lnTo>
                    <a:lnTo>
                      <a:pt x="115" y="6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2" name="Freeform 561"/>
              <p:cNvSpPr>
                <a:spLocks noChangeAspect="1"/>
              </p:cNvSpPr>
              <p:nvPr>
                <p:custDataLst>
                  <p:tags r:id="rId700"/>
                </p:custDataLst>
              </p:nvPr>
            </p:nvSpPr>
            <p:spPr bwMode="gray">
              <a:xfrm>
                <a:off x="5029275" y="3220806"/>
                <a:ext cx="65293" cy="130870"/>
              </a:xfrm>
              <a:custGeom>
                <a:avLst/>
                <a:gdLst>
                  <a:gd name="T0" fmla="*/ 31 w 50"/>
                  <a:gd name="T1" fmla="*/ 98 h 101"/>
                  <a:gd name="T2" fmla="*/ 31 w 50"/>
                  <a:gd name="T3" fmla="*/ 92 h 101"/>
                  <a:gd name="T4" fmla="*/ 36 w 50"/>
                  <a:gd name="T5" fmla="*/ 81 h 101"/>
                  <a:gd name="T6" fmla="*/ 36 w 50"/>
                  <a:gd name="T7" fmla="*/ 78 h 101"/>
                  <a:gd name="T8" fmla="*/ 33 w 50"/>
                  <a:gd name="T9" fmla="*/ 75 h 101"/>
                  <a:gd name="T10" fmla="*/ 33 w 50"/>
                  <a:gd name="T11" fmla="*/ 73 h 101"/>
                  <a:gd name="T12" fmla="*/ 33 w 50"/>
                  <a:gd name="T13" fmla="*/ 67 h 101"/>
                  <a:gd name="T14" fmla="*/ 36 w 50"/>
                  <a:gd name="T15" fmla="*/ 62 h 101"/>
                  <a:gd name="T16" fmla="*/ 33 w 50"/>
                  <a:gd name="T17" fmla="*/ 56 h 101"/>
                  <a:gd name="T18" fmla="*/ 31 w 50"/>
                  <a:gd name="T19" fmla="*/ 50 h 101"/>
                  <a:gd name="T20" fmla="*/ 33 w 50"/>
                  <a:gd name="T21" fmla="*/ 50 h 101"/>
                  <a:gd name="T22" fmla="*/ 36 w 50"/>
                  <a:gd name="T23" fmla="*/ 48 h 101"/>
                  <a:gd name="T24" fmla="*/ 39 w 50"/>
                  <a:gd name="T25" fmla="*/ 45 h 101"/>
                  <a:gd name="T26" fmla="*/ 39 w 50"/>
                  <a:gd name="T27" fmla="*/ 42 h 101"/>
                  <a:gd name="T28" fmla="*/ 39 w 50"/>
                  <a:gd name="T29" fmla="*/ 39 h 101"/>
                  <a:gd name="T30" fmla="*/ 42 w 50"/>
                  <a:gd name="T31" fmla="*/ 23 h 101"/>
                  <a:gd name="T32" fmla="*/ 47 w 50"/>
                  <a:gd name="T33" fmla="*/ 17 h 101"/>
                  <a:gd name="T34" fmla="*/ 50 w 50"/>
                  <a:gd name="T35" fmla="*/ 11 h 101"/>
                  <a:gd name="T36" fmla="*/ 50 w 50"/>
                  <a:gd name="T37" fmla="*/ 11 h 101"/>
                  <a:gd name="T38" fmla="*/ 45 w 50"/>
                  <a:gd name="T39" fmla="*/ 6 h 101"/>
                  <a:gd name="T40" fmla="*/ 36 w 50"/>
                  <a:gd name="T41" fmla="*/ 3 h 101"/>
                  <a:gd name="T42" fmla="*/ 33 w 50"/>
                  <a:gd name="T43" fmla="*/ 6 h 101"/>
                  <a:gd name="T44" fmla="*/ 22 w 50"/>
                  <a:gd name="T45" fmla="*/ 6 h 101"/>
                  <a:gd name="T46" fmla="*/ 19 w 50"/>
                  <a:gd name="T47" fmla="*/ 3 h 101"/>
                  <a:gd name="T48" fmla="*/ 19 w 50"/>
                  <a:gd name="T49" fmla="*/ 0 h 101"/>
                  <a:gd name="T50" fmla="*/ 11 w 50"/>
                  <a:gd name="T51" fmla="*/ 3 h 101"/>
                  <a:gd name="T52" fmla="*/ 8 w 50"/>
                  <a:gd name="T53" fmla="*/ 6 h 101"/>
                  <a:gd name="T54" fmla="*/ 11 w 50"/>
                  <a:gd name="T55" fmla="*/ 23 h 101"/>
                  <a:gd name="T56" fmla="*/ 11 w 50"/>
                  <a:gd name="T57" fmla="*/ 23 h 101"/>
                  <a:gd name="T58" fmla="*/ 6 w 50"/>
                  <a:gd name="T59" fmla="*/ 50 h 101"/>
                  <a:gd name="T60" fmla="*/ 0 w 50"/>
                  <a:gd name="T61" fmla="*/ 59 h 101"/>
                  <a:gd name="T62" fmla="*/ 0 w 50"/>
                  <a:gd name="T63" fmla="*/ 64 h 101"/>
                  <a:gd name="T64" fmla="*/ 0 w 50"/>
                  <a:gd name="T65" fmla="*/ 67 h 101"/>
                  <a:gd name="T66" fmla="*/ 0 w 50"/>
                  <a:gd name="T67" fmla="*/ 67 h 101"/>
                  <a:gd name="T68" fmla="*/ 0 w 50"/>
                  <a:gd name="T69" fmla="*/ 70 h 101"/>
                  <a:gd name="T70" fmla="*/ 3 w 50"/>
                  <a:gd name="T71" fmla="*/ 75 h 101"/>
                  <a:gd name="T72" fmla="*/ 11 w 50"/>
                  <a:gd name="T73" fmla="*/ 73 h 101"/>
                  <a:gd name="T74" fmla="*/ 11 w 50"/>
                  <a:gd name="T75" fmla="*/ 73 h 101"/>
                  <a:gd name="T76" fmla="*/ 8 w 50"/>
                  <a:gd name="T77" fmla="*/ 75 h 101"/>
                  <a:gd name="T78" fmla="*/ 8 w 50"/>
                  <a:gd name="T79" fmla="*/ 92 h 101"/>
                  <a:gd name="T80" fmla="*/ 8 w 50"/>
                  <a:gd name="T81" fmla="*/ 98 h 101"/>
                  <a:gd name="T82" fmla="*/ 6 w 50"/>
                  <a:gd name="T83" fmla="*/ 101 h 101"/>
                  <a:gd name="T84" fmla="*/ 8 w 50"/>
                  <a:gd name="T85" fmla="*/ 101 h 101"/>
                  <a:gd name="T86" fmla="*/ 11 w 50"/>
                  <a:gd name="T87" fmla="*/ 101 h 101"/>
                  <a:gd name="T88" fmla="*/ 17 w 50"/>
                  <a:gd name="T89" fmla="*/ 101 h 101"/>
                  <a:gd name="T90" fmla="*/ 19 w 50"/>
                  <a:gd name="T91" fmla="*/ 101 h 101"/>
                  <a:gd name="T92" fmla="*/ 22 w 50"/>
                  <a:gd name="T93" fmla="*/ 101 h 101"/>
                  <a:gd name="T94" fmla="*/ 31 w 50"/>
                  <a:gd name="T95" fmla="*/ 98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0" h="101">
                    <a:moveTo>
                      <a:pt x="31" y="98"/>
                    </a:moveTo>
                    <a:lnTo>
                      <a:pt x="31" y="92"/>
                    </a:lnTo>
                    <a:lnTo>
                      <a:pt x="36" y="81"/>
                    </a:lnTo>
                    <a:lnTo>
                      <a:pt x="36" y="78"/>
                    </a:lnTo>
                    <a:lnTo>
                      <a:pt x="33" y="75"/>
                    </a:lnTo>
                    <a:lnTo>
                      <a:pt x="33" y="73"/>
                    </a:lnTo>
                    <a:lnTo>
                      <a:pt x="33" y="67"/>
                    </a:lnTo>
                    <a:lnTo>
                      <a:pt x="36" y="62"/>
                    </a:lnTo>
                    <a:lnTo>
                      <a:pt x="33" y="56"/>
                    </a:lnTo>
                    <a:lnTo>
                      <a:pt x="31" y="50"/>
                    </a:lnTo>
                    <a:lnTo>
                      <a:pt x="33" y="50"/>
                    </a:lnTo>
                    <a:lnTo>
                      <a:pt x="36" y="48"/>
                    </a:lnTo>
                    <a:lnTo>
                      <a:pt x="39" y="45"/>
                    </a:lnTo>
                    <a:lnTo>
                      <a:pt x="39" y="42"/>
                    </a:lnTo>
                    <a:lnTo>
                      <a:pt x="39" y="39"/>
                    </a:lnTo>
                    <a:lnTo>
                      <a:pt x="42" y="23"/>
                    </a:lnTo>
                    <a:lnTo>
                      <a:pt x="47" y="17"/>
                    </a:lnTo>
                    <a:lnTo>
                      <a:pt x="50" y="11"/>
                    </a:lnTo>
                    <a:lnTo>
                      <a:pt x="50" y="11"/>
                    </a:lnTo>
                    <a:lnTo>
                      <a:pt x="45" y="6"/>
                    </a:lnTo>
                    <a:lnTo>
                      <a:pt x="36" y="3"/>
                    </a:lnTo>
                    <a:lnTo>
                      <a:pt x="33" y="6"/>
                    </a:lnTo>
                    <a:lnTo>
                      <a:pt x="22" y="6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1" y="3"/>
                    </a:lnTo>
                    <a:lnTo>
                      <a:pt x="8" y="6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6" y="50"/>
                    </a:lnTo>
                    <a:lnTo>
                      <a:pt x="0" y="59"/>
                    </a:lnTo>
                    <a:lnTo>
                      <a:pt x="0" y="64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70"/>
                    </a:lnTo>
                    <a:lnTo>
                      <a:pt x="3" y="75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8" y="75"/>
                    </a:lnTo>
                    <a:lnTo>
                      <a:pt x="8" y="92"/>
                    </a:lnTo>
                    <a:lnTo>
                      <a:pt x="8" y="98"/>
                    </a:lnTo>
                    <a:lnTo>
                      <a:pt x="6" y="101"/>
                    </a:lnTo>
                    <a:lnTo>
                      <a:pt x="8" y="101"/>
                    </a:lnTo>
                    <a:lnTo>
                      <a:pt x="11" y="101"/>
                    </a:lnTo>
                    <a:lnTo>
                      <a:pt x="17" y="101"/>
                    </a:lnTo>
                    <a:lnTo>
                      <a:pt x="19" y="101"/>
                    </a:lnTo>
                    <a:lnTo>
                      <a:pt x="22" y="101"/>
                    </a:lnTo>
                    <a:lnTo>
                      <a:pt x="31" y="9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3" name="Freeform 562"/>
              <p:cNvSpPr>
                <a:spLocks noChangeAspect="1"/>
              </p:cNvSpPr>
              <p:nvPr>
                <p:custDataLst>
                  <p:tags r:id="rId701"/>
                </p:custDataLst>
              </p:nvPr>
            </p:nvSpPr>
            <p:spPr bwMode="gray">
              <a:xfrm>
                <a:off x="5745986" y="3220806"/>
                <a:ext cx="385688" cy="162404"/>
              </a:xfrm>
              <a:custGeom>
                <a:avLst/>
                <a:gdLst>
                  <a:gd name="T0" fmla="*/ 156 w 293"/>
                  <a:gd name="T1" fmla="*/ 112 h 126"/>
                  <a:gd name="T2" fmla="*/ 151 w 293"/>
                  <a:gd name="T3" fmla="*/ 112 h 126"/>
                  <a:gd name="T4" fmla="*/ 137 w 293"/>
                  <a:gd name="T5" fmla="*/ 106 h 126"/>
                  <a:gd name="T6" fmla="*/ 126 w 293"/>
                  <a:gd name="T7" fmla="*/ 114 h 126"/>
                  <a:gd name="T8" fmla="*/ 114 w 293"/>
                  <a:gd name="T9" fmla="*/ 117 h 126"/>
                  <a:gd name="T10" fmla="*/ 81 w 293"/>
                  <a:gd name="T11" fmla="*/ 106 h 126"/>
                  <a:gd name="T12" fmla="*/ 70 w 293"/>
                  <a:gd name="T13" fmla="*/ 112 h 126"/>
                  <a:gd name="T14" fmla="*/ 50 w 293"/>
                  <a:gd name="T15" fmla="*/ 117 h 126"/>
                  <a:gd name="T16" fmla="*/ 45 w 293"/>
                  <a:gd name="T17" fmla="*/ 109 h 126"/>
                  <a:gd name="T18" fmla="*/ 39 w 293"/>
                  <a:gd name="T19" fmla="*/ 106 h 126"/>
                  <a:gd name="T20" fmla="*/ 31 w 293"/>
                  <a:gd name="T21" fmla="*/ 109 h 126"/>
                  <a:gd name="T22" fmla="*/ 23 w 293"/>
                  <a:gd name="T23" fmla="*/ 109 h 126"/>
                  <a:gd name="T24" fmla="*/ 31 w 293"/>
                  <a:gd name="T25" fmla="*/ 103 h 126"/>
                  <a:gd name="T26" fmla="*/ 20 w 293"/>
                  <a:gd name="T27" fmla="*/ 103 h 126"/>
                  <a:gd name="T28" fmla="*/ 17 w 293"/>
                  <a:gd name="T29" fmla="*/ 95 h 126"/>
                  <a:gd name="T30" fmla="*/ 17 w 293"/>
                  <a:gd name="T31" fmla="*/ 92 h 126"/>
                  <a:gd name="T32" fmla="*/ 17 w 293"/>
                  <a:gd name="T33" fmla="*/ 84 h 126"/>
                  <a:gd name="T34" fmla="*/ 6 w 293"/>
                  <a:gd name="T35" fmla="*/ 78 h 126"/>
                  <a:gd name="T36" fmla="*/ 6 w 293"/>
                  <a:gd name="T37" fmla="*/ 75 h 126"/>
                  <a:gd name="T38" fmla="*/ 6 w 293"/>
                  <a:gd name="T39" fmla="*/ 70 h 126"/>
                  <a:gd name="T40" fmla="*/ 14 w 293"/>
                  <a:gd name="T41" fmla="*/ 73 h 126"/>
                  <a:gd name="T42" fmla="*/ 14 w 293"/>
                  <a:gd name="T43" fmla="*/ 67 h 126"/>
                  <a:gd name="T44" fmla="*/ 9 w 293"/>
                  <a:gd name="T45" fmla="*/ 59 h 126"/>
                  <a:gd name="T46" fmla="*/ 0 w 293"/>
                  <a:gd name="T47" fmla="*/ 53 h 126"/>
                  <a:gd name="T48" fmla="*/ 3 w 293"/>
                  <a:gd name="T49" fmla="*/ 42 h 126"/>
                  <a:gd name="T50" fmla="*/ 20 w 293"/>
                  <a:gd name="T51" fmla="*/ 34 h 126"/>
                  <a:gd name="T52" fmla="*/ 28 w 293"/>
                  <a:gd name="T53" fmla="*/ 31 h 126"/>
                  <a:gd name="T54" fmla="*/ 45 w 293"/>
                  <a:gd name="T55" fmla="*/ 31 h 126"/>
                  <a:gd name="T56" fmla="*/ 59 w 293"/>
                  <a:gd name="T57" fmla="*/ 28 h 126"/>
                  <a:gd name="T58" fmla="*/ 50 w 293"/>
                  <a:gd name="T59" fmla="*/ 25 h 126"/>
                  <a:gd name="T60" fmla="*/ 48 w 293"/>
                  <a:gd name="T61" fmla="*/ 23 h 126"/>
                  <a:gd name="T62" fmla="*/ 56 w 293"/>
                  <a:gd name="T63" fmla="*/ 20 h 126"/>
                  <a:gd name="T64" fmla="*/ 78 w 293"/>
                  <a:gd name="T65" fmla="*/ 23 h 126"/>
                  <a:gd name="T66" fmla="*/ 134 w 293"/>
                  <a:gd name="T67" fmla="*/ 3 h 126"/>
                  <a:gd name="T68" fmla="*/ 142 w 293"/>
                  <a:gd name="T69" fmla="*/ 3 h 126"/>
                  <a:gd name="T70" fmla="*/ 159 w 293"/>
                  <a:gd name="T71" fmla="*/ 17 h 126"/>
                  <a:gd name="T72" fmla="*/ 187 w 293"/>
                  <a:gd name="T73" fmla="*/ 23 h 126"/>
                  <a:gd name="T74" fmla="*/ 240 w 293"/>
                  <a:gd name="T75" fmla="*/ 11 h 126"/>
                  <a:gd name="T76" fmla="*/ 248 w 293"/>
                  <a:gd name="T77" fmla="*/ 11 h 126"/>
                  <a:gd name="T78" fmla="*/ 256 w 293"/>
                  <a:gd name="T79" fmla="*/ 9 h 126"/>
                  <a:gd name="T80" fmla="*/ 270 w 293"/>
                  <a:gd name="T81" fmla="*/ 20 h 126"/>
                  <a:gd name="T82" fmla="*/ 281 w 293"/>
                  <a:gd name="T83" fmla="*/ 39 h 126"/>
                  <a:gd name="T84" fmla="*/ 284 w 293"/>
                  <a:gd name="T85" fmla="*/ 53 h 126"/>
                  <a:gd name="T86" fmla="*/ 287 w 293"/>
                  <a:gd name="T87" fmla="*/ 87 h 126"/>
                  <a:gd name="T88" fmla="*/ 284 w 293"/>
                  <a:gd name="T89" fmla="*/ 98 h 126"/>
                  <a:gd name="T90" fmla="*/ 256 w 293"/>
                  <a:gd name="T91" fmla="*/ 98 h 126"/>
                  <a:gd name="T92" fmla="*/ 251 w 293"/>
                  <a:gd name="T93" fmla="*/ 98 h 126"/>
                  <a:gd name="T94" fmla="*/ 234 w 293"/>
                  <a:gd name="T95" fmla="*/ 101 h 126"/>
                  <a:gd name="T96" fmla="*/ 215 w 293"/>
                  <a:gd name="T97" fmla="*/ 106 h 126"/>
                  <a:gd name="T98" fmla="*/ 192 w 293"/>
                  <a:gd name="T99" fmla="*/ 103 h 126"/>
                  <a:gd name="T100" fmla="*/ 178 w 293"/>
                  <a:gd name="T101" fmla="*/ 109 h 126"/>
                  <a:gd name="T102" fmla="*/ 170 w 293"/>
                  <a:gd name="T103" fmla="*/ 109 h 126"/>
                  <a:gd name="T104" fmla="*/ 165 w 293"/>
                  <a:gd name="T105" fmla="*/ 106 h 126"/>
                  <a:gd name="T106" fmla="*/ 162 w 293"/>
                  <a:gd name="T107" fmla="*/ 112 h 126"/>
                  <a:gd name="T108" fmla="*/ 162 w 293"/>
                  <a:gd name="T109" fmla="*/ 117 h 126"/>
                  <a:gd name="T110" fmla="*/ 156 w 293"/>
                  <a:gd name="T111" fmla="*/ 123 h 126"/>
                  <a:gd name="T112" fmla="*/ 153 w 293"/>
                  <a:gd name="T113" fmla="*/ 12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93" h="126">
                    <a:moveTo>
                      <a:pt x="153" y="120"/>
                    </a:moveTo>
                    <a:lnTo>
                      <a:pt x="153" y="117"/>
                    </a:lnTo>
                    <a:lnTo>
                      <a:pt x="153" y="112"/>
                    </a:lnTo>
                    <a:lnTo>
                      <a:pt x="156" y="112"/>
                    </a:lnTo>
                    <a:lnTo>
                      <a:pt x="156" y="109"/>
                    </a:lnTo>
                    <a:lnTo>
                      <a:pt x="156" y="106"/>
                    </a:lnTo>
                    <a:lnTo>
                      <a:pt x="151" y="106"/>
                    </a:lnTo>
                    <a:lnTo>
                      <a:pt x="151" y="112"/>
                    </a:lnTo>
                    <a:lnTo>
                      <a:pt x="148" y="112"/>
                    </a:lnTo>
                    <a:lnTo>
                      <a:pt x="142" y="112"/>
                    </a:lnTo>
                    <a:lnTo>
                      <a:pt x="139" y="106"/>
                    </a:lnTo>
                    <a:lnTo>
                      <a:pt x="137" y="106"/>
                    </a:lnTo>
                    <a:lnTo>
                      <a:pt x="134" y="106"/>
                    </a:lnTo>
                    <a:lnTo>
                      <a:pt x="131" y="109"/>
                    </a:lnTo>
                    <a:lnTo>
                      <a:pt x="126" y="112"/>
                    </a:lnTo>
                    <a:lnTo>
                      <a:pt x="126" y="114"/>
                    </a:lnTo>
                    <a:lnTo>
                      <a:pt x="123" y="114"/>
                    </a:lnTo>
                    <a:lnTo>
                      <a:pt x="120" y="117"/>
                    </a:lnTo>
                    <a:lnTo>
                      <a:pt x="117" y="120"/>
                    </a:lnTo>
                    <a:lnTo>
                      <a:pt x="114" y="117"/>
                    </a:lnTo>
                    <a:lnTo>
                      <a:pt x="106" y="120"/>
                    </a:lnTo>
                    <a:lnTo>
                      <a:pt x="101" y="120"/>
                    </a:lnTo>
                    <a:lnTo>
                      <a:pt x="95" y="114"/>
                    </a:lnTo>
                    <a:lnTo>
                      <a:pt x="81" y="106"/>
                    </a:lnTo>
                    <a:lnTo>
                      <a:pt x="70" y="106"/>
                    </a:lnTo>
                    <a:lnTo>
                      <a:pt x="70" y="109"/>
                    </a:lnTo>
                    <a:lnTo>
                      <a:pt x="70" y="112"/>
                    </a:lnTo>
                    <a:lnTo>
                      <a:pt x="70" y="112"/>
                    </a:lnTo>
                    <a:lnTo>
                      <a:pt x="70" y="114"/>
                    </a:lnTo>
                    <a:lnTo>
                      <a:pt x="59" y="117"/>
                    </a:lnTo>
                    <a:lnTo>
                      <a:pt x="53" y="117"/>
                    </a:lnTo>
                    <a:lnTo>
                      <a:pt x="50" y="117"/>
                    </a:lnTo>
                    <a:lnTo>
                      <a:pt x="48" y="114"/>
                    </a:lnTo>
                    <a:lnTo>
                      <a:pt x="48" y="109"/>
                    </a:lnTo>
                    <a:lnTo>
                      <a:pt x="45" y="106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5" y="109"/>
                    </a:lnTo>
                    <a:lnTo>
                      <a:pt x="42" y="109"/>
                    </a:lnTo>
                    <a:lnTo>
                      <a:pt x="39" y="106"/>
                    </a:lnTo>
                    <a:lnTo>
                      <a:pt x="39" y="106"/>
                    </a:lnTo>
                    <a:lnTo>
                      <a:pt x="34" y="106"/>
                    </a:lnTo>
                    <a:lnTo>
                      <a:pt x="34" y="109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1" y="109"/>
                    </a:lnTo>
                    <a:lnTo>
                      <a:pt x="31" y="106"/>
                    </a:lnTo>
                    <a:lnTo>
                      <a:pt x="23" y="109"/>
                    </a:lnTo>
                    <a:lnTo>
                      <a:pt x="23" y="106"/>
                    </a:lnTo>
                    <a:lnTo>
                      <a:pt x="25" y="106"/>
                    </a:lnTo>
                    <a:lnTo>
                      <a:pt x="28" y="106"/>
                    </a:lnTo>
                    <a:lnTo>
                      <a:pt x="31" y="103"/>
                    </a:lnTo>
                    <a:lnTo>
                      <a:pt x="31" y="103"/>
                    </a:lnTo>
                    <a:lnTo>
                      <a:pt x="34" y="103"/>
                    </a:lnTo>
                    <a:lnTo>
                      <a:pt x="36" y="101"/>
                    </a:lnTo>
                    <a:lnTo>
                      <a:pt x="20" y="103"/>
                    </a:lnTo>
                    <a:lnTo>
                      <a:pt x="20" y="101"/>
                    </a:lnTo>
                    <a:lnTo>
                      <a:pt x="23" y="98"/>
                    </a:lnTo>
                    <a:lnTo>
                      <a:pt x="20" y="95"/>
                    </a:lnTo>
                    <a:lnTo>
                      <a:pt x="17" y="95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9"/>
                    </a:lnTo>
                    <a:lnTo>
                      <a:pt x="17" y="92"/>
                    </a:lnTo>
                    <a:lnTo>
                      <a:pt x="14" y="89"/>
                    </a:lnTo>
                    <a:lnTo>
                      <a:pt x="17" y="87"/>
                    </a:lnTo>
                    <a:lnTo>
                      <a:pt x="17" y="87"/>
                    </a:lnTo>
                    <a:lnTo>
                      <a:pt x="17" y="84"/>
                    </a:lnTo>
                    <a:lnTo>
                      <a:pt x="14" y="81"/>
                    </a:lnTo>
                    <a:lnTo>
                      <a:pt x="11" y="81"/>
                    </a:lnTo>
                    <a:lnTo>
                      <a:pt x="9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3" y="78"/>
                    </a:lnTo>
                    <a:lnTo>
                      <a:pt x="3" y="75"/>
                    </a:lnTo>
                    <a:lnTo>
                      <a:pt x="6" y="75"/>
                    </a:lnTo>
                    <a:lnTo>
                      <a:pt x="6" y="73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9" y="75"/>
                    </a:lnTo>
                    <a:lnTo>
                      <a:pt x="11" y="75"/>
                    </a:lnTo>
                    <a:lnTo>
                      <a:pt x="17" y="75"/>
                    </a:lnTo>
                    <a:lnTo>
                      <a:pt x="14" y="73"/>
                    </a:lnTo>
                    <a:lnTo>
                      <a:pt x="11" y="73"/>
                    </a:lnTo>
                    <a:lnTo>
                      <a:pt x="11" y="70"/>
                    </a:lnTo>
                    <a:lnTo>
                      <a:pt x="11" y="67"/>
                    </a:lnTo>
                    <a:lnTo>
                      <a:pt x="14" y="67"/>
                    </a:lnTo>
                    <a:lnTo>
                      <a:pt x="14" y="64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9" y="59"/>
                    </a:lnTo>
                    <a:lnTo>
                      <a:pt x="11" y="56"/>
                    </a:lnTo>
                    <a:lnTo>
                      <a:pt x="11" y="53"/>
                    </a:lnTo>
                    <a:lnTo>
                      <a:pt x="11" y="50"/>
                    </a:lnTo>
                    <a:lnTo>
                      <a:pt x="0" y="53"/>
                    </a:lnTo>
                    <a:lnTo>
                      <a:pt x="0" y="50"/>
                    </a:lnTo>
                    <a:lnTo>
                      <a:pt x="0" y="45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11" y="34"/>
                    </a:lnTo>
                    <a:lnTo>
                      <a:pt x="14" y="34"/>
                    </a:lnTo>
                    <a:lnTo>
                      <a:pt x="17" y="34"/>
                    </a:lnTo>
                    <a:lnTo>
                      <a:pt x="20" y="34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5" y="31"/>
                    </a:lnTo>
                    <a:lnTo>
                      <a:pt x="28" y="31"/>
                    </a:lnTo>
                    <a:lnTo>
                      <a:pt x="31" y="34"/>
                    </a:lnTo>
                    <a:lnTo>
                      <a:pt x="28" y="34"/>
                    </a:lnTo>
                    <a:lnTo>
                      <a:pt x="48" y="34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2" y="31"/>
                    </a:lnTo>
                    <a:lnTo>
                      <a:pt x="45" y="28"/>
                    </a:lnTo>
                    <a:lnTo>
                      <a:pt x="59" y="28"/>
                    </a:lnTo>
                    <a:lnTo>
                      <a:pt x="59" y="28"/>
                    </a:lnTo>
                    <a:lnTo>
                      <a:pt x="56" y="25"/>
                    </a:lnTo>
                    <a:lnTo>
                      <a:pt x="53" y="28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48" y="25"/>
                    </a:lnTo>
                    <a:lnTo>
                      <a:pt x="48" y="23"/>
                    </a:lnTo>
                    <a:lnTo>
                      <a:pt x="48" y="23"/>
                    </a:lnTo>
                    <a:lnTo>
                      <a:pt x="48" y="17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6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3" y="20"/>
                    </a:lnTo>
                    <a:lnTo>
                      <a:pt x="78" y="23"/>
                    </a:lnTo>
                    <a:lnTo>
                      <a:pt x="84" y="20"/>
                    </a:lnTo>
                    <a:lnTo>
                      <a:pt x="84" y="17"/>
                    </a:lnTo>
                    <a:lnTo>
                      <a:pt x="114" y="3"/>
                    </a:lnTo>
                    <a:lnTo>
                      <a:pt x="134" y="3"/>
                    </a:lnTo>
                    <a:lnTo>
                      <a:pt x="139" y="0"/>
                    </a:lnTo>
                    <a:lnTo>
                      <a:pt x="139" y="0"/>
                    </a:lnTo>
                    <a:lnTo>
                      <a:pt x="142" y="0"/>
                    </a:lnTo>
                    <a:lnTo>
                      <a:pt x="142" y="3"/>
                    </a:lnTo>
                    <a:lnTo>
                      <a:pt x="145" y="6"/>
                    </a:lnTo>
                    <a:lnTo>
                      <a:pt x="153" y="9"/>
                    </a:lnTo>
                    <a:lnTo>
                      <a:pt x="156" y="9"/>
                    </a:lnTo>
                    <a:lnTo>
                      <a:pt x="159" y="17"/>
                    </a:lnTo>
                    <a:lnTo>
                      <a:pt x="167" y="17"/>
                    </a:lnTo>
                    <a:lnTo>
                      <a:pt x="178" y="23"/>
                    </a:lnTo>
                    <a:lnTo>
                      <a:pt x="181" y="20"/>
                    </a:lnTo>
                    <a:lnTo>
                      <a:pt x="187" y="23"/>
                    </a:lnTo>
                    <a:lnTo>
                      <a:pt x="206" y="20"/>
                    </a:lnTo>
                    <a:lnTo>
                      <a:pt x="215" y="23"/>
                    </a:lnTo>
                    <a:lnTo>
                      <a:pt x="223" y="23"/>
                    </a:lnTo>
                    <a:lnTo>
                      <a:pt x="240" y="11"/>
                    </a:lnTo>
                    <a:lnTo>
                      <a:pt x="240" y="9"/>
                    </a:lnTo>
                    <a:lnTo>
                      <a:pt x="242" y="11"/>
                    </a:lnTo>
                    <a:lnTo>
                      <a:pt x="242" y="11"/>
                    </a:lnTo>
                    <a:lnTo>
                      <a:pt x="248" y="11"/>
                    </a:lnTo>
                    <a:lnTo>
                      <a:pt x="254" y="11"/>
                    </a:lnTo>
                    <a:lnTo>
                      <a:pt x="254" y="11"/>
                    </a:lnTo>
                    <a:lnTo>
                      <a:pt x="256" y="11"/>
                    </a:lnTo>
                    <a:lnTo>
                      <a:pt x="256" y="9"/>
                    </a:lnTo>
                    <a:lnTo>
                      <a:pt x="259" y="9"/>
                    </a:lnTo>
                    <a:lnTo>
                      <a:pt x="265" y="17"/>
                    </a:lnTo>
                    <a:lnTo>
                      <a:pt x="268" y="17"/>
                    </a:lnTo>
                    <a:lnTo>
                      <a:pt x="270" y="20"/>
                    </a:lnTo>
                    <a:lnTo>
                      <a:pt x="273" y="25"/>
                    </a:lnTo>
                    <a:lnTo>
                      <a:pt x="273" y="34"/>
                    </a:lnTo>
                    <a:lnTo>
                      <a:pt x="276" y="36"/>
                    </a:lnTo>
                    <a:lnTo>
                      <a:pt x="281" y="39"/>
                    </a:lnTo>
                    <a:lnTo>
                      <a:pt x="284" y="42"/>
                    </a:lnTo>
                    <a:lnTo>
                      <a:pt x="287" y="45"/>
                    </a:lnTo>
                    <a:lnTo>
                      <a:pt x="287" y="45"/>
                    </a:lnTo>
                    <a:lnTo>
                      <a:pt x="284" y="53"/>
                    </a:lnTo>
                    <a:lnTo>
                      <a:pt x="281" y="56"/>
                    </a:lnTo>
                    <a:lnTo>
                      <a:pt x="284" y="62"/>
                    </a:lnTo>
                    <a:lnTo>
                      <a:pt x="284" y="84"/>
                    </a:lnTo>
                    <a:lnTo>
                      <a:pt x="287" y="87"/>
                    </a:lnTo>
                    <a:lnTo>
                      <a:pt x="290" y="92"/>
                    </a:lnTo>
                    <a:lnTo>
                      <a:pt x="293" y="98"/>
                    </a:lnTo>
                    <a:lnTo>
                      <a:pt x="290" y="98"/>
                    </a:lnTo>
                    <a:lnTo>
                      <a:pt x="284" y="98"/>
                    </a:lnTo>
                    <a:lnTo>
                      <a:pt x="281" y="95"/>
                    </a:lnTo>
                    <a:lnTo>
                      <a:pt x="268" y="95"/>
                    </a:lnTo>
                    <a:lnTo>
                      <a:pt x="262" y="92"/>
                    </a:lnTo>
                    <a:lnTo>
                      <a:pt x="256" y="98"/>
                    </a:lnTo>
                    <a:lnTo>
                      <a:pt x="254" y="98"/>
                    </a:lnTo>
                    <a:lnTo>
                      <a:pt x="254" y="98"/>
                    </a:lnTo>
                    <a:lnTo>
                      <a:pt x="254" y="98"/>
                    </a:lnTo>
                    <a:lnTo>
                      <a:pt x="251" y="98"/>
                    </a:lnTo>
                    <a:lnTo>
                      <a:pt x="251" y="95"/>
                    </a:lnTo>
                    <a:lnTo>
                      <a:pt x="248" y="98"/>
                    </a:lnTo>
                    <a:lnTo>
                      <a:pt x="242" y="101"/>
                    </a:lnTo>
                    <a:lnTo>
                      <a:pt x="234" y="101"/>
                    </a:lnTo>
                    <a:lnTo>
                      <a:pt x="231" y="101"/>
                    </a:lnTo>
                    <a:lnTo>
                      <a:pt x="223" y="101"/>
                    </a:lnTo>
                    <a:lnTo>
                      <a:pt x="217" y="103"/>
                    </a:lnTo>
                    <a:lnTo>
                      <a:pt x="215" y="106"/>
                    </a:lnTo>
                    <a:lnTo>
                      <a:pt x="215" y="106"/>
                    </a:lnTo>
                    <a:lnTo>
                      <a:pt x="204" y="109"/>
                    </a:lnTo>
                    <a:lnTo>
                      <a:pt x="195" y="106"/>
                    </a:lnTo>
                    <a:lnTo>
                      <a:pt x="192" y="103"/>
                    </a:lnTo>
                    <a:lnTo>
                      <a:pt x="192" y="103"/>
                    </a:lnTo>
                    <a:lnTo>
                      <a:pt x="187" y="103"/>
                    </a:lnTo>
                    <a:lnTo>
                      <a:pt x="178" y="109"/>
                    </a:lnTo>
                    <a:lnTo>
                      <a:pt x="178" y="109"/>
                    </a:lnTo>
                    <a:lnTo>
                      <a:pt x="173" y="109"/>
                    </a:lnTo>
                    <a:lnTo>
                      <a:pt x="170" y="109"/>
                    </a:lnTo>
                    <a:lnTo>
                      <a:pt x="170" y="109"/>
                    </a:lnTo>
                    <a:lnTo>
                      <a:pt x="170" y="109"/>
                    </a:lnTo>
                    <a:lnTo>
                      <a:pt x="170" y="106"/>
                    </a:lnTo>
                    <a:lnTo>
                      <a:pt x="170" y="106"/>
                    </a:lnTo>
                    <a:lnTo>
                      <a:pt x="167" y="106"/>
                    </a:lnTo>
                    <a:lnTo>
                      <a:pt x="165" y="106"/>
                    </a:lnTo>
                    <a:lnTo>
                      <a:pt x="165" y="109"/>
                    </a:lnTo>
                    <a:lnTo>
                      <a:pt x="162" y="109"/>
                    </a:lnTo>
                    <a:lnTo>
                      <a:pt x="165" y="109"/>
                    </a:lnTo>
                    <a:lnTo>
                      <a:pt x="162" y="112"/>
                    </a:lnTo>
                    <a:lnTo>
                      <a:pt x="165" y="114"/>
                    </a:lnTo>
                    <a:lnTo>
                      <a:pt x="165" y="117"/>
                    </a:lnTo>
                    <a:lnTo>
                      <a:pt x="165" y="117"/>
                    </a:lnTo>
                    <a:lnTo>
                      <a:pt x="162" y="117"/>
                    </a:lnTo>
                    <a:lnTo>
                      <a:pt x="159" y="117"/>
                    </a:lnTo>
                    <a:lnTo>
                      <a:pt x="159" y="120"/>
                    </a:lnTo>
                    <a:lnTo>
                      <a:pt x="159" y="123"/>
                    </a:lnTo>
                    <a:lnTo>
                      <a:pt x="156" y="123"/>
                    </a:lnTo>
                    <a:lnTo>
                      <a:pt x="156" y="126"/>
                    </a:lnTo>
                    <a:lnTo>
                      <a:pt x="153" y="123"/>
                    </a:lnTo>
                    <a:lnTo>
                      <a:pt x="153" y="123"/>
                    </a:lnTo>
                    <a:lnTo>
                      <a:pt x="153" y="123"/>
                    </a:lnTo>
                    <a:lnTo>
                      <a:pt x="153" y="1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4" name="Freeform 563"/>
              <p:cNvSpPr>
                <a:spLocks noChangeAspect="1"/>
              </p:cNvSpPr>
              <p:nvPr>
                <p:custDataLst>
                  <p:tags r:id="rId702"/>
                </p:custDataLst>
              </p:nvPr>
            </p:nvSpPr>
            <p:spPr bwMode="gray">
              <a:xfrm>
                <a:off x="6163561" y="3518812"/>
                <a:ext cx="34925" cy="34688"/>
              </a:xfrm>
              <a:custGeom>
                <a:avLst/>
                <a:gdLst>
                  <a:gd name="T0" fmla="*/ 28 w 28"/>
                  <a:gd name="T1" fmla="*/ 28 h 28"/>
                  <a:gd name="T2" fmla="*/ 28 w 28"/>
                  <a:gd name="T3" fmla="*/ 25 h 28"/>
                  <a:gd name="T4" fmla="*/ 28 w 28"/>
                  <a:gd name="T5" fmla="*/ 23 h 28"/>
                  <a:gd name="T6" fmla="*/ 25 w 28"/>
                  <a:gd name="T7" fmla="*/ 14 h 28"/>
                  <a:gd name="T8" fmla="*/ 22 w 28"/>
                  <a:gd name="T9" fmla="*/ 14 h 28"/>
                  <a:gd name="T10" fmla="*/ 19 w 28"/>
                  <a:gd name="T11" fmla="*/ 14 h 28"/>
                  <a:gd name="T12" fmla="*/ 19 w 28"/>
                  <a:gd name="T13" fmla="*/ 12 h 28"/>
                  <a:gd name="T14" fmla="*/ 19 w 28"/>
                  <a:gd name="T15" fmla="*/ 12 h 28"/>
                  <a:gd name="T16" fmla="*/ 25 w 28"/>
                  <a:gd name="T17" fmla="*/ 12 h 28"/>
                  <a:gd name="T18" fmla="*/ 28 w 28"/>
                  <a:gd name="T19" fmla="*/ 9 h 28"/>
                  <a:gd name="T20" fmla="*/ 28 w 28"/>
                  <a:gd name="T21" fmla="*/ 6 h 28"/>
                  <a:gd name="T22" fmla="*/ 28 w 28"/>
                  <a:gd name="T23" fmla="*/ 6 h 28"/>
                  <a:gd name="T24" fmla="*/ 22 w 28"/>
                  <a:gd name="T25" fmla="*/ 3 h 28"/>
                  <a:gd name="T26" fmla="*/ 22 w 28"/>
                  <a:gd name="T27" fmla="*/ 3 h 28"/>
                  <a:gd name="T28" fmla="*/ 22 w 28"/>
                  <a:gd name="T29" fmla="*/ 3 h 28"/>
                  <a:gd name="T30" fmla="*/ 16 w 28"/>
                  <a:gd name="T31" fmla="*/ 0 h 28"/>
                  <a:gd name="T32" fmla="*/ 11 w 28"/>
                  <a:gd name="T33" fmla="*/ 3 h 28"/>
                  <a:gd name="T34" fmla="*/ 5 w 28"/>
                  <a:gd name="T35" fmla="*/ 14 h 28"/>
                  <a:gd name="T36" fmla="*/ 0 w 28"/>
                  <a:gd name="T37" fmla="*/ 17 h 28"/>
                  <a:gd name="T38" fmla="*/ 2 w 28"/>
                  <a:gd name="T39" fmla="*/ 20 h 28"/>
                  <a:gd name="T40" fmla="*/ 14 w 28"/>
                  <a:gd name="T41" fmla="*/ 23 h 28"/>
                  <a:gd name="T42" fmla="*/ 16 w 28"/>
                  <a:gd name="T43" fmla="*/ 23 h 28"/>
                  <a:gd name="T44" fmla="*/ 19 w 28"/>
                  <a:gd name="T45" fmla="*/ 28 h 28"/>
                  <a:gd name="T46" fmla="*/ 28 w 28"/>
                  <a:gd name="T4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8" h="28">
                    <a:moveTo>
                      <a:pt x="28" y="28"/>
                    </a:moveTo>
                    <a:lnTo>
                      <a:pt x="28" y="25"/>
                    </a:lnTo>
                    <a:lnTo>
                      <a:pt x="28" y="23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25" y="12"/>
                    </a:lnTo>
                    <a:lnTo>
                      <a:pt x="28" y="9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6" y="0"/>
                    </a:lnTo>
                    <a:lnTo>
                      <a:pt x="11" y="3"/>
                    </a:lnTo>
                    <a:lnTo>
                      <a:pt x="5" y="14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9" y="28"/>
                    </a:lnTo>
                    <a:lnTo>
                      <a:pt x="28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5" name="Freeform 564"/>
              <p:cNvSpPr>
                <a:spLocks noChangeAspect="1"/>
              </p:cNvSpPr>
              <p:nvPr>
                <p:custDataLst>
                  <p:tags r:id="rId703"/>
                </p:custDataLst>
              </p:nvPr>
            </p:nvSpPr>
            <p:spPr bwMode="gray">
              <a:xfrm>
                <a:off x="6163561" y="3518812"/>
                <a:ext cx="34925" cy="34688"/>
              </a:xfrm>
              <a:custGeom>
                <a:avLst/>
                <a:gdLst>
                  <a:gd name="T0" fmla="*/ 28 w 28"/>
                  <a:gd name="T1" fmla="*/ 28 h 28"/>
                  <a:gd name="T2" fmla="*/ 28 w 28"/>
                  <a:gd name="T3" fmla="*/ 25 h 28"/>
                  <a:gd name="T4" fmla="*/ 28 w 28"/>
                  <a:gd name="T5" fmla="*/ 23 h 28"/>
                  <a:gd name="T6" fmla="*/ 25 w 28"/>
                  <a:gd name="T7" fmla="*/ 14 h 28"/>
                  <a:gd name="T8" fmla="*/ 22 w 28"/>
                  <a:gd name="T9" fmla="*/ 14 h 28"/>
                  <a:gd name="T10" fmla="*/ 19 w 28"/>
                  <a:gd name="T11" fmla="*/ 14 h 28"/>
                  <a:gd name="T12" fmla="*/ 19 w 28"/>
                  <a:gd name="T13" fmla="*/ 12 h 28"/>
                  <a:gd name="T14" fmla="*/ 19 w 28"/>
                  <a:gd name="T15" fmla="*/ 12 h 28"/>
                  <a:gd name="T16" fmla="*/ 25 w 28"/>
                  <a:gd name="T17" fmla="*/ 12 h 28"/>
                  <a:gd name="T18" fmla="*/ 28 w 28"/>
                  <a:gd name="T19" fmla="*/ 9 h 28"/>
                  <a:gd name="T20" fmla="*/ 28 w 28"/>
                  <a:gd name="T21" fmla="*/ 6 h 28"/>
                  <a:gd name="T22" fmla="*/ 28 w 28"/>
                  <a:gd name="T23" fmla="*/ 6 h 28"/>
                  <a:gd name="T24" fmla="*/ 22 w 28"/>
                  <a:gd name="T25" fmla="*/ 3 h 28"/>
                  <a:gd name="T26" fmla="*/ 22 w 28"/>
                  <a:gd name="T27" fmla="*/ 3 h 28"/>
                  <a:gd name="T28" fmla="*/ 22 w 28"/>
                  <a:gd name="T29" fmla="*/ 3 h 28"/>
                  <a:gd name="T30" fmla="*/ 16 w 28"/>
                  <a:gd name="T31" fmla="*/ 0 h 28"/>
                  <a:gd name="T32" fmla="*/ 11 w 28"/>
                  <a:gd name="T33" fmla="*/ 3 h 28"/>
                  <a:gd name="T34" fmla="*/ 5 w 28"/>
                  <a:gd name="T35" fmla="*/ 14 h 28"/>
                  <a:gd name="T36" fmla="*/ 0 w 28"/>
                  <a:gd name="T37" fmla="*/ 17 h 28"/>
                  <a:gd name="T38" fmla="*/ 2 w 28"/>
                  <a:gd name="T39" fmla="*/ 20 h 28"/>
                  <a:gd name="T40" fmla="*/ 14 w 28"/>
                  <a:gd name="T41" fmla="*/ 23 h 28"/>
                  <a:gd name="T42" fmla="*/ 16 w 28"/>
                  <a:gd name="T43" fmla="*/ 23 h 28"/>
                  <a:gd name="T44" fmla="*/ 19 w 28"/>
                  <a:gd name="T45" fmla="*/ 28 h 28"/>
                  <a:gd name="T46" fmla="*/ 28 w 28"/>
                  <a:gd name="T4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8" h="28">
                    <a:moveTo>
                      <a:pt x="28" y="28"/>
                    </a:moveTo>
                    <a:lnTo>
                      <a:pt x="28" y="25"/>
                    </a:lnTo>
                    <a:lnTo>
                      <a:pt x="28" y="23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25" y="12"/>
                    </a:lnTo>
                    <a:lnTo>
                      <a:pt x="28" y="9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6" y="0"/>
                    </a:lnTo>
                    <a:lnTo>
                      <a:pt x="11" y="3"/>
                    </a:lnTo>
                    <a:lnTo>
                      <a:pt x="5" y="14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9" y="28"/>
                    </a:lnTo>
                    <a:lnTo>
                      <a:pt x="28" y="2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6" name="Freeform 565"/>
              <p:cNvSpPr>
                <a:spLocks noChangeAspect="1"/>
              </p:cNvSpPr>
              <p:nvPr>
                <p:custDataLst>
                  <p:tags r:id="rId704"/>
                </p:custDataLst>
              </p:nvPr>
            </p:nvSpPr>
            <p:spPr bwMode="gray">
              <a:xfrm>
                <a:off x="6450550" y="3354829"/>
                <a:ext cx="341652" cy="309041"/>
              </a:xfrm>
              <a:custGeom>
                <a:avLst/>
                <a:gdLst>
                  <a:gd name="T0" fmla="*/ 39 w 262"/>
                  <a:gd name="T1" fmla="*/ 184 h 240"/>
                  <a:gd name="T2" fmla="*/ 17 w 262"/>
                  <a:gd name="T3" fmla="*/ 156 h 240"/>
                  <a:gd name="T4" fmla="*/ 28 w 262"/>
                  <a:gd name="T5" fmla="*/ 140 h 240"/>
                  <a:gd name="T6" fmla="*/ 53 w 262"/>
                  <a:gd name="T7" fmla="*/ 140 h 240"/>
                  <a:gd name="T8" fmla="*/ 87 w 262"/>
                  <a:gd name="T9" fmla="*/ 128 h 240"/>
                  <a:gd name="T10" fmla="*/ 92 w 262"/>
                  <a:gd name="T11" fmla="*/ 112 h 240"/>
                  <a:gd name="T12" fmla="*/ 109 w 262"/>
                  <a:gd name="T13" fmla="*/ 106 h 240"/>
                  <a:gd name="T14" fmla="*/ 115 w 262"/>
                  <a:gd name="T15" fmla="*/ 98 h 240"/>
                  <a:gd name="T16" fmla="*/ 120 w 262"/>
                  <a:gd name="T17" fmla="*/ 98 h 240"/>
                  <a:gd name="T18" fmla="*/ 128 w 262"/>
                  <a:gd name="T19" fmla="*/ 101 h 240"/>
                  <a:gd name="T20" fmla="*/ 134 w 262"/>
                  <a:gd name="T21" fmla="*/ 84 h 240"/>
                  <a:gd name="T22" fmla="*/ 140 w 262"/>
                  <a:gd name="T23" fmla="*/ 73 h 240"/>
                  <a:gd name="T24" fmla="*/ 145 w 262"/>
                  <a:gd name="T25" fmla="*/ 62 h 240"/>
                  <a:gd name="T26" fmla="*/ 159 w 262"/>
                  <a:gd name="T27" fmla="*/ 56 h 240"/>
                  <a:gd name="T28" fmla="*/ 159 w 262"/>
                  <a:gd name="T29" fmla="*/ 48 h 240"/>
                  <a:gd name="T30" fmla="*/ 167 w 262"/>
                  <a:gd name="T31" fmla="*/ 34 h 240"/>
                  <a:gd name="T32" fmla="*/ 162 w 262"/>
                  <a:gd name="T33" fmla="*/ 20 h 240"/>
                  <a:gd name="T34" fmla="*/ 170 w 262"/>
                  <a:gd name="T35" fmla="*/ 11 h 240"/>
                  <a:gd name="T36" fmla="*/ 176 w 262"/>
                  <a:gd name="T37" fmla="*/ 6 h 240"/>
                  <a:gd name="T38" fmla="*/ 187 w 262"/>
                  <a:gd name="T39" fmla="*/ 3 h 240"/>
                  <a:gd name="T40" fmla="*/ 206 w 262"/>
                  <a:gd name="T41" fmla="*/ 3 h 240"/>
                  <a:gd name="T42" fmla="*/ 218 w 262"/>
                  <a:gd name="T43" fmla="*/ 0 h 240"/>
                  <a:gd name="T44" fmla="*/ 229 w 262"/>
                  <a:gd name="T45" fmla="*/ 0 h 240"/>
                  <a:gd name="T46" fmla="*/ 237 w 262"/>
                  <a:gd name="T47" fmla="*/ 9 h 240"/>
                  <a:gd name="T48" fmla="*/ 237 w 262"/>
                  <a:gd name="T49" fmla="*/ 17 h 240"/>
                  <a:gd name="T50" fmla="*/ 243 w 262"/>
                  <a:gd name="T51" fmla="*/ 23 h 240"/>
                  <a:gd name="T52" fmla="*/ 257 w 262"/>
                  <a:gd name="T53" fmla="*/ 28 h 240"/>
                  <a:gd name="T54" fmla="*/ 254 w 262"/>
                  <a:gd name="T55" fmla="*/ 39 h 240"/>
                  <a:gd name="T56" fmla="*/ 243 w 262"/>
                  <a:gd name="T57" fmla="*/ 42 h 240"/>
                  <a:gd name="T58" fmla="*/ 234 w 262"/>
                  <a:gd name="T59" fmla="*/ 45 h 240"/>
                  <a:gd name="T60" fmla="*/ 229 w 262"/>
                  <a:gd name="T61" fmla="*/ 45 h 240"/>
                  <a:gd name="T62" fmla="*/ 209 w 262"/>
                  <a:gd name="T63" fmla="*/ 42 h 240"/>
                  <a:gd name="T64" fmla="*/ 204 w 262"/>
                  <a:gd name="T65" fmla="*/ 50 h 240"/>
                  <a:gd name="T66" fmla="*/ 204 w 262"/>
                  <a:gd name="T67" fmla="*/ 56 h 240"/>
                  <a:gd name="T68" fmla="*/ 209 w 262"/>
                  <a:gd name="T69" fmla="*/ 59 h 240"/>
                  <a:gd name="T70" fmla="*/ 209 w 262"/>
                  <a:gd name="T71" fmla="*/ 67 h 240"/>
                  <a:gd name="T72" fmla="*/ 212 w 262"/>
                  <a:gd name="T73" fmla="*/ 78 h 240"/>
                  <a:gd name="T74" fmla="*/ 218 w 262"/>
                  <a:gd name="T75" fmla="*/ 84 h 240"/>
                  <a:gd name="T76" fmla="*/ 226 w 262"/>
                  <a:gd name="T77" fmla="*/ 89 h 240"/>
                  <a:gd name="T78" fmla="*/ 220 w 262"/>
                  <a:gd name="T79" fmla="*/ 92 h 240"/>
                  <a:gd name="T80" fmla="*/ 218 w 262"/>
                  <a:gd name="T81" fmla="*/ 103 h 240"/>
                  <a:gd name="T82" fmla="*/ 215 w 262"/>
                  <a:gd name="T83" fmla="*/ 109 h 240"/>
                  <a:gd name="T84" fmla="*/ 218 w 262"/>
                  <a:gd name="T85" fmla="*/ 112 h 240"/>
                  <a:gd name="T86" fmla="*/ 204 w 262"/>
                  <a:gd name="T87" fmla="*/ 123 h 240"/>
                  <a:gd name="T88" fmla="*/ 195 w 262"/>
                  <a:gd name="T89" fmla="*/ 134 h 240"/>
                  <a:gd name="T90" fmla="*/ 162 w 262"/>
                  <a:gd name="T91" fmla="*/ 167 h 240"/>
                  <a:gd name="T92" fmla="*/ 151 w 262"/>
                  <a:gd name="T93" fmla="*/ 165 h 240"/>
                  <a:gd name="T94" fmla="*/ 140 w 262"/>
                  <a:gd name="T95" fmla="*/ 190 h 240"/>
                  <a:gd name="T96" fmla="*/ 148 w 262"/>
                  <a:gd name="T97" fmla="*/ 192 h 240"/>
                  <a:gd name="T98" fmla="*/ 154 w 262"/>
                  <a:gd name="T99" fmla="*/ 206 h 240"/>
                  <a:gd name="T100" fmla="*/ 159 w 262"/>
                  <a:gd name="T101" fmla="*/ 220 h 240"/>
                  <a:gd name="T102" fmla="*/ 159 w 262"/>
                  <a:gd name="T103" fmla="*/ 226 h 240"/>
                  <a:gd name="T104" fmla="*/ 156 w 262"/>
                  <a:gd name="T105" fmla="*/ 231 h 240"/>
                  <a:gd name="T106" fmla="*/ 154 w 262"/>
                  <a:gd name="T107" fmla="*/ 229 h 240"/>
                  <a:gd name="T108" fmla="*/ 137 w 262"/>
                  <a:gd name="T109" fmla="*/ 229 h 240"/>
                  <a:gd name="T110" fmla="*/ 126 w 262"/>
                  <a:gd name="T111" fmla="*/ 231 h 240"/>
                  <a:gd name="T112" fmla="*/ 117 w 262"/>
                  <a:gd name="T113" fmla="*/ 234 h 240"/>
                  <a:gd name="T114" fmla="*/ 112 w 262"/>
                  <a:gd name="T115" fmla="*/ 240 h 240"/>
                  <a:gd name="T116" fmla="*/ 98 w 262"/>
                  <a:gd name="T117" fmla="*/ 226 h 240"/>
                  <a:gd name="T118" fmla="*/ 87 w 262"/>
                  <a:gd name="T119" fmla="*/ 212 h 240"/>
                  <a:gd name="T120" fmla="*/ 53 w 262"/>
                  <a:gd name="T121" fmla="*/ 215 h 240"/>
                  <a:gd name="T122" fmla="*/ 23 w 262"/>
                  <a:gd name="T123" fmla="*/ 215 h 240"/>
                  <a:gd name="T124" fmla="*/ 14 w 262"/>
                  <a:gd name="T125" fmla="*/ 215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2" h="240">
                    <a:moveTo>
                      <a:pt x="14" y="215"/>
                    </a:moveTo>
                    <a:lnTo>
                      <a:pt x="17" y="198"/>
                    </a:lnTo>
                    <a:lnTo>
                      <a:pt x="23" y="192"/>
                    </a:lnTo>
                    <a:lnTo>
                      <a:pt x="34" y="190"/>
                    </a:lnTo>
                    <a:lnTo>
                      <a:pt x="39" y="184"/>
                    </a:lnTo>
                    <a:lnTo>
                      <a:pt x="39" y="184"/>
                    </a:lnTo>
                    <a:lnTo>
                      <a:pt x="39" y="181"/>
                    </a:lnTo>
                    <a:lnTo>
                      <a:pt x="37" y="179"/>
                    </a:lnTo>
                    <a:lnTo>
                      <a:pt x="31" y="179"/>
                    </a:lnTo>
                    <a:lnTo>
                      <a:pt x="31" y="162"/>
                    </a:lnTo>
                    <a:lnTo>
                      <a:pt x="28" y="162"/>
                    </a:lnTo>
                    <a:lnTo>
                      <a:pt x="17" y="156"/>
                    </a:lnTo>
                    <a:lnTo>
                      <a:pt x="14" y="153"/>
                    </a:lnTo>
                    <a:lnTo>
                      <a:pt x="9" y="142"/>
                    </a:lnTo>
                    <a:lnTo>
                      <a:pt x="0" y="134"/>
                    </a:lnTo>
                    <a:lnTo>
                      <a:pt x="3" y="134"/>
                    </a:lnTo>
                    <a:lnTo>
                      <a:pt x="25" y="142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48" y="140"/>
                    </a:lnTo>
                    <a:lnTo>
                      <a:pt x="51" y="142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6" y="137"/>
                    </a:lnTo>
                    <a:lnTo>
                      <a:pt x="67" y="140"/>
                    </a:lnTo>
                    <a:lnTo>
                      <a:pt x="84" y="134"/>
                    </a:lnTo>
                    <a:lnTo>
                      <a:pt x="87" y="131"/>
                    </a:lnTo>
                    <a:lnTo>
                      <a:pt x="87" y="131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7" y="123"/>
                    </a:lnTo>
                    <a:lnTo>
                      <a:pt x="87" y="120"/>
                    </a:lnTo>
                    <a:lnTo>
                      <a:pt x="87" y="114"/>
                    </a:lnTo>
                    <a:lnTo>
                      <a:pt x="89" y="112"/>
                    </a:lnTo>
                    <a:lnTo>
                      <a:pt x="92" y="112"/>
                    </a:lnTo>
                    <a:lnTo>
                      <a:pt x="95" y="106"/>
                    </a:lnTo>
                    <a:lnTo>
                      <a:pt x="95" y="106"/>
                    </a:lnTo>
                    <a:lnTo>
                      <a:pt x="98" y="106"/>
                    </a:lnTo>
                    <a:lnTo>
                      <a:pt x="98" y="109"/>
                    </a:lnTo>
                    <a:lnTo>
                      <a:pt x="109" y="106"/>
                    </a:lnTo>
                    <a:lnTo>
                      <a:pt x="109" y="106"/>
                    </a:lnTo>
                    <a:lnTo>
                      <a:pt x="109" y="106"/>
                    </a:lnTo>
                    <a:lnTo>
                      <a:pt x="106" y="103"/>
                    </a:lnTo>
                    <a:lnTo>
                      <a:pt x="106" y="103"/>
                    </a:lnTo>
                    <a:lnTo>
                      <a:pt x="109" y="103"/>
                    </a:lnTo>
                    <a:lnTo>
                      <a:pt x="112" y="101"/>
                    </a:lnTo>
                    <a:lnTo>
                      <a:pt x="115" y="98"/>
                    </a:lnTo>
                    <a:lnTo>
                      <a:pt x="115" y="98"/>
                    </a:lnTo>
                    <a:lnTo>
                      <a:pt x="117" y="98"/>
                    </a:lnTo>
                    <a:lnTo>
                      <a:pt x="120" y="101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3" y="98"/>
                    </a:lnTo>
                    <a:lnTo>
                      <a:pt x="123" y="98"/>
                    </a:lnTo>
                    <a:lnTo>
                      <a:pt x="126" y="101"/>
                    </a:lnTo>
                    <a:lnTo>
                      <a:pt x="126" y="101"/>
                    </a:lnTo>
                    <a:lnTo>
                      <a:pt x="126" y="101"/>
                    </a:lnTo>
                    <a:lnTo>
                      <a:pt x="128" y="101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1" y="87"/>
                    </a:lnTo>
                    <a:lnTo>
                      <a:pt x="131" y="87"/>
                    </a:lnTo>
                    <a:lnTo>
                      <a:pt x="134" y="84"/>
                    </a:lnTo>
                    <a:lnTo>
                      <a:pt x="134" y="84"/>
                    </a:lnTo>
                    <a:lnTo>
                      <a:pt x="134" y="81"/>
                    </a:lnTo>
                    <a:lnTo>
                      <a:pt x="134" y="81"/>
                    </a:lnTo>
                    <a:lnTo>
                      <a:pt x="134" y="78"/>
                    </a:lnTo>
                    <a:lnTo>
                      <a:pt x="137" y="78"/>
                    </a:lnTo>
                    <a:lnTo>
                      <a:pt x="137" y="76"/>
                    </a:lnTo>
                    <a:lnTo>
                      <a:pt x="140" y="73"/>
                    </a:lnTo>
                    <a:lnTo>
                      <a:pt x="142" y="73"/>
                    </a:lnTo>
                    <a:lnTo>
                      <a:pt x="148" y="70"/>
                    </a:lnTo>
                    <a:lnTo>
                      <a:pt x="148" y="70"/>
                    </a:lnTo>
                    <a:lnTo>
                      <a:pt x="148" y="67"/>
                    </a:lnTo>
                    <a:lnTo>
                      <a:pt x="148" y="67"/>
                    </a:lnTo>
                    <a:lnTo>
                      <a:pt x="145" y="62"/>
                    </a:lnTo>
                    <a:lnTo>
                      <a:pt x="145" y="62"/>
                    </a:lnTo>
                    <a:lnTo>
                      <a:pt x="142" y="59"/>
                    </a:lnTo>
                    <a:lnTo>
                      <a:pt x="142" y="56"/>
                    </a:lnTo>
                    <a:lnTo>
                      <a:pt x="145" y="56"/>
                    </a:lnTo>
                    <a:lnTo>
                      <a:pt x="154" y="59"/>
                    </a:lnTo>
                    <a:lnTo>
                      <a:pt x="159" y="56"/>
                    </a:lnTo>
                    <a:lnTo>
                      <a:pt x="162" y="53"/>
                    </a:lnTo>
                    <a:lnTo>
                      <a:pt x="162" y="50"/>
                    </a:lnTo>
                    <a:lnTo>
                      <a:pt x="162" y="50"/>
                    </a:lnTo>
                    <a:lnTo>
                      <a:pt x="162" y="50"/>
                    </a:lnTo>
                    <a:lnTo>
                      <a:pt x="159" y="50"/>
                    </a:lnTo>
                    <a:lnTo>
                      <a:pt x="159" y="48"/>
                    </a:lnTo>
                    <a:lnTo>
                      <a:pt x="162" y="45"/>
                    </a:lnTo>
                    <a:lnTo>
                      <a:pt x="162" y="45"/>
                    </a:lnTo>
                    <a:lnTo>
                      <a:pt x="167" y="37"/>
                    </a:lnTo>
                    <a:lnTo>
                      <a:pt x="170" y="37"/>
                    </a:lnTo>
                    <a:lnTo>
                      <a:pt x="170" y="34"/>
                    </a:lnTo>
                    <a:lnTo>
                      <a:pt x="167" y="34"/>
                    </a:lnTo>
                    <a:lnTo>
                      <a:pt x="167" y="31"/>
                    </a:lnTo>
                    <a:lnTo>
                      <a:pt x="170" y="31"/>
                    </a:lnTo>
                    <a:lnTo>
                      <a:pt x="170" y="28"/>
                    </a:lnTo>
                    <a:lnTo>
                      <a:pt x="167" y="23"/>
                    </a:lnTo>
                    <a:lnTo>
                      <a:pt x="165" y="20"/>
                    </a:lnTo>
                    <a:lnTo>
                      <a:pt x="162" y="20"/>
                    </a:lnTo>
                    <a:lnTo>
                      <a:pt x="165" y="17"/>
                    </a:lnTo>
                    <a:lnTo>
                      <a:pt x="165" y="17"/>
                    </a:lnTo>
                    <a:lnTo>
                      <a:pt x="170" y="11"/>
                    </a:lnTo>
                    <a:lnTo>
                      <a:pt x="170" y="11"/>
                    </a:lnTo>
                    <a:lnTo>
                      <a:pt x="170" y="11"/>
                    </a:lnTo>
                    <a:lnTo>
                      <a:pt x="170" y="11"/>
                    </a:lnTo>
                    <a:lnTo>
                      <a:pt x="173" y="11"/>
                    </a:lnTo>
                    <a:lnTo>
                      <a:pt x="173" y="11"/>
                    </a:lnTo>
                    <a:lnTo>
                      <a:pt x="173" y="9"/>
                    </a:lnTo>
                    <a:lnTo>
                      <a:pt x="173" y="9"/>
                    </a:lnTo>
                    <a:lnTo>
                      <a:pt x="176" y="9"/>
                    </a:lnTo>
                    <a:lnTo>
                      <a:pt x="176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81" y="6"/>
                    </a:lnTo>
                    <a:lnTo>
                      <a:pt x="184" y="3"/>
                    </a:lnTo>
                    <a:lnTo>
                      <a:pt x="187" y="3"/>
                    </a:lnTo>
                    <a:lnTo>
                      <a:pt x="190" y="3"/>
                    </a:lnTo>
                    <a:lnTo>
                      <a:pt x="190" y="3"/>
                    </a:lnTo>
                    <a:lnTo>
                      <a:pt x="201" y="0"/>
                    </a:lnTo>
                    <a:lnTo>
                      <a:pt x="201" y="3"/>
                    </a:lnTo>
                    <a:lnTo>
                      <a:pt x="204" y="0"/>
                    </a:lnTo>
                    <a:lnTo>
                      <a:pt x="206" y="3"/>
                    </a:lnTo>
                    <a:lnTo>
                      <a:pt x="209" y="3"/>
                    </a:lnTo>
                    <a:lnTo>
                      <a:pt x="212" y="0"/>
                    </a:lnTo>
                    <a:lnTo>
                      <a:pt x="212" y="0"/>
                    </a:lnTo>
                    <a:lnTo>
                      <a:pt x="212" y="0"/>
                    </a:lnTo>
                    <a:lnTo>
                      <a:pt x="215" y="0"/>
                    </a:lnTo>
                    <a:lnTo>
                      <a:pt x="218" y="0"/>
                    </a:lnTo>
                    <a:lnTo>
                      <a:pt x="215" y="0"/>
                    </a:lnTo>
                    <a:lnTo>
                      <a:pt x="220" y="0"/>
                    </a:lnTo>
                    <a:lnTo>
                      <a:pt x="223" y="0"/>
                    </a:lnTo>
                    <a:lnTo>
                      <a:pt x="223" y="0"/>
                    </a:lnTo>
                    <a:lnTo>
                      <a:pt x="226" y="0"/>
                    </a:lnTo>
                    <a:lnTo>
                      <a:pt x="229" y="0"/>
                    </a:lnTo>
                    <a:lnTo>
                      <a:pt x="229" y="3"/>
                    </a:lnTo>
                    <a:lnTo>
                      <a:pt x="229" y="6"/>
                    </a:lnTo>
                    <a:lnTo>
                      <a:pt x="229" y="6"/>
                    </a:lnTo>
                    <a:lnTo>
                      <a:pt x="231" y="3"/>
                    </a:lnTo>
                    <a:lnTo>
                      <a:pt x="231" y="3"/>
                    </a:lnTo>
                    <a:lnTo>
                      <a:pt x="237" y="9"/>
                    </a:lnTo>
                    <a:lnTo>
                      <a:pt x="237" y="9"/>
                    </a:lnTo>
                    <a:lnTo>
                      <a:pt x="237" y="14"/>
                    </a:lnTo>
                    <a:lnTo>
                      <a:pt x="237" y="14"/>
                    </a:lnTo>
                    <a:lnTo>
                      <a:pt x="237" y="14"/>
                    </a:lnTo>
                    <a:lnTo>
                      <a:pt x="237" y="17"/>
                    </a:lnTo>
                    <a:lnTo>
                      <a:pt x="237" y="17"/>
                    </a:lnTo>
                    <a:lnTo>
                      <a:pt x="237" y="17"/>
                    </a:lnTo>
                    <a:lnTo>
                      <a:pt x="237" y="20"/>
                    </a:lnTo>
                    <a:lnTo>
                      <a:pt x="237" y="20"/>
                    </a:lnTo>
                    <a:lnTo>
                      <a:pt x="240" y="23"/>
                    </a:lnTo>
                    <a:lnTo>
                      <a:pt x="240" y="23"/>
                    </a:lnTo>
                    <a:lnTo>
                      <a:pt x="243" y="23"/>
                    </a:lnTo>
                    <a:lnTo>
                      <a:pt x="243" y="23"/>
                    </a:lnTo>
                    <a:lnTo>
                      <a:pt x="245" y="20"/>
                    </a:lnTo>
                    <a:lnTo>
                      <a:pt x="245" y="20"/>
                    </a:lnTo>
                    <a:lnTo>
                      <a:pt x="245" y="23"/>
                    </a:lnTo>
                    <a:lnTo>
                      <a:pt x="245" y="23"/>
                    </a:lnTo>
                    <a:lnTo>
                      <a:pt x="257" y="28"/>
                    </a:lnTo>
                    <a:lnTo>
                      <a:pt x="259" y="28"/>
                    </a:lnTo>
                    <a:lnTo>
                      <a:pt x="259" y="28"/>
                    </a:lnTo>
                    <a:lnTo>
                      <a:pt x="262" y="31"/>
                    </a:lnTo>
                    <a:lnTo>
                      <a:pt x="254" y="37"/>
                    </a:lnTo>
                    <a:lnTo>
                      <a:pt x="254" y="39"/>
                    </a:lnTo>
                    <a:lnTo>
                      <a:pt x="254" y="39"/>
                    </a:lnTo>
                    <a:lnTo>
                      <a:pt x="254" y="39"/>
                    </a:lnTo>
                    <a:lnTo>
                      <a:pt x="251" y="42"/>
                    </a:lnTo>
                    <a:lnTo>
                      <a:pt x="251" y="42"/>
                    </a:lnTo>
                    <a:lnTo>
                      <a:pt x="251" y="42"/>
                    </a:lnTo>
                    <a:lnTo>
                      <a:pt x="248" y="42"/>
                    </a:lnTo>
                    <a:lnTo>
                      <a:pt x="243" y="42"/>
                    </a:lnTo>
                    <a:lnTo>
                      <a:pt x="243" y="42"/>
                    </a:lnTo>
                    <a:lnTo>
                      <a:pt x="243" y="45"/>
                    </a:lnTo>
                    <a:lnTo>
                      <a:pt x="240" y="45"/>
                    </a:lnTo>
                    <a:lnTo>
                      <a:pt x="240" y="45"/>
                    </a:lnTo>
                    <a:lnTo>
                      <a:pt x="237" y="45"/>
                    </a:lnTo>
                    <a:lnTo>
                      <a:pt x="234" y="45"/>
                    </a:lnTo>
                    <a:lnTo>
                      <a:pt x="234" y="45"/>
                    </a:lnTo>
                    <a:lnTo>
                      <a:pt x="234" y="48"/>
                    </a:lnTo>
                    <a:lnTo>
                      <a:pt x="234" y="48"/>
                    </a:lnTo>
                    <a:lnTo>
                      <a:pt x="231" y="48"/>
                    </a:lnTo>
                    <a:lnTo>
                      <a:pt x="231" y="48"/>
                    </a:lnTo>
                    <a:lnTo>
                      <a:pt x="229" y="45"/>
                    </a:lnTo>
                    <a:lnTo>
                      <a:pt x="226" y="45"/>
                    </a:lnTo>
                    <a:lnTo>
                      <a:pt x="223" y="45"/>
                    </a:lnTo>
                    <a:lnTo>
                      <a:pt x="223" y="45"/>
                    </a:lnTo>
                    <a:lnTo>
                      <a:pt x="212" y="39"/>
                    </a:lnTo>
                    <a:lnTo>
                      <a:pt x="209" y="42"/>
                    </a:lnTo>
                    <a:lnTo>
                      <a:pt x="209" y="42"/>
                    </a:lnTo>
                    <a:lnTo>
                      <a:pt x="206" y="42"/>
                    </a:lnTo>
                    <a:lnTo>
                      <a:pt x="206" y="42"/>
                    </a:lnTo>
                    <a:lnTo>
                      <a:pt x="204" y="42"/>
                    </a:lnTo>
                    <a:lnTo>
                      <a:pt x="204" y="45"/>
                    </a:lnTo>
                    <a:lnTo>
                      <a:pt x="204" y="50"/>
                    </a:lnTo>
                    <a:lnTo>
                      <a:pt x="204" y="50"/>
                    </a:lnTo>
                    <a:lnTo>
                      <a:pt x="204" y="50"/>
                    </a:lnTo>
                    <a:lnTo>
                      <a:pt x="206" y="50"/>
                    </a:lnTo>
                    <a:lnTo>
                      <a:pt x="206" y="53"/>
                    </a:lnTo>
                    <a:lnTo>
                      <a:pt x="204" y="53"/>
                    </a:lnTo>
                    <a:lnTo>
                      <a:pt x="204" y="53"/>
                    </a:lnTo>
                    <a:lnTo>
                      <a:pt x="204" y="56"/>
                    </a:lnTo>
                    <a:lnTo>
                      <a:pt x="204" y="56"/>
                    </a:lnTo>
                    <a:lnTo>
                      <a:pt x="206" y="56"/>
                    </a:lnTo>
                    <a:lnTo>
                      <a:pt x="209" y="56"/>
                    </a:lnTo>
                    <a:lnTo>
                      <a:pt x="209" y="56"/>
                    </a:lnTo>
                    <a:lnTo>
                      <a:pt x="209" y="56"/>
                    </a:lnTo>
                    <a:lnTo>
                      <a:pt x="209" y="59"/>
                    </a:lnTo>
                    <a:lnTo>
                      <a:pt x="209" y="59"/>
                    </a:lnTo>
                    <a:lnTo>
                      <a:pt x="206" y="59"/>
                    </a:lnTo>
                    <a:lnTo>
                      <a:pt x="206" y="62"/>
                    </a:lnTo>
                    <a:lnTo>
                      <a:pt x="209" y="64"/>
                    </a:lnTo>
                    <a:lnTo>
                      <a:pt x="209" y="67"/>
                    </a:lnTo>
                    <a:lnTo>
                      <a:pt x="209" y="67"/>
                    </a:lnTo>
                    <a:lnTo>
                      <a:pt x="206" y="70"/>
                    </a:lnTo>
                    <a:lnTo>
                      <a:pt x="206" y="70"/>
                    </a:lnTo>
                    <a:lnTo>
                      <a:pt x="206" y="73"/>
                    </a:lnTo>
                    <a:lnTo>
                      <a:pt x="209" y="76"/>
                    </a:lnTo>
                    <a:lnTo>
                      <a:pt x="212" y="76"/>
                    </a:lnTo>
                    <a:lnTo>
                      <a:pt x="212" y="78"/>
                    </a:lnTo>
                    <a:lnTo>
                      <a:pt x="212" y="78"/>
                    </a:lnTo>
                    <a:lnTo>
                      <a:pt x="215" y="81"/>
                    </a:lnTo>
                    <a:lnTo>
                      <a:pt x="215" y="78"/>
                    </a:lnTo>
                    <a:lnTo>
                      <a:pt x="218" y="78"/>
                    </a:lnTo>
                    <a:lnTo>
                      <a:pt x="218" y="84"/>
                    </a:lnTo>
                    <a:lnTo>
                      <a:pt x="218" y="84"/>
                    </a:lnTo>
                    <a:lnTo>
                      <a:pt x="218" y="87"/>
                    </a:lnTo>
                    <a:lnTo>
                      <a:pt x="223" y="87"/>
                    </a:lnTo>
                    <a:lnTo>
                      <a:pt x="223" y="87"/>
                    </a:lnTo>
                    <a:lnTo>
                      <a:pt x="226" y="87"/>
                    </a:lnTo>
                    <a:lnTo>
                      <a:pt x="226" y="89"/>
                    </a:lnTo>
                    <a:lnTo>
                      <a:pt x="226" y="89"/>
                    </a:lnTo>
                    <a:lnTo>
                      <a:pt x="229" y="92"/>
                    </a:lnTo>
                    <a:lnTo>
                      <a:pt x="226" y="92"/>
                    </a:lnTo>
                    <a:lnTo>
                      <a:pt x="226" y="92"/>
                    </a:lnTo>
                    <a:lnTo>
                      <a:pt x="223" y="95"/>
                    </a:lnTo>
                    <a:lnTo>
                      <a:pt x="223" y="92"/>
                    </a:lnTo>
                    <a:lnTo>
                      <a:pt x="220" y="92"/>
                    </a:lnTo>
                    <a:lnTo>
                      <a:pt x="220" y="95"/>
                    </a:lnTo>
                    <a:lnTo>
                      <a:pt x="218" y="95"/>
                    </a:lnTo>
                    <a:lnTo>
                      <a:pt x="215" y="98"/>
                    </a:lnTo>
                    <a:lnTo>
                      <a:pt x="215" y="101"/>
                    </a:lnTo>
                    <a:lnTo>
                      <a:pt x="218" y="103"/>
                    </a:lnTo>
                    <a:lnTo>
                      <a:pt x="218" y="103"/>
                    </a:lnTo>
                    <a:lnTo>
                      <a:pt x="218" y="103"/>
                    </a:lnTo>
                    <a:lnTo>
                      <a:pt x="218" y="106"/>
                    </a:lnTo>
                    <a:lnTo>
                      <a:pt x="218" y="106"/>
                    </a:lnTo>
                    <a:lnTo>
                      <a:pt x="215" y="106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8" y="109"/>
                    </a:lnTo>
                    <a:lnTo>
                      <a:pt x="220" y="112"/>
                    </a:lnTo>
                    <a:lnTo>
                      <a:pt x="218" y="112"/>
                    </a:lnTo>
                    <a:lnTo>
                      <a:pt x="218" y="112"/>
                    </a:lnTo>
                    <a:lnTo>
                      <a:pt x="218" y="112"/>
                    </a:lnTo>
                    <a:lnTo>
                      <a:pt x="215" y="112"/>
                    </a:lnTo>
                    <a:lnTo>
                      <a:pt x="215" y="114"/>
                    </a:lnTo>
                    <a:lnTo>
                      <a:pt x="212" y="114"/>
                    </a:lnTo>
                    <a:lnTo>
                      <a:pt x="206" y="120"/>
                    </a:lnTo>
                    <a:lnTo>
                      <a:pt x="206" y="120"/>
                    </a:lnTo>
                    <a:lnTo>
                      <a:pt x="204" y="123"/>
                    </a:lnTo>
                    <a:lnTo>
                      <a:pt x="204" y="126"/>
                    </a:lnTo>
                    <a:lnTo>
                      <a:pt x="204" y="128"/>
                    </a:lnTo>
                    <a:lnTo>
                      <a:pt x="204" y="131"/>
                    </a:lnTo>
                    <a:lnTo>
                      <a:pt x="201" y="131"/>
                    </a:lnTo>
                    <a:lnTo>
                      <a:pt x="198" y="131"/>
                    </a:lnTo>
                    <a:lnTo>
                      <a:pt x="195" y="134"/>
                    </a:lnTo>
                    <a:lnTo>
                      <a:pt x="187" y="151"/>
                    </a:lnTo>
                    <a:lnTo>
                      <a:pt x="184" y="151"/>
                    </a:lnTo>
                    <a:lnTo>
                      <a:pt x="170" y="167"/>
                    </a:lnTo>
                    <a:lnTo>
                      <a:pt x="170" y="167"/>
                    </a:lnTo>
                    <a:lnTo>
                      <a:pt x="170" y="167"/>
                    </a:lnTo>
                    <a:lnTo>
                      <a:pt x="162" y="167"/>
                    </a:lnTo>
                    <a:lnTo>
                      <a:pt x="159" y="170"/>
                    </a:lnTo>
                    <a:lnTo>
                      <a:pt x="159" y="170"/>
                    </a:lnTo>
                    <a:lnTo>
                      <a:pt x="156" y="173"/>
                    </a:lnTo>
                    <a:lnTo>
                      <a:pt x="156" y="170"/>
                    </a:lnTo>
                    <a:lnTo>
                      <a:pt x="154" y="167"/>
                    </a:lnTo>
                    <a:lnTo>
                      <a:pt x="151" y="165"/>
                    </a:lnTo>
                    <a:lnTo>
                      <a:pt x="151" y="165"/>
                    </a:lnTo>
                    <a:lnTo>
                      <a:pt x="137" y="181"/>
                    </a:lnTo>
                    <a:lnTo>
                      <a:pt x="137" y="187"/>
                    </a:lnTo>
                    <a:lnTo>
                      <a:pt x="137" y="190"/>
                    </a:lnTo>
                    <a:lnTo>
                      <a:pt x="137" y="190"/>
                    </a:lnTo>
                    <a:lnTo>
                      <a:pt x="140" y="190"/>
                    </a:lnTo>
                    <a:lnTo>
                      <a:pt x="140" y="190"/>
                    </a:lnTo>
                    <a:lnTo>
                      <a:pt x="142" y="192"/>
                    </a:lnTo>
                    <a:lnTo>
                      <a:pt x="145" y="192"/>
                    </a:lnTo>
                    <a:lnTo>
                      <a:pt x="145" y="192"/>
                    </a:lnTo>
                    <a:lnTo>
                      <a:pt x="148" y="192"/>
                    </a:lnTo>
                    <a:lnTo>
                      <a:pt x="148" y="192"/>
                    </a:lnTo>
                    <a:lnTo>
                      <a:pt x="145" y="201"/>
                    </a:lnTo>
                    <a:lnTo>
                      <a:pt x="145" y="201"/>
                    </a:lnTo>
                    <a:lnTo>
                      <a:pt x="145" y="204"/>
                    </a:lnTo>
                    <a:lnTo>
                      <a:pt x="148" y="206"/>
                    </a:lnTo>
                    <a:lnTo>
                      <a:pt x="151" y="206"/>
                    </a:lnTo>
                    <a:lnTo>
                      <a:pt x="154" y="206"/>
                    </a:lnTo>
                    <a:lnTo>
                      <a:pt x="154" y="206"/>
                    </a:lnTo>
                    <a:lnTo>
                      <a:pt x="154" y="206"/>
                    </a:lnTo>
                    <a:lnTo>
                      <a:pt x="154" y="212"/>
                    </a:lnTo>
                    <a:lnTo>
                      <a:pt x="156" y="215"/>
                    </a:lnTo>
                    <a:lnTo>
                      <a:pt x="156" y="218"/>
                    </a:lnTo>
                    <a:lnTo>
                      <a:pt x="159" y="220"/>
                    </a:lnTo>
                    <a:lnTo>
                      <a:pt x="159" y="220"/>
                    </a:lnTo>
                    <a:lnTo>
                      <a:pt x="159" y="223"/>
                    </a:lnTo>
                    <a:lnTo>
                      <a:pt x="162" y="223"/>
                    </a:lnTo>
                    <a:lnTo>
                      <a:pt x="159" y="223"/>
                    </a:lnTo>
                    <a:lnTo>
                      <a:pt x="159" y="223"/>
                    </a:lnTo>
                    <a:lnTo>
                      <a:pt x="159" y="226"/>
                    </a:lnTo>
                    <a:lnTo>
                      <a:pt x="159" y="229"/>
                    </a:lnTo>
                    <a:lnTo>
                      <a:pt x="162" y="229"/>
                    </a:lnTo>
                    <a:lnTo>
                      <a:pt x="162" y="229"/>
                    </a:lnTo>
                    <a:lnTo>
                      <a:pt x="159" y="229"/>
                    </a:lnTo>
                    <a:lnTo>
                      <a:pt x="156" y="229"/>
                    </a:lnTo>
                    <a:lnTo>
                      <a:pt x="156" y="231"/>
                    </a:lnTo>
                    <a:lnTo>
                      <a:pt x="156" y="231"/>
                    </a:lnTo>
                    <a:lnTo>
                      <a:pt x="154" y="231"/>
                    </a:lnTo>
                    <a:lnTo>
                      <a:pt x="154" y="231"/>
                    </a:lnTo>
                    <a:lnTo>
                      <a:pt x="154" y="229"/>
                    </a:lnTo>
                    <a:lnTo>
                      <a:pt x="154" y="229"/>
                    </a:lnTo>
                    <a:lnTo>
                      <a:pt x="154" y="229"/>
                    </a:lnTo>
                    <a:lnTo>
                      <a:pt x="151" y="229"/>
                    </a:lnTo>
                    <a:lnTo>
                      <a:pt x="145" y="229"/>
                    </a:lnTo>
                    <a:lnTo>
                      <a:pt x="145" y="231"/>
                    </a:lnTo>
                    <a:lnTo>
                      <a:pt x="145" y="231"/>
                    </a:lnTo>
                    <a:lnTo>
                      <a:pt x="140" y="231"/>
                    </a:lnTo>
                    <a:lnTo>
                      <a:pt x="137" y="229"/>
                    </a:lnTo>
                    <a:lnTo>
                      <a:pt x="137" y="231"/>
                    </a:lnTo>
                    <a:lnTo>
                      <a:pt x="134" y="229"/>
                    </a:lnTo>
                    <a:lnTo>
                      <a:pt x="128" y="231"/>
                    </a:lnTo>
                    <a:lnTo>
                      <a:pt x="128" y="229"/>
                    </a:lnTo>
                    <a:lnTo>
                      <a:pt x="126" y="231"/>
                    </a:lnTo>
                    <a:lnTo>
                      <a:pt x="126" y="231"/>
                    </a:lnTo>
                    <a:lnTo>
                      <a:pt x="126" y="229"/>
                    </a:lnTo>
                    <a:lnTo>
                      <a:pt x="126" y="229"/>
                    </a:lnTo>
                    <a:lnTo>
                      <a:pt x="126" y="231"/>
                    </a:lnTo>
                    <a:lnTo>
                      <a:pt x="126" y="234"/>
                    </a:lnTo>
                    <a:lnTo>
                      <a:pt x="120" y="234"/>
                    </a:lnTo>
                    <a:lnTo>
                      <a:pt x="117" y="234"/>
                    </a:lnTo>
                    <a:lnTo>
                      <a:pt x="117" y="234"/>
                    </a:lnTo>
                    <a:lnTo>
                      <a:pt x="117" y="237"/>
                    </a:lnTo>
                    <a:lnTo>
                      <a:pt x="115" y="237"/>
                    </a:lnTo>
                    <a:lnTo>
                      <a:pt x="115" y="237"/>
                    </a:lnTo>
                    <a:lnTo>
                      <a:pt x="115" y="240"/>
                    </a:lnTo>
                    <a:lnTo>
                      <a:pt x="112" y="240"/>
                    </a:lnTo>
                    <a:lnTo>
                      <a:pt x="109" y="237"/>
                    </a:lnTo>
                    <a:lnTo>
                      <a:pt x="106" y="237"/>
                    </a:lnTo>
                    <a:lnTo>
                      <a:pt x="103" y="237"/>
                    </a:lnTo>
                    <a:lnTo>
                      <a:pt x="103" y="234"/>
                    </a:lnTo>
                    <a:lnTo>
                      <a:pt x="103" y="234"/>
                    </a:lnTo>
                    <a:lnTo>
                      <a:pt x="98" y="226"/>
                    </a:lnTo>
                    <a:lnTo>
                      <a:pt x="98" y="223"/>
                    </a:lnTo>
                    <a:lnTo>
                      <a:pt x="98" y="223"/>
                    </a:lnTo>
                    <a:lnTo>
                      <a:pt x="92" y="220"/>
                    </a:lnTo>
                    <a:lnTo>
                      <a:pt x="92" y="215"/>
                    </a:lnTo>
                    <a:lnTo>
                      <a:pt x="92" y="215"/>
                    </a:lnTo>
                    <a:lnTo>
                      <a:pt x="87" y="212"/>
                    </a:lnTo>
                    <a:lnTo>
                      <a:pt x="73" y="212"/>
                    </a:lnTo>
                    <a:lnTo>
                      <a:pt x="67" y="212"/>
                    </a:lnTo>
                    <a:lnTo>
                      <a:pt x="62" y="212"/>
                    </a:lnTo>
                    <a:lnTo>
                      <a:pt x="59" y="215"/>
                    </a:lnTo>
                    <a:lnTo>
                      <a:pt x="59" y="215"/>
                    </a:lnTo>
                    <a:lnTo>
                      <a:pt x="53" y="215"/>
                    </a:lnTo>
                    <a:lnTo>
                      <a:pt x="53" y="212"/>
                    </a:lnTo>
                    <a:lnTo>
                      <a:pt x="48" y="212"/>
                    </a:lnTo>
                    <a:lnTo>
                      <a:pt x="45" y="212"/>
                    </a:lnTo>
                    <a:lnTo>
                      <a:pt x="42" y="215"/>
                    </a:lnTo>
                    <a:lnTo>
                      <a:pt x="28" y="215"/>
                    </a:lnTo>
                    <a:lnTo>
                      <a:pt x="23" y="215"/>
                    </a:lnTo>
                    <a:lnTo>
                      <a:pt x="20" y="215"/>
                    </a:lnTo>
                    <a:lnTo>
                      <a:pt x="20" y="218"/>
                    </a:lnTo>
                    <a:lnTo>
                      <a:pt x="17" y="218"/>
                    </a:lnTo>
                    <a:lnTo>
                      <a:pt x="14" y="218"/>
                    </a:lnTo>
                    <a:lnTo>
                      <a:pt x="14" y="215"/>
                    </a:lnTo>
                    <a:lnTo>
                      <a:pt x="14" y="21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7" name="Freeform 566"/>
              <p:cNvSpPr>
                <a:spLocks noChangeAspect="1"/>
              </p:cNvSpPr>
              <p:nvPr>
                <p:custDataLst>
                  <p:tags r:id="rId705"/>
                </p:custDataLst>
              </p:nvPr>
            </p:nvSpPr>
            <p:spPr bwMode="gray">
              <a:xfrm>
                <a:off x="5773318" y="1592035"/>
                <a:ext cx="3097652" cy="1650845"/>
              </a:xfrm>
              <a:custGeom>
                <a:avLst/>
                <a:gdLst>
                  <a:gd name="T0" fmla="*/ 913 w 2377"/>
                  <a:gd name="T1" fmla="*/ 1097 h 1281"/>
                  <a:gd name="T2" fmla="*/ 1177 w 2377"/>
                  <a:gd name="T3" fmla="*/ 1078 h 1281"/>
                  <a:gd name="T4" fmla="*/ 1537 w 2377"/>
                  <a:gd name="T5" fmla="*/ 1022 h 1281"/>
                  <a:gd name="T6" fmla="*/ 1609 w 2377"/>
                  <a:gd name="T7" fmla="*/ 1259 h 1281"/>
                  <a:gd name="T8" fmla="*/ 1770 w 2377"/>
                  <a:gd name="T9" fmla="*/ 1047 h 1281"/>
                  <a:gd name="T10" fmla="*/ 1718 w 2377"/>
                  <a:gd name="T11" fmla="*/ 989 h 1281"/>
                  <a:gd name="T12" fmla="*/ 1848 w 2377"/>
                  <a:gd name="T13" fmla="*/ 833 h 1281"/>
                  <a:gd name="T14" fmla="*/ 1951 w 2377"/>
                  <a:gd name="T15" fmla="*/ 847 h 1281"/>
                  <a:gd name="T16" fmla="*/ 2071 w 2377"/>
                  <a:gd name="T17" fmla="*/ 763 h 1281"/>
                  <a:gd name="T18" fmla="*/ 2124 w 2377"/>
                  <a:gd name="T19" fmla="*/ 785 h 1281"/>
                  <a:gd name="T20" fmla="*/ 2088 w 2377"/>
                  <a:gd name="T21" fmla="*/ 972 h 1281"/>
                  <a:gd name="T22" fmla="*/ 2119 w 2377"/>
                  <a:gd name="T23" fmla="*/ 835 h 1281"/>
                  <a:gd name="T24" fmla="*/ 2230 w 2377"/>
                  <a:gd name="T25" fmla="*/ 810 h 1281"/>
                  <a:gd name="T26" fmla="*/ 2299 w 2377"/>
                  <a:gd name="T27" fmla="*/ 749 h 1281"/>
                  <a:gd name="T28" fmla="*/ 2352 w 2377"/>
                  <a:gd name="T29" fmla="*/ 680 h 1281"/>
                  <a:gd name="T30" fmla="*/ 2233 w 2377"/>
                  <a:gd name="T31" fmla="*/ 437 h 1281"/>
                  <a:gd name="T32" fmla="*/ 2102 w 2377"/>
                  <a:gd name="T33" fmla="*/ 457 h 1281"/>
                  <a:gd name="T34" fmla="*/ 1949 w 2377"/>
                  <a:gd name="T35" fmla="*/ 390 h 1281"/>
                  <a:gd name="T36" fmla="*/ 1776 w 2377"/>
                  <a:gd name="T37" fmla="*/ 301 h 1281"/>
                  <a:gd name="T38" fmla="*/ 1693 w 2377"/>
                  <a:gd name="T39" fmla="*/ 365 h 1281"/>
                  <a:gd name="T40" fmla="*/ 1587 w 2377"/>
                  <a:gd name="T41" fmla="*/ 368 h 1281"/>
                  <a:gd name="T42" fmla="*/ 1573 w 2377"/>
                  <a:gd name="T43" fmla="*/ 273 h 1281"/>
                  <a:gd name="T44" fmla="*/ 1478 w 2377"/>
                  <a:gd name="T45" fmla="*/ 295 h 1281"/>
                  <a:gd name="T46" fmla="*/ 1339 w 2377"/>
                  <a:gd name="T47" fmla="*/ 259 h 1281"/>
                  <a:gd name="T48" fmla="*/ 1275 w 2377"/>
                  <a:gd name="T49" fmla="*/ 270 h 1281"/>
                  <a:gd name="T50" fmla="*/ 1255 w 2377"/>
                  <a:gd name="T51" fmla="*/ 259 h 1281"/>
                  <a:gd name="T52" fmla="*/ 1336 w 2377"/>
                  <a:gd name="T53" fmla="*/ 139 h 1281"/>
                  <a:gd name="T54" fmla="*/ 1286 w 2377"/>
                  <a:gd name="T55" fmla="*/ 73 h 1281"/>
                  <a:gd name="T56" fmla="*/ 1228 w 2377"/>
                  <a:gd name="T57" fmla="*/ 50 h 1281"/>
                  <a:gd name="T58" fmla="*/ 1144 w 2377"/>
                  <a:gd name="T59" fmla="*/ 67 h 1281"/>
                  <a:gd name="T60" fmla="*/ 1097 w 2377"/>
                  <a:gd name="T61" fmla="*/ 120 h 1281"/>
                  <a:gd name="T62" fmla="*/ 1027 w 2377"/>
                  <a:gd name="T63" fmla="*/ 123 h 1281"/>
                  <a:gd name="T64" fmla="*/ 924 w 2377"/>
                  <a:gd name="T65" fmla="*/ 198 h 1281"/>
                  <a:gd name="T66" fmla="*/ 893 w 2377"/>
                  <a:gd name="T67" fmla="*/ 251 h 1281"/>
                  <a:gd name="T68" fmla="*/ 854 w 2377"/>
                  <a:gd name="T69" fmla="*/ 343 h 1281"/>
                  <a:gd name="T70" fmla="*/ 785 w 2377"/>
                  <a:gd name="T71" fmla="*/ 334 h 1281"/>
                  <a:gd name="T72" fmla="*/ 751 w 2377"/>
                  <a:gd name="T73" fmla="*/ 318 h 1281"/>
                  <a:gd name="T74" fmla="*/ 802 w 2377"/>
                  <a:gd name="T75" fmla="*/ 546 h 1281"/>
                  <a:gd name="T76" fmla="*/ 696 w 2377"/>
                  <a:gd name="T77" fmla="*/ 599 h 1281"/>
                  <a:gd name="T78" fmla="*/ 704 w 2377"/>
                  <a:gd name="T79" fmla="*/ 471 h 1281"/>
                  <a:gd name="T80" fmla="*/ 618 w 2377"/>
                  <a:gd name="T81" fmla="*/ 393 h 1281"/>
                  <a:gd name="T82" fmla="*/ 573 w 2377"/>
                  <a:gd name="T83" fmla="*/ 462 h 1281"/>
                  <a:gd name="T84" fmla="*/ 426 w 2377"/>
                  <a:gd name="T85" fmla="*/ 521 h 1281"/>
                  <a:gd name="T86" fmla="*/ 331 w 2377"/>
                  <a:gd name="T87" fmla="*/ 543 h 1281"/>
                  <a:gd name="T88" fmla="*/ 267 w 2377"/>
                  <a:gd name="T89" fmla="*/ 579 h 1281"/>
                  <a:gd name="T90" fmla="*/ 142 w 2377"/>
                  <a:gd name="T91" fmla="*/ 649 h 1281"/>
                  <a:gd name="T92" fmla="*/ 72 w 2377"/>
                  <a:gd name="T93" fmla="*/ 565 h 1281"/>
                  <a:gd name="T94" fmla="*/ 181 w 2377"/>
                  <a:gd name="T95" fmla="*/ 518 h 1281"/>
                  <a:gd name="T96" fmla="*/ 67 w 2377"/>
                  <a:gd name="T97" fmla="*/ 448 h 1281"/>
                  <a:gd name="T98" fmla="*/ 44 w 2377"/>
                  <a:gd name="T99" fmla="*/ 691 h 1281"/>
                  <a:gd name="T100" fmla="*/ 5 w 2377"/>
                  <a:gd name="T101" fmla="*/ 849 h 1281"/>
                  <a:gd name="T102" fmla="*/ 55 w 2377"/>
                  <a:gd name="T103" fmla="*/ 958 h 1281"/>
                  <a:gd name="T104" fmla="*/ 106 w 2377"/>
                  <a:gd name="T105" fmla="*/ 1033 h 1281"/>
                  <a:gd name="T106" fmla="*/ 197 w 2377"/>
                  <a:gd name="T107" fmla="*/ 1114 h 1281"/>
                  <a:gd name="T108" fmla="*/ 153 w 2377"/>
                  <a:gd name="T109" fmla="*/ 1206 h 1281"/>
                  <a:gd name="T110" fmla="*/ 314 w 2377"/>
                  <a:gd name="T111" fmla="*/ 1236 h 1281"/>
                  <a:gd name="T112" fmla="*/ 309 w 2377"/>
                  <a:gd name="T113" fmla="*/ 1133 h 1281"/>
                  <a:gd name="T114" fmla="*/ 381 w 2377"/>
                  <a:gd name="T115" fmla="*/ 1044 h 1281"/>
                  <a:gd name="T116" fmla="*/ 495 w 2377"/>
                  <a:gd name="T117" fmla="*/ 1069 h 1281"/>
                  <a:gd name="T118" fmla="*/ 529 w 2377"/>
                  <a:gd name="T119" fmla="*/ 994 h 1281"/>
                  <a:gd name="T120" fmla="*/ 646 w 2377"/>
                  <a:gd name="T121" fmla="*/ 950 h 1281"/>
                  <a:gd name="T122" fmla="*/ 721 w 2377"/>
                  <a:gd name="T123" fmla="*/ 989 h 1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7" h="1281">
                    <a:moveTo>
                      <a:pt x="765" y="983"/>
                    </a:moveTo>
                    <a:lnTo>
                      <a:pt x="765" y="986"/>
                    </a:lnTo>
                    <a:lnTo>
                      <a:pt x="768" y="986"/>
                    </a:lnTo>
                    <a:lnTo>
                      <a:pt x="788" y="1005"/>
                    </a:lnTo>
                    <a:lnTo>
                      <a:pt x="821" y="1067"/>
                    </a:lnTo>
                    <a:lnTo>
                      <a:pt x="827" y="1064"/>
                    </a:lnTo>
                    <a:lnTo>
                      <a:pt x="827" y="1061"/>
                    </a:lnTo>
                    <a:lnTo>
                      <a:pt x="827" y="1058"/>
                    </a:lnTo>
                    <a:lnTo>
                      <a:pt x="829" y="1055"/>
                    </a:lnTo>
                    <a:lnTo>
                      <a:pt x="832" y="1055"/>
                    </a:lnTo>
                    <a:lnTo>
                      <a:pt x="832" y="1058"/>
                    </a:lnTo>
                    <a:lnTo>
                      <a:pt x="835" y="1058"/>
                    </a:lnTo>
                    <a:lnTo>
                      <a:pt x="838" y="1061"/>
                    </a:lnTo>
                    <a:lnTo>
                      <a:pt x="838" y="1061"/>
                    </a:lnTo>
                    <a:lnTo>
                      <a:pt x="841" y="1064"/>
                    </a:lnTo>
                    <a:lnTo>
                      <a:pt x="841" y="1064"/>
                    </a:lnTo>
                    <a:lnTo>
                      <a:pt x="843" y="1067"/>
                    </a:lnTo>
                    <a:lnTo>
                      <a:pt x="849" y="1067"/>
                    </a:lnTo>
                    <a:lnTo>
                      <a:pt x="854" y="1069"/>
                    </a:lnTo>
                    <a:lnTo>
                      <a:pt x="857" y="1067"/>
                    </a:lnTo>
                    <a:lnTo>
                      <a:pt x="860" y="1069"/>
                    </a:lnTo>
                    <a:lnTo>
                      <a:pt x="860" y="1067"/>
                    </a:lnTo>
                    <a:lnTo>
                      <a:pt x="863" y="1064"/>
                    </a:lnTo>
                    <a:lnTo>
                      <a:pt x="866" y="1064"/>
                    </a:lnTo>
                    <a:lnTo>
                      <a:pt x="868" y="1064"/>
                    </a:lnTo>
                    <a:lnTo>
                      <a:pt x="868" y="1061"/>
                    </a:lnTo>
                    <a:lnTo>
                      <a:pt x="871" y="1061"/>
                    </a:lnTo>
                    <a:lnTo>
                      <a:pt x="874" y="1061"/>
                    </a:lnTo>
                    <a:lnTo>
                      <a:pt x="877" y="1064"/>
                    </a:lnTo>
                    <a:lnTo>
                      <a:pt x="877" y="1067"/>
                    </a:lnTo>
                    <a:lnTo>
                      <a:pt x="880" y="1067"/>
                    </a:lnTo>
                    <a:lnTo>
                      <a:pt x="882" y="1069"/>
                    </a:lnTo>
                    <a:lnTo>
                      <a:pt x="885" y="1072"/>
                    </a:lnTo>
                    <a:lnTo>
                      <a:pt x="885" y="1072"/>
                    </a:lnTo>
                    <a:lnTo>
                      <a:pt x="885" y="1075"/>
                    </a:lnTo>
                    <a:lnTo>
                      <a:pt x="885" y="1078"/>
                    </a:lnTo>
                    <a:lnTo>
                      <a:pt x="888" y="1081"/>
                    </a:lnTo>
                    <a:lnTo>
                      <a:pt x="888" y="1081"/>
                    </a:lnTo>
                    <a:lnTo>
                      <a:pt x="896" y="1083"/>
                    </a:lnTo>
                    <a:lnTo>
                      <a:pt x="896" y="1086"/>
                    </a:lnTo>
                    <a:lnTo>
                      <a:pt x="896" y="1089"/>
                    </a:lnTo>
                    <a:lnTo>
                      <a:pt x="899" y="1089"/>
                    </a:lnTo>
                    <a:lnTo>
                      <a:pt x="899" y="1089"/>
                    </a:lnTo>
                    <a:lnTo>
                      <a:pt x="902" y="1094"/>
                    </a:lnTo>
                    <a:lnTo>
                      <a:pt x="905" y="1094"/>
                    </a:lnTo>
                    <a:lnTo>
                      <a:pt x="907" y="1097"/>
                    </a:lnTo>
                    <a:lnTo>
                      <a:pt x="913" y="1097"/>
                    </a:lnTo>
                    <a:lnTo>
                      <a:pt x="916" y="1097"/>
                    </a:lnTo>
                    <a:lnTo>
                      <a:pt x="919" y="1097"/>
                    </a:lnTo>
                    <a:lnTo>
                      <a:pt x="919" y="1094"/>
                    </a:lnTo>
                    <a:lnTo>
                      <a:pt x="924" y="1092"/>
                    </a:lnTo>
                    <a:lnTo>
                      <a:pt x="924" y="1094"/>
                    </a:lnTo>
                    <a:lnTo>
                      <a:pt x="924" y="1097"/>
                    </a:lnTo>
                    <a:lnTo>
                      <a:pt x="927" y="1100"/>
                    </a:lnTo>
                    <a:lnTo>
                      <a:pt x="930" y="1103"/>
                    </a:lnTo>
                    <a:lnTo>
                      <a:pt x="930" y="1103"/>
                    </a:lnTo>
                    <a:lnTo>
                      <a:pt x="932" y="1106"/>
                    </a:lnTo>
                    <a:lnTo>
                      <a:pt x="930" y="1114"/>
                    </a:lnTo>
                    <a:lnTo>
                      <a:pt x="935" y="1117"/>
                    </a:lnTo>
                    <a:lnTo>
                      <a:pt x="941" y="1111"/>
                    </a:lnTo>
                    <a:lnTo>
                      <a:pt x="941" y="1111"/>
                    </a:lnTo>
                    <a:lnTo>
                      <a:pt x="944" y="1106"/>
                    </a:lnTo>
                    <a:lnTo>
                      <a:pt x="949" y="1100"/>
                    </a:lnTo>
                    <a:lnTo>
                      <a:pt x="960" y="1097"/>
                    </a:lnTo>
                    <a:lnTo>
                      <a:pt x="985" y="1078"/>
                    </a:lnTo>
                    <a:lnTo>
                      <a:pt x="1010" y="1072"/>
                    </a:lnTo>
                    <a:lnTo>
                      <a:pt x="1022" y="1075"/>
                    </a:lnTo>
                    <a:lnTo>
                      <a:pt x="1024" y="1078"/>
                    </a:lnTo>
                    <a:lnTo>
                      <a:pt x="1035" y="1075"/>
                    </a:lnTo>
                    <a:lnTo>
                      <a:pt x="1041" y="1075"/>
                    </a:lnTo>
                    <a:lnTo>
                      <a:pt x="1052" y="1086"/>
                    </a:lnTo>
                    <a:lnTo>
                      <a:pt x="1058" y="1086"/>
                    </a:lnTo>
                    <a:lnTo>
                      <a:pt x="1069" y="1086"/>
                    </a:lnTo>
                    <a:lnTo>
                      <a:pt x="1074" y="1086"/>
                    </a:lnTo>
                    <a:lnTo>
                      <a:pt x="1097" y="1086"/>
                    </a:lnTo>
                    <a:lnTo>
                      <a:pt x="1100" y="1083"/>
                    </a:lnTo>
                    <a:lnTo>
                      <a:pt x="1100" y="1078"/>
                    </a:lnTo>
                    <a:lnTo>
                      <a:pt x="1100" y="1075"/>
                    </a:lnTo>
                    <a:lnTo>
                      <a:pt x="1102" y="1069"/>
                    </a:lnTo>
                    <a:lnTo>
                      <a:pt x="1102" y="1067"/>
                    </a:lnTo>
                    <a:lnTo>
                      <a:pt x="1100" y="1061"/>
                    </a:lnTo>
                    <a:lnTo>
                      <a:pt x="1097" y="1055"/>
                    </a:lnTo>
                    <a:lnTo>
                      <a:pt x="1100" y="1050"/>
                    </a:lnTo>
                    <a:lnTo>
                      <a:pt x="1116" y="1033"/>
                    </a:lnTo>
                    <a:lnTo>
                      <a:pt x="1119" y="1033"/>
                    </a:lnTo>
                    <a:lnTo>
                      <a:pt x="1125" y="1036"/>
                    </a:lnTo>
                    <a:lnTo>
                      <a:pt x="1130" y="1039"/>
                    </a:lnTo>
                    <a:lnTo>
                      <a:pt x="1138" y="1042"/>
                    </a:lnTo>
                    <a:lnTo>
                      <a:pt x="1144" y="1044"/>
                    </a:lnTo>
                    <a:lnTo>
                      <a:pt x="1161" y="1050"/>
                    </a:lnTo>
                    <a:lnTo>
                      <a:pt x="1164" y="1055"/>
                    </a:lnTo>
                    <a:lnTo>
                      <a:pt x="1166" y="1069"/>
                    </a:lnTo>
                    <a:lnTo>
                      <a:pt x="1166" y="1069"/>
                    </a:lnTo>
                    <a:lnTo>
                      <a:pt x="1177" y="1078"/>
                    </a:lnTo>
                    <a:lnTo>
                      <a:pt x="1189" y="1081"/>
                    </a:lnTo>
                    <a:lnTo>
                      <a:pt x="1194" y="1078"/>
                    </a:lnTo>
                    <a:lnTo>
                      <a:pt x="1211" y="1072"/>
                    </a:lnTo>
                    <a:lnTo>
                      <a:pt x="1233" y="1078"/>
                    </a:lnTo>
                    <a:lnTo>
                      <a:pt x="1236" y="1081"/>
                    </a:lnTo>
                    <a:lnTo>
                      <a:pt x="1236" y="1081"/>
                    </a:lnTo>
                    <a:lnTo>
                      <a:pt x="1244" y="1086"/>
                    </a:lnTo>
                    <a:lnTo>
                      <a:pt x="1255" y="1092"/>
                    </a:lnTo>
                    <a:lnTo>
                      <a:pt x="1258" y="1097"/>
                    </a:lnTo>
                    <a:lnTo>
                      <a:pt x="1267" y="1100"/>
                    </a:lnTo>
                    <a:lnTo>
                      <a:pt x="1294" y="1103"/>
                    </a:lnTo>
                    <a:lnTo>
                      <a:pt x="1300" y="1106"/>
                    </a:lnTo>
                    <a:lnTo>
                      <a:pt x="1333" y="1097"/>
                    </a:lnTo>
                    <a:lnTo>
                      <a:pt x="1350" y="1083"/>
                    </a:lnTo>
                    <a:lnTo>
                      <a:pt x="1358" y="1081"/>
                    </a:lnTo>
                    <a:lnTo>
                      <a:pt x="1364" y="1083"/>
                    </a:lnTo>
                    <a:lnTo>
                      <a:pt x="1370" y="1089"/>
                    </a:lnTo>
                    <a:lnTo>
                      <a:pt x="1375" y="1089"/>
                    </a:lnTo>
                    <a:lnTo>
                      <a:pt x="1381" y="1089"/>
                    </a:lnTo>
                    <a:lnTo>
                      <a:pt x="1383" y="1086"/>
                    </a:lnTo>
                    <a:lnTo>
                      <a:pt x="1386" y="1086"/>
                    </a:lnTo>
                    <a:lnTo>
                      <a:pt x="1409" y="1097"/>
                    </a:lnTo>
                    <a:lnTo>
                      <a:pt x="1414" y="1097"/>
                    </a:lnTo>
                    <a:lnTo>
                      <a:pt x="1431" y="1083"/>
                    </a:lnTo>
                    <a:lnTo>
                      <a:pt x="1431" y="1083"/>
                    </a:lnTo>
                    <a:lnTo>
                      <a:pt x="1431" y="1078"/>
                    </a:lnTo>
                    <a:lnTo>
                      <a:pt x="1431" y="1075"/>
                    </a:lnTo>
                    <a:lnTo>
                      <a:pt x="1436" y="1069"/>
                    </a:lnTo>
                    <a:lnTo>
                      <a:pt x="1442" y="1050"/>
                    </a:lnTo>
                    <a:lnTo>
                      <a:pt x="1448" y="1047"/>
                    </a:lnTo>
                    <a:lnTo>
                      <a:pt x="1453" y="1039"/>
                    </a:lnTo>
                    <a:lnTo>
                      <a:pt x="1453" y="1036"/>
                    </a:lnTo>
                    <a:lnTo>
                      <a:pt x="1453" y="1033"/>
                    </a:lnTo>
                    <a:lnTo>
                      <a:pt x="1453" y="1025"/>
                    </a:lnTo>
                    <a:lnTo>
                      <a:pt x="1453" y="1025"/>
                    </a:lnTo>
                    <a:lnTo>
                      <a:pt x="1442" y="1028"/>
                    </a:lnTo>
                    <a:lnTo>
                      <a:pt x="1442" y="1025"/>
                    </a:lnTo>
                    <a:lnTo>
                      <a:pt x="1445" y="1022"/>
                    </a:lnTo>
                    <a:lnTo>
                      <a:pt x="1450" y="1014"/>
                    </a:lnTo>
                    <a:lnTo>
                      <a:pt x="1453" y="1011"/>
                    </a:lnTo>
                    <a:lnTo>
                      <a:pt x="1456" y="1008"/>
                    </a:lnTo>
                    <a:lnTo>
                      <a:pt x="1500" y="1000"/>
                    </a:lnTo>
                    <a:lnTo>
                      <a:pt x="1512" y="1011"/>
                    </a:lnTo>
                    <a:lnTo>
                      <a:pt x="1517" y="1011"/>
                    </a:lnTo>
                    <a:lnTo>
                      <a:pt x="1523" y="1011"/>
                    </a:lnTo>
                    <a:lnTo>
                      <a:pt x="1531" y="1014"/>
                    </a:lnTo>
                    <a:lnTo>
                      <a:pt x="1537" y="1022"/>
                    </a:lnTo>
                    <a:lnTo>
                      <a:pt x="1537" y="1025"/>
                    </a:lnTo>
                    <a:lnTo>
                      <a:pt x="1542" y="1030"/>
                    </a:lnTo>
                    <a:lnTo>
                      <a:pt x="1542" y="1030"/>
                    </a:lnTo>
                    <a:lnTo>
                      <a:pt x="1542" y="1030"/>
                    </a:lnTo>
                    <a:lnTo>
                      <a:pt x="1559" y="1083"/>
                    </a:lnTo>
                    <a:lnTo>
                      <a:pt x="1559" y="1083"/>
                    </a:lnTo>
                    <a:lnTo>
                      <a:pt x="1559" y="1083"/>
                    </a:lnTo>
                    <a:lnTo>
                      <a:pt x="1559" y="1094"/>
                    </a:lnTo>
                    <a:lnTo>
                      <a:pt x="1564" y="1097"/>
                    </a:lnTo>
                    <a:lnTo>
                      <a:pt x="1570" y="1100"/>
                    </a:lnTo>
                    <a:lnTo>
                      <a:pt x="1576" y="1097"/>
                    </a:lnTo>
                    <a:lnTo>
                      <a:pt x="1592" y="1103"/>
                    </a:lnTo>
                    <a:lnTo>
                      <a:pt x="1601" y="1111"/>
                    </a:lnTo>
                    <a:lnTo>
                      <a:pt x="1603" y="1111"/>
                    </a:lnTo>
                    <a:lnTo>
                      <a:pt x="1609" y="1114"/>
                    </a:lnTo>
                    <a:lnTo>
                      <a:pt x="1609" y="1114"/>
                    </a:lnTo>
                    <a:lnTo>
                      <a:pt x="1609" y="1117"/>
                    </a:lnTo>
                    <a:lnTo>
                      <a:pt x="1609" y="1117"/>
                    </a:lnTo>
                    <a:lnTo>
                      <a:pt x="1609" y="1120"/>
                    </a:lnTo>
                    <a:lnTo>
                      <a:pt x="1612" y="1122"/>
                    </a:lnTo>
                    <a:lnTo>
                      <a:pt x="1612" y="1133"/>
                    </a:lnTo>
                    <a:lnTo>
                      <a:pt x="1617" y="1142"/>
                    </a:lnTo>
                    <a:lnTo>
                      <a:pt x="1623" y="1142"/>
                    </a:lnTo>
                    <a:lnTo>
                      <a:pt x="1628" y="1142"/>
                    </a:lnTo>
                    <a:lnTo>
                      <a:pt x="1631" y="1142"/>
                    </a:lnTo>
                    <a:lnTo>
                      <a:pt x="1651" y="1131"/>
                    </a:lnTo>
                    <a:lnTo>
                      <a:pt x="1656" y="1131"/>
                    </a:lnTo>
                    <a:lnTo>
                      <a:pt x="1676" y="1122"/>
                    </a:lnTo>
                    <a:lnTo>
                      <a:pt x="1676" y="1125"/>
                    </a:lnTo>
                    <a:lnTo>
                      <a:pt x="1673" y="1128"/>
                    </a:lnTo>
                    <a:lnTo>
                      <a:pt x="1673" y="1133"/>
                    </a:lnTo>
                    <a:lnTo>
                      <a:pt x="1673" y="1139"/>
                    </a:lnTo>
                    <a:lnTo>
                      <a:pt x="1673" y="1145"/>
                    </a:lnTo>
                    <a:lnTo>
                      <a:pt x="1665" y="1150"/>
                    </a:lnTo>
                    <a:lnTo>
                      <a:pt x="1659" y="1178"/>
                    </a:lnTo>
                    <a:lnTo>
                      <a:pt x="1651" y="1195"/>
                    </a:lnTo>
                    <a:lnTo>
                      <a:pt x="1648" y="1200"/>
                    </a:lnTo>
                    <a:lnTo>
                      <a:pt x="1645" y="1203"/>
                    </a:lnTo>
                    <a:lnTo>
                      <a:pt x="1642" y="1200"/>
                    </a:lnTo>
                    <a:lnTo>
                      <a:pt x="1628" y="1197"/>
                    </a:lnTo>
                    <a:lnTo>
                      <a:pt x="1615" y="1209"/>
                    </a:lnTo>
                    <a:lnTo>
                      <a:pt x="1617" y="1214"/>
                    </a:lnTo>
                    <a:lnTo>
                      <a:pt x="1620" y="1236"/>
                    </a:lnTo>
                    <a:lnTo>
                      <a:pt x="1615" y="1245"/>
                    </a:lnTo>
                    <a:lnTo>
                      <a:pt x="1609" y="1250"/>
                    </a:lnTo>
                    <a:lnTo>
                      <a:pt x="1609" y="1256"/>
                    </a:lnTo>
                    <a:lnTo>
                      <a:pt x="1609" y="1259"/>
                    </a:lnTo>
                    <a:lnTo>
                      <a:pt x="1612" y="1259"/>
                    </a:lnTo>
                    <a:lnTo>
                      <a:pt x="1612" y="1256"/>
                    </a:lnTo>
                    <a:lnTo>
                      <a:pt x="1612" y="1253"/>
                    </a:lnTo>
                    <a:lnTo>
                      <a:pt x="1620" y="1253"/>
                    </a:lnTo>
                    <a:lnTo>
                      <a:pt x="1620" y="1250"/>
                    </a:lnTo>
                    <a:lnTo>
                      <a:pt x="1623" y="1250"/>
                    </a:lnTo>
                    <a:lnTo>
                      <a:pt x="1623" y="1248"/>
                    </a:lnTo>
                    <a:lnTo>
                      <a:pt x="1626" y="1242"/>
                    </a:lnTo>
                    <a:lnTo>
                      <a:pt x="1628" y="1236"/>
                    </a:lnTo>
                    <a:lnTo>
                      <a:pt x="1628" y="1239"/>
                    </a:lnTo>
                    <a:lnTo>
                      <a:pt x="1631" y="1239"/>
                    </a:lnTo>
                    <a:lnTo>
                      <a:pt x="1631" y="1242"/>
                    </a:lnTo>
                    <a:lnTo>
                      <a:pt x="1631" y="1242"/>
                    </a:lnTo>
                    <a:lnTo>
                      <a:pt x="1634" y="1242"/>
                    </a:lnTo>
                    <a:lnTo>
                      <a:pt x="1637" y="1239"/>
                    </a:lnTo>
                    <a:lnTo>
                      <a:pt x="1637" y="1248"/>
                    </a:lnTo>
                    <a:lnTo>
                      <a:pt x="1637" y="1248"/>
                    </a:lnTo>
                    <a:lnTo>
                      <a:pt x="1642" y="1248"/>
                    </a:lnTo>
                    <a:lnTo>
                      <a:pt x="1645" y="1250"/>
                    </a:lnTo>
                    <a:lnTo>
                      <a:pt x="1645" y="1250"/>
                    </a:lnTo>
                    <a:lnTo>
                      <a:pt x="1648" y="1250"/>
                    </a:lnTo>
                    <a:lnTo>
                      <a:pt x="1651" y="1253"/>
                    </a:lnTo>
                    <a:lnTo>
                      <a:pt x="1656" y="1250"/>
                    </a:lnTo>
                    <a:lnTo>
                      <a:pt x="1659" y="1250"/>
                    </a:lnTo>
                    <a:lnTo>
                      <a:pt x="1681" y="1234"/>
                    </a:lnTo>
                    <a:lnTo>
                      <a:pt x="1690" y="1223"/>
                    </a:lnTo>
                    <a:lnTo>
                      <a:pt x="1690" y="1220"/>
                    </a:lnTo>
                    <a:lnTo>
                      <a:pt x="1695" y="1214"/>
                    </a:lnTo>
                    <a:lnTo>
                      <a:pt x="1698" y="1214"/>
                    </a:lnTo>
                    <a:lnTo>
                      <a:pt x="1757" y="1128"/>
                    </a:lnTo>
                    <a:lnTo>
                      <a:pt x="1757" y="1125"/>
                    </a:lnTo>
                    <a:lnTo>
                      <a:pt x="1759" y="1122"/>
                    </a:lnTo>
                    <a:lnTo>
                      <a:pt x="1762" y="1114"/>
                    </a:lnTo>
                    <a:lnTo>
                      <a:pt x="1762" y="1111"/>
                    </a:lnTo>
                    <a:lnTo>
                      <a:pt x="1765" y="1103"/>
                    </a:lnTo>
                    <a:lnTo>
                      <a:pt x="1765" y="1089"/>
                    </a:lnTo>
                    <a:lnTo>
                      <a:pt x="1765" y="1086"/>
                    </a:lnTo>
                    <a:lnTo>
                      <a:pt x="1765" y="1083"/>
                    </a:lnTo>
                    <a:lnTo>
                      <a:pt x="1765" y="1083"/>
                    </a:lnTo>
                    <a:lnTo>
                      <a:pt x="1762" y="1069"/>
                    </a:lnTo>
                    <a:lnTo>
                      <a:pt x="1765" y="1067"/>
                    </a:lnTo>
                    <a:lnTo>
                      <a:pt x="1765" y="1055"/>
                    </a:lnTo>
                    <a:lnTo>
                      <a:pt x="1768" y="1055"/>
                    </a:lnTo>
                    <a:lnTo>
                      <a:pt x="1768" y="1055"/>
                    </a:lnTo>
                    <a:lnTo>
                      <a:pt x="1768" y="1053"/>
                    </a:lnTo>
                    <a:lnTo>
                      <a:pt x="1768" y="1053"/>
                    </a:lnTo>
                    <a:lnTo>
                      <a:pt x="1770" y="1047"/>
                    </a:lnTo>
                    <a:lnTo>
                      <a:pt x="1773" y="1044"/>
                    </a:lnTo>
                    <a:lnTo>
                      <a:pt x="1776" y="1039"/>
                    </a:lnTo>
                    <a:lnTo>
                      <a:pt x="1776" y="1036"/>
                    </a:lnTo>
                    <a:lnTo>
                      <a:pt x="1779" y="1033"/>
                    </a:lnTo>
                    <a:lnTo>
                      <a:pt x="1773" y="1028"/>
                    </a:lnTo>
                    <a:lnTo>
                      <a:pt x="1776" y="1022"/>
                    </a:lnTo>
                    <a:lnTo>
                      <a:pt x="1773" y="1014"/>
                    </a:lnTo>
                    <a:lnTo>
                      <a:pt x="1768" y="1011"/>
                    </a:lnTo>
                    <a:lnTo>
                      <a:pt x="1765" y="1011"/>
                    </a:lnTo>
                    <a:lnTo>
                      <a:pt x="1759" y="1008"/>
                    </a:lnTo>
                    <a:lnTo>
                      <a:pt x="1757" y="1005"/>
                    </a:lnTo>
                    <a:lnTo>
                      <a:pt x="1754" y="1008"/>
                    </a:lnTo>
                    <a:lnTo>
                      <a:pt x="1757" y="1005"/>
                    </a:lnTo>
                    <a:lnTo>
                      <a:pt x="1759" y="1005"/>
                    </a:lnTo>
                    <a:lnTo>
                      <a:pt x="1762" y="1008"/>
                    </a:lnTo>
                    <a:lnTo>
                      <a:pt x="1765" y="1008"/>
                    </a:lnTo>
                    <a:lnTo>
                      <a:pt x="1768" y="1008"/>
                    </a:lnTo>
                    <a:lnTo>
                      <a:pt x="1773" y="1011"/>
                    </a:lnTo>
                    <a:lnTo>
                      <a:pt x="1776" y="1011"/>
                    </a:lnTo>
                    <a:lnTo>
                      <a:pt x="1776" y="1008"/>
                    </a:lnTo>
                    <a:lnTo>
                      <a:pt x="1776" y="1005"/>
                    </a:lnTo>
                    <a:lnTo>
                      <a:pt x="1776" y="1003"/>
                    </a:lnTo>
                    <a:lnTo>
                      <a:pt x="1762" y="991"/>
                    </a:lnTo>
                    <a:lnTo>
                      <a:pt x="1759" y="991"/>
                    </a:lnTo>
                    <a:lnTo>
                      <a:pt x="1759" y="986"/>
                    </a:lnTo>
                    <a:lnTo>
                      <a:pt x="1757" y="983"/>
                    </a:lnTo>
                    <a:lnTo>
                      <a:pt x="1754" y="983"/>
                    </a:lnTo>
                    <a:lnTo>
                      <a:pt x="1751" y="980"/>
                    </a:lnTo>
                    <a:lnTo>
                      <a:pt x="1751" y="980"/>
                    </a:lnTo>
                    <a:lnTo>
                      <a:pt x="1748" y="980"/>
                    </a:lnTo>
                    <a:lnTo>
                      <a:pt x="1745" y="980"/>
                    </a:lnTo>
                    <a:lnTo>
                      <a:pt x="1743" y="980"/>
                    </a:lnTo>
                    <a:lnTo>
                      <a:pt x="1734" y="977"/>
                    </a:lnTo>
                    <a:lnTo>
                      <a:pt x="1734" y="983"/>
                    </a:lnTo>
                    <a:lnTo>
                      <a:pt x="1737" y="983"/>
                    </a:lnTo>
                    <a:lnTo>
                      <a:pt x="1734" y="997"/>
                    </a:lnTo>
                    <a:lnTo>
                      <a:pt x="1729" y="1000"/>
                    </a:lnTo>
                    <a:lnTo>
                      <a:pt x="1732" y="994"/>
                    </a:lnTo>
                    <a:lnTo>
                      <a:pt x="1734" y="991"/>
                    </a:lnTo>
                    <a:lnTo>
                      <a:pt x="1732" y="989"/>
                    </a:lnTo>
                    <a:lnTo>
                      <a:pt x="1726" y="994"/>
                    </a:lnTo>
                    <a:lnTo>
                      <a:pt x="1718" y="997"/>
                    </a:lnTo>
                    <a:lnTo>
                      <a:pt x="1712" y="997"/>
                    </a:lnTo>
                    <a:lnTo>
                      <a:pt x="1712" y="997"/>
                    </a:lnTo>
                    <a:lnTo>
                      <a:pt x="1715" y="994"/>
                    </a:lnTo>
                    <a:lnTo>
                      <a:pt x="1720" y="989"/>
                    </a:lnTo>
                    <a:lnTo>
                      <a:pt x="1718" y="989"/>
                    </a:lnTo>
                    <a:lnTo>
                      <a:pt x="1715" y="986"/>
                    </a:lnTo>
                    <a:lnTo>
                      <a:pt x="1715" y="983"/>
                    </a:lnTo>
                    <a:lnTo>
                      <a:pt x="1715" y="983"/>
                    </a:lnTo>
                    <a:lnTo>
                      <a:pt x="1718" y="980"/>
                    </a:lnTo>
                    <a:lnTo>
                      <a:pt x="1720" y="977"/>
                    </a:lnTo>
                    <a:lnTo>
                      <a:pt x="1715" y="977"/>
                    </a:lnTo>
                    <a:lnTo>
                      <a:pt x="1712" y="980"/>
                    </a:lnTo>
                    <a:lnTo>
                      <a:pt x="1712" y="983"/>
                    </a:lnTo>
                    <a:lnTo>
                      <a:pt x="1712" y="986"/>
                    </a:lnTo>
                    <a:lnTo>
                      <a:pt x="1712" y="989"/>
                    </a:lnTo>
                    <a:lnTo>
                      <a:pt x="1709" y="991"/>
                    </a:lnTo>
                    <a:lnTo>
                      <a:pt x="1706" y="991"/>
                    </a:lnTo>
                    <a:lnTo>
                      <a:pt x="1706" y="991"/>
                    </a:lnTo>
                    <a:lnTo>
                      <a:pt x="1704" y="991"/>
                    </a:lnTo>
                    <a:lnTo>
                      <a:pt x="1706" y="977"/>
                    </a:lnTo>
                    <a:lnTo>
                      <a:pt x="1706" y="977"/>
                    </a:lnTo>
                    <a:lnTo>
                      <a:pt x="1706" y="972"/>
                    </a:lnTo>
                    <a:lnTo>
                      <a:pt x="1704" y="969"/>
                    </a:lnTo>
                    <a:lnTo>
                      <a:pt x="1701" y="969"/>
                    </a:lnTo>
                    <a:lnTo>
                      <a:pt x="1690" y="972"/>
                    </a:lnTo>
                    <a:lnTo>
                      <a:pt x="1681" y="966"/>
                    </a:lnTo>
                    <a:lnTo>
                      <a:pt x="1681" y="961"/>
                    </a:lnTo>
                    <a:lnTo>
                      <a:pt x="1690" y="955"/>
                    </a:lnTo>
                    <a:lnTo>
                      <a:pt x="1693" y="952"/>
                    </a:lnTo>
                    <a:lnTo>
                      <a:pt x="1698" y="950"/>
                    </a:lnTo>
                    <a:lnTo>
                      <a:pt x="1701" y="944"/>
                    </a:lnTo>
                    <a:lnTo>
                      <a:pt x="1701" y="944"/>
                    </a:lnTo>
                    <a:lnTo>
                      <a:pt x="1704" y="944"/>
                    </a:lnTo>
                    <a:lnTo>
                      <a:pt x="1720" y="927"/>
                    </a:lnTo>
                    <a:lnTo>
                      <a:pt x="1723" y="922"/>
                    </a:lnTo>
                    <a:lnTo>
                      <a:pt x="1726" y="922"/>
                    </a:lnTo>
                    <a:lnTo>
                      <a:pt x="1726" y="919"/>
                    </a:lnTo>
                    <a:lnTo>
                      <a:pt x="1726" y="916"/>
                    </a:lnTo>
                    <a:lnTo>
                      <a:pt x="1732" y="911"/>
                    </a:lnTo>
                    <a:lnTo>
                      <a:pt x="1732" y="908"/>
                    </a:lnTo>
                    <a:lnTo>
                      <a:pt x="1732" y="911"/>
                    </a:lnTo>
                    <a:lnTo>
                      <a:pt x="1734" y="905"/>
                    </a:lnTo>
                    <a:lnTo>
                      <a:pt x="1743" y="894"/>
                    </a:lnTo>
                    <a:lnTo>
                      <a:pt x="1745" y="897"/>
                    </a:lnTo>
                    <a:lnTo>
                      <a:pt x="1751" y="888"/>
                    </a:lnTo>
                    <a:lnTo>
                      <a:pt x="1754" y="886"/>
                    </a:lnTo>
                    <a:lnTo>
                      <a:pt x="1754" y="886"/>
                    </a:lnTo>
                    <a:lnTo>
                      <a:pt x="1762" y="880"/>
                    </a:lnTo>
                    <a:lnTo>
                      <a:pt x="1765" y="877"/>
                    </a:lnTo>
                    <a:lnTo>
                      <a:pt x="1765" y="872"/>
                    </a:lnTo>
                    <a:lnTo>
                      <a:pt x="1804" y="835"/>
                    </a:lnTo>
                    <a:lnTo>
                      <a:pt x="1848" y="833"/>
                    </a:lnTo>
                    <a:lnTo>
                      <a:pt x="1848" y="838"/>
                    </a:lnTo>
                    <a:lnTo>
                      <a:pt x="1848" y="838"/>
                    </a:lnTo>
                    <a:lnTo>
                      <a:pt x="1851" y="841"/>
                    </a:lnTo>
                    <a:lnTo>
                      <a:pt x="1854" y="838"/>
                    </a:lnTo>
                    <a:lnTo>
                      <a:pt x="1854" y="838"/>
                    </a:lnTo>
                    <a:lnTo>
                      <a:pt x="1854" y="833"/>
                    </a:lnTo>
                    <a:lnTo>
                      <a:pt x="1857" y="830"/>
                    </a:lnTo>
                    <a:lnTo>
                      <a:pt x="1873" y="838"/>
                    </a:lnTo>
                    <a:lnTo>
                      <a:pt x="1876" y="838"/>
                    </a:lnTo>
                    <a:lnTo>
                      <a:pt x="1876" y="835"/>
                    </a:lnTo>
                    <a:lnTo>
                      <a:pt x="1879" y="833"/>
                    </a:lnTo>
                    <a:lnTo>
                      <a:pt x="1885" y="833"/>
                    </a:lnTo>
                    <a:lnTo>
                      <a:pt x="1887" y="838"/>
                    </a:lnTo>
                    <a:lnTo>
                      <a:pt x="1890" y="838"/>
                    </a:lnTo>
                    <a:lnTo>
                      <a:pt x="1893" y="838"/>
                    </a:lnTo>
                    <a:lnTo>
                      <a:pt x="1893" y="835"/>
                    </a:lnTo>
                    <a:lnTo>
                      <a:pt x="1893" y="835"/>
                    </a:lnTo>
                    <a:lnTo>
                      <a:pt x="1890" y="833"/>
                    </a:lnTo>
                    <a:lnTo>
                      <a:pt x="1893" y="830"/>
                    </a:lnTo>
                    <a:lnTo>
                      <a:pt x="1899" y="830"/>
                    </a:lnTo>
                    <a:lnTo>
                      <a:pt x="1899" y="830"/>
                    </a:lnTo>
                    <a:lnTo>
                      <a:pt x="1896" y="827"/>
                    </a:lnTo>
                    <a:lnTo>
                      <a:pt x="1896" y="824"/>
                    </a:lnTo>
                    <a:lnTo>
                      <a:pt x="1899" y="822"/>
                    </a:lnTo>
                    <a:lnTo>
                      <a:pt x="1904" y="822"/>
                    </a:lnTo>
                    <a:lnTo>
                      <a:pt x="1915" y="827"/>
                    </a:lnTo>
                    <a:lnTo>
                      <a:pt x="1918" y="827"/>
                    </a:lnTo>
                    <a:lnTo>
                      <a:pt x="1924" y="830"/>
                    </a:lnTo>
                    <a:lnTo>
                      <a:pt x="1924" y="830"/>
                    </a:lnTo>
                    <a:lnTo>
                      <a:pt x="1926" y="833"/>
                    </a:lnTo>
                    <a:lnTo>
                      <a:pt x="1926" y="827"/>
                    </a:lnTo>
                    <a:lnTo>
                      <a:pt x="1929" y="827"/>
                    </a:lnTo>
                    <a:lnTo>
                      <a:pt x="1935" y="827"/>
                    </a:lnTo>
                    <a:lnTo>
                      <a:pt x="1938" y="833"/>
                    </a:lnTo>
                    <a:lnTo>
                      <a:pt x="1940" y="835"/>
                    </a:lnTo>
                    <a:lnTo>
                      <a:pt x="1946" y="838"/>
                    </a:lnTo>
                    <a:lnTo>
                      <a:pt x="1946" y="838"/>
                    </a:lnTo>
                    <a:lnTo>
                      <a:pt x="1943" y="841"/>
                    </a:lnTo>
                    <a:lnTo>
                      <a:pt x="1932" y="841"/>
                    </a:lnTo>
                    <a:lnTo>
                      <a:pt x="1929" y="841"/>
                    </a:lnTo>
                    <a:lnTo>
                      <a:pt x="1929" y="844"/>
                    </a:lnTo>
                    <a:lnTo>
                      <a:pt x="1935" y="849"/>
                    </a:lnTo>
                    <a:lnTo>
                      <a:pt x="1943" y="849"/>
                    </a:lnTo>
                    <a:lnTo>
                      <a:pt x="1946" y="849"/>
                    </a:lnTo>
                    <a:lnTo>
                      <a:pt x="1949" y="847"/>
                    </a:lnTo>
                    <a:lnTo>
                      <a:pt x="1951" y="844"/>
                    </a:lnTo>
                    <a:lnTo>
                      <a:pt x="1951" y="847"/>
                    </a:lnTo>
                    <a:lnTo>
                      <a:pt x="1957" y="847"/>
                    </a:lnTo>
                    <a:lnTo>
                      <a:pt x="1957" y="847"/>
                    </a:lnTo>
                    <a:lnTo>
                      <a:pt x="1960" y="844"/>
                    </a:lnTo>
                    <a:lnTo>
                      <a:pt x="1963" y="841"/>
                    </a:lnTo>
                    <a:lnTo>
                      <a:pt x="1965" y="841"/>
                    </a:lnTo>
                    <a:lnTo>
                      <a:pt x="1968" y="838"/>
                    </a:lnTo>
                    <a:lnTo>
                      <a:pt x="1971" y="841"/>
                    </a:lnTo>
                    <a:lnTo>
                      <a:pt x="1974" y="844"/>
                    </a:lnTo>
                    <a:lnTo>
                      <a:pt x="1977" y="844"/>
                    </a:lnTo>
                    <a:lnTo>
                      <a:pt x="1979" y="841"/>
                    </a:lnTo>
                    <a:lnTo>
                      <a:pt x="1982" y="838"/>
                    </a:lnTo>
                    <a:lnTo>
                      <a:pt x="1985" y="841"/>
                    </a:lnTo>
                    <a:lnTo>
                      <a:pt x="1988" y="841"/>
                    </a:lnTo>
                    <a:lnTo>
                      <a:pt x="1988" y="841"/>
                    </a:lnTo>
                    <a:lnTo>
                      <a:pt x="1990" y="841"/>
                    </a:lnTo>
                    <a:lnTo>
                      <a:pt x="1990" y="838"/>
                    </a:lnTo>
                    <a:lnTo>
                      <a:pt x="1990" y="835"/>
                    </a:lnTo>
                    <a:lnTo>
                      <a:pt x="1988" y="833"/>
                    </a:lnTo>
                    <a:lnTo>
                      <a:pt x="1982" y="830"/>
                    </a:lnTo>
                    <a:lnTo>
                      <a:pt x="1977" y="830"/>
                    </a:lnTo>
                    <a:lnTo>
                      <a:pt x="1977" y="827"/>
                    </a:lnTo>
                    <a:lnTo>
                      <a:pt x="1979" y="827"/>
                    </a:lnTo>
                    <a:lnTo>
                      <a:pt x="1977" y="819"/>
                    </a:lnTo>
                    <a:lnTo>
                      <a:pt x="1977" y="819"/>
                    </a:lnTo>
                    <a:lnTo>
                      <a:pt x="1979" y="819"/>
                    </a:lnTo>
                    <a:lnTo>
                      <a:pt x="1979" y="819"/>
                    </a:lnTo>
                    <a:lnTo>
                      <a:pt x="1988" y="805"/>
                    </a:lnTo>
                    <a:lnTo>
                      <a:pt x="1990" y="802"/>
                    </a:lnTo>
                    <a:lnTo>
                      <a:pt x="1993" y="799"/>
                    </a:lnTo>
                    <a:lnTo>
                      <a:pt x="2004" y="791"/>
                    </a:lnTo>
                    <a:lnTo>
                      <a:pt x="2004" y="788"/>
                    </a:lnTo>
                    <a:lnTo>
                      <a:pt x="2015" y="774"/>
                    </a:lnTo>
                    <a:lnTo>
                      <a:pt x="2015" y="769"/>
                    </a:lnTo>
                    <a:lnTo>
                      <a:pt x="2024" y="760"/>
                    </a:lnTo>
                    <a:lnTo>
                      <a:pt x="2027" y="760"/>
                    </a:lnTo>
                    <a:lnTo>
                      <a:pt x="2029" y="758"/>
                    </a:lnTo>
                    <a:lnTo>
                      <a:pt x="2038" y="758"/>
                    </a:lnTo>
                    <a:lnTo>
                      <a:pt x="2049" y="755"/>
                    </a:lnTo>
                    <a:lnTo>
                      <a:pt x="2052" y="755"/>
                    </a:lnTo>
                    <a:lnTo>
                      <a:pt x="2052" y="752"/>
                    </a:lnTo>
                    <a:lnTo>
                      <a:pt x="2054" y="752"/>
                    </a:lnTo>
                    <a:lnTo>
                      <a:pt x="2057" y="755"/>
                    </a:lnTo>
                    <a:lnTo>
                      <a:pt x="2060" y="758"/>
                    </a:lnTo>
                    <a:lnTo>
                      <a:pt x="2060" y="760"/>
                    </a:lnTo>
                    <a:lnTo>
                      <a:pt x="2066" y="760"/>
                    </a:lnTo>
                    <a:lnTo>
                      <a:pt x="2074" y="752"/>
                    </a:lnTo>
                    <a:lnTo>
                      <a:pt x="2071" y="763"/>
                    </a:lnTo>
                    <a:lnTo>
                      <a:pt x="2068" y="766"/>
                    </a:lnTo>
                    <a:lnTo>
                      <a:pt x="2066" y="771"/>
                    </a:lnTo>
                    <a:lnTo>
                      <a:pt x="2066" y="774"/>
                    </a:lnTo>
                    <a:lnTo>
                      <a:pt x="2068" y="777"/>
                    </a:lnTo>
                    <a:lnTo>
                      <a:pt x="2066" y="780"/>
                    </a:lnTo>
                    <a:lnTo>
                      <a:pt x="2066" y="783"/>
                    </a:lnTo>
                    <a:lnTo>
                      <a:pt x="2066" y="783"/>
                    </a:lnTo>
                    <a:lnTo>
                      <a:pt x="2066" y="785"/>
                    </a:lnTo>
                    <a:lnTo>
                      <a:pt x="2074" y="783"/>
                    </a:lnTo>
                    <a:lnTo>
                      <a:pt x="2068" y="794"/>
                    </a:lnTo>
                    <a:lnTo>
                      <a:pt x="2071" y="797"/>
                    </a:lnTo>
                    <a:lnTo>
                      <a:pt x="2071" y="794"/>
                    </a:lnTo>
                    <a:lnTo>
                      <a:pt x="2077" y="791"/>
                    </a:lnTo>
                    <a:lnTo>
                      <a:pt x="2080" y="791"/>
                    </a:lnTo>
                    <a:lnTo>
                      <a:pt x="2105" y="763"/>
                    </a:lnTo>
                    <a:lnTo>
                      <a:pt x="2107" y="763"/>
                    </a:lnTo>
                    <a:lnTo>
                      <a:pt x="2110" y="760"/>
                    </a:lnTo>
                    <a:lnTo>
                      <a:pt x="2110" y="760"/>
                    </a:lnTo>
                    <a:lnTo>
                      <a:pt x="2113" y="760"/>
                    </a:lnTo>
                    <a:lnTo>
                      <a:pt x="2113" y="763"/>
                    </a:lnTo>
                    <a:lnTo>
                      <a:pt x="2113" y="766"/>
                    </a:lnTo>
                    <a:lnTo>
                      <a:pt x="2116" y="766"/>
                    </a:lnTo>
                    <a:lnTo>
                      <a:pt x="2119" y="760"/>
                    </a:lnTo>
                    <a:lnTo>
                      <a:pt x="2116" y="760"/>
                    </a:lnTo>
                    <a:lnTo>
                      <a:pt x="2113" y="758"/>
                    </a:lnTo>
                    <a:lnTo>
                      <a:pt x="2116" y="746"/>
                    </a:lnTo>
                    <a:lnTo>
                      <a:pt x="2116" y="746"/>
                    </a:lnTo>
                    <a:lnTo>
                      <a:pt x="2119" y="741"/>
                    </a:lnTo>
                    <a:lnTo>
                      <a:pt x="2119" y="738"/>
                    </a:lnTo>
                    <a:lnTo>
                      <a:pt x="2119" y="735"/>
                    </a:lnTo>
                    <a:lnTo>
                      <a:pt x="2124" y="732"/>
                    </a:lnTo>
                    <a:lnTo>
                      <a:pt x="2135" y="727"/>
                    </a:lnTo>
                    <a:lnTo>
                      <a:pt x="2141" y="727"/>
                    </a:lnTo>
                    <a:lnTo>
                      <a:pt x="2144" y="732"/>
                    </a:lnTo>
                    <a:lnTo>
                      <a:pt x="2144" y="735"/>
                    </a:lnTo>
                    <a:lnTo>
                      <a:pt x="2141" y="735"/>
                    </a:lnTo>
                    <a:lnTo>
                      <a:pt x="2132" y="741"/>
                    </a:lnTo>
                    <a:lnTo>
                      <a:pt x="2130" y="760"/>
                    </a:lnTo>
                    <a:lnTo>
                      <a:pt x="2127" y="763"/>
                    </a:lnTo>
                    <a:lnTo>
                      <a:pt x="2127" y="769"/>
                    </a:lnTo>
                    <a:lnTo>
                      <a:pt x="2127" y="771"/>
                    </a:lnTo>
                    <a:lnTo>
                      <a:pt x="2127" y="774"/>
                    </a:lnTo>
                    <a:lnTo>
                      <a:pt x="2124" y="777"/>
                    </a:lnTo>
                    <a:lnTo>
                      <a:pt x="2124" y="777"/>
                    </a:lnTo>
                    <a:lnTo>
                      <a:pt x="2121" y="783"/>
                    </a:lnTo>
                    <a:lnTo>
                      <a:pt x="2124" y="785"/>
                    </a:lnTo>
                    <a:lnTo>
                      <a:pt x="2124" y="785"/>
                    </a:lnTo>
                    <a:lnTo>
                      <a:pt x="2119" y="791"/>
                    </a:lnTo>
                    <a:lnTo>
                      <a:pt x="2116" y="791"/>
                    </a:lnTo>
                    <a:lnTo>
                      <a:pt x="2113" y="791"/>
                    </a:lnTo>
                    <a:lnTo>
                      <a:pt x="2110" y="797"/>
                    </a:lnTo>
                    <a:lnTo>
                      <a:pt x="2105" y="797"/>
                    </a:lnTo>
                    <a:lnTo>
                      <a:pt x="2096" y="799"/>
                    </a:lnTo>
                    <a:lnTo>
                      <a:pt x="2096" y="802"/>
                    </a:lnTo>
                    <a:lnTo>
                      <a:pt x="2096" y="805"/>
                    </a:lnTo>
                    <a:lnTo>
                      <a:pt x="2096" y="808"/>
                    </a:lnTo>
                    <a:lnTo>
                      <a:pt x="2082" y="824"/>
                    </a:lnTo>
                    <a:lnTo>
                      <a:pt x="2074" y="827"/>
                    </a:lnTo>
                    <a:lnTo>
                      <a:pt x="2071" y="833"/>
                    </a:lnTo>
                    <a:lnTo>
                      <a:pt x="2068" y="835"/>
                    </a:lnTo>
                    <a:lnTo>
                      <a:pt x="2063" y="841"/>
                    </a:lnTo>
                    <a:lnTo>
                      <a:pt x="2063" y="847"/>
                    </a:lnTo>
                    <a:lnTo>
                      <a:pt x="2043" y="872"/>
                    </a:lnTo>
                    <a:lnTo>
                      <a:pt x="2038" y="874"/>
                    </a:lnTo>
                    <a:lnTo>
                      <a:pt x="2032" y="874"/>
                    </a:lnTo>
                    <a:lnTo>
                      <a:pt x="2027" y="880"/>
                    </a:lnTo>
                    <a:lnTo>
                      <a:pt x="2021" y="880"/>
                    </a:lnTo>
                    <a:lnTo>
                      <a:pt x="2018" y="880"/>
                    </a:lnTo>
                    <a:lnTo>
                      <a:pt x="2021" y="888"/>
                    </a:lnTo>
                    <a:lnTo>
                      <a:pt x="2018" y="900"/>
                    </a:lnTo>
                    <a:lnTo>
                      <a:pt x="2004" y="908"/>
                    </a:lnTo>
                    <a:lnTo>
                      <a:pt x="1999" y="933"/>
                    </a:lnTo>
                    <a:lnTo>
                      <a:pt x="2002" y="986"/>
                    </a:lnTo>
                    <a:lnTo>
                      <a:pt x="2004" y="986"/>
                    </a:lnTo>
                    <a:lnTo>
                      <a:pt x="2018" y="1064"/>
                    </a:lnTo>
                    <a:lnTo>
                      <a:pt x="2041" y="1042"/>
                    </a:lnTo>
                    <a:lnTo>
                      <a:pt x="2043" y="1028"/>
                    </a:lnTo>
                    <a:lnTo>
                      <a:pt x="2043" y="1022"/>
                    </a:lnTo>
                    <a:lnTo>
                      <a:pt x="2043" y="1022"/>
                    </a:lnTo>
                    <a:lnTo>
                      <a:pt x="2046" y="1016"/>
                    </a:lnTo>
                    <a:lnTo>
                      <a:pt x="2043" y="1016"/>
                    </a:lnTo>
                    <a:lnTo>
                      <a:pt x="2046" y="1014"/>
                    </a:lnTo>
                    <a:lnTo>
                      <a:pt x="2046" y="1014"/>
                    </a:lnTo>
                    <a:lnTo>
                      <a:pt x="2049" y="1014"/>
                    </a:lnTo>
                    <a:lnTo>
                      <a:pt x="2054" y="1008"/>
                    </a:lnTo>
                    <a:lnTo>
                      <a:pt x="2063" y="1005"/>
                    </a:lnTo>
                    <a:lnTo>
                      <a:pt x="2068" y="1008"/>
                    </a:lnTo>
                    <a:lnTo>
                      <a:pt x="2066" y="1005"/>
                    </a:lnTo>
                    <a:lnTo>
                      <a:pt x="2066" y="1005"/>
                    </a:lnTo>
                    <a:lnTo>
                      <a:pt x="2066" y="986"/>
                    </a:lnTo>
                    <a:lnTo>
                      <a:pt x="2077" y="975"/>
                    </a:lnTo>
                    <a:lnTo>
                      <a:pt x="2082" y="972"/>
                    </a:lnTo>
                    <a:lnTo>
                      <a:pt x="2085" y="969"/>
                    </a:lnTo>
                    <a:lnTo>
                      <a:pt x="2088" y="972"/>
                    </a:lnTo>
                    <a:lnTo>
                      <a:pt x="2091" y="972"/>
                    </a:lnTo>
                    <a:lnTo>
                      <a:pt x="2093" y="972"/>
                    </a:lnTo>
                    <a:lnTo>
                      <a:pt x="2099" y="966"/>
                    </a:lnTo>
                    <a:lnTo>
                      <a:pt x="2099" y="964"/>
                    </a:lnTo>
                    <a:lnTo>
                      <a:pt x="2093" y="958"/>
                    </a:lnTo>
                    <a:lnTo>
                      <a:pt x="2093" y="950"/>
                    </a:lnTo>
                    <a:lnTo>
                      <a:pt x="2096" y="933"/>
                    </a:lnTo>
                    <a:lnTo>
                      <a:pt x="2099" y="930"/>
                    </a:lnTo>
                    <a:lnTo>
                      <a:pt x="2105" y="927"/>
                    </a:lnTo>
                    <a:lnTo>
                      <a:pt x="2102" y="922"/>
                    </a:lnTo>
                    <a:lnTo>
                      <a:pt x="2102" y="922"/>
                    </a:lnTo>
                    <a:lnTo>
                      <a:pt x="2110" y="919"/>
                    </a:lnTo>
                    <a:lnTo>
                      <a:pt x="2113" y="916"/>
                    </a:lnTo>
                    <a:lnTo>
                      <a:pt x="2113" y="919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07" y="925"/>
                    </a:lnTo>
                    <a:lnTo>
                      <a:pt x="2110" y="930"/>
                    </a:lnTo>
                    <a:lnTo>
                      <a:pt x="2113" y="933"/>
                    </a:lnTo>
                    <a:lnTo>
                      <a:pt x="2116" y="933"/>
                    </a:lnTo>
                    <a:lnTo>
                      <a:pt x="2119" y="927"/>
                    </a:lnTo>
                    <a:lnTo>
                      <a:pt x="2119" y="925"/>
                    </a:lnTo>
                    <a:lnTo>
                      <a:pt x="2116" y="913"/>
                    </a:lnTo>
                    <a:lnTo>
                      <a:pt x="2116" y="911"/>
                    </a:lnTo>
                    <a:lnTo>
                      <a:pt x="2110" y="913"/>
                    </a:lnTo>
                    <a:lnTo>
                      <a:pt x="2110" y="911"/>
                    </a:lnTo>
                    <a:lnTo>
                      <a:pt x="2110" y="897"/>
                    </a:lnTo>
                    <a:lnTo>
                      <a:pt x="2110" y="894"/>
                    </a:lnTo>
                    <a:lnTo>
                      <a:pt x="2113" y="888"/>
                    </a:lnTo>
                    <a:lnTo>
                      <a:pt x="2116" y="883"/>
                    </a:lnTo>
                    <a:lnTo>
                      <a:pt x="2116" y="880"/>
                    </a:lnTo>
                    <a:lnTo>
                      <a:pt x="2107" y="877"/>
                    </a:lnTo>
                    <a:lnTo>
                      <a:pt x="2105" y="877"/>
                    </a:lnTo>
                    <a:lnTo>
                      <a:pt x="2105" y="880"/>
                    </a:lnTo>
                    <a:lnTo>
                      <a:pt x="2102" y="883"/>
                    </a:lnTo>
                    <a:lnTo>
                      <a:pt x="2102" y="883"/>
                    </a:lnTo>
                    <a:lnTo>
                      <a:pt x="2099" y="880"/>
                    </a:lnTo>
                    <a:lnTo>
                      <a:pt x="2099" y="877"/>
                    </a:lnTo>
                    <a:lnTo>
                      <a:pt x="2099" y="872"/>
                    </a:lnTo>
                    <a:lnTo>
                      <a:pt x="2113" y="847"/>
                    </a:lnTo>
                    <a:lnTo>
                      <a:pt x="2113" y="841"/>
                    </a:lnTo>
                    <a:lnTo>
                      <a:pt x="2113" y="841"/>
                    </a:lnTo>
                    <a:lnTo>
                      <a:pt x="2116" y="841"/>
                    </a:lnTo>
                    <a:lnTo>
                      <a:pt x="2116" y="841"/>
                    </a:lnTo>
                    <a:lnTo>
                      <a:pt x="2116" y="838"/>
                    </a:lnTo>
                    <a:lnTo>
                      <a:pt x="2119" y="835"/>
                    </a:lnTo>
                    <a:lnTo>
                      <a:pt x="2119" y="835"/>
                    </a:lnTo>
                    <a:lnTo>
                      <a:pt x="2119" y="830"/>
                    </a:lnTo>
                    <a:lnTo>
                      <a:pt x="2119" y="827"/>
                    </a:lnTo>
                    <a:lnTo>
                      <a:pt x="2119" y="824"/>
                    </a:lnTo>
                    <a:lnTo>
                      <a:pt x="2121" y="822"/>
                    </a:lnTo>
                    <a:lnTo>
                      <a:pt x="2121" y="819"/>
                    </a:lnTo>
                    <a:lnTo>
                      <a:pt x="2124" y="816"/>
                    </a:lnTo>
                    <a:lnTo>
                      <a:pt x="2130" y="813"/>
                    </a:lnTo>
                    <a:lnTo>
                      <a:pt x="2130" y="816"/>
                    </a:lnTo>
                    <a:lnTo>
                      <a:pt x="2132" y="819"/>
                    </a:lnTo>
                    <a:lnTo>
                      <a:pt x="2135" y="816"/>
                    </a:lnTo>
                    <a:lnTo>
                      <a:pt x="2138" y="813"/>
                    </a:lnTo>
                    <a:lnTo>
                      <a:pt x="2141" y="816"/>
                    </a:lnTo>
                    <a:lnTo>
                      <a:pt x="2141" y="819"/>
                    </a:lnTo>
                    <a:lnTo>
                      <a:pt x="2144" y="819"/>
                    </a:lnTo>
                    <a:lnTo>
                      <a:pt x="2146" y="816"/>
                    </a:lnTo>
                    <a:lnTo>
                      <a:pt x="2146" y="810"/>
                    </a:lnTo>
                    <a:lnTo>
                      <a:pt x="2149" y="808"/>
                    </a:lnTo>
                    <a:lnTo>
                      <a:pt x="2157" y="805"/>
                    </a:lnTo>
                    <a:lnTo>
                      <a:pt x="2163" y="797"/>
                    </a:lnTo>
                    <a:lnTo>
                      <a:pt x="2163" y="799"/>
                    </a:lnTo>
                    <a:lnTo>
                      <a:pt x="2166" y="802"/>
                    </a:lnTo>
                    <a:lnTo>
                      <a:pt x="2163" y="802"/>
                    </a:lnTo>
                    <a:lnTo>
                      <a:pt x="2163" y="808"/>
                    </a:lnTo>
                    <a:lnTo>
                      <a:pt x="2163" y="816"/>
                    </a:lnTo>
                    <a:lnTo>
                      <a:pt x="2163" y="819"/>
                    </a:lnTo>
                    <a:lnTo>
                      <a:pt x="2163" y="819"/>
                    </a:lnTo>
                    <a:lnTo>
                      <a:pt x="2163" y="819"/>
                    </a:lnTo>
                    <a:lnTo>
                      <a:pt x="2174" y="808"/>
                    </a:lnTo>
                    <a:lnTo>
                      <a:pt x="2174" y="805"/>
                    </a:lnTo>
                    <a:lnTo>
                      <a:pt x="2174" y="802"/>
                    </a:lnTo>
                    <a:lnTo>
                      <a:pt x="2177" y="802"/>
                    </a:lnTo>
                    <a:lnTo>
                      <a:pt x="2177" y="802"/>
                    </a:lnTo>
                    <a:lnTo>
                      <a:pt x="2180" y="802"/>
                    </a:lnTo>
                    <a:lnTo>
                      <a:pt x="2183" y="799"/>
                    </a:lnTo>
                    <a:lnTo>
                      <a:pt x="2188" y="797"/>
                    </a:lnTo>
                    <a:lnTo>
                      <a:pt x="2191" y="797"/>
                    </a:lnTo>
                    <a:lnTo>
                      <a:pt x="2194" y="794"/>
                    </a:lnTo>
                    <a:lnTo>
                      <a:pt x="2196" y="797"/>
                    </a:lnTo>
                    <a:lnTo>
                      <a:pt x="2205" y="797"/>
                    </a:lnTo>
                    <a:lnTo>
                      <a:pt x="2213" y="799"/>
                    </a:lnTo>
                    <a:lnTo>
                      <a:pt x="2216" y="802"/>
                    </a:lnTo>
                    <a:lnTo>
                      <a:pt x="2219" y="805"/>
                    </a:lnTo>
                    <a:lnTo>
                      <a:pt x="2224" y="813"/>
                    </a:lnTo>
                    <a:lnTo>
                      <a:pt x="2224" y="816"/>
                    </a:lnTo>
                    <a:lnTo>
                      <a:pt x="2227" y="816"/>
                    </a:lnTo>
                    <a:lnTo>
                      <a:pt x="2227" y="816"/>
                    </a:lnTo>
                    <a:lnTo>
                      <a:pt x="2230" y="810"/>
                    </a:lnTo>
                    <a:lnTo>
                      <a:pt x="2233" y="802"/>
                    </a:lnTo>
                    <a:lnTo>
                      <a:pt x="2233" y="802"/>
                    </a:lnTo>
                    <a:lnTo>
                      <a:pt x="2230" y="799"/>
                    </a:lnTo>
                    <a:lnTo>
                      <a:pt x="2235" y="797"/>
                    </a:lnTo>
                    <a:lnTo>
                      <a:pt x="2238" y="797"/>
                    </a:lnTo>
                    <a:lnTo>
                      <a:pt x="2238" y="794"/>
                    </a:lnTo>
                    <a:lnTo>
                      <a:pt x="2241" y="797"/>
                    </a:lnTo>
                    <a:lnTo>
                      <a:pt x="2244" y="797"/>
                    </a:lnTo>
                    <a:lnTo>
                      <a:pt x="2247" y="791"/>
                    </a:lnTo>
                    <a:lnTo>
                      <a:pt x="2247" y="791"/>
                    </a:lnTo>
                    <a:lnTo>
                      <a:pt x="2247" y="788"/>
                    </a:lnTo>
                    <a:lnTo>
                      <a:pt x="2249" y="788"/>
                    </a:lnTo>
                    <a:lnTo>
                      <a:pt x="2252" y="785"/>
                    </a:lnTo>
                    <a:lnTo>
                      <a:pt x="2255" y="785"/>
                    </a:lnTo>
                    <a:lnTo>
                      <a:pt x="2255" y="785"/>
                    </a:lnTo>
                    <a:lnTo>
                      <a:pt x="2255" y="783"/>
                    </a:lnTo>
                    <a:lnTo>
                      <a:pt x="2255" y="783"/>
                    </a:lnTo>
                    <a:lnTo>
                      <a:pt x="2255" y="780"/>
                    </a:lnTo>
                    <a:lnTo>
                      <a:pt x="2255" y="780"/>
                    </a:lnTo>
                    <a:lnTo>
                      <a:pt x="2258" y="783"/>
                    </a:lnTo>
                    <a:lnTo>
                      <a:pt x="2258" y="783"/>
                    </a:lnTo>
                    <a:lnTo>
                      <a:pt x="2260" y="783"/>
                    </a:lnTo>
                    <a:lnTo>
                      <a:pt x="2260" y="777"/>
                    </a:lnTo>
                    <a:lnTo>
                      <a:pt x="2260" y="777"/>
                    </a:lnTo>
                    <a:lnTo>
                      <a:pt x="2263" y="777"/>
                    </a:lnTo>
                    <a:lnTo>
                      <a:pt x="2266" y="774"/>
                    </a:lnTo>
                    <a:lnTo>
                      <a:pt x="2266" y="774"/>
                    </a:lnTo>
                    <a:lnTo>
                      <a:pt x="2266" y="771"/>
                    </a:lnTo>
                    <a:lnTo>
                      <a:pt x="2266" y="769"/>
                    </a:lnTo>
                    <a:lnTo>
                      <a:pt x="2266" y="769"/>
                    </a:lnTo>
                    <a:lnTo>
                      <a:pt x="2269" y="769"/>
                    </a:lnTo>
                    <a:lnTo>
                      <a:pt x="2269" y="769"/>
                    </a:lnTo>
                    <a:lnTo>
                      <a:pt x="2272" y="769"/>
                    </a:lnTo>
                    <a:lnTo>
                      <a:pt x="2272" y="769"/>
                    </a:lnTo>
                    <a:lnTo>
                      <a:pt x="2274" y="766"/>
                    </a:lnTo>
                    <a:lnTo>
                      <a:pt x="2274" y="766"/>
                    </a:lnTo>
                    <a:lnTo>
                      <a:pt x="2274" y="763"/>
                    </a:lnTo>
                    <a:lnTo>
                      <a:pt x="2277" y="760"/>
                    </a:lnTo>
                    <a:lnTo>
                      <a:pt x="2277" y="758"/>
                    </a:lnTo>
                    <a:lnTo>
                      <a:pt x="2277" y="758"/>
                    </a:lnTo>
                    <a:lnTo>
                      <a:pt x="2280" y="760"/>
                    </a:lnTo>
                    <a:lnTo>
                      <a:pt x="2280" y="760"/>
                    </a:lnTo>
                    <a:lnTo>
                      <a:pt x="2283" y="760"/>
                    </a:lnTo>
                    <a:lnTo>
                      <a:pt x="2286" y="758"/>
                    </a:lnTo>
                    <a:lnTo>
                      <a:pt x="2294" y="755"/>
                    </a:lnTo>
                    <a:lnTo>
                      <a:pt x="2297" y="752"/>
                    </a:lnTo>
                    <a:lnTo>
                      <a:pt x="2299" y="749"/>
                    </a:lnTo>
                    <a:lnTo>
                      <a:pt x="2302" y="749"/>
                    </a:lnTo>
                    <a:lnTo>
                      <a:pt x="2302" y="746"/>
                    </a:lnTo>
                    <a:lnTo>
                      <a:pt x="2302" y="744"/>
                    </a:lnTo>
                    <a:lnTo>
                      <a:pt x="2305" y="744"/>
                    </a:lnTo>
                    <a:lnTo>
                      <a:pt x="2302" y="746"/>
                    </a:lnTo>
                    <a:lnTo>
                      <a:pt x="2305" y="746"/>
                    </a:lnTo>
                    <a:lnTo>
                      <a:pt x="2311" y="744"/>
                    </a:lnTo>
                    <a:lnTo>
                      <a:pt x="2313" y="744"/>
                    </a:lnTo>
                    <a:lnTo>
                      <a:pt x="2327" y="735"/>
                    </a:lnTo>
                    <a:lnTo>
                      <a:pt x="2336" y="732"/>
                    </a:lnTo>
                    <a:lnTo>
                      <a:pt x="2336" y="730"/>
                    </a:lnTo>
                    <a:lnTo>
                      <a:pt x="2336" y="730"/>
                    </a:lnTo>
                    <a:lnTo>
                      <a:pt x="2333" y="730"/>
                    </a:lnTo>
                    <a:lnTo>
                      <a:pt x="2330" y="721"/>
                    </a:lnTo>
                    <a:lnTo>
                      <a:pt x="2333" y="721"/>
                    </a:lnTo>
                    <a:lnTo>
                      <a:pt x="2336" y="727"/>
                    </a:lnTo>
                    <a:lnTo>
                      <a:pt x="2338" y="727"/>
                    </a:lnTo>
                    <a:lnTo>
                      <a:pt x="2338" y="730"/>
                    </a:lnTo>
                    <a:lnTo>
                      <a:pt x="2338" y="730"/>
                    </a:lnTo>
                    <a:lnTo>
                      <a:pt x="2341" y="730"/>
                    </a:lnTo>
                    <a:lnTo>
                      <a:pt x="2341" y="730"/>
                    </a:lnTo>
                    <a:lnTo>
                      <a:pt x="2338" y="727"/>
                    </a:lnTo>
                    <a:lnTo>
                      <a:pt x="2341" y="727"/>
                    </a:lnTo>
                    <a:lnTo>
                      <a:pt x="2341" y="730"/>
                    </a:lnTo>
                    <a:lnTo>
                      <a:pt x="2344" y="730"/>
                    </a:lnTo>
                    <a:lnTo>
                      <a:pt x="2350" y="732"/>
                    </a:lnTo>
                    <a:lnTo>
                      <a:pt x="2358" y="738"/>
                    </a:lnTo>
                    <a:lnTo>
                      <a:pt x="2361" y="738"/>
                    </a:lnTo>
                    <a:lnTo>
                      <a:pt x="2364" y="738"/>
                    </a:lnTo>
                    <a:lnTo>
                      <a:pt x="2364" y="735"/>
                    </a:lnTo>
                    <a:lnTo>
                      <a:pt x="2366" y="735"/>
                    </a:lnTo>
                    <a:lnTo>
                      <a:pt x="2369" y="730"/>
                    </a:lnTo>
                    <a:lnTo>
                      <a:pt x="2372" y="724"/>
                    </a:lnTo>
                    <a:lnTo>
                      <a:pt x="2369" y="721"/>
                    </a:lnTo>
                    <a:lnTo>
                      <a:pt x="2364" y="719"/>
                    </a:lnTo>
                    <a:lnTo>
                      <a:pt x="2364" y="716"/>
                    </a:lnTo>
                    <a:lnTo>
                      <a:pt x="2364" y="716"/>
                    </a:lnTo>
                    <a:lnTo>
                      <a:pt x="2364" y="716"/>
                    </a:lnTo>
                    <a:lnTo>
                      <a:pt x="2364" y="713"/>
                    </a:lnTo>
                    <a:lnTo>
                      <a:pt x="2369" y="716"/>
                    </a:lnTo>
                    <a:lnTo>
                      <a:pt x="2369" y="713"/>
                    </a:lnTo>
                    <a:lnTo>
                      <a:pt x="2366" y="710"/>
                    </a:lnTo>
                    <a:lnTo>
                      <a:pt x="2366" y="710"/>
                    </a:lnTo>
                    <a:lnTo>
                      <a:pt x="2361" y="702"/>
                    </a:lnTo>
                    <a:lnTo>
                      <a:pt x="2358" y="682"/>
                    </a:lnTo>
                    <a:lnTo>
                      <a:pt x="2355" y="685"/>
                    </a:lnTo>
                    <a:lnTo>
                      <a:pt x="2352" y="680"/>
                    </a:lnTo>
                    <a:lnTo>
                      <a:pt x="2352" y="680"/>
                    </a:lnTo>
                    <a:lnTo>
                      <a:pt x="2355" y="677"/>
                    </a:lnTo>
                    <a:lnTo>
                      <a:pt x="2355" y="680"/>
                    </a:lnTo>
                    <a:lnTo>
                      <a:pt x="2352" y="668"/>
                    </a:lnTo>
                    <a:lnTo>
                      <a:pt x="2350" y="671"/>
                    </a:lnTo>
                    <a:lnTo>
                      <a:pt x="2350" y="674"/>
                    </a:lnTo>
                    <a:lnTo>
                      <a:pt x="2347" y="671"/>
                    </a:lnTo>
                    <a:lnTo>
                      <a:pt x="2344" y="668"/>
                    </a:lnTo>
                    <a:lnTo>
                      <a:pt x="2341" y="668"/>
                    </a:lnTo>
                    <a:lnTo>
                      <a:pt x="2338" y="666"/>
                    </a:lnTo>
                    <a:lnTo>
                      <a:pt x="2338" y="654"/>
                    </a:lnTo>
                    <a:lnTo>
                      <a:pt x="2341" y="652"/>
                    </a:lnTo>
                    <a:lnTo>
                      <a:pt x="2344" y="654"/>
                    </a:lnTo>
                    <a:lnTo>
                      <a:pt x="2350" y="657"/>
                    </a:lnTo>
                    <a:lnTo>
                      <a:pt x="2352" y="654"/>
                    </a:lnTo>
                    <a:lnTo>
                      <a:pt x="2350" y="654"/>
                    </a:lnTo>
                    <a:lnTo>
                      <a:pt x="2352" y="657"/>
                    </a:lnTo>
                    <a:lnTo>
                      <a:pt x="2358" y="657"/>
                    </a:lnTo>
                    <a:lnTo>
                      <a:pt x="2355" y="657"/>
                    </a:lnTo>
                    <a:lnTo>
                      <a:pt x="2355" y="660"/>
                    </a:lnTo>
                    <a:lnTo>
                      <a:pt x="2361" y="657"/>
                    </a:lnTo>
                    <a:lnTo>
                      <a:pt x="2364" y="654"/>
                    </a:lnTo>
                    <a:lnTo>
                      <a:pt x="2369" y="652"/>
                    </a:lnTo>
                    <a:lnTo>
                      <a:pt x="2377" y="643"/>
                    </a:lnTo>
                    <a:lnTo>
                      <a:pt x="2377" y="487"/>
                    </a:lnTo>
                    <a:lnTo>
                      <a:pt x="2358" y="471"/>
                    </a:lnTo>
                    <a:lnTo>
                      <a:pt x="2355" y="471"/>
                    </a:lnTo>
                    <a:lnTo>
                      <a:pt x="2352" y="465"/>
                    </a:lnTo>
                    <a:lnTo>
                      <a:pt x="2352" y="468"/>
                    </a:lnTo>
                    <a:lnTo>
                      <a:pt x="2341" y="462"/>
                    </a:lnTo>
                    <a:lnTo>
                      <a:pt x="2338" y="457"/>
                    </a:lnTo>
                    <a:lnTo>
                      <a:pt x="2336" y="457"/>
                    </a:lnTo>
                    <a:lnTo>
                      <a:pt x="2330" y="457"/>
                    </a:lnTo>
                    <a:lnTo>
                      <a:pt x="2327" y="454"/>
                    </a:lnTo>
                    <a:lnTo>
                      <a:pt x="2316" y="446"/>
                    </a:lnTo>
                    <a:lnTo>
                      <a:pt x="2299" y="446"/>
                    </a:lnTo>
                    <a:lnTo>
                      <a:pt x="2297" y="448"/>
                    </a:lnTo>
                    <a:lnTo>
                      <a:pt x="2294" y="448"/>
                    </a:lnTo>
                    <a:lnTo>
                      <a:pt x="2291" y="446"/>
                    </a:lnTo>
                    <a:lnTo>
                      <a:pt x="2288" y="446"/>
                    </a:lnTo>
                    <a:lnTo>
                      <a:pt x="2283" y="446"/>
                    </a:lnTo>
                    <a:lnTo>
                      <a:pt x="2277" y="446"/>
                    </a:lnTo>
                    <a:lnTo>
                      <a:pt x="2274" y="448"/>
                    </a:lnTo>
                    <a:lnTo>
                      <a:pt x="2269" y="446"/>
                    </a:lnTo>
                    <a:lnTo>
                      <a:pt x="2260" y="443"/>
                    </a:lnTo>
                    <a:lnTo>
                      <a:pt x="2260" y="443"/>
                    </a:lnTo>
                    <a:lnTo>
                      <a:pt x="2233" y="437"/>
                    </a:lnTo>
                    <a:lnTo>
                      <a:pt x="2230" y="440"/>
                    </a:lnTo>
                    <a:lnTo>
                      <a:pt x="2230" y="443"/>
                    </a:lnTo>
                    <a:lnTo>
                      <a:pt x="2230" y="446"/>
                    </a:lnTo>
                    <a:lnTo>
                      <a:pt x="2230" y="451"/>
                    </a:lnTo>
                    <a:lnTo>
                      <a:pt x="2224" y="454"/>
                    </a:lnTo>
                    <a:lnTo>
                      <a:pt x="2224" y="457"/>
                    </a:lnTo>
                    <a:lnTo>
                      <a:pt x="2233" y="460"/>
                    </a:lnTo>
                    <a:lnTo>
                      <a:pt x="2235" y="471"/>
                    </a:lnTo>
                    <a:lnTo>
                      <a:pt x="2235" y="471"/>
                    </a:lnTo>
                    <a:lnTo>
                      <a:pt x="2235" y="473"/>
                    </a:lnTo>
                    <a:lnTo>
                      <a:pt x="2238" y="482"/>
                    </a:lnTo>
                    <a:lnTo>
                      <a:pt x="2230" y="490"/>
                    </a:lnTo>
                    <a:lnTo>
                      <a:pt x="2224" y="496"/>
                    </a:lnTo>
                    <a:lnTo>
                      <a:pt x="2219" y="496"/>
                    </a:lnTo>
                    <a:lnTo>
                      <a:pt x="2216" y="493"/>
                    </a:lnTo>
                    <a:lnTo>
                      <a:pt x="2210" y="485"/>
                    </a:lnTo>
                    <a:lnTo>
                      <a:pt x="2208" y="482"/>
                    </a:lnTo>
                    <a:lnTo>
                      <a:pt x="2208" y="479"/>
                    </a:lnTo>
                    <a:lnTo>
                      <a:pt x="2205" y="479"/>
                    </a:lnTo>
                    <a:lnTo>
                      <a:pt x="2196" y="476"/>
                    </a:lnTo>
                    <a:lnTo>
                      <a:pt x="2196" y="476"/>
                    </a:lnTo>
                    <a:lnTo>
                      <a:pt x="2194" y="460"/>
                    </a:lnTo>
                    <a:lnTo>
                      <a:pt x="2188" y="457"/>
                    </a:lnTo>
                    <a:lnTo>
                      <a:pt x="2191" y="454"/>
                    </a:lnTo>
                    <a:lnTo>
                      <a:pt x="2191" y="454"/>
                    </a:lnTo>
                    <a:lnTo>
                      <a:pt x="2191" y="454"/>
                    </a:lnTo>
                    <a:lnTo>
                      <a:pt x="2188" y="451"/>
                    </a:lnTo>
                    <a:lnTo>
                      <a:pt x="2185" y="451"/>
                    </a:lnTo>
                    <a:lnTo>
                      <a:pt x="2174" y="462"/>
                    </a:lnTo>
                    <a:lnTo>
                      <a:pt x="2174" y="465"/>
                    </a:lnTo>
                    <a:lnTo>
                      <a:pt x="2171" y="462"/>
                    </a:lnTo>
                    <a:lnTo>
                      <a:pt x="2166" y="462"/>
                    </a:lnTo>
                    <a:lnTo>
                      <a:pt x="2157" y="460"/>
                    </a:lnTo>
                    <a:lnTo>
                      <a:pt x="2149" y="460"/>
                    </a:lnTo>
                    <a:lnTo>
                      <a:pt x="2146" y="460"/>
                    </a:lnTo>
                    <a:lnTo>
                      <a:pt x="2146" y="460"/>
                    </a:lnTo>
                    <a:lnTo>
                      <a:pt x="2144" y="460"/>
                    </a:lnTo>
                    <a:lnTo>
                      <a:pt x="2138" y="460"/>
                    </a:lnTo>
                    <a:lnTo>
                      <a:pt x="2132" y="457"/>
                    </a:lnTo>
                    <a:lnTo>
                      <a:pt x="2130" y="451"/>
                    </a:lnTo>
                    <a:lnTo>
                      <a:pt x="2124" y="454"/>
                    </a:lnTo>
                    <a:lnTo>
                      <a:pt x="2116" y="454"/>
                    </a:lnTo>
                    <a:lnTo>
                      <a:pt x="2110" y="457"/>
                    </a:lnTo>
                    <a:lnTo>
                      <a:pt x="2105" y="454"/>
                    </a:lnTo>
                    <a:lnTo>
                      <a:pt x="2105" y="454"/>
                    </a:lnTo>
                    <a:lnTo>
                      <a:pt x="2102" y="454"/>
                    </a:lnTo>
                    <a:lnTo>
                      <a:pt x="2102" y="457"/>
                    </a:lnTo>
                    <a:lnTo>
                      <a:pt x="2099" y="457"/>
                    </a:lnTo>
                    <a:lnTo>
                      <a:pt x="2099" y="462"/>
                    </a:lnTo>
                    <a:lnTo>
                      <a:pt x="2093" y="462"/>
                    </a:lnTo>
                    <a:lnTo>
                      <a:pt x="2091" y="465"/>
                    </a:lnTo>
                    <a:lnTo>
                      <a:pt x="2088" y="468"/>
                    </a:lnTo>
                    <a:lnTo>
                      <a:pt x="2088" y="468"/>
                    </a:lnTo>
                    <a:lnTo>
                      <a:pt x="2088" y="462"/>
                    </a:lnTo>
                    <a:lnTo>
                      <a:pt x="2085" y="460"/>
                    </a:lnTo>
                    <a:lnTo>
                      <a:pt x="2085" y="462"/>
                    </a:lnTo>
                    <a:lnTo>
                      <a:pt x="2082" y="460"/>
                    </a:lnTo>
                    <a:lnTo>
                      <a:pt x="2077" y="454"/>
                    </a:lnTo>
                    <a:lnTo>
                      <a:pt x="2074" y="454"/>
                    </a:lnTo>
                    <a:lnTo>
                      <a:pt x="2068" y="454"/>
                    </a:lnTo>
                    <a:lnTo>
                      <a:pt x="2066" y="451"/>
                    </a:lnTo>
                    <a:lnTo>
                      <a:pt x="2063" y="448"/>
                    </a:lnTo>
                    <a:lnTo>
                      <a:pt x="2063" y="448"/>
                    </a:lnTo>
                    <a:lnTo>
                      <a:pt x="2068" y="429"/>
                    </a:lnTo>
                    <a:lnTo>
                      <a:pt x="2066" y="421"/>
                    </a:lnTo>
                    <a:lnTo>
                      <a:pt x="2063" y="415"/>
                    </a:lnTo>
                    <a:lnTo>
                      <a:pt x="2063" y="415"/>
                    </a:lnTo>
                    <a:lnTo>
                      <a:pt x="2054" y="401"/>
                    </a:lnTo>
                    <a:lnTo>
                      <a:pt x="2052" y="398"/>
                    </a:lnTo>
                    <a:lnTo>
                      <a:pt x="2049" y="396"/>
                    </a:lnTo>
                    <a:lnTo>
                      <a:pt x="2046" y="396"/>
                    </a:lnTo>
                    <a:lnTo>
                      <a:pt x="2035" y="396"/>
                    </a:lnTo>
                    <a:lnTo>
                      <a:pt x="2029" y="393"/>
                    </a:lnTo>
                    <a:lnTo>
                      <a:pt x="2004" y="393"/>
                    </a:lnTo>
                    <a:lnTo>
                      <a:pt x="2004" y="396"/>
                    </a:lnTo>
                    <a:lnTo>
                      <a:pt x="1999" y="396"/>
                    </a:lnTo>
                    <a:lnTo>
                      <a:pt x="1996" y="396"/>
                    </a:lnTo>
                    <a:lnTo>
                      <a:pt x="1993" y="396"/>
                    </a:lnTo>
                    <a:lnTo>
                      <a:pt x="1985" y="396"/>
                    </a:lnTo>
                    <a:lnTo>
                      <a:pt x="1982" y="396"/>
                    </a:lnTo>
                    <a:lnTo>
                      <a:pt x="1979" y="398"/>
                    </a:lnTo>
                    <a:lnTo>
                      <a:pt x="1977" y="398"/>
                    </a:lnTo>
                    <a:lnTo>
                      <a:pt x="1974" y="398"/>
                    </a:lnTo>
                    <a:lnTo>
                      <a:pt x="1968" y="398"/>
                    </a:lnTo>
                    <a:lnTo>
                      <a:pt x="1965" y="398"/>
                    </a:lnTo>
                    <a:lnTo>
                      <a:pt x="1963" y="398"/>
                    </a:lnTo>
                    <a:lnTo>
                      <a:pt x="1957" y="401"/>
                    </a:lnTo>
                    <a:lnTo>
                      <a:pt x="1954" y="401"/>
                    </a:lnTo>
                    <a:lnTo>
                      <a:pt x="1951" y="404"/>
                    </a:lnTo>
                    <a:lnTo>
                      <a:pt x="1943" y="396"/>
                    </a:lnTo>
                    <a:lnTo>
                      <a:pt x="1940" y="396"/>
                    </a:lnTo>
                    <a:lnTo>
                      <a:pt x="1938" y="396"/>
                    </a:lnTo>
                    <a:lnTo>
                      <a:pt x="1946" y="393"/>
                    </a:lnTo>
                    <a:lnTo>
                      <a:pt x="1949" y="390"/>
                    </a:lnTo>
                    <a:lnTo>
                      <a:pt x="1949" y="387"/>
                    </a:lnTo>
                    <a:lnTo>
                      <a:pt x="1938" y="376"/>
                    </a:lnTo>
                    <a:lnTo>
                      <a:pt x="1938" y="376"/>
                    </a:lnTo>
                    <a:lnTo>
                      <a:pt x="1938" y="373"/>
                    </a:lnTo>
                    <a:lnTo>
                      <a:pt x="1926" y="376"/>
                    </a:lnTo>
                    <a:lnTo>
                      <a:pt x="1924" y="376"/>
                    </a:lnTo>
                    <a:lnTo>
                      <a:pt x="1921" y="373"/>
                    </a:lnTo>
                    <a:lnTo>
                      <a:pt x="1921" y="370"/>
                    </a:lnTo>
                    <a:lnTo>
                      <a:pt x="1915" y="368"/>
                    </a:lnTo>
                    <a:lnTo>
                      <a:pt x="1915" y="362"/>
                    </a:lnTo>
                    <a:lnTo>
                      <a:pt x="1912" y="362"/>
                    </a:lnTo>
                    <a:lnTo>
                      <a:pt x="1907" y="359"/>
                    </a:lnTo>
                    <a:lnTo>
                      <a:pt x="1907" y="362"/>
                    </a:lnTo>
                    <a:lnTo>
                      <a:pt x="1904" y="362"/>
                    </a:lnTo>
                    <a:lnTo>
                      <a:pt x="1901" y="362"/>
                    </a:lnTo>
                    <a:lnTo>
                      <a:pt x="1896" y="359"/>
                    </a:lnTo>
                    <a:lnTo>
                      <a:pt x="1896" y="362"/>
                    </a:lnTo>
                    <a:lnTo>
                      <a:pt x="1896" y="359"/>
                    </a:lnTo>
                    <a:lnTo>
                      <a:pt x="1901" y="351"/>
                    </a:lnTo>
                    <a:lnTo>
                      <a:pt x="1904" y="348"/>
                    </a:lnTo>
                    <a:lnTo>
                      <a:pt x="1907" y="351"/>
                    </a:lnTo>
                    <a:lnTo>
                      <a:pt x="1907" y="354"/>
                    </a:lnTo>
                    <a:lnTo>
                      <a:pt x="1912" y="354"/>
                    </a:lnTo>
                    <a:lnTo>
                      <a:pt x="1912" y="345"/>
                    </a:lnTo>
                    <a:lnTo>
                      <a:pt x="1907" y="337"/>
                    </a:lnTo>
                    <a:lnTo>
                      <a:pt x="1899" y="331"/>
                    </a:lnTo>
                    <a:lnTo>
                      <a:pt x="1896" y="331"/>
                    </a:lnTo>
                    <a:lnTo>
                      <a:pt x="1893" y="329"/>
                    </a:lnTo>
                    <a:lnTo>
                      <a:pt x="1887" y="326"/>
                    </a:lnTo>
                    <a:lnTo>
                      <a:pt x="1882" y="326"/>
                    </a:lnTo>
                    <a:lnTo>
                      <a:pt x="1882" y="329"/>
                    </a:lnTo>
                    <a:lnTo>
                      <a:pt x="1879" y="326"/>
                    </a:lnTo>
                    <a:lnTo>
                      <a:pt x="1871" y="326"/>
                    </a:lnTo>
                    <a:lnTo>
                      <a:pt x="1868" y="326"/>
                    </a:lnTo>
                    <a:lnTo>
                      <a:pt x="1860" y="326"/>
                    </a:lnTo>
                    <a:lnTo>
                      <a:pt x="1857" y="323"/>
                    </a:lnTo>
                    <a:lnTo>
                      <a:pt x="1851" y="323"/>
                    </a:lnTo>
                    <a:lnTo>
                      <a:pt x="1846" y="315"/>
                    </a:lnTo>
                    <a:lnTo>
                      <a:pt x="1843" y="318"/>
                    </a:lnTo>
                    <a:lnTo>
                      <a:pt x="1832" y="315"/>
                    </a:lnTo>
                    <a:lnTo>
                      <a:pt x="1826" y="312"/>
                    </a:lnTo>
                    <a:lnTo>
                      <a:pt x="1815" y="309"/>
                    </a:lnTo>
                    <a:lnTo>
                      <a:pt x="1809" y="309"/>
                    </a:lnTo>
                    <a:lnTo>
                      <a:pt x="1782" y="306"/>
                    </a:lnTo>
                    <a:lnTo>
                      <a:pt x="1779" y="306"/>
                    </a:lnTo>
                    <a:lnTo>
                      <a:pt x="1779" y="304"/>
                    </a:lnTo>
                    <a:lnTo>
                      <a:pt x="1776" y="301"/>
                    </a:lnTo>
                    <a:lnTo>
                      <a:pt x="1770" y="301"/>
                    </a:lnTo>
                    <a:lnTo>
                      <a:pt x="1768" y="304"/>
                    </a:lnTo>
                    <a:lnTo>
                      <a:pt x="1768" y="306"/>
                    </a:lnTo>
                    <a:lnTo>
                      <a:pt x="1770" y="309"/>
                    </a:lnTo>
                    <a:lnTo>
                      <a:pt x="1770" y="312"/>
                    </a:lnTo>
                    <a:lnTo>
                      <a:pt x="1773" y="315"/>
                    </a:lnTo>
                    <a:lnTo>
                      <a:pt x="1770" y="315"/>
                    </a:lnTo>
                    <a:lnTo>
                      <a:pt x="1768" y="320"/>
                    </a:lnTo>
                    <a:lnTo>
                      <a:pt x="1765" y="329"/>
                    </a:lnTo>
                    <a:lnTo>
                      <a:pt x="1762" y="334"/>
                    </a:lnTo>
                    <a:lnTo>
                      <a:pt x="1757" y="337"/>
                    </a:lnTo>
                    <a:lnTo>
                      <a:pt x="1754" y="340"/>
                    </a:lnTo>
                    <a:lnTo>
                      <a:pt x="1751" y="343"/>
                    </a:lnTo>
                    <a:lnTo>
                      <a:pt x="1751" y="345"/>
                    </a:lnTo>
                    <a:lnTo>
                      <a:pt x="1754" y="348"/>
                    </a:lnTo>
                    <a:lnTo>
                      <a:pt x="1754" y="351"/>
                    </a:lnTo>
                    <a:lnTo>
                      <a:pt x="1751" y="351"/>
                    </a:lnTo>
                    <a:lnTo>
                      <a:pt x="1751" y="357"/>
                    </a:lnTo>
                    <a:lnTo>
                      <a:pt x="1751" y="362"/>
                    </a:lnTo>
                    <a:lnTo>
                      <a:pt x="1754" y="365"/>
                    </a:lnTo>
                    <a:lnTo>
                      <a:pt x="1757" y="365"/>
                    </a:lnTo>
                    <a:lnTo>
                      <a:pt x="1757" y="370"/>
                    </a:lnTo>
                    <a:lnTo>
                      <a:pt x="1754" y="373"/>
                    </a:lnTo>
                    <a:lnTo>
                      <a:pt x="1751" y="373"/>
                    </a:lnTo>
                    <a:lnTo>
                      <a:pt x="1745" y="368"/>
                    </a:lnTo>
                    <a:lnTo>
                      <a:pt x="1745" y="373"/>
                    </a:lnTo>
                    <a:lnTo>
                      <a:pt x="1740" y="373"/>
                    </a:lnTo>
                    <a:lnTo>
                      <a:pt x="1740" y="373"/>
                    </a:lnTo>
                    <a:lnTo>
                      <a:pt x="1737" y="373"/>
                    </a:lnTo>
                    <a:lnTo>
                      <a:pt x="1734" y="379"/>
                    </a:lnTo>
                    <a:lnTo>
                      <a:pt x="1732" y="379"/>
                    </a:lnTo>
                    <a:lnTo>
                      <a:pt x="1729" y="382"/>
                    </a:lnTo>
                    <a:lnTo>
                      <a:pt x="1729" y="384"/>
                    </a:lnTo>
                    <a:lnTo>
                      <a:pt x="1726" y="384"/>
                    </a:lnTo>
                    <a:lnTo>
                      <a:pt x="1723" y="387"/>
                    </a:lnTo>
                    <a:lnTo>
                      <a:pt x="1720" y="384"/>
                    </a:lnTo>
                    <a:lnTo>
                      <a:pt x="1720" y="384"/>
                    </a:lnTo>
                    <a:lnTo>
                      <a:pt x="1718" y="382"/>
                    </a:lnTo>
                    <a:lnTo>
                      <a:pt x="1718" y="379"/>
                    </a:lnTo>
                    <a:lnTo>
                      <a:pt x="1715" y="379"/>
                    </a:lnTo>
                    <a:lnTo>
                      <a:pt x="1715" y="376"/>
                    </a:lnTo>
                    <a:lnTo>
                      <a:pt x="1712" y="373"/>
                    </a:lnTo>
                    <a:lnTo>
                      <a:pt x="1709" y="373"/>
                    </a:lnTo>
                    <a:lnTo>
                      <a:pt x="1701" y="368"/>
                    </a:lnTo>
                    <a:lnTo>
                      <a:pt x="1698" y="368"/>
                    </a:lnTo>
                    <a:lnTo>
                      <a:pt x="1693" y="368"/>
                    </a:lnTo>
                    <a:lnTo>
                      <a:pt x="1693" y="365"/>
                    </a:lnTo>
                    <a:lnTo>
                      <a:pt x="1690" y="365"/>
                    </a:lnTo>
                    <a:lnTo>
                      <a:pt x="1687" y="362"/>
                    </a:lnTo>
                    <a:lnTo>
                      <a:pt x="1679" y="362"/>
                    </a:lnTo>
                    <a:lnTo>
                      <a:pt x="1673" y="368"/>
                    </a:lnTo>
                    <a:lnTo>
                      <a:pt x="1673" y="370"/>
                    </a:lnTo>
                    <a:lnTo>
                      <a:pt x="1676" y="376"/>
                    </a:lnTo>
                    <a:lnTo>
                      <a:pt x="1673" y="376"/>
                    </a:lnTo>
                    <a:lnTo>
                      <a:pt x="1670" y="373"/>
                    </a:lnTo>
                    <a:lnTo>
                      <a:pt x="1670" y="373"/>
                    </a:lnTo>
                    <a:lnTo>
                      <a:pt x="1662" y="373"/>
                    </a:lnTo>
                    <a:lnTo>
                      <a:pt x="1659" y="373"/>
                    </a:lnTo>
                    <a:lnTo>
                      <a:pt x="1656" y="373"/>
                    </a:lnTo>
                    <a:lnTo>
                      <a:pt x="1654" y="368"/>
                    </a:lnTo>
                    <a:lnTo>
                      <a:pt x="1651" y="368"/>
                    </a:lnTo>
                    <a:lnTo>
                      <a:pt x="1648" y="359"/>
                    </a:lnTo>
                    <a:lnTo>
                      <a:pt x="1645" y="357"/>
                    </a:lnTo>
                    <a:lnTo>
                      <a:pt x="1642" y="348"/>
                    </a:lnTo>
                    <a:lnTo>
                      <a:pt x="1642" y="345"/>
                    </a:lnTo>
                    <a:lnTo>
                      <a:pt x="1640" y="348"/>
                    </a:lnTo>
                    <a:lnTo>
                      <a:pt x="1631" y="368"/>
                    </a:lnTo>
                    <a:lnTo>
                      <a:pt x="1631" y="384"/>
                    </a:lnTo>
                    <a:lnTo>
                      <a:pt x="1628" y="387"/>
                    </a:lnTo>
                    <a:lnTo>
                      <a:pt x="1626" y="393"/>
                    </a:lnTo>
                    <a:lnTo>
                      <a:pt x="1626" y="396"/>
                    </a:lnTo>
                    <a:lnTo>
                      <a:pt x="1623" y="401"/>
                    </a:lnTo>
                    <a:lnTo>
                      <a:pt x="1620" y="404"/>
                    </a:lnTo>
                    <a:lnTo>
                      <a:pt x="1620" y="409"/>
                    </a:lnTo>
                    <a:lnTo>
                      <a:pt x="1617" y="407"/>
                    </a:lnTo>
                    <a:lnTo>
                      <a:pt x="1615" y="398"/>
                    </a:lnTo>
                    <a:lnTo>
                      <a:pt x="1612" y="396"/>
                    </a:lnTo>
                    <a:lnTo>
                      <a:pt x="1612" y="401"/>
                    </a:lnTo>
                    <a:lnTo>
                      <a:pt x="1609" y="401"/>
                    </a:lnTo>
                    <a:lnTo>
                      <a:pt x="1609" y="398"/>
                    </a:lnTo>
                    <a:lnTo>
                      <a:pt x="1606" y="398"/>
                    </a:lnTo>
                    <a:lnTo>
                      <a:pt x="1603" y="398"/>
                    </a:lnTo>
                    <a:lnTo>
                      <a:pt x="1603" y="396"/>
                    </a:lnTo>
                    <a:lnTo>
                      <a:pt x="1603" y="393"/>
                    </a:lnTo>
                    <a:lnTo>
                      <a:pt x="1601" y="390"/>
                    </a:lnTo>
                    <a:lnTo>
                      <a:pt x="1598" y="393"/>
                    </a:lnTo>
                    <a:lnTo>
                      <a:pt x="1598" y="390"/>
                    </a:lnTo>
                    <a:lnTo>
                      <a:pt x="1595" y="390"/>
                    </a:lnTo>
                    <a:lnTo>
                      <a:pt x="1595" y="382"/>
                    </a:lnTo>
                    <a:lnTo>
                      <a:pt x="1592" y="382"/>
                    </a:lnTo>
                    <a:lnTo>
                      <a:pt x="1592" y="382"/>
                    </a:lnTo>
                    <a:lnTo>
                      <a:pt x="1590" y="370"/>
                    </a:lnTo>
                    <a:lnTo>
                      <a:pt x="1587" y="370"/>
                    </a:lnTo>
                    <a:lnTo>
                      <a:pt x="1587" y="368"/>
                    </a:lnTo>
                    <a:lnTo>
                      <a:pt x="1587" y="362"/>
                    </a:lnTo>
                    <a:lnTo>
                      <a:pt x="1587" y="362"/>
                    </a:lnTo>
                    <a:lnTo>
                      <a:pt x="1584" y="365"/>
                    </a:lnTo>
                    <a:lnTo>
                      <a:pt x="1581" y="362"/>
                    </a:lnTo>
                    <a:lnTo>
                      <a:pt x="1581" y="359"/>
                    </a:lnTo>
                    <a:lnTo>
                      <a:pt x="1581" y="357"/>
                    </a:lnTo>
                    <a:lnTo>
                      <a:pt x="1581" y="357"/>
                    </a:lnTo>
                    <a:lnTo>
                      <a:pt x="1578" y="351"/>
                    </a:lnTo>
                    <a:lnTo>
                      <a:pt x="1584" y="343"/>
                    </a:lnTo>
                    <a:lnTo>
                      <a:pt x="1587" y="343"/>
                    </a:lnTo>
                    <a:lnTo>
                      <a:pt x="1587" y="343"/>
                    </a:lnTo>
                    <a:lnTo>
                      <a:pt x="1587" y="343"/>
                    </a:lnTo>
                    <a:lnTo>
                      <a:pt x="1587" y="340"/>
                    </a:lnTo>
                    <a:lnTo>
                      <a:pt x="1590" y="337"/>
                    </a:lnTo>
                    <a:lnTo>
                      <a:pt x="1592" y="337"/>
                    </a:lnTo>
                    <a:lnTo>
                      <a:pt x="1590" y="337"/>
                    </a:lnTo>
                    <a:lnTo>
                      <a:pt x="1590" y="337"/>
                    </a:lnTo>
                    <a:lnTo>
                      <a:pt x="1592" y="334"/>
                    </a:lnTo>
                    <a:lnTo>
                      <a:pt x="1590" y="334"/>
                    </a:lnTo>
                    <a:lnTo>
                      <a:pt x="1590" y="331"/>
                    </a:lnTo>
                    <a:lnTo>
                      <a:pt x="1592" y="326"/>
                    </a:lnTo>
                    <a:lnTo>
                      <a:pt x="1587" y="320"/>
                    </a:lnTo>
                    <a:lnTo>
                      <a:pt x="1587" y="320"/>
                    </a:lnTo>
                    <a:lnTo>
                      <a:pt x="1590" y="318"/>
                    </a:lnTo>
                    <a:lnTo>
                      <a:pt x="1587" y="315"/>
                    </a:lnTo>
                    <a:lnTo>
                      <a:pt x="1587" y="312"/>
                    </a:lnTo>
                    <a:lnTo>
                      <a:pt x="1590" y="312"/>
                    </a:lnTo>
                    <a:lnTo>
                      <a:pt x="1590" y="306"/>
                    </a:lnTo>
                    <a:lnTo>
                      <a:pt x="1590" y="306"/>
                    </a:lnTo>
                    <a:lnTo>
                      <a:pt x="1590" y="306"/>
                    </a:lnTo>
                    <a:lnTo>
                      <a:pt x="1590" y="304"/>
                    </a:lnTo>
                    <a:lnTo>
                      <a:pt x="1590" y="301"/>
                    </a:lnTo>
                    <a:lnTo>
                      <a:pt x="1590" y="298"/>
                    </a:lnTo>
                    <a:lnTo>
                      <a:pt x="1590" y="298"/>
                    </a:lnTo>
                    <a:lnTo>
                      <a:pt x="1590" y="298"/>
                    </a:lnTo>
                    <a:lnTo>
                      <a:pt x="1592" y="295"/>
                    </a:lnTo>
                    <a:lnTo>
                      <a:pt x="1592" y="295"/>
                    </a:lnTo>
                    <a:lnTo>
                      <a:pt x="1590" y="293"/>
                    </a:lnTo>
                    <a:lnTo>
                      <a:pt x="1590" y="293"/>
                    </a:lnTo>
                    <a:lnTo>
                      <a:pt x="1587" y="290"/>
                    </a:lnTo>
                    <a:lnTo>
                      <a:pt x="1584" y="284"/>
                    </a:lnTo>
                    <a:lnTo>
                      <a:pt x="1584" y="281"/>
                    </a:lnTo>
                    <a:lnTo>
                      <a:pt x="1584" y="281"/>
                    </a:lnTo>
                    <a:lnTo>
                      <a:pt x="1576" y="276"/>
                    </a:lnTo>
                    <a:lnTo>
                      <a:pt x="1576" y="276"/>
                    </a:lnTo>
                    <a:lnTo>
                      <a:pt x="1576" y="273"/>
                    </a:lnTo>
                    <a:lnTo>
                      <a:pt x="1573" y="273"/>
                    </a:lnTo>
                    <a:lnTo>
                      <a:pt x="1570" y="270"/>
                    </a:lnTo>
                    <a:lnTo>
                      <a:pt x="1573" y="270"/>
                    </a:lnTo>
                    <a:lnTo>
                      <a:pt x="1570" y="267"/>
                    </a:lnTo>
                    <a:lnTo>
                      <a:pt x="1564" y="265"/>
                    </a:lnTo>
                    <a:lnTo>
                      <a:pt x="1562" y="267"/>
                    </a:lnTo>
                    <a:lnTo>
                      <a:pt x="1559" y="267"/>
                    </a:lnTo>
                    <a:lnTo>
                      <a:pt x="1553" y="265"/>
                    </a:lnTo>
                    <a:lnTo>
                      <a:pt x="1551" y="265"/>
                    </a:lnTo>
                    <a:lnTo>
                      <a:pt x="1551" y="267"/>
                    </a:lnTo>
                    <a:lnTo>
                      <a:pt x="1551" y="267"/>
                    </a:lnTo>
                    <a:lnTo>
                      <a:pt x="1548" y="270"/>
                    </a:lnTo>
                    <a:lnTo>
                      <a:pt x="1545" y="270"/>
                    </a:lnTo>
                    <a:lnTo>
                      <a:pt x="1545" y="267"/>
                    </a:lnTo>
                    <a:lnTo>
                      <a:pt x="1539" y="262"/>
                    </a:lnTo>
                    <a:lnTo>
                      <a:pt x="1539" y="265"/>
                    </a:lnTo>
                    <a:lnTo>
                      <a:pt x="1537" y="262"/>
                    </a:lnTo>
                    <a:lnTo>
                      <a:pt x="1534" y="262"/>
                    </a:lnTo>
                    <a:lnTo>
                      <a:pt x="1531" y="259"/>
                    </a:lnTo>
                    <a:lnTo>
                      <a:pt x="1531" y="262"/>
                    </a:lnTo>
                    <a:lnTo>
                      <a:pt x="1528" y="259"/>
                    </a:lnTo>
                    <a:lnTo>
                      <a:pt x="1528" y="262"/>
                    </a:lnTo>
                    <a:lnTo>
                      <a:pt x="1525" y="259"/>
                    </a:lnTo>
                    <a:lnTo>
                      <a:pt x="1523" y="256"/>
                    </a:lnTo>
                    <a:lnTo>
                      <a:pt x="1523" y="254"/>
                    </a:lnTo>
                    <a:lnTo>
                      <a:pt x="1523" y="256"/>
                    </a:lnTo>
                    <a:lnTo>
                      <a:pt x="1517" y="251"/>
                    </a:lnTo>
                    <a:lnTo>
                      <a:pt x="1517" y="254"/>
                    </a:lnTo>
                    <a:lnTo>
                      <a:pt x="1514" y="251"/>
                    </a:lnTo>
                    <a:lnTo>
                      <a:pt x="1509" y="251"/>
                    </a:lnTo>
                    <a:lnTo>
                      <a:pt x="1506" y="248"/>
                    </a:lnTo>
                    <a:lnTo>
                      <a:pt x="1503" y="248"/>
                    </a:lnTo>
                    <a:lnTo>
                      <a:pt x="1503" y="251"/>
                    </a:lnTo>
                    <a:lnTo>
                      <a:pt x="1503" y="254"/>
                    </a:lnTo>
                    <a:lnTo>
                      <a:pt x="1503" y="256"/>
                    </a:lnTo>
                    <a:lnTo>
                      <a:pt x="1498" y="254"/>
                    </a:lnTo>
                    <a:lnTo>
                      <a:pt x="1495" y="251"/>
                    </a:lnTo>
                    <a:lnTo>
                      <a:pt x="1492" y="267"/>
                    </a:lnTo>
                    <a:lnTo>
                      <a:pt x="1495" y="270"/>
                    </a:lnTo>
                    <a:lnTo>
                      <a:pt x="1492" y="270"/>
                    </a:lnTo>
                    <a:lnTo>
                      <a:pt x="1492" y="273"/>
                    </a:lnTo>
                    <a:lnTo>
                      <a:pt x="1498" y="287"/>
                    </a:lnTo>
                    <a:lnTo>
                      <a:pt x="1495" y="287"/>
                    </a:lnTo>
                    <a:lnTo>
                      <a:pt x="1495" y="290"/>
                    </a:lnTo>
                    <a:lnTo>
                      <a:pt x="1487" y="293"/>
                    </a:lnTo>
                    <a:lnTo>
                      <a:pt x="1481" y="295"/>
                    </a:lnTo>
                    <a:lnTo>
                      <a:pt x="1481" y="295"/>
                    </a:lnTo>
                    <a:lnTo>
                      <a:pt x="1478" y="295"/>
                    </a:lnTo>
                    <a:lnTo>
                      <a:pt x="1478" y="295"/>
                    </a:lnTo>
                    <a:lnTo>
                      <a:pt x="1473" y="295"/>
                    </a:lnTo>
                    <a:lnTo>
                      <a:pt x="1470" y="295"/>
                    </a:lnTo>
                    <a:lnTo>
                      <a:pt x="1461" y="295"/>
                    </a:lnTo>
                    <a:lnTo>
                      <a:pt x="1459" y="298"/>
                    </a:lnTo>
                    <a:lnTo>
                      <a:pt x="1453" y="293"/>
                    </a:lnTo>
                    <a:lnTo>
                      <a:pt x="1442" y="293"/>
                    </a:lnTo>
                    <a:lnTo>
                      <a:pt x="1442" y="293"/>
                    </a:lnTo>
                    <a:lnTo>
                      <a:pt x="1442" y="295"/>
                    </a:lnTo>
                    <a:lnTo>
                      <a:pt x="1420" y="284"/>
                    </a:lnTo>
                    <a:lnTo>
                      <a:pt x="1420" y="281"/>
                    </a:lnTo>
                    <a:lnTo>
                      <a:pt x="1420" y="279"/>
                    </a:lnTo>
                    <a:lnTo>
                      <a:pt x="1420" y="276"/>
                    </a:lnTo>
                    <a:lnTo>
                      <a:pt x="1420" y="273"/>
                    </a:lnTo>
                    <a:lnTo>
                      <a:pt x="1420" y="270"/>
                    </a:lnTo>
                    <a:lnTo>
                      <a:pt x="1422" y="270"/>
                    </a:lnTo>
                    <a:lnTo>
                      <a:pt x="1425" y="270"/>
                    </a:lnTo>
                    <a:lnTo>
                      <a:pt x="1425" y="267"/>
                    </a:lnTo>
                    <a:lnTo>
                      <a:pt x="1425" y="267"/>
                    </a:lnTo>
                    <a:lnTo>
                      <a:pt x="1425" y="265"/>
                    </a:lnTo>
                    <a:lnTo>
                      <a:pt x="1422" y="265"/>
                    </a:lnTo>
                    <a:lnTo>
                      <a:pt x="1417" y="265"/>
                    </a:lnTo>
                    <a:lnTo>
                      <a:pt x="1411" y="262"/>
                    </a:lnTo>
                    <a:lnTo>
                      <a:pt x="1409" y="265"/>
                    </a:lnTo>
                    <a:lnTo>
                      <a:pt x="1400" y="262"/>
                    </a:lnTo>
                    <a:lnTo>
                      <a:pt x="1397" y="259"/>
                    </a:lnTo>
                    <a:lnTo>
                      <a:pt x="1395" y="259"/>
                    </a:lnTo>
                    <a:lnTo>
                      <a:pt x="1389" y="259"/>
                    </a:lnTo>
                    <a:lnTo>
                      <a:pt x="1386" y="259"/>
                    </a:lnTo>
                    <a:lnTo>
                      <a:pt x="1375" y="256"/>
                    </a:lnTo>
                    <a:lnTo>
                      <a:pt x="1370" y="256"/>
                    </a:lnTo>
                    <a:lnTo>
                      <a:pt x="1370" y="259"/>
                    </a:lnTo>
                    <a:lnTo>
                      <a:pt x="1358" y="262"/>
                    </a:lnTo>
                    <a:lnTo>
                      <a:pt x="1353" y="262"/>
                    </a:lnTo>
                    <a:lnTo>
                      <a:pt x="1342" y="265"/>
                    </a:lnTo>
                    <a:lnTo>
                      <a:pt x="1347" y="273"/>
                    </a:lnTo>
                    <a:lnTo>
                      <a:pt x="1347" y="276"/>
                    </a:lnTo>
                    <a:lnTo>
                      <a:pt x="1342" y="281"/>
                    </a:lnTo>
                    <a:lnTo>
                      <a:pt x="1336" y="281"/>
                    </a:lnTo>
                    <a:lnTo>
                      <a:pt x="1336" y="279"/>
                    </a:lnTo>
                    <a:lnTo>
                      <a:pt x="1342" y="279"/>
                    </a:lnTo>
                    <a:lnTo>
                      <a:pt x="1342" y="276"/>
                    </a:lnTo>
                    <a:lnTo>
                      <a:pt x="1336" y="276"/>
                    </a:lnTo>
                    <a:lnTo>
                      <a:pt x="1339" y="273"/>
                    </a:lnTo>
                    <a:lnTo>
                      <a:pt x="1336" y="270"/>
                    </a:lnTo>
                    <a:lnTo>
                      <a:pt x="1339" y="262"/>
                    </a:lnTo>
                    <a:lnTo>
                      <a:pt x="1339" y="259"/>
                    </a:lnTo>
                    <a:lnTo>
                      <a:pt x="1339" y="256"/>
                    </a:lnTo>
                    <a:lnTo>
                      <a:pt x="1336" y="254"/>
                    </a:lnTo>
                    <a:lnTo>
                      <a:pt x="1336" y="248"/>
                    </a:lnTo>
                    <a:lnTo>
                      <a:pt x="1331" y="237"/>
                    </a:lnTo>
                    <a:lnTo>
                      <a:pt x="1333" y="245"/>
                    </a:lnTo>
                    <a:lnTo>
                      <a:pt x="1331" y="251"/>
                    </a:lnTo>
                    <a:lnTo>
                      <a:pt x="1331" y="254"/>
                    </a:lnTo>
                    <a:lnTo>
                      <a:pt x="1325" y="256"/>
                    </a:lnTo>
                    <a:lnTo>
                      <a:pt x="1317" y="256"/>
                    </a:lnTo>
                    <a:lnTo>
                      <a:pt x="1314" y="256"/>
                    </a:lnTo>
                    <a:lnTo>
                      <a:pt x="1314" y="254"/>
                    </a:lnTo>
                    <a:lnTo>
                      <a:pt x="1308" y="248"/>
                    </a:lnTo>
                    <a:lnTo>
                      <a:pt x="1306" y="242"/>
                    </a:lnTo>
                    <a:lnTo>
                      <a:pt x="1308" y="240"/>
                    </a:lnTo>
                    <a:lnTo>
                      <a:pt x="1308" y="242"/>
                    </a:lnTo>
                    <a:lnTo>
                      <a:pt x="1311" y="237"/>
                    </a:lnTo>
                    <a:lnTo>
                      <a:pt x="1311" y="237"/>
                    </a:lnTo>
                    <a:lnTo>
                      <a:pt x="1303" y="237"/>
                    </a:lnTo>
                    <a:lnTo>
                      <a:pt x="1303" y="240"/>
                    </a:lnTo>
                    <a:lnTo>
                      <a:pt x="1300" y="242"/>
                    </a:lnTo>
                    <a:lnTo>
                      <a:pt x="1300" y="245"/>
                    </a:lnTo>
                    <a:lnTo>
                      <a:pt x="1297" y="240"/>
                    </a:lnTo>
                    <a:lnTo>
                      <a:pt x="1294" y="240"/>
                    </a:lnTo>
                    <a:lnTo>
                      <a:pt x="1292" y="237"/>
                    </a:lnTo>
                    <a:lnTo>
                      <a:pt x="1283" y="240"/>
                    </a:lnTo>
                    <a:lnTo>
                      <a:pt x="1283" y="242"/>
                    </a:lnTo>
                    <a:lnTo>
                      <a:pt x="1278" y="251"/>
                    </a:lnTo>
                    <a:lnTo>
                      <a:pt x="1278" y="254"/>
                    </a:lnTo>
                    <a:lnTo>
                      <a:pt x="1283" y="259"/>
                    </a:lnTo>
                    <a:lnTo>
                      <a:pt x="1283" y="259"/>
                    </a:lnTo>
                    <a:lnTo>
                      <a:pt x="1283" y="259"/>
                    </a:lnTo>
                    <a:lnTo>
                      <a:pt x="1283" y="256"/>
                    </a:lnTo>
                    <a:lnTo>
                      <a:pt x="1283" y="256"/>
                    </a:lnTo>
                    <a:lnTo>
                      <a:pt x="1289" y="256"/>
                    </a:lnTo>
                    <a:lnTo>
                      <a:pt x="1292" y="254"/>
                    </a:lnTo>
                    <a:lnTo>
                      <a:pt x="1294" y="254"/>
                    </a:lnTo>
                    <a:lnTo>
                      <a:pt x="1297" y="251"/>
                    </a:lnTo>
                    <a:lnTo>
                      <a:pt x="1297" y="254"/>
                    </a:lnTo>
                    <a:lnTo>
                      <a:pt x="1300" y="256"/>
                    </a:lnTo>
                    <a:lnTo>
                      <a:pt x="1292" y="262"/>
                    </a:lnTo>
                    <a:lnTo>
                      <a:pt x="1289" y="265"/>
                    </a:lnTo>
                    <a:lnTo>
                      <a:pt x="1289" y="265"/>
                    </a:lnTo>
                    <a:lnTo>
                      <a:pt x="1280" y="270"/>
                    </a:lnTo>
                    <a:lnTo>
                      <a:pt x="1278" y="270"/>
                    </a:lnTo>
                    <a:lnTo>
                      <a:pt x="1275" y="265"/>
                    </a:lnTo>
                    <a:lnTo>
                      <a:pt x="1278" y="270"/>
                    </a:lnTo>
                    <a:lnTo>
                      <a:pt x="1275" y="270"/>
                    </a:lnTo>
                    <a:lnTo>
                      <a:pt x="1275" y="270"/>
                    </a:lnTo>
                    <a:lnTo>
                      <a:pt x="1275" y="273"/>
                    </a:lnTo>
                    <a:lnTo>
                      <a:pt x="1275" y="273"/>
                    </a:lnTo>
                    <a:lnTo>
                      <a:pt x="1264" y="276"/>
                    </a:lnTo>
                    <a:lnTo>
                      <a:pt x="1261" y="276"/>
                    </a:lnTo>
                    <a:lnTo>
                      <a:pt x="1261" y="279"/>
                    </a:lnTo>
                    <a:lnTo>
                      <a:pt x="1261" y="281"/>
                    </a:lnTo>
                    <a:lnTo>
                      <a:pt x="1255" y="281"/>
                    </a:lnTo>
                    <a:lnTo>
                      <a:pt x="1250" y="284"/>
                    </a:lnTo>
                    <a:lnTo>
                      <a:pt x="1250" y="284"/>
                    </a:lnTo>
                    <a:lnTo>
                      <a:pt x="1241" y="284"/>
                    </a:lnTo>
                    <a:lnTo>
                      <a:pt x="1239" y="287"/>
                    </a:lnTo>
                    <a:lnTo>
                      <a:pt x="1230" y="284"/>
                    </a:lnTo>
                    <a:lnTo>
                      <a:pt x="1228" y="287"/>
                    </a:lnTo>
                    <a:lnTo>
                      <a:pt x="1228" y="290"/>
                    </a:lnTo>
                    <a:lnTo>
                      <a:pt x="1230" y="295"/>
                    </a:lnTo>
                    <a:lnTo>
                      <a:pt x="1239" y="301"/>
                    </a:lnTo>
                    <a:lnTo>
                      <a:pt x="1236" y="301"/>
                    </a:lnTo>
                    <a:lnTo>
                      <a:pt x="1228" y="298"/>
                    </a:lnTo>
                    <a:lnTo>
                      <a:pt x="1225" y="295"/>
                    </a:lnTo>
                    <a:lnTo>
                      <a:pt x="1222" y="298"/>
                    </a:lnTo>
                    <a:lnTo>
                      <a:pt x="1222" y="301"/>
                    </a:lnTo>
                    <a:lnTo>
                      <a:pt x="1219" y="304"/>
                    </a:lnTo>
                    <a:lnTo>
                      <a:pt x="1216" y="306"/>
                    </a:lnTo>
                    <a:lnTo>
                      <a:pt x="1214" y="306"/>
                    </a:lnTo>
                    <a:lnTo>
                      <a:pt x="1203" y="315"/>
                    </a:lnTo>
                    <a:lnTo>
                      <a:pt x="1203" y="315"/>
                    </a:lnTo>
                    <a:lnTo>
                      <a:pt x="1203" y="315"/>
                    </a:lnTo>
                    <a:lnTo>
                      <a:pt x="1200" y="315"/>
                    </a:lnTo>
                    <a:lnTo>
                      <a:pt x="1197" y="318"/>
                    </a:lnTo>
                    <a:lnTo>
                      <a:pt x="1197" y="318"/>
                    </a:lnTo>
                    <a:lnTo>
                      <a:pt x="1197" y="315"/>
                    </a:lnTo>
                    <a:lnTo>
                      <a:pt x="1203" y="309"/>
                    </a:lnTo>
                    <a:lnTo>
                      <a:pt x="1205" y="306"/>
                    </a:lnTo>
                    <a:lnTo>
                      <a:pt x="1205" y="306"/>
                    </a:lnTo>
                    <a:lnTo>
                      <a:pt x="1208" y="304"/>
                    </a:lnTo>
                    <a:lnTo>
                      <a:pt x="1214" y="304"/>
                    </a:lnTo>
                    <a:lnTo>
                      <a:pt x="1219" y="298"/>
                    </a:lnTo>
                    <a:lnTo>
                      <a:pt x="1222" y="287"/>
                    </a:lnTo>
                    <a:lnTo>
                      <a:pt x="1225" y="287"/>
                    </a:lnTo>
                    <a:lnTo>
                      <a:pt x="1228" y="279"/>
                    </a:lnTo>
                    <a:lnTo>
                      <a:pt x="1230" y="279"/>
                    </a:lnTo>
                    <a:lnTo>
                      <a:pt x="1236" y="276"/>
                    </a:lnTo>
                    <a:lnTo>
                      <a:pt x="1239" y="270"/>
                    </a:lnTo>
                    <a:lnTo>
                      <a:pt x="1241" y="265"/>
                    </a:lnTo>
                    <a:lnTo>
                      <a:pt x="1241" y="259"/>
                    </a:lnTo>
                    <a:lnTo>
                      <a:pt x="1255" y="259"/>
                    </a:lnTo>
                    <a:lnTo>
                      <a:pt x="1258" y="262"/>
                    </a:lnTo>
                    <a:lnTo>
                      <a:pt x="1267" y="248"/>
                    </a:lnTo>
                    <a:lnTo>
                      <a:pt x="1267" y="242"/>
                    </a:lnTo>
                    <a:lnTo>
                      <a:pt x="1275" y="234"/>
                    </a:lnTo>
                    <a:lnTo>
                      <a:pt x="1280" y="231"/>
                    </a:lnTo>
                    <a:lnTo>
                      <a:pt x="1286" y="226"/>
                    </a:lnTo>
                    <a:lnTo>
                      <a:pt x="1286" y="220"/>
                    </a:lnTo>
                    <a:lnTo>
                      <a:pt x="1294" y="215"/>
                    </a:lnTo>
                    <a:lnTo>
                      <a:pt x="1292" y="212"/>
                    </a:lnTo>
                    <a:lnTo>
                      <a:pt x="1294" y="209"/>
                    </a:lnTo>
                    <a:lnTo>
                      <a:pt x="1297" y="209"/>
                    </a:lnTo>
                    <a:lnTo>
                      <a:pt x="1300" y="206"/>
                    </a:lnTo>
                    <a:lnTo>
                      <a:pt x="1297" y="206"/>
                    </a:lnTo>
                    <a:lnTo>
                      <a:pt x="1300" y="206"/>
                    </a:lnTo>
                    <a:lnTo>
                      <a:pt x="1300" y="206"/>
                    </a:lnTo>
                    <a:lnTo>
                      <a:pt x="1303" y="206"/>
                    </a:lnTo>
                    <a:lnTo>
                      <a:pt x="1306" y="201"/>
                    </a:lnTo>
                    <a:lnTo>
                      <a:pt x="1306" y="203"/>
                    </a:lnTo>
                    <a:lnTo>
                      <a:pt x="1311" y="198"/>
                    </a:lnTo>
                    <a:lnTo>
                      <a:pt x="1317" y="201"/>
                    </a:lnTo>
                    <a:lnTo>
                      <a:pt x="1317" y="198"/>
                    </a:lnTo>
                    <a:lnTo>
                      <a:pt x="1317" y="195"/>
                    </a:lnTo>
                    <a:lnTo>
                      <a:pt x="1317" y="192"/>
                    </a:lnTo>
                    <a:lnTo>
                      <a:pt x="1325" y="189"/>
                    </a:lnTo>
                    <a:lnTo>
                      <a:pt x="1319" y="189"/>
                    </a:lnTo>
                    <a:lnTo>
                      <a:pt x="1322" y="187"/>
                    </a:lnTo>
                    <a:lnTo>
                      <a:pt x="1328" y="184"/>
                    </a:lnTo>
                    <a:lnTo>
                      <a:pt x="1328" y="187"/>
                    </a:lnTo>
                    <a:lnTo>
                      <a:pt x="1328" y="184"/>
                    </a:lnTo>
                    <a:lnTo>
                      <a:pt x="1331" y="184"/>
                    </a:lnTo>
                    <a:lnTo>
                      <a:pt x="1333" y="181"/>
                    </a:lnTo>
                    <a:lnTo>
                      <a:pt x="1331" y="181"/>
                    </a:lnTo>
                    <a:lnTo>
                      <a:pt x="1333" y="178"/>
                    </a:lnTo>
                    <a:lnTo>
                      <a:pt x="1336" y="178"/>
                    </a:lnTo>
                    <a:lnTo>
                      <a:pt x="1339" y="176"/>
                    </a:lnTo>
                    <a:lnTo>
                      <a:pt x="1339" y="170"/>
                    </a:lnTo>
                    <a:lnTo>
                      <a:pt x="1342" y="167"/>
                    </a:lnTo>
                    <a:lnTo>
                      <a:pt x="1345" y="164"/>
                    </a:lnTo>
                    <a:lnTo>
                      <a:pt x="1345" y="162"/>
                    </a:lnTo>
                    <a:lnTo>
                      <a:pt x="1345" y="156"/>
                    </a:lnTo>
                    <a:lnTo>
                      <a:pt x="1345" y="156"/>
                    </a:lnTo>
                    <a:lnTo>
                      <a:pt x="1342" y="153"/>
                    </a:lnTo>
                    <a:lnTo>
                      <a:pt x="1345" y="153"/>
                    </a:lnTo>
                    <a:lnTo>
                      <a:pt x="1345" y="148"/>
                    </a:lnTo>
                    <a:lnTo>
                      <a:pt x="1342" y="148"/>
                    </a:lnTo>
                    <a:lnTo>
                      <a:pt x="1336" y="145"/>
                    </a:lnTo>
                    <a:lnTo>
                      <a:pt x="1336" y="139"/>
                    </a:lnTo>
                    <a:lnTo>
                      <a:pt x="1333" y="142"/>
                    </a:lnTo>
                    <a:lnTo>
                      <a:pt x="1333" y="142"/>
                    </a:lnTo>
                    <a:lnTo>
                      <a:pt x="1333" y="145"/>
                    </a:lnTo>
                    <a:lnTo>
                      <a:pt x="1331" y="142"/>
                    </a:lnTo>
                    <a:lnTo>
                      <a:pt x="1331" y="142"/>
                    </a:lnTo>
                    <a:lnTo>
                      <a:pt x="1331" y="137"/>
                    </a:lnTo>
                    <a:lnTo>
                      <a:pt x="1331" y="137"/>
                    </a:lnTo>
                    <a:lnTo>
                      <a:pt x="1328" y="134"/>
                    </a:lnTo>
                    <a:lnTo>
                      <a:pt x="1325" y="131"/>
                    </a:lnTo>
                    <a:lnTo>
                      <a:pt x="1325" y="128"/>
                    </a:lnTo>
                    <a:lnTo>
                      <a:pt x="1328" y="128"/>
                    </a:lnTo>
                    <a:lnTo>
                      <a:pt x="1333" y="134"/>
                    </a:lnTo>
                    <a:lnTo>
                      <a:pt x="1342" y="139"/>
                    </a:lnTo>
                    <a:lnTo>
                      <a:pt x="1339" y="145"/>
                    </a:lnTo>
                    <a:lnTo>
                      <a:pt x="1342" y="145"/>
                    </a:lnTo>
                    <a:lnTo>
                      <a:pt x="1347" y="131"/>
                    </a:lnTo>
                    <a:lnTo>
                      <a:pt x="1347" y="125"/>
                    </a:lnTo>
                    <a:lnTo>
                      <a:pt x="1347" y="123"/>
                    </a:lnTo>
                    <a:lnTo>
                      <a:pt x="1345" y="123"/>
                    </a:lnTo>
                    <a:lnTo>
                      <a:pt x="1342" y="123"/>
                    </a:lnTo>
                    <a:lnTo>
                      <a:pt x="1342" y="114"/>
                    </a:lnTo>
                    <a:lnTo>
                      <a:pt x="1342" y="112"/>
                    </a:lnTo>
                    <a:lnTo>
                      <a:pt x="1336" y="103"/>
                    </a:lnTo>
                    <a:lnTo>
                      <a:pt x="1333" y="103"/>
                    </a:lnTo>
                    <a:lnTo>
                      <a:pt x="1336" y="109"/>
                    </a:lnTo>
                    <a:lnTo>
                      <a:pt x="1333" y="112"/>
                    </a:lnTo>
                    <a:lnTo>
                      <a:pt x="1333" y="112"/>
                    </a:lnTo>
                    <a:lnTo>
                      <a:pt x="1331" y="114"/>
                    </a:lnTo>
                    <a:lnTo>
                      <a:pt x="1328" y="106"/>
                    </a:lnTo>
                    <a:lnTo>
                      <a:pt x="1325" y="103"/>
                    </a:lnTo>
                    <a:lnTo>
                      <a:pt x="1328" y="103"/>
                    </a:lnTo>
                    <a:lnTo>
                      <a:pt x="1328" y="98"/>
                    </a:lnTo>
                    <a:lnTo>
                      <a:pt x="1322" y="89"/>
                    </a:lnTo>
                    <a:lnTo>
                      <a:pt x="1319" y="92"/>
                    </a:lnTo>
                    <a:lnTo>
                      <a:pt x="1319" y="86"/>
                    </a:lnTo>
                    <a:lnTo>
                      <a:pt x="1314" y="81"/>
                    </a:lnTo>
                    <a:lnTo>
                      <a:pt x="1308" y="78"/>
                    </a:lnTo>
                    <a:lnTo>
                      <a:pt x="1311" y="75"/>
                    </a:lnTo>
                    <a:lnTo>
                      <a:pt x="1308" y="75"/>
                    </a:lnTo>
                    <a:lnTo>
                      <a:pt x="1306" y="73"/>
                    </a:lnTo>
                    <a:lnTo>
                      <a:pt x="1306" y="75"/>
                    </a:lnTo>
                    <a:lnTo>
                      <a:pt x="1303" y="73"/>
                    </a:lnTo>
                    <a:lnTo>
                      <a:pt x="1306" y="70"/>
                    </a:lnTo>
                    <a:lnTo>
                      <a:pt x="1300" y="70"/>
                    </a:lnTo>
                    <a:lnTo>
                      <a:pt x="1292" y="70"/>
                    </a:lnTo>
                    <a:lnTo>
                      <a:pt x="1286" y="73"/>
                    </a:lnTo>
                    <a:lnTo>
                      <a:pt x="1286" y="73"/>
                    </a:lnTo>
                    <a:lnTo>
                      <a:pt x="1283" y="73"/>
                    </a:lnTo>
                    <a:lnTo>
                      <a:pt x="1278" y="70"/>
                    </a:lnTo>
                    <a:lnTo>
                      <a:pt x="1272" y="73"/>
                    </a:lnTo>
                    <a:lnTo>
                      <a:pt x="1272" y="70"/>
                    </a:lnTo>
                    <a:lnTo>
                      <a:pt x="1264" y="73"/>
                    </a:lnTo>
                    <a:lnTo>
                      <a:pt x="1261" y="70"/>
                    </a:lnTo>
                    <a:lnTo>
                      <a:pt x="1258" y="73"/>
                    </a:lnTo>
                    <a:lnTo>
                      <a:pt x="1258" y="70"/>
                    </a:lnTo>
                    <a:lnTo>
                      <a:pt x="1261" y="70"/>
                    </a:lnTo>
                    <a:lnTo>
                      <a:pt x="1261" y="67"/>
                    </a:lnTo>
                    <a:lnTo>
                      <a:pt x="1258" y="67"/>
                    </a:lnTo>
                    <a:lnTo>
                      <a:pt x="1258" y="70"/>
                    </a:lnTo>
                    <a:lnTo>
                      <a:pt x="1255" y="70"/>
                    </a:lnTo>
                    <a:lnTo>
                      <a:pt x="1253" y="75"/>
                    </a:lnTo>
                    <a:lnTo>
                      <a:pt x="1255" y="75"/>
                    </a:lnTo>
                    <a:lnTo>
                      <a:pt x="1255" y="78"/>
                    </a:lnTo>
                    <a:lnTo>
                      <a:pt x="1253" y="78"/>
                    </a:lnTo>
                    <a:lnTo>
                      <a:pt x="1253" y="81"/>
                    </a:lnTo>
                    <a:lnTo>
                      <a:pt x="1250" y="84"/>
                    </a:lnTo>
                    <a:lnTo>
                      <a:pt x="1247" y="86"/>
                    </a:lnTo>
                    <a:lnTo>
                      <a:pt x="1247" y="84"/>
                    </a:lnTo>
                    <a:lnTo>
                      <a:pt x="1244" y="89"/>
                    </a:lnTo>
                    <a:lnTo>
                      <a:pt x="1239" y="86"/>
                    </a:lnTo>
                    <a:lnTo>
                      <a:pt x="1236" y="89"/>
                    </a:lnTo>
                    <a:lnTo>
                      <a:pt x="1233" y="86"/>
                    </a:lnTo>
                    <a:lnTo>
                      <a:pt x="1228" y="86"/>
                    </a:lnTo>
                    <a:lnTo>
                      <a:pt x="1228" y="86"/>
                    </a:lnTo>
                    <a:lnTo>
                      <a:pt x="1228" y="86"/>
                    </a:lnTo>
                    <a:lnTo>
                      <a:pt x="1230" y="84"/>
                    </a:lnTo>
                    <a:lnTo>
                      <a:pt x="1233" y="84"/>
                    </a:lnTo>
                    <a:lnTo>
                      <a:pt x="1239" y="70"/>
                    </a:lnTo>
                    <a:lnTo>
                      <a:pt x="1241" y="67"/>
                    </a:lnTo>
                    <a:lnTo>
                      <a:pt x="1244" y="61"/>
                    </a:lnTo>
                    <a:lnTo>
                      <a:pt x="1244" y="61"/>
                    </a:lnTo>
                    <a:lnTo>
                      <a:pt x="1244" y="59"/>
                    </a:lnTo>
                    <a:lnTo>
                      <a:pt x="1244" y="59"/>
                    </a:lnTo>
                    <a:lnTo>
                      <a:pt x="1244" y="59"/>
                    </a:lnTo>
                    <a:lnTo>
                      <a:pt x="1244" y="56"/>
                    </a:lnTo>
                    <a:lnTo>
                      <a:pt x="1244" y="56"/>
                    </a:lnTo>
                    <a:lnTo>
                      <a:pt x="1244" y="53"/>
                    </a:lnTo>
                    <a:lnTo>
                      <a:pt x="1244" y="53"/>
                    </a:lnTo>
                    <a:lnTo>
                      <a:pt x="1236" y="50"/>
                    </a:lnTo>
                    <a:lnTo>
                      <a:pt x="1236" y="50"/>
                    </a:lnTo>
                    <a:lnTo>
                      <a:pt x="1233" y="47"/>
                    </a:lnTo>
                    <a:lnTo>
                      <a:pt x="1230" y="47"/>
                    </a:lnTo>
                    <a:lnTo>
                      <a:pt x="1228" y="47"/>
                    </a:lnTo>
                    <a:lnTo>
                      <a:pt x="1228" y="50"/>
                    </a:lnTo>
                    <a:lnTo>
                      <a:pt x="1225" y="47"/>
                    </a:lnTo>
                    <a:lnTo>
                      <a:pt x="1219" y="50"/>
                    </a:lnTo>
                    <a:lnTo>
                      <a:pt x="1222" y="45"/>
                    </a:lnTo>
                    <a:lnTo>
                      <a:pt x="1222" y="42"/>
                    </a:lnTo>
                    <a:lnTo>
                      <a:pt x="1219" y="47"/>
                    </a:lnTo>
                    <a:lnTo>
                      <a:pt x="1214" y="47"/>
                    </a:lnTo>
                    <a:lnTo>
                      <a:pt x="1197" y="53"/>
                    </a:lnTo>
                    <a:lnTo>
                      <a:pt x="1203" y="47"/>
                    </a:lnTo>
                    <a:lnTo>
                      <a:pt x="1203" y="47"/>
                    </a:lnTo>
                    <a:lnTo>
                      <a:pt x="1211" y="36"/>
                    </a:lnTo>
                    <a:lnTo>
                      <a:pt x="1214" y="34"/>
                    </a:lnTo>
                    <a:lnTo>
                      <a:pt x="1216" y="34"/>
                    </a:lnTo>
                    <a:lnTo>
                      <a:pt x="1219" y="28"/>
                    </a:lnTo>
                    <a:lnTo>
                      <a:pt x="1219" y="25"/>
                    </a:lnTo>
                    <a:lnTo>
                      <a:pt x="1222" y="25"/>
                    </a:lnTo>
                    <a:lnTo>
                      <a:pt x="1225" y="28"/>
                    </a:lnTo>
                    <a:lnTo>
                      <a:pt x="1222" y="25"/>
                    </a:lnTo>
                    <a:lnTo>
                      <a:pt x="1219" y="14"/>
                    </a:lnTo>
                    <a:lnTo>
                      <a:pt x="1216" y="11"/>
                    </a:lnTo>
                    <a:lnTo>
                      <a:pt x="1216" y="14"/>
                    </a:lnTo>
                    <a:lnTo>
                      <a:pt x="1211" y="14"/>
                    </a:lnTo>
                    <a:lnTo>
                      <a:pt x="1205" y="11"/>
                    </a:lnTo>
                    <a:lnTo>
                      <a:pt x="1203" y="3"/>
                    </a:lnTo>
                    <a:lnTo>
                      <a:pt x="1200" y="6"/>
                    </a:lnTo>
                    <a:lnTo>
                      <a:pt x="1197" y="6"/>
                    </a:lnTo>
                    <a:lnTo>
                      <a:pt x="1197" y="3"/>
                    </a:lnTo>
                    <a:lnTo>
                      <a:pt x="1197" y="3"/>
                    </a:lnTo>
                    <a:lnTo>
                      <a:pt x="1194" y="0"/>
                    </a:lnTo>
                    <a:lnTo>
                      <a:pt x="1191" y="0"/>
                    </a:lnTo>
                    <a:lnTo>
                      <a:pt x="1189" y="6"/>
                    </a:lnTo>
                    <a:lnTo>
                      <a:pt x="1186" y="8"/>
                    </a:lnTo>
                    <a:lnTo>
                      <a:pt x="1186" y="8"/>
                    </a:lnTo>
                    <a:lnTo>
                      <a:pt x="1177" y="6"/>
                    </a:lnTo>
                    <a:lnTo>
                      <a:pt x="1177" y="11"/>
                    </a:lnTo>
                    <a:lnTo>
                      <a:pt x="1166" y="25"/>
                    </a:lnTo>
                    <a:lnTo>
                      <a:pt x="1164" y="31"/>
                    </a:lnTo>
                    <a:lnTo>
                      <a:pt x="1158" y="34"/>
                    </a:lnTo>
                    <a:lnTo>
                      <a:pt x="1158" y="36"/>
                    </a:lnTo>
                    <a:lnTo>
                      <a:pt x="1150" y="47"/>
                    </a:lnTo>
                    <a:lnTo>
                      <a:pt x="1150" y="50"/>
                    </a:lnTo>
                    <a:lnTo>
                      <a:pt x="1150" y="53"/>
                    </a:lnTo>
                    <a:lnTo>
                      <a:pt x="1150" y="56"/>
                    </a:lnTo>
                    <a:lnTo>
                      <a:pt x="1147" y="56"/>
                    </a:lnTo>
                    <a:lnTo>
                      <a:pt x="1147" y="59"/>
                    </a:lnTo>
                    <a:lnTo>
                      <a:pt x="1144" y="64"/>
                    </a:lnTo>
                    <a:lnTo>
                      <a:pt x="1144" y="64"/>
                    </a:lnTo>
                    <a:lnTo>
                      <a:pt x="1144" y="67"/>
                    </a:lnTo>
                    <a:lnTo>
                      <a:pt x="1147" y="70"/>
                    </a:lnTo>
                    <a:lnTo>
                      <a:pt x="1150" y="70"/>
                    </a:lnTo>
                    <a:lnTo>
                      <a:pt x="1150" y="75"/>
                    </a:lnTo>
                    <a:lnTo>
                      <a:pt x="1152" y="75"/>
                    </a:lnTo>
                    <a:lnTo>
                      <a:pt x="1152" y="75"/>
                    </a:lnTo>
                    <a:lnTo>
                      <a:pt x="1150" y="75"/>
                    </a:lnTo>
                    <a:lnTo>
                      <a:pt x="1150" y="73"/>
                    </a:lnTo>
                    <a:lnTo>
                      <a:pt x="1150" y="81"/>
                    </a:lnTo>
                    <a:lnTo>
                      <a:pt x="1150" y="81"/>
                    </a:lnTo>
                    <a:lnTo>
                      <a:pt x="1150" y="81"/>
                    </a:lnTo>
                    <a:lnTo>
                      <a:pt x="1136" y="89"/>
                    </a:lnTo>
                    <a:lnTo>
                      <a:pt x="1130" y="86"/>
                    </a:lnTo>
                    <a:lnTo>
                      <a:pt x="1127" y="89"/>
                    </a:lnTo>
                    <a:lnTo>
                      <a:pt x="1113" y="86"/>
                    </a:lnTo>
                    <a:lnTo>
                      <a:pt x="1113" y="89"/>
                    </a:lnTo>
                    <a:lnTo>
                      <a:pt x="1113" y="89"/>
                    </a:lnTo>
                    <a:lnTo>
                      <a:pt x="1116" y="92"/>
                    </a:lnTo>
                    <a:lnTo>
                      <a:pt x="1116" y="95"/>
                    </a:lnTo>
                    <a:lnTo>
                      <a:pt x="1119" y="95"/>
                    </a:lnTo>
                    <a:lnTo>
                      <a:pt x="1122" y="98"/>
                    </a:lnTo>
                    <a:lnTo>
                      <a:pt x="1122" y="100"/>
                    </a:lnTo>
                    <a:lnTo>
                      <a:pt x="1127" y="100"/>
                    </a:lnTo>
                    <a:lnTo>
                      <a:pt x="1127" y="103"/>
                    </a:lnTo>
                    <a:lnTo>
                      <a:pt x="1127" y="103"/>
                    </a:lnTo>
                    <a:lnTo>
                      <a:pt x="1127" y="109"/>
                    </a:lnTo>
                    <a:lnTo>
                      <a:pt x="1127" y="114"/>
                    </a:lnTo>
                    <a:lnTo>
                      <a:pt x="1127" y="117"/>
                    </a:lnTo>
                    <a:lnTo>
                      <a:pt x="1122" y="114"/>
                    </a:lnTo>
                    <a:lnTo>
                      <a:pt x="1122" y="112"/>
                    </a:lnTo>
                    <a:lnTo>
                      <a:pt x="1122" y="109"/>
                    </a:lnTo>
                    <a:lnTo>
                      <a:pt x="1116" y="109"/>
                    </a:lnTo>
                    <a:lnTo>
                      <a:pt x="1116" y="109"/>
                    </a:lnTo>
                    <a:lnTo>
                      <a:pt x="1116" y="106"/>
                    </a:lnTo>
                    <a:lnTo>
                      <a:pt x="1116" y="103"/>
                    </a:lnTo>
                    <a:lnTo>
                      <a:pt x="1111" y="103"/>
                    </a:lnTo>
                    <a:lnTo>
                      <a:pt x="1111" y="100"/>
                    </a:lnTo>
                    <a:lnTo>
                      <a:pt x="1111" y="100"/>
                    </a:lnTo>
                    <a:lnTo>
                      <a:pt x="1100" y="109"/>
                    </a:lnTo>
                    <a:lnTo>
                      <a:pt x="1100" y="112"/>
                    </a:lnTo>
                    <a:lnTo>
                      <a:pt x="1100" y="114"/>
                    </a:lnTo>
                    <a:lnTo>
                      <a:pt x="1100" y="114"/>
                    </a:lnTo>
                    <a:lnTo>
                      <a:pt x="1097" y="112"/>
                    </a:lnTo>
                    <a:lnTo>
                      <a:pt x="1094" y="112"/>
                    </a:lnTo>
                    <a:lnTo>
                      <a:pt x="1094" y="114"/>
                    </a:lnTo>
                    <a:lnTo>
                      <a:pt x="1097" y="117"/>
                    </a:lnTo>
                    <a:lnTo>
                      <a:pt x="1097" y="117"/>
                    </a:lnTo>
                    <a:lnTo>
                      <a:pt x="1097" y="120"/>
                    </a:lnTo>
                    <a:lnTo>
                      <a:pt x="1094" y="120"/>
                    </a:lnTo>
                    <a:lnTo>
                      <a:pt x="1091" y="120"/>
                    </a:lnTo>
                    <a:lnTo>
                      <a:pt x="1086" y="123"/>
                    </a:lnTo>
                    <a:lnTo>
                      <a:pt x="1086" y="120"/>
                    </a:lnTo>
                    <a:lnTo>
                      <a:pt x="1086" y="117"/>
                    </a:lnTo>
                    <a:lnTo>
                      <a:pt x="1086" y="120"/>
                    </a:lnTo>
                    <a:lnTo>
                      <a:pt x="1083" y="123"/>
                    </a:lnTo>
                    <a:lnTo>
                      <a:pt x="1080" y="123"/>
                    </a:lnTo>
                    <a:lnTo>
                      <a:pt x="1077" y="125"/>
                    </a:lnTo>
                    <a:lnTo>
                      <a:pt x="1074" y="125"/>
                    </a:lnTo>
                    <a:lnTo>
                      <a:pt x="1077" y="123"/>
                    </a:lnTo>
                    <a:lnTo>
                      <a:pt x="1077" y="120"/>
                    </a:lnTo>
                    <a:lnTo>
                      <a:pt x="1074" y="120"/>
                    </a:lnTo>
                    <a:lnTo>
                      <a:pt x="1074" y="117"/>
                    </a:lnTo>
                    <a:lnTo>
                      <a:pt x="1074" y="120"/>
                    </a:lnTo>
                    <a:lnTo>
                      <a:pt x="1069" y="120"/>
                    </a:lnTo>
                    <a:lnTo>
                      <a:pt x="1066" y="125"/>
                    </a:lnTo>
                    <a:lnTo>
                      <a:pt x="1063" y="125"/>
                    </a:lnTo>
                    <a:lnTo>
                      <a:pt x="1063" y="125"/>
                    </a:lnTo>
                    <a:lnTo>
                      <a:pt x="1069" y="117"/>
                    </a:lnTo>
                    <a:lnTo>
                      <a:pt x="1069" y="112"/>
                    </a:lnTo>
                    <a:lnTo>
                      <a:pt x="1066" y="109"/>
                    </a:lnTo>
                    <a:lnTo>
                      <a:pt x="1058" y="109"/>
                    </a:lnTo>
                    <a:lnTo>
                      <a:pt x="1055" y="112"/>
                    </a:lnTo>
                    <a:lnTo>
                      <a:pt x="1055" y="112"/>
                    </a:lnTo>
                    <a:lnTo>
                      <a:pt x="1047" y="109"/>
                    </a:lnTo>
                    <a:lnTo>
                      <a:pt x="1047" y="112"/>
                    </a:lnTo>
                    <a:lnTo>
                      <a:pt x="1044" y="114"/>
                    </a:lnTo>
                    <a:lnTo>
                      <a:pt x="1041" y="112"/>
                    </a:lnTo>
                    <a:lnTo>
                      <a:pt x="1033" y="112"/>
                    </a:lnTo>
                    <a:lnTo>
                      <a:pt x="1033" y="114"/>
                    </a:lnTo>
                    <a:lnTo>
                      <a:pt x="1033" y="114"/>
                    </a:lnTo>
                    <a:lnTo>
                      <a:pt x="1033" y="114"/>
                    </a:lnTo>
                    <a:lnTo>
                      <a:pt x="1027" y="117"/>
                    </a:lnTo>
                    <a:lnTo>
                      <a:pt x="1027" y="117"/>
                    </a:lnTo>
                    <a:lnTo>
                      <a:pt x="1027" y="114"/>
                    </a:lnTo>
                    <a:lnTo>
                      <a:pt x="1024" y="114"/>
                    </a:lnTo>
                    <a:lnTo>
                      <a:pt x="1022" y="117"/>
                    </a:lnTo>
                    <a:lnTo>
                      <a:pt x="1019" y="114"/>
                    </a:lnTo>
                    <a:lnTo>
                      <a:pt x="1019" y="117"/>
                    </a:lnTo>
                    <a:lnTo>
                      <a:pt x="1019" y="120"/>
                    </a:lnTo>
                    <a:lnTo>
                      <a:pt x="1019" y="123"/>
                    </a:lnTo>
                    <a:lnTo>
                      <a:pt x="1024" y="120"/>
                    </a:lnTo>
                    <a:lnTo>
                      <a:pt x="1027" y="123"/>
                    </a:lnTo>
                    <a:lnTo>
                      <a:pt x="1027" y="125"/>
                    </a:lnTo>
                    <a:lnTo>
                      <a:pt x="1027" y="123"/>
                    </a:lnTo>
                    <a:lnTo>
                      <a:pt x="1027" y="123"/>
                    </a:lnTo>
                    <a:lnTo>
                      <a:pt x="1030" y="120"/>
                    </a:lnTo>
                    <a:lnTo>
                      <a:pt x="1030" y="123"/>
                    </a:lnTo>
                    <a:lnTo>
                      <a:pt x="1030" y="125"/>
                    </a:lnTo>
                    <a:lnTo>
                      <a:pt x="1027" y="128"/>
                    </a:lnTo>
                    <a:lnTo>
                      <a:pt x="1002" y="137"/>
                    </a:lnTo>
                    <a:lnTo>
                      <a:pt x="999" y="134"/>
                    </a:lnTo>
                    <a:lnTo>
                      <a:pt x="999" y="137"/>
                    </a:lnTo>
                    <a:lnTo>
                      <a:pt x="999" y="142"/>
                    </a:lnTo>
                    <a:lnTo>
                      <a:pt x="999" y="139"/>
                    </a:lnTo>
                    <a:lnTo>
                      <a:pt x="996" y="139"/>
                    </a:lnTo>
                    <a:lnTo>
                      <a:pt x="991" y="142"/>
                    </a:lnTo>
                    <a:lnTo>
                      <a:pt x="988" y="139"/>
                    </a:lnTo>
                    <a:lnTo>
                      <a:pt x="983" y="145"/>
                    </a:lnTo>
                    <a:lnTo>
                      <a:pt x="977" y="142"/>
                    </a:lnTo>
                    <a:lnTo>
                      <a:pt x="974" y="148"/>
                    </a:lnTo>
                    <a:lnTo>
                      <a:pt x="977" y="150"/>
                    </a:lnTo>
                    <a:lnTo>
                      <a:pt x="971" y="150"/>
                    </a:lnTo>
                    <a:lnTo>
                      <a:pt x="969" y="153"/>
                    </a:lnTo>
                    <a:lnTo>
                      <a:pt x="963" y="150"/>
                    </a:lnTo>
                    <a:lnTo>
                      <a:pt x="960" y="153"/>
                    </a:lnTo>
                    <a:lnTo>
                      <a:pt x="958" y="153"/>
                    </a:lnTo>
                    <a:lnTo>
                      <a:pt x="958" y="156"/>
                    </a:lnTo>
                    <a:lnTo>
                      <a:pt x="958" y="156"/>
                    </a:lnTo>
                    <a:lnTo>
                      <a:pt x="960" y="156"/>
                    </a:lnTo>
                    <a:lnTo>
                      <a:pt x="955" y="159"/>
                    </a:lnTo>
                    <a:lnTo>
                      <a:pt x="955" y="162"/>
                    </a:lnTo>
                    <a:lnTo>
                      <a:pt x="952" y="162"/>
                    </a:lnTo>
                    <a:lnTo>
                      <a:pt x="949" y="167"/>
                    </a:lnTo>
                    <a:lnTo>
                      <a:pt x="946" y="170"/>
                    </a:lnTo>
                    <a:lnTo>
                      <a:pt x="944" y="170"/>
                    </a:lnTo>
                    <a:lnTo>
                      <a:pt x="946" y="173"/>
                    </a:lnTo>
                    <a:lnTo>
                      <a:pt x="944" y="173"/>
                    </a:lnTo>
                    <a:lnTo>
                      <a:pt x="941" y="176"/>
                    </a:lnTo>
                    <a:lnTo>
                      <a:pt x="938" y="173"/>
                    </a:lnTo>
                    <a:lnTo>
                      <a:pt x="930" y="173"/>
                    </a:lnTo>
                    <a:lnTo>
                      <a:pt x="927" y="176"/>
                    </a:lnTo>
                    <a:lnTo>
                      <a:pt x="932" y="178"/>
                    </a:lnTo>
                    <a:lnTo>
                      <a:pt x="938" y="178"/>
                    </a:lnTo>
                    <a:lnTo>
                      <a:pt x="938" y="181"/>
                    </a:lnTo>
                    <a:lnTo>
                      <a:pt x="935" y="184"/>
                    </a:lnTo>
                    <a:lnTo>
                      <a:pt x="932" y="181"/>
                    </a:lnTo>
                    <a:lnTo>
                      <a:pt x="932" y="181"/>
                    </a:lnTo>
                    <a:lnTo>
                      <a:pt x="930" y="181"/>
                    </a:lnTo>
                    <a:lnTo>
                      <a:pt x="932" y="184"/>
                    </a:lnTo>
                    <a:lnTo>
                      <a:pt x="927" y="195"/>
                    </a:lnTo>
                    <a:lnTo>
                      <a:pt x="924" y="195"/>
                    </a:lnTo>
                    <a:lnTo>
                      <a:pt x="924" y="198"/>
                    </a:lnTo>
                    <a:lnTo>
                      <a:pt x="924" y="201"/>
                    </a:lnTo>
                    <a:lnTo>
                      <a:pt x="924" y="203"/>
                    </a:lnTo>
                    <a:lnTo>
                      <a:pt x="921" y="198"/>
                    </a:lnTo>
                    <a:lnTo>
                      <a:pt x="916" y="195"/>
                    </a:lnTo>
                    <a:lnTo>
                      <a:pt x="916" y="192"/>
                    </a:lnTo>
                    <a:lnTo>
                      <a:pt x="910" y="189"/>
                    </a:lnTo>
                    <a:lnTo>
                      <a:pt x="910" y="189"/>
                    </a:lnTo>
                    <a:lnTo>
                      <a:pt x="913" y="195"/>
                    </a:lnTo>
                    <a:lnTo>
                      <a:pt x="907" y="198"/>
                    </a:lnTo>
                    <a:lnTo>
                      <a:pt x="910" y="201"/>
                    </a:lnTo>
                    <a:lnTo>
                      <a:pt x="907" y="201"/>
                    </a:lnTo>
                    <a:lnTo>
                      <a:pt x="907" y="201"/>
                    </a:lnTo>
                    <a:lnTo>
                      <a:pt x="916" y="203"/>
                    </a:lnTo>
                    <a:lnTo>
                      <a:pt x="919" y="203"/>
                    </a:lnTo>
                    <a:lnTo>
                      <a:pt x="921" y="206"/>
                    </a:lnTo>
                    <a:lnTo>
                      <a:pt x="921" y="209"/>
                    </a:lnTo>
                    <a:lnTo>
                      <a:pt x="921" y="209"/>
                    </a:lnTo>
                    <a:lnTo>
                      <a:pt x="921" y="212"/>
                    </a:lnTo>
                    <a:lnTo>
                      <a:pt x="921" y="212"/>
                    </a:lnTo>
                    <a:lnTo>
                      <a:pt x="919" y="212"/>
                    </a:lnTo>
                    <a:lnTo>
                      <a:pt x="916" y="212"/>
                    </a:lnTo>
                    <a:lnTo>
                      <a:pt x="913" y="215"/>
                    </a:lnTo>
                    <a:lnTo>
                      <a:pt x="916" y="215"/>
                    </a:lnTo>
                    <a:lnTo>
                      <a:pt x="910" y="217"/>
                    </a:lnTo>
                    <a:lnTo>
                      <a:pt x="910" y="217"/>
                    </a:lnTo>
                    <a:lnTo>
                      <a:pt x="910" y="220"/>
                    </a:lnTo>
                    <a:lnTo>
                      <a:pt x="913" y="223"/>
                    </a:lnTo>
                    <a:lnTo>
                      <a:pt x="924" y="226"/>
                    </a:lnTo>
                    <a:lnTo>
                      <a:pt x="924" y="234"/>
                    </a:lnTo>
                    <a:lnTo>
                      <a:pt x="927" y="237"/>
                    </a:lnTo>
                    <a:lnTo>
                      <a:pt x="927" y="237"/>
                    </a:lnTo>
                    <a:lnTo>
                      <a:pt x="921" y="237"/>
                    </a:lnTo>
                    <a:lnTo>
                      <a:pt x="921" y="237"/>
                    </a:lnTo>
                    <a:lnTo>
                      <a:pt x="924" y="240"/>
                    </a:lnTo>
                    <a:lnTo>
                      <a:pt x="921" y="240"/>
                    </a:lnTo>
                    <a:lnTo>
                      <a:pt x="921" y="242"/>
                    </a:lnTo>
                    <a:lnTo>
                      <a:pt x="924" y="242"/>
                    </a:lnTo>
                    <a:lnTo>
                      <a:pt x="924" y="245"/>
                    </a:lnTo>
                    <a:lnTo>
                      <a:pt x="921" y="245"/>
                    </a:lnTo>
                    <a:lnTo>
                      <a:pt x="916" y="245"/>
                    </a:lnTo>
                    <a:lnTo>
                      <a:pt x="910" y="248"/>
                    </a:lnTo>
                    <a:lnTo>
                      <a:pt x="907" y="248"/>
                    </a:lnTo>
                    <a:lnTo>
                      <a:pt x="905" y="248"/>
                    </a:lnTo>
                    <a:lnTo>
                      <a:pt x="905" y="251"/>
                    </a:lnTo>
                    <a:lnTo>
                      <a:pt x="902" y="254"/>
                    </a:lnTo>
                    <a:lnTo>
                      <a:pt x="896" y="254"/>
                    </a:lnTo>
                    <a:lnTo>
                      <a:pt x="893" y="251"/>
                    </a:lnTo>
                    <a:lnTo>
                      <a:pt x="893" y="251"/>
                    </a:lnTo>
                    <a:lnTo>
                      <a:pt x="863" y="259"/>
                    </a:lnTo>
                    <a:lnTo>
                      <a:pt x="860" y="256"/>
                    </a:lnTo>
                    <a:lnTo>
                      <a:pt x="854" y="259"/>
                    </a:lnTo>
                    <a:lnTo>
                      <a:pt x="849" y="256"/>
                    </a:lnTo>
                    <a:lnTo>
                      <a:pt x="841" y="259"/>
                    </a:lnTo>
                    <a:lnTo>
                      <a:pt x="841" y="262"/>
                    </a:lnTo>
                    <a:lnTo>
                      <a:pt x="838" y="262"/>
                    </a:lnTo>
                    <a:lnTo>
                      <a:pt x="835" y="259"/>
                    </a:lnTo>
                    <a:lnTo>
                      <a:pt x="832" y="262"/>
                    </a:lnTo>
                    <a:lnTo>
                      <a:pt x="832" y="262"/>
                    </a:lnTo>
                    <a:lnTo>
                      <a:pt x="829" y="265"/>
                    </a:lnTo>
                    <a:lnTo>
                      <a:pt x="829" y="267"/>
                    </a:lnTo>
                    <a:lnTo>
                      <a:pt x="829" y="270"/>
                    </a:lnTo>
                    <a:lnTo>
                      <a:pt x="829" y="270"/>
                    </a:lnTo>
                    <a:lnTo>
                      <a:pt x="832" y="267"/>
                    </a:lnTo>
                    <a:lnTo>
                      <a:pt x="832" y="267"/>
                    </a:lnTo>
                    <a:lnTo>
                      <a:pt x="832" y="270"/>
                    </a:lnTo>
                    <a:lnTo>
                      <a:pt x="829" y="273"/>
                    </a:lnTo>
                    <a:lnTo>
                      <a:pt x="829" y="276"/>
                    </a:lnTo>
                    <a:lnTo>
                      <a:pt x="827" y="273"/>
                    </a:lnTo>
                    <a:lnTo>
                      <a:pt x="824" y="276"/>
                    </a:lnTo>
                    <a:lnTo>
                      <a:pt x="827" y="279"/>
                    </a:lnTo>
                    <a:lnTo>
                      <a:pt x="829" y="279"/>
                    </a:lnTo>
                    <a:lnTo>
                      <a:pt x="829" y="281"/>
                    </a:lnTo>
                    <a:lnTo>
                      <a:pt x="824" y="284"/>
                    </a:lnTo>
                    <a:lnTo>
                      <a:pt x="829" y="287"/>
                    </a:lnTo>
                    <a:lnTo>
                      <a:pt x="829" y="290"/>
                    </a:lnTo>
                    <a:lnTo>
                      <a:pt x="832" y="290"/>
                    </a:lnTo>
                    <a:lnTo>
                      <a:pt x="832" y="290"/>
                    </a:lnTo>
                    <a:lnTo>
                      <a:pt x="835" y="295"/>
                    </a:lnTo>
                    <a:lnTo>
                      <a:pt x="835" y="298"/>
                    </a:lnTo>
                    <a:lnTo>
                      <a:pt x="835" y="301"/>
                    </a:lnTo>
                    <a:lnTo>
                      <a:pt x="835" y="301"/>
                    </a:lnTo>
                    <a:lnTo>
                      <a:pt x="832" y="304"/>
                    </a:lnTo>
                    <a:lnTo>
                      <a:pt x="832" y="309"/>
                    </a:lnTo>
                    <a:lnTo>
                      <a:pt x="832" y="312"/>
                    </a:lnTo>
                    <a:lnTo>
                      <a:pt x="835" y="315"/>
                    </a:lnTo>
                    <a:lnTo>
                      <a:pt x="835" y="320"/>
                    </a:lnTo>
                    <a:lnTo>
                      <a:pt x="835" y="323"/>
                    </a:lnTo>
                    <a:lnTo>
                      <a:pt x="838" y="329"/>
                    </a:lnTo>
                    <a:lnTo>
                      <a:pt x="849" y="329"/>
                    </a:lnTo>
                    <a:lnTo>
                      <a:pt x="854" y="331"/>
                    </a:lnTo>
                    <a:lnTo>
                      <a:pt x="854" y="331"/>
                    </a:lnTo>
                    <a:lnTo>
                      <a:pt x="857" y="337"/>
                    </a:lnTo>
                    <a:lnTo>
                      <a:pt x="857" y="340"/>
                    </a:lnTo>
                    <a:lnTo>
                      <a:pt x="854" y="343"/>
                    </a:lnTo>
                    <a:lnTo>
                      <a:pt x="857" y="343"/>
                    </a:lnTo>
                    <a:lnTo>
                      <a:pt x="860" y="345"/>
                    </a:lnTo>
                    <a:lnTo>
                      <a:pt x="863" y="348"/>
                    </a:lnTo>
                    <a:lnTo>
                      <a:pt x="866" y="351"/>
                    </a:lnTo>
                    <a:lnTo>
                      <a:pt x="871" y="354"/>
                    </a:lnTo>
                    <a:lnTo>
                      <a:pt x="874" y="354"/>
                    </a:lnTo>
                    <a:lnTo>
                      <a:pt x="874" y="354"/>
                    </a:lnTo>
                    <a:lnTo>
                      <a:pt x="877" y="362"/>
                    </a:lnTo>
                    <a:lnTo>
                      <a:pt x="877" y="370"/>
                    </a:lnTo>
                    <a:lnTo>
                      <a:pt x="874" y="373"/>
                    </a:lnTo>
                    <a:lnTo>
                      <a:pt x="874" y="379"/>
                    </a:lnTo>
                    <a:lnTo>
                      <a:pt x="871" y="382"/>
                    </a:lnTo>
                    <a:lnTo>
                      <a:pt x="871" y="387"/>
                    </a:lnTo>
                    <a:lnTo>
                      <a:pt x="871" y="390"/>
                    </a:lnTo>
                    <a:lnTo>
                      <a:pt x="877" y="398"/>
                    </a:lnTo>
                    <a:lnTo>
                      <a:pt x="880" y="421"/>
                    </a:lnTo>
                    <a:lnTo>
                      <a:pt x="877" y="423"/>
                    </a:lnTo>
                    <a:lnTo>
                      <a:pt x="874" y="429"/>
                    </a:lnTo>
                    <a:lnTo>
                      <a:pt x="871" y="429"/>
                    </a:lnTo>
                    <a:lnTo>
                      <a:pt x="868" y="429"/>
                    </a:lnTo>
                    <a:lnTo>
                      <a:pt x="868" y="429"/>
                    </a:lnTo>
                    <a:lnTo>
                      <a:pt x="871" y="435"/>
                    </a:lnTo>
                    <a:lnTo>
                      <a:pt x="871" y="437"/>
                    </a:lnTo>
                    <a:lnTo>
                      <a:pt x="863" y="435"/>
                    </a:lnTo>
                    <a:lnTo>
                      <a:pt x="857" y="435"/>
                    </a:lnTo>
                    <a:lnTo>
                      <a:pt x="854" y="432"/>
                    </a:lnTo>
                    <a:lnTo>
                      <a:pt x="854" y="415"/>
                    </a:lnTo>
                    <a:lnTo>
                      <a:pt x="857" y="407"/>
                    </a:lnTo>
                    <a:lnTo>
                      <a:pt x="854" y="404"/>
                    </a:lnTo>
                    <a:lnTo>
                      <a:pt x="854" y="384"/>
                    </a:lnTo>
                    <a:lnTo>
                      <a:pt x="857" y="382"/>
                    </a:lnTo>
                    <a:lnTo>
                      <a:pt x="866" y="376"/>
                    </a:lnTo>
                    <a:lnTo>
                      <a:pt x="868" y="368"/>
                    </a:lnTo>
                    <a:lnTo>
                      <a:pt x="871" y="368"/>
                    </a:lnTo>
                    <a:lnTo>
                      <a:pt x="871" y="362"/>
                    </a:lnTo>
                    <a:lnTo>
                      <a:pt x="866" y="357"/>
                    </a:lnTo>
                    <a:lnTo>
                      <a:pt x="849" y="362"/>
                    </a:lnTo>
                    <a:lnTo>
                      <a:pt x="843" y="359"/>
                    </a:lnTo>
                    <a:lnTo>
                      <a:pt x="841" y="357"/>
                    </a:lnTo>
                    <a:lnTo>
                      <a:pt x="841" y="357"/>
                    </a:lnTo>
                    <a:lnTo>
                      <a:pt x="832" y="345"/>
                    </a:lnTo>
                    <a:lnTo>
                      <a:pt x="832" y="343"/>
                    </a:lnTo>
                    <a:lnTo>
                      <a:pt x="818" y="334"/>
                    </a:lnTo>
                    <a:lnTo>
                      <a:pt x="816" y="331"/>
                    </a:lnTo>
                    <a:lnTo>
                      <a:pt x="810" y="329"/>
                    </a:lnTo>
                    <a:lnTo>
                      <a:pt x="790" y="329"/>
                    </a:lnTo>
                    <a:lnTo>
                      <a:pt x="785" y="334"/>
                    </a:lnTo>
                    <a:lnTo>
                      <a:pt x="779" y="337"/>
                    </a:lnTo>
                    <a:lnTo>
                      <a:pt x="779" y="343"/>
                    </a:lnTo>
                    <a:lnTo>
                      <a:pt x="788" y="343"/>
                    </a:lnTo>
                    <a:lnTo>
                      <a:pt x="790" y="345"/>
                    </a:lnTo>
                    <a:lnTo>
                      <a:pt x="788" y="351"/>
                    </a:lnTo>
                    <a:lnTo>
                      <a:pt x="785" y="354"/>
                    </a:lnTo>
                    <a:lnTo>
                      <a:pt x="779" y="357"/>
                    </a:lnTo>
                    <a:lnTo>
                      <a:pt x="777" y="359"/>
                    </a:lnTo>
                    <a:lnTo>
                      <a:pt x="771" y="359"/>
                    </a:lnTo>
                    <a:lnTo>
                      <a:pt x="771" y="357"/>
                    </a:lnTo>
                    <a:lnTo>
                      <a:pt x="763" y="345"/>
                    </a:lnTo>
                    <a:lnTo>
                      <a:pt x="760" y="348"/>
                    </a:lnTo>
                    <a:lnTo>
                      <a:pt x="757" y="351"/>
                    </a:lnTo>
                    <a:lnTo>
                      <a:pt x="760" y="354"/>
                    </a:lnTo>
                    <a:lnTo>
                      <a:pt x="763" y="368"/>
                    </a:lnTo>
                    <a:lnTo>
                      <a:pt x="765" y="368"/>
                    </a:lnTo>
                    <a:lnTo>
                      <a:pt x="771" y="373"/>
                    </a:lnTo>
                    <a:lnTo>
                      <a:pt x="774" y="373"/>
                    </a:lnTo>
                    <a:lnTo>
                      <a:pt x="777" y="379"/>
                    </a:lnTo>
                    <a:lnTo>
                      <a:pt x="779" y="379"/>
                    </a:lnTo>
                    <a:lnTo>
                      <a:pt x="782" y="379"/>
                    </a:lnTo>
                    <a:lnTo>
                      <a:pt x="785" y="379"/>
                    </a:lnTo>
                    <a:lnTo>
                      <a:pt x="788" y="376"/>
                    </a:lnTo>
                    <a:lnTo>
                      <a:pt x="788" y="379"/>
                    </a:lnTo>
                    <a:lnTo>
                      <a:pt x="788" y="382"/>
                    </a:lnTo>
                    <a:lnTo>
                      <a:pt x="790" y="382"/>
                    </a:lnTo>
                    <a:lnTo>
                      <a:pt x="790" y="390"/>
                    </a:lnTo>
                    <a:lnTo>
                      <a:pt x="796" y="393"/>
                    </a:lnTo>
                    <a:lnTo>
                      <a:pt x="796" y="396"/>
                    </a:lnTo>
                    <a:lnTo>
                      <a:pt x="790" y="396"/>
                    </a:lnTo>
                    <a:lnTo>
                      <a:pt x="788" y="396"/>
                    </a:lnTo>
                    <a:lnTo>
                      <a:pt x="785" y="393"/>
                    </a:lnTo>
                    <a:lnTo>
                      <a:pt x="785" y="390"/>
                    </a:lnTo>
                    <a:lnTo>
                      <a:pt x="782" y="387"/>
                    </a:lnTo>
                    <a:lnTo>
                      <a:pt x="751" y="379"/>
                    </a:lnTo>
                    <a:lnTo>
                      <a:pt x="743" y="373"/>
                    </a:lnTo>
                    <a:lnTo>
                      <a:pt x="746" y="373"/>
                    </a:lnTo>
                    <a:lnTo>
                      <a:pt x="749" y="370"/>
                    </a:lnTo>
                    <a:lnTo>
                      <a:pt x="749" y="365"/>
                    </a:lnTo>
                    <a:lnTo>
                      <a:pt x="746" y="359"/>
                    </a:lnTo>
                    <a:lnTo>
                      <a:pt x="746" y="354"/>
                    </a:lnTo>
                    <a:lnTo>
                      <a:pt x="749" y="348"/>
                    </a:lnTo>
                    <a:lnTo>
                      <a:pt x="746" y="345"/>
                    </a:lnTo>
                    <a:lnTo>
                      <a:pt x="749" y="343"/>
                    </a:lnTo>
                    <a:lnTo>
                      <a:pt x="751" y="331"/>
                    </a:lnTo>
                    <a:lnTo>
                      <a:pt x="749" y="320"/>
                    </a:lnTo>
                    <a:lnTo>
                      <a:pt x="751" y="318"/>
                    </a:lnTo>
                    <a:lnTo>
                      <a:pt x="749" y="315"/>
                    </a:lnTo>
                    <a:lnTo>
                      <a:pt x="749" y="312"/>
                    </a:lnTo>
                    <a:lnTo>
                      <a:pt x="749" y="309"/>
                    </a:lnTo>
                    <a:lnTo>
                      <a:pt x="743" y="304"/>
                    </a:lnTo>
                    <a:lnTo>
                      <a:pt x="743" y="301"/>
                    </a:lnTo>
                    <a:lnTo>
                      <a:pt x="738" y="304"/>
                    </a:lnTo>
                    <a:lnTo>
                      <a:pt x="740" y="331"/>
                    </a:lnTo>
                    <a:lnTo>
                      <a:pt x="740" y="334"/>
                    </a:lnTo>
                    <a:lnTo>
                      <a:pt x="715" y="354"/>
                    </a:lnTo>
                    <a:lnTo>
                      <a:pt x="715" y="359"/>
                    </a:lnTo>
                    <a:lnTo>
                      <a:pt x="715" y="362"/>
                    </a:lnTo>
                    <a:lnTo>
                      <a:pt x="710" y="368"/>
                    </a:lnTo>
                    <a:lnTo>
                      <a:pt x="710" y="370"/>
                    </a:lnTo>
                    <a:lnTo>
                      <a:pt x="724" y="387"/>
                    </a:lnTo>
                    <a:lnTo>
                      <a:pt x="724" y="398"/>
                    </a:lnTo>
                    <a:lnTo>
                      <a:pt x="732" y="409"/>
                    </a:lnTo>
                    <a:lnTo>
                      <a:pt x="726" y="426"/>
                    </a:lnTo>
                    <a:lnTo>
                      <a:pt x="724" y="432"/>
                    </a:lnTo>
                    <a:lnTo>
                      <a:pt x="724" y="440"/>
                    </a:lnTo>
                    <a:lnTo>
                      <a:pt x="721" y="443"/>
                    </a:lnTo>
                    <a:lnTo>
                      <a:pt x="718" y="451"/>
                    </a:lnTo>
                    <a:lnTo>
                      <a:pt x="724" y="465"/>
                    </a:lnTo>
                    <a:lnTo>
                      <a:pt x="724" y="476"/>
                    </a:lnTo>
                    <a:lnTo>
                      <a:pt x="724" y="482"/>
                    </a:lnTo>
                    <a:lnTo>
                      <a:pt x="729" y="482"/>
                    </a:lnTo>
                    <a:lnTo>
                      <a:pt x="732" y="479"/>
                    </a:lnTo>
                    <a:lnTo>
                      <a:pt x="735" y="479"/>
                    </a:lnTo>
                    <a:lnTo>
                      <a:pt x="743" y="482"/>
                    </a:lnTo>
                    <a:lnTo>
                      <a:pt x="746" y="479"/>
                    </a:lnTo>
                    <a:lnTo>
                      <a:pt x="751" y="476"/>
                    </a:lnTo>
                    <a:lnTo>
                      <a:pt x="757" y="476"/>
                    </a:lnTo>
                    <a:lnTo>
                      <a:pt x="782" y="490"/>
                    </a:lnTo>
                    <a:lnTo>
                      <a:pt x="785" y="493"/>
                    </a:lnTo>
                    <a:lnTo>
                      <a:pt x="785" y="501"/>
                    </a:lnTo>
                    <a:lnTo>
                      <a:pt x="790" y="512"/>
                    </a:lnTo>
                    <a:lnTo>
                      <a:pt x="790" y="512"/>
                    </a:lnTo>
                    <a:lnTo>
                      <a:pt x="790" y="515"/>
                    </a:lnTo>
                    <a:lnTo>
                      <a:pt x="790" y="518"/>
                    </a:lnTo>
                    <a:lnTo>
                      <a:pt x="785" y="521"/>
                    </a:lnTo>
                    <a:lnTo>
                      <a:pt x="782" y="521"/>
                    </a:lnTo>
                    <a:lnTo>
                      <a:pt x="782" y="526"/>
                    </a:lnTo>
                    <a:lnTo>
                      <a:pt x="782" y="538"/>
                    </a:lnTo>
                    <a:lnTo>
                      <a:pt x="782" y="540"/>
                    </a:lnTo>
                    <a:lnTo>
                      <a:pt x="785" y="540"/>
                    </a:lnTo>
                    <a:lnTo>
                      <a:pt x="790" y="543"/>
                    </a:lnTo>
                    <a:lnTo>
                      <a:pt x="796" y="543"/>
                    </a:lnTo>
                    <a:lnTo>
                      <a:pt x="802" y="546"/>
                    </a:lnTo>
                    <a:lnTo>
                      <a:pt x="802" y="546"/>
                    </a:lnTo>
                    <a:lnTo>
                      <a:pt x="793" y="549"/>
                    </a:lnTo>
                    <a:lnTo>
                      <a:pt x="790" y="546"/>
                    </a:lnTo>
                    <a:lnTo>
                      <a:pt x="785" y="546"/>
                    </a:lnTo>
                    <a:lnTo>
                      <a:pt x="782" y="543"/>
                    </a:lnTo>
                    <a:lnTo>
                      <a:pt x="777" y="540"/>
                    </a:lnTo>
                    <a:lnTo>
                      <a:pt x="777" y="535"/>
                    </a:lnTo>
                    <a:lnTo>
                      <a:pt x="777" y="535"/>
                    </a:lnTo>
                    <a:lnTo>
                      <a:pt x="777" y="524"/>
                    </a:lnTo>
                    <a:lnTo>
                      <a:pt x="779" y="521"/>
                    </a:lnTo>
                    <a:lnTo>
                      <a:pt x="779" y="518"/>
                    </a:lnTo>
                    <a:lnTo>
                      <a:pt x="777" y="518"/>
                    </a:lnTo>
                    <a:lnTo>
                      <a:pt x="777" y="515"/>
                    </a:lnTo>
                    <a:lnTo>
                      <a:pt x="777" y="512"/>
                    </a:lnTo>
                    <a:lnTo>
                      <a:pt x="777" y="512"/>
                    </a:lnTo>
                    <a:lnTo>
                      <a:pt x="777" y="510"/>
                    </a:lnTo>
                    <a:lnTo>
                      <a:pt x="779" y="507"/>
                    </a:lnTo>
                    <a:lnTo>
                      <a:pt x="777" y="507"/>
                    </a:lnTo>
                    <a:lnTo>
                      <a:pt x="777" y="504"/>
                    </a:lnTo>
                    <a:lnTo>
                      <a:pt x="774" y="501"/>
                    </a:lnTo>
                    <a:lnTo>
                      <a:pt x="771" y="499"/>
                    </a:lnTo>
                    <a:lnTo>
                      <a:pt x="768" y="499"/>
                    </a:lnTo>
                    <a:lnTo>
                      <a:pt x="768" y="496"/>
                    </a:lnTo>
                    <a:lnTo>
                      <a:pt x="768" y="493"/>
                    </a:lnTo>
                    <a:lnTo>
                      <a:pt x="765" y="487"/>
                    </a:lnTo>
                    <a:lnTo>
                      <a:pt x="746" y="490"/>
                    </a:lnTo>
                    <a:lnTo>
                      <a:pt x="732" y="499"/>
                    </a:lnTo>
                    <a:lnTo>
                      <a:pt x="732" y="504"/>
                    </a:lnTo>
                    <a:lnTo>
                      <a:pt x="729" y="510"/>
                    </a:lnTo>
                    <a:lnTo>
                      <a:pt x="732" y="515"/>
                    </a:lnTo>
                    <a:lnTo>
                      <a:pt x="732" y="515"/>
                    </a:lnTo>
                    <a:lnTo>
                      <a:pt x="735" y="518"/>
                    </a:lnTo>
                    <a:lnTo>
                      <a:pt x="735" y="521"/>
                    </a:lnTo>
                    <a:lnTo>
                      <a:pt x="735" y="524"/>
                    </a:lnTo>
                    <a:lnTo>
                      <a:pt x="738" y="524"/>
                    </a:lnTo>
                    <a:lnTo>
                      <a:pt x="738" y="532"/>
                    </a:lnTo>
                    <a:lnTo>
                      <a:pt x="738" y="540"/>
                    </a:lnTo>
                    <a:lnTo>
                      <a:pt x="724" y="554"/>
                    </a:lnTo>
                    <a:lnTo>
                      <a:pt x="724" y="565"/>
                    </a:lnTo>
                    <a:lnTo>
                      <a:pt x="718" y="574"/>
                    </a:lnTo>
                    <a:lnTo>
                      <a:pt x="710" y="579"/>
                    </a:lnTo>
                    <a:lnTo>
                      <a:pt x="710" y="582"/>
                    </a:lnTo>
                    <a:lnTo>
                      <a:pt x="701" y="585"/>
                    </a:lnTo>
                    <a:lnTo>
                      <a:pt x="699" y="588"/>
                    </a:lnTo>
                    <a:lnTo>
                      <a:pt x="701" y="590"/>
                    </a:lnTo>
                    <a:lnTo>
                      <a:pt x="699" y="596"/>
                    </a:lnTo>
                    <a:lnTo>
                      <a:pt x="696" y="599"/>
                    </a:lnTo>
                    <a:lnTo>
                      <a:pt x="685" y="593"/>
                    </a:lnTo>
                    <a:lnTo>
                      <a:pt x="679" y="593"/>
                    </a:lnTo>
                    <a:lnTo>
                      <a:pt x="674" y="593"/>
                    </a:lnTo>
                    <a:lnTo>
                      <a:pt x="665" y="593"/>
                    </a:lnTo>
                    <a:lnTo>
                      <a:pt x="665" y="593"/>
                    </a:lnTo>
                    <a:lnTo>
                      <a:pt x="665" y="590"/>
                    </a:lnTo>
                    <a:lnTo>
                      <a:pt x="665" y="588"/>
                    </a:lnTo>
                    <a:lnTo>
                      <a:pt x="665" y="582"/>
                    </a:lnTo>
                    <a:lnTo>
                      <a:pt x="660" y="579"/>
                    </a:lnTo>
                    <a:lnTo>
                      <a:pt x="660" y="579"/>
                    </a:lnTo>
                    <a:lnTo>
                      <a:pt x="660" y="577"/>
                    </a:lnTo>
                    <a:lnTo>
                      <a:pt x="662" y="577"/>
                    </a:lnTo>
                    <a:lnTo>
                      <a:pt x="668" y="577"/>
                    </a:lnTo>
                    <a:lnTo>
                      <a:pt x="668" y="579"/>
                    </a:lnTo>
                    <a:lnTo>
                      <a:pt x="671" y="579"/>
                    </a:lnTo>
                    <a:lnTo>
                      <a:pt x="674" y="577"/>
                    </a:lnTo>
                    <a:lnTo>
                      <a:pt x="676" y="577"/>
                    </a:lnTo>
                    <a:lnTo>
                      <a:pt x="679" y="574"/>
                    </a:lnTo>
                    <a:lnTo>
                      <a:pt x="682" y="574"/>
                    </a:lnTo>
                    <a:lnTo>
                      <a:pt x="685" y="574"/>
                    </a:lnTo>
                    <a:lnTo>
                      <a:pt x="685" y="571"/>
                    </a:lnTo>
                    <a:lnTo>
                      <a:pt x="687" y="571"/>
                    </a:lnTo>
                    <a:lnTo>
                      <a:pt x="690" y="571"/>
                    </a:lnTo>
                    <a:lnTo>
                      <a:pt x="693" y="568"/>
                    </a:lnTo>
                    <a:lnTo>
                      <a:pt x="696" y="568"/>
                    </a:lnTo>
                    <a:lnTo>
                      <a:pt x="693" y="565"/>
                    </a:lnTo>
                    <a:lnTo>
                      <a:pt x="690" y="565"/>
                    </a:lnTo>
                    <a:lnTo>
                      <a:pt x="687" y="565"/>
                    </a:lnTo>
                    <a:lnTo>
                      <a:pt x="685" y="565"/>
                    </a:lnTo>
                    <a:lnTo>
                      <a:pt x="685" y="560"/>
                    </a:lnTo>
                    <a:lnTo>
                      <a:pt x="690" y="565"/>
                    </a:lnTo>
                    <a:lnTo>
                      <a:pt x="696" y="563"/>
                    </a:lnTo>
                    <a:lnTo>
                      <a:pt x="699" y="563"/>
                    </a:lnTo>
                    <a:lnTo>
                      <a:pt x="699" y="557"/>
                    </a:lnTo>
                    <a:lnTo>
                      <a:pt x="701" y="557"/>
                    </a:lnTo>
                    <a:lnTo>
                      <a:pt x="701" y="554"/>
                    </a:lnTo>
                    <a:lnTo>
                      <a:pt x="704" y="546"/>
                    </a:lnTo>
                    <a:lnTo>
                      <a:pt x="710" y="543"/>
                    </a:lnTo>
                    <a:lnTo>
                      <a:pt x="713" y="540"/>
                    </a:lnTo>
                    <a:lnTo>
                      <a:pt x="710" y="538"/>
                    </a:lnTo>
                    <a:lnTo>
                      <a:pt x="713" y="535"/>
                    </a:lnTo>
                    <a:lnTo>
                      <a:pt x="713" y="521"/>
                    </a:lnTo>
                    <a:lnTo>
                      <a:pt x="713" y="518"/>
                    </a:lnTo>
                    <a:lnTo>
                      <a:pt x="718" y="510"/>
                    </a:lnTo>
                    <a:lnTo>
                      <a:pt x="718" y="501"/>
                    </a:lnTo>
                    <a:lnTo>
                      <a:pt x="701" y="485"/>
                    </a:lnTo>
                    <a:lnTo>
                      <a:pt x="704" y="471"/>
                    </a:lnTo>
                    <a:lnTo>
                      <a:pt x="704" y="468"/>
                    </a:lnTo>
                    <a:lnTo>
                      <a:pt x="704" y="465"/>
                    </a:lnTo>
                    <a:lnTo>
                      <a:pt x="704" y="457"/>
                    </a:lnTo>
                    <a:lnTo>
                      <a:pt x="704" y="454"/>
                    </a:lnTo>
                    <a:lnTo>
                      <a:pt x="704" y="448"/>
                    </a:lnTo>
                    <a:lnTo>
                      <a:pt x="704" y="446"/>
                    </a:lnTo>
                    <a:lnTo>
                      <a:pt x="704" y="443"/>
                    </a:lnTo>
                    <a:lnTo>
                      <a:pt x="704" y="443"/>
                    </a:lnTo>
                    <a:lnTo>
                      <a:pt x="704" y="440"/>
                    </a:lnTo>
                    <a:lnTo>
                      <a:pt x="704" y="437"/>
                    </a:lnTo>
                    <a:lnTo>
                      <a:pt x="704" y="435"/>
                    </a:lnTo>
                    <a:lnTo>
                      <a:pt x="701" y="432"/>
                    </a:lnTo>
                    <a:lnTo>
                      <a:pt x="701" y="429"/>
                    </a:lnTo>
                    <a:lnTo>
                      <a:pt x="701" y="426"/>
                    </a:lnTo>
                    <a:lnTo>
                      <a:pt x="707" y="423"/>
                    </a:lnTo>
                    <a:lnTo>
                      <a:pt x="707" y="409"/>
                    </a:lnTo>
                    <a:lnTo>
                      <a:pt x="707" y="407"/>
                    </a:lnTo>
                    <a:lnTo>
                      <a:pt x="707" y="401"/>
                    </a:lnTo>
                    <a:lnTo>
                      <a:pt x="704" y="390"/>
                    </a:lnTo>
                    <a:lnTo>
                      <a:pt x="704" y="384"/>
                    </a:lnTo>
                    <a:lnTo>
                      <a:pt x="696" y="376"/>
                    </a:lnTo>
                    <a:lnTo>
                      <a:pt x="690" y="370"/>
                    </a:lnTo>
                    <a:lnTo>
                      <a:pt x="690" y="365"/>
                    </a:lnTo>
                    <a:lnTo>
                      <a:pt x="693" y="365"/>
                    </a:lnTo>
                    <a:lnTo>
                      <a:pt x="696" y="362"/>
                    </a:lnTo>
                    <a:lnTo>
                      <a:pt x="696" y="359"/>
                    </a:lnTo>
                    <a:lnTo>
                      <a:pt x="699" y="357"/>
                    </a:lnTo>
                    <a:lnTo>
                      <a:pt x="699" y="351"/>
                    </a:lnTo>
                    <a:lnTo>
                      <a:pt x="704" y="334"/>
                    </a:lnTo>
                    <a:lnTo>
                      <a:pt x="704" y="312"/>
                    </a:lnTo>
                    <a:lnTo>
                      <a:pt x="704" y="309"/>
                    </a:lnTo>
                    <a:lnTo>
                      <a:pt x="704" y="306"/>
                    </a:lnTo>
                    <a:lnTo>
                      <a:pt x="693" y="301"/>
                    </a:lnTo>
                    <a:lnTo>
                      <a:pt x="687" y="298"/>
                    </a:lnTo>
                    <a:lnTo>
                      <a:pt x="662" y="301"/>
                    </a:lnTo>
                    <a:lnTo>
                      <a:pt x="660" y="298"/>
                    </a:lnTo>
                    <a:lnTo>
                      <a:pt x="662" y="295"/>
                    </a:lnTo>
                    <a:lnTo>
                      <a:pt x="654" y="295"/>
                    </a:lnTo>
                    <a:lnTo>
                      <a:pt x="651" y="298"/>
                    </a:lnTo>
                    <a:lnTo>
                      <a:pt x="637" y="357"/>
                    </a:lnTo>
                    <a:lnTo>
                      <a:pt x="621" y="376"/>
                    </a:lnTo>
                    <a:lnTo>
                      <a:pt x="615" y="382"/>
                    </a:lnTo>
                    <a:lnTo>
                      <a:pt x="612" y="393"/>
                    </a:lnTo>
                    <a:lnTo>
                      <a:pt x="615" y="393"/>
                    </a:lnTo>
                    <a:lnTo>
                      <a:pt x="618" y="387"/>
                    </a:lnTo>
                    <a:lnTo>
                      <a:pt x="618" y="387"/>
                    </a:lnTo>
                    <a:lnTo>
                      <a:pt x="618" y="393"/>
                    </a:lnTo>
                    <a:lnTo>
                      <a:pt x="615" y="396"/>
                    </a:lnTo>
                    <a:lnTo>
                      <a:pt x="612" y="398"/>
                    </a:lnTo>
                    <a:lnTo>
                      <a:pt x="609" y="404"/>
                    </a:lnTo>
                    <a:lnTo>
                      <a:pt x="612" y="407"/>
                    </a:lnTo>
                    <a:lnTo>
                      <a:pt x="615" y="404"/>
                    </a:lnTo>
                    <a:lnTo>
                      <a:pt x="618" y="404"/>
                    </a:lnTo>
                    <a:lnTo>
                      <a:pt x="621" y="404"/>
                    </a:lnTo>
                    <a:lnTo>
                      <a:pt x="623" y="407"/>
                    </a:lnTo>
                    <a:lnTo>
                      <a:pt x="623" y="412"/>
                    </a:lnTo>
                    <a:lnTo>
                      <a:pt x="623" y="423"/>
                    </a:lnTo>
                    <a:lnTo>
                      <a:pt x="621" y="426"/>
                    </a:lnTo>
                    <a:lnTo>
                      <a:pt x="621" y="435"/>
                    </a:lnTo>
                    <a:lnTo>
                      <a:pt x="623" y="437"/>
                    </a:lnTo>
                    <a:lnTo>
                      <a:pt x="621" y="440"/>
                    </a:lnTo>
                    <a:lnTo>
                      <a:pt x="618" y="440"/>
                    </a:lnTo>
                    <a:lnTo>
                      <a:pt x="615" y="437"/>
                    </a:lnTo>
                    <a:lnTo>
                      <a:pt x="615" y="457"/>
                    </a:lnTo>
                    <a:lnTo>
                      <a:pt x="618" y="462"/>
                    </a:lnTo>
                    <a:lnTo>
                      <a:pt x="618" y="457"/>
                    </a:lnTo>
                    <a:lnTo>
                      <a:pt x="621" y="457"/>
                    </a:lnTo>
                    <a:lnTo>
                      <a:pt x="632" y="465"/>
                    </a:lnTo>
                    <a:lnTo>
                      <a:pt x="632" y="462"/>
                    </a:lnTo>
                    <a:lnTo>
                      <a:pt x="635" y="462"/>
                    </a:lnTo>
                    <a:lnTo>
                      <a:pt x="635" y="468"/>
                    </a:lnTo>
                    <a:lnTo>
                      <a:pt x="640" y="485"/>
                    </a:lnTo>
                    <a:lnTo>
                      <a:pt x="646" y="490"/>
                    </a:lnTo>
                    <a:lnTo>
                      <a:pt x="648" y="487"/>
                    </a:lnTo>
                    <a:lnTo>
                      <a:pt x="648" y="490"/>
                    </a:lnTo>
                    <a:lnTo>
                      <a:pt x="651" y="493"/>
                    </a:lnTo>
                    <a:lnTo>
                      <a:pt x="646" y="496"/>
                    </a:lnTo>
                    <a:lnTo>
                      <a:pt x="640" y="515"/>
                    </a:lnTo>
                    <a:lnTo>
                      <a:pt x="637" y="518"/>
                    </a:lnTo>
                    <a:lnTo>
                      <a:pt x="635" y="515"/>
                    </a:lnTo>
                    <a:lnTo>
                      <a:pt x="635" y="512"/>
                    </a:lnTo>
                    <a:lnTo>
                      <a:pt x="632" y="510"/>
                    </a:lnTo>
                    <a:lnTo>
                      <a:pt x="629" y="507"/>
                    </a:lnTo>
                    <a:lnTo>
                      <a:pt x="615" y="490"/>
                    </a:lnTo>
                    <a:lnTo>
                      <a:pt x="609" y="490"/>
                    </a:lnTo>
                    <a:lnTo>
                      <a:pt x="604" y="485"/>
                    </a:lnTo>
                    <a:lnTo>
                      <a:pt x="596" y="482"/>
                    </a:lnTo>
                    <a:lnTo>
                      <a:pt x="596" y="479"/>
                    </a:lnTo>
                    <a:lnTo>
                      <a:pt x="598" y="479"/>
                    </a:lnTo>
                    <a:lnTo>
                      <a:pt x="596" y="479"/>
                    </a:lnTo>
                    <a:lnTo>
                      <a:pt x="593" y="476"/>
                    </a:lnTo>
                    <a:lnTo>
                      <a:pt x="584" y="471"/>
                    </a:lnTo>
                    <a:lnTo>
                      <a:pt x="582" y="471"/>
                    </a:lnTo>
                    <a:lnTo>
                      <a:pt x="573" y="462"/>
                    </a:lnTo>
                    <a:lnTo>
                      <a:pt x="559" y="457"/>
                    </a:lnTo>
                    <a:lnTo>
                      <a:pt x="557" y="457"/>
                    </a:lnTo>
                    <a:lnTo>
                      <a:pt x="551" y="454"/>
                    </a:lnTo>
                    <a:lnTo>
                      <a:pt x="532" y="451"/>
                    </a:lnTo>
                    <a:lnTo>
                      <a:pt x="532" y="451"/>
                    </a:lnTo>
                    <a:lnTo>
                      <a:pt x="526" y="448"/>
                    </a:lnTo>
                    <a:lnTo>
                      <a:pt x="523" y="448"/>
                    </a:lnTo>
                    <a:lnTo>
                      <a:pt x="520" y="448"/>
                    </a:lnTo>
                    <a:lnTo>
                      <a:pt x="520" y="451"/>
                    </a:lnTo>
                    <a:lnTo>
                      <a:pt x="518" y="454"/>
                    </a:lnTo>
                    <a:lnTo>
                      <a:pt x="512" y="460"/>
                    </a:lnTo>
                    <a:lnTo>
                      <a:pt x="512" y="460"/>
                    </a:lnTo>
                    <a:lnTo>
                      <a:pt x="520" y="482"/>
                    </a:lnTo>
                    <a:lnTo>
                      <a:pt x="520" y="479"/>
                    </a:lnTo>
                    <a:lnTo>
                      <a:pt x="523" y="479"/>
                    </a:lnTo>
                    <a:lnTo>
                      <a:pt x="520" y="490"/>
                    </a:lnTo>
                    <a:lnTo>
                      <a:pt x="515" y="499"/>
                    </a:lnTo>
                    <a:lnTo>
                      <a:pt x="506" y="499"/>
                    </a:lnTo>
                    <a:lnTo>
                      <a:pt x="506" y="501"/>
                    </a:lnTo>
                    <a:lnTo>
                      <a:pt x="506" y="504"/>
                    </a:lnTo>
                    <a:lnTo>
                      <a:pt x="506" y="507"/>
                    </a:lnTo>
                    <a:lnTo>
                      <a:pt x="504" y="512"/>
                    </a:lnTo>
                    <a:lnTo>
                      <a:pt x="501" y="515"/>
                    </a:lnTo>
                    <a:lnTo>
                      <a:pt x="498" y="512"/>
                    </a:lnTo>
                    <a:lnTo>
                      <a:pt x="495" y="510"/>
                    </a:lnTo>
                    <a:lnTo>
                      <a:pt x="495" y="504"/>
                    </a:lnTo>
                    <a:lnTo>
                      <a:pt x="495" y="501"/>
                    </a:lnTo>
                    <a:lnTo>
                      <a:pt x="498" y="499"/>
                    </a:lnTo>
                    <a:lnTo>
                      <a:pt x="498" y="496"/>
                    </a:lnTo>
                    <a:lnTo>
                      <a:pt x="493" y="487"/>
                    </a:lnTo>
                    <a:lnTo>
                      <a:pt x="493" y="485"/>
                    </a:lnTo>
                    <a:lnTo>
                      <a:pt x="490" y="485"/>
                    </a:lnTo>
                    <a:lnTo>
                      <a:pt x="479" y="490"/>
                    </a:lnTo>
                    <a:lnTo>
                      <a:pt x="476" y="496"/>
                    </a:lnTo>
                    <a:lnTo>
                      <a:pt x="473" y="496"/>
                    </a:lnTo>
                    <a:lnTo>
                      <a:pt x="467" y="504"/>
                    </a:lnTo>
                    <a:lnTo>
                      <a:pt x="462" y="504"/>
                    </a:lnTo>
                    <a:lnTo>
                      <a:pt x="462" y="504"/>
                    </a:lnTo>
                    <a:lnTo>
                      <a:pt x="456" y="501"/>
                    </a:lnTo>
                    <a:lnTo>
                      <a:pt x="451" y="504"/>
                    </a:lnTo>
                    <a:lnTo>
                      <a:pt x="448" y="501"/>
                    </a:lnTo>
                    <a:lnTo>
                      <a:pt x="440" y="504"/>
                    </a:lnTo>
                    <a:lnTo>
                      <a:pt x="437" y="504"/>
                    </a:lnTo>
                    <a:lnTo>
                      <a:pt x="431" y="510"/>
                    </a:lnTo>
                    <a:lnTo>
                      <a:pt x="429" y="512"/>
                    </a:lnTo>
                    <a:lnTo>
                      <a:pt x="429" y="521"/>
                    </a:lnTo>
                    <a:lnTo>
                      <a:pt x="426" y="521"/>
                    </a:lnTo>
                    <a:lnTo>
                      <a:pt x="423" y="521"/>
                    </a:lnTo>
                    <a:lnTo>
                      <a:pt x="420" y="515"/>
                    </a:lnTo>
                    <a:lnTo>
                      <a:pt x="417" y="518"/>
                    </a:lnTo>
                    <a:lnTo>
                      <a:pt x="415" y="515"/>
                    </a:lnTo>
                    <a:lnTo>
                      <a:pt x="415" y="507"/>
                    </a:lnTo>
                    <a:lnTo>
                      <a:pt x="412" y="504"/>
                    </a:lnTo>
                    <a:lnTo>
                      <a:pt x="412" y="504"/>
                    </a:lnTo>
                    <a:lnTo>
                      <a:pt x="415" y="499"/>
                    </a:lnTo>
                    <a:lnTo>
                      <a:pt x="415" y="496"/>
                    </a:lnTo>
                    <a:lnTo>
                      <a:pt x="415" y="490"/>
                    </a:lnTo>
                    <a:lnTo>
                      <a:pt x="412" y="490"/>
                    </a:lnTo>
                    <a:lnTo>
                      <a:pt x="412" y="493"/>
                    </a:lnTo>
                    <a:lnTo>
                      <a:pt x="412" y="493"/>
                    </a:lnTo>
                    <a:lnTo>
                      <a:pt x="412" y="490"/>
                    </a:lnTo>
                    <a:lnTo>
                      <a:pt x="412" y="487"/>
                    </a:lnTo>
                    <a:lnTo>
                      <a:pt x="420" y="487"/>
                    </a:lnTo>
                    <a:lnTo>
                      <a:pt x="423" y="487"/>
                    </a:lnTo>
                    <a:lnTo>
                      <a:pt x="423" y="485"/>
                    </a:lnTo>
                    <a:lnTo>
                      <a:pt x="417" y="487"/>
                    </a:lnTo>
                    <a:lnTo>
                      <a:pt x="415" y="487"/>
                    </a:lnTo>
                    <a:lnTo>
                      <a:pt x="412" y="487"/>
                    </a:lnTo>
                    <a:lnTo>
                      <a:pt x="406" y="490"/>
                    </a:lnTo>
                    <a:lnTo>
                      <a:pt x="406" y="493"/>
                    </a:lnTo>
                    <a:lnTo>
                      <a:pt x="403" y="493"/>
                    </a:lnTo>
                    <a:lnTo>
                      <a:pt x="403" y="496"/>
                    </a:lnTo>
                    <a:lnTo>
                      <a:pt x="403" y="501"/>
                    </a:lnTo>
                    <a:lnTo>
                      <a:pt x="401" y="501"/>
                    </a:lnTo>
                    <a:lnTo>
                      <a:pt x="398" y="501"/>
                    </a:lnTo>
                    <a:lnTo>
                      <a:pt x="395" y="499"/>
                    </a:lnTo>
                    <a:lnTo>
                      <a:pt x="398" y="496"/>
                    </a:lnTo>
                    <a:lnTo>
                      <a:pt x="395" y="496"/>
                    </a:lnTo>
                    <a:lnTo>
                      <a:pt x="390" y="504"/>
                    </a:lnTo>
                    <a:lnTo>
                      <a:pt x="392" y="504"/>
                    </a:lnTo>
                    <a:lnTo>
                      <a:pt x="392" y="504"/>
                    </a:lnTo>
                    <a:lnTo>
                      <a:pt x="392" y="510"/>
                    </a:lnTo>
                    <a:lnTo>
                      <a:pt x="390" y="512"/>
                    </a:lnTo>
                    <a:lnTo>
                      <a:pt x="390" y="512"/>
                    </a:lnTo>
                    <a:lnTo>
                      <a:pt x="384" y="507"/>
                    </a:lnTo>
                    <a:lnTo>
                      <a:pt x="378" y="510"/>
                    </a:lnTo>
                    <a:lnTo>
                      <a:pt x="378" y="510"/>
                    </a:lnTo>
                    <a:lnTo>
                      <a:pt x="367" y="515"/>
                    </a:lnTo>
                    <a:lnTo>
                      <a:pt x="367" y="512"/>
                    </a:lnTo>
                    <a:lnTo>
                      <a:pt x="337" y="535"/>
                    </a:lnTo>
                    <a:lnTo>
                      <a:pt x="334" y="535"/>
                    </a:lnTo>
                    <a:lnTo>
                      <a:pt x="334" y="540"/>
                    </a:lnTo>
                    <a:lnTo>
                      <a:pt x="334" y="540"/>
                    </a:lnTo>
                    <a:lnTo>
                      <a:pt x="331" y="543"/>
                    </a:lnTo>
                    <a:lnTo>
                      <a:pt x="326" y="543"/>
                    </a:lnTo>
                    <a:lnTo>
                      <a:pt x="323" y="546"/>
                    </a:lnTo>
                    <a:lnTo>
                      <a:pt x="320" y="546"/>
                    </a:lnTo>
                    <a:lnTo>
                      <a:pt x="317" y="560"/>
                    </a:lnTo>
                    <a:lnTo>
                      <a:pt x="317" y="568"/>
                    </a:lnTo>
                    <a:lnTo>
                      <a:pt x="314" y="571"/>
                    </a:lnTo>
                    <a:lnTo>
                      <a:pt x="312" y="574"/>
                    </a:lnTo>
                    <a:lnTo>
                      <a:pt x="306" y="574"/>
                    </a:lnTo>
                    <a:lnTo>
                      <a:pt x="300" y="577"/>
                    </a:lnTo>
                    <a:lnTo>
                      <a:pt x="300" y="582"/>
                    </a:lnTo>
                    <a:lnTo>
                      <a:pt x="298" y="574"/>
                    </a:lnTo>
                    <a:lnTo>
                      <a:pt x="295" y="577"/>
                    </a:lnTo>
                    <a:lnTo>
                      <a:pt x="292" y="577"/>
                    </a:lnTo>
                    <a:lnTo>
                      <a:pt x="289" y="574"/>
                    </a:lnTo>
                    <a:lnTo>
                      <a:pt x="284" y="565"/>
                    </a:lnTo>
                    <a:lnTo>
                      <a:pt x="275" y="554"/>
                    </a:lnTo>
                    <a:lnTo>
                      <a:pt x="275" y="551"/>
                    </a:lnTo>
                    <a:lnTo>
                      <a:pt x="275" y="546"/>
                    </a:lnTo>
                    <a:lnTo>
                      <a:pt x="278" y="546"/>
                    </a:lnTo>
                    <a:lnTo>
                      <a:pt x="278" y="543"/>
                    </a:lnTo>
                    <a:lnTo>
                      <a:pt x="281" y="540"/>
                    </a:lnTo>
                    <a:lnTo>
                      <a:pt x="300" y="535"/>
                    </a:lnTo>
                    <a:lnTo>
                      <a:pt x="298" y="529"/>
                    </a:lnTo>
                    <a:lnTo>
                      <a:pt x="298" y="521"/>
                    </a:lnTo>
                    <a:lnTo>
                      <a:pt x="292" y="521"/>
                    </a:lnTo>
                    <a:lnTo>
                      <a:pt x="292" y="515"/>
                    </a:lnTo>
                    <a:lnTo>
                      <a:pt x="289" y="515"/>
                    </a:lnTo>
                    <a:lnTo>
                      <a:pt x="289" y="510"/>
                    </a:lnTo>
                    <a:lnTo>
                      <a:pt x="287" y="507"/>
                    </a:lnTo>
                    <a:lnTo>
                      <a:pt x="278" y="507"/>
                    </a:lnTo>
                    <a:lnTo>
                      <a:pt x="264" y="504"/>
                    </a:lnTo>
                    <a:lnTo>
                      <a:pt x="261" y="507"/>
                    </a:lnTo>
                    <a:lnTo>
                      <a:pt x="248" y="499"/>
                    </a:lnTo>
                    <a:lnTo>
                      <a:pt x="248" y="501"/>
                    </a:lnTo>
                    <a:lnTo>
                      <a:pt x="261" y="515"/>
                    </a:lnTo>
                    <a:lnTo>
                      <a:pt x="261" y="526"/>
                    </a:lnTo>
                    <a:lnTo>
                      <a:pt x="261" y="532"/>
                    </a:lnTo>
                    <a:lnTo>
                      <a:pt x="261" y="538"/>
                    </a:lnTo>
                    <a:lnTo>
                      <a:pt x="256" y="557"/>
                    </a:lnTo>
                    <a:lnTo>
                      <a:pt x="256" y="560"/>
                    </a:lnTo>
                    <a:lnTo>
                      <a:pt x="259" y="563"/>
                    </a:lnTo>
                    <a:lnTo>
                      <a:pt x="261" y="563"/>
                    </a:lnTo>
                    <a:lnTo>
                      <a:pt x="264" y="565"/>
                    </a:lnTo>
                    <a:lnTo>
                      <a:pt x="267" y="571"/>
                    </a:lnTo>
                    <a:lnTo>
                      <a:pt x="267" y="574"/>
                    </a:lnTo>
                    <a:lnTo>
                      <a:pt x="264" y="577"/>
                    </a:lnTo>
                    <a:lnTo>
                      <a:pt x="267" y="579"/>
                    </a:lnTo>
                    <a:lnTo>
                      <a:pt x="264" y="585"/>
                    </a:lnTo>
                    <a:lnTo>
                      <a:pt x="261" y="590"/>
                    </a:lnTo>
                    <a:lnTo>
                      <a:pt x="261" y="596"/>
                    </a:lnTo>
                    <a:lnTo>
                      <a:pt x="261" y="602"/>
                    </a:lnTo>
                    <a:lnTo>
                      <a:pt x="261" y="613"/>
                    </a:lnTo>
                    <a:lnTo>
                      <a:pt x="259" y="607"/>
                    </a:lnTo>
                    <a:lnTo>
                      <a:pt x="259" y="604"/>
                    </a:lnTo>
                    <a:lnTo>
                      <a:pt x="256" y="602"/>
                    </a:lnTo>
                    <a:lnTo>
                      <a:pt x="253" y="602"/>
                    </a:lnTo>
                    <a:lnTo>
                      <a:pt x="250" y="604"/>
                    </a:lnTo>
                    <a:lnTo>
                      <a:pt x="253" y="602"/>
                    </a:lnTo>
                    <a:lnTo>
                      <a:pt x="253" y="599"/>
                    </a:lnTo>
                    <a:lnTo>
                      <a:pt x="245" y="593"/>
                    </a:lnTo>
                    <a:lnTo>
                      <a:pt x="239" y="593"/>
                    </a:lnTo>
                    <a:lnTo>
                      <a:pt x="234" y="588"/>
                    </a:lnTo>
                    <a:lnTo>
                      <a:pt x="231" y="590"/>
                    </a:lnTo>
                    <a:lnTo>
                      <a:pt x="228" y="593"/>
                    </a:lnTo>
                    <a:lnTo>
                      <a:pt x="220" y="604"/>
                    </a:lnTo>
                    <a:lnTo>
                      <a:pt x="211" y="607"/>
                    </a:lnTo>
                    <a:lnTo>
                      <a:pt x="209" y="607"/>
                    </a:lnTo>
                    <a:lnTo>
                      <a:pt x="206" y="610"/>
                    </a:lnTo>
                    <a:lnTo>
                      <a:pt x="203" y="616"/>
                    </a:lnTo>
                    <a:lnTo>
                      <a:pt x="197" y="621"/>
                    </a:lnTo>
                    <a:lnTo>
                      <a:pt x="195" y="621"/>
                    </a:lnTo>
                    <a:lnTo>
                      <a:pt x="195" y="632"/>
                    </a:lnTo>
                    <a:lnTo>
                      <a:pt x="211" y="663"/>
                    </a:lnTo>
                    <a:lnTo>
                      <a:pt x="211" y="666"/>
                    </a:lnTo>
                    <a:lnTo>
                      <a:pt x="206" y="663"/>
                    </a:lnTo>
                    <a:lnTo>
                      <a:pt x="203" y="663"/>
                    </a:lnTo>
                    <a:lnTo>
                      <a:pt x="195" y="660"/>
                    </a:lnTo>
                    <a:lnTo>
                      <a:pt x="195" y="660"/>
                    </a:lnTo>
                    <a:lnTo>
                      <a:pt x="195" y="663"/>
                    </a:lnTo>
                    <a:lnTo>
                      <a:pt x="186" y="657"/>
                    </a:lnTo>
                    <a:lnTo>
                      <a:pt x="181" y="654"/>
                    </a:lnTo>
                    <a:lnTo>
                      <a:pt x="175" y="654"/>
                    </a:lnTo>
                    <a:lnTo>
                      <a:pt x="175" y="652"/>
                    </a:lnTo>
                    <a:lnTo>
                      <a:pt x="170" y="657"/>
                    </a:lnTo>
                    <a:lnTo>
                      <a:pt x="167" y="660"/>
                    </a:lnTo>
                    <a:lnTo>
                      <a:pt x="167" y="654"/>
                    </a:lnTo>
                    <a:lnTo>
                      <a:pt x="170" y="652"/>
                    </a:lnTo>
                    <a:lnTo>
                      <a:pt x="161" y="649"/>
                    </a:lnTo>
                    <a:lnTo>
                      <a:pt x="161" y="646"/>
                    </a:lnTo>
                    <a:lnTo>
                      <a:pt x="153" y="641"/>
                    </a:lnTo>
                    <a:lnTo>
                      <a:pt x="147" y="638"/>
                    </a:lnTo>
                    <a:lnTo>
                      <a:pt x="147" y="643"/>
                    </a:lnTo>
                    <a:lnTo>
                      <a:pt x="145" y="649"/>
                    </a:lnTo>
                    <a:lnTo>
                      <a:pt x="142" y="649"/>
                    </a:lnTo>
                    <a:lnTo>
                      <a:pt x="145" y="657"/>
                    </a:lnTo>
                    <a:lnTo>
                      <a:pt x="147" y="657"/>
                    </a:lnTo>
                    <a:lnTo>
                      <a:pt x="150" y="663"/>
                    </a:lnTo>
                    <a:lnTo>
                      <a:pt x="156" y="668"/>
                    </a:lnTo>
                    <a:lnTo>
                      <a:pt x="164" y="666"/>
                    </a:lnTo>
                    <a:lnTo>
                      <a:pt x="167" y="682"/>
                    </a:lnTo>
                    <a:lnTo>
                      <a:pt x="170" y="685"/>
                    </a:lnTo>
                    <a:lnTo>
                      <a:pt x="164" y="682"/>
                    </a:lnTo>
                    <a:lnTo>
                      <a:pt x="158" y="685"/>
                    </a:lnTo>
                    <a:lnTo>
                      <a:pt x="158" y="688"/>
                    </a:lnTo>
                    <a:lnTo>
                      <a:pt x="158" y="688"/>
                    </a:lnTo>
                    <a:lnTo>
                      <a:pt x="139" y="680"/>
                    </a:lnTo>
                    <a:lnTo>
                      <a:pt x="136" y="674"/>
                    </a:lnTo>
                    <a:lnTo>
                      <a:pt x="133" y="674"/>
                    </a:lnTo>
                    <a:lnTo>
                      <a:pt x="131" y="671"/>
                    </a:lnTo>
                    <a:lnTo>
                      <a:pt x="128" y="668"/>
                    </a:lnTo>
                    <a:lnTo>
                      <a:pt x="128" y="671"/>
                    </a:lnTo>
                    <a:lnTo>
                      <a:pt x="122" y="671"/>
                    </a:lnTo>
                    <a:lnTo>
                      <a:pt x="119" y="666"/>
                    </a:lnTo>
                    <a:lnTo>
                      <a:pt x="117" y="663"/>
                    </a:lnTo>
                    <a:lnTo>
                      <a:pt x="114" y="666"/>
                    </a:lnTo>
                    <a:lnTo>
                      <a:pt x="114" y="663"/>
                    </a:lnTo>
                    <a:lnTo>
                      <a:pt x="117" y="660"/>
                    </a:lnTo>
                    <a:lnTo>
                      <a:pt x="117" y="649"/>
                    </a:lnTo>
                    <a:lnTo>
                      <a:pt x="114" y="646"/>
                    </a:lnTo>
                    <a:lnTo>
                      <a:pt x="114" y="643"/>
                    </a:lnTo>
                    <a:lnTo>
                      <a:pt x="108" y="632"/>
                    </a:lnTo>
                    <a:lnTo>
                      <a:pt x="108" y="629"/>
                    </a:lnTo>
                    <a:lnTo>
                      <a:pt x="114" y="629"/>
                    </a:lnTo>
                    <a:lnTo>
                      <a:pt x="117" y="616"/>
                    </a:lnTo>
                    <a:lnTo>
                      <a:pt x="114" y="613"/>
                    </a:lnTo>
                    <a:lnTo>
                      <a:pt x="114" y="610"/>
                    </a:lnTo>
                    <a:lnTo>
                      <a:pt x="111" y="604"/>
                    </a:lnTo>
                    <a:lnTo>
                      <a:pt x="108" y="602"/>
                    </a:lnTo>
                    <a:lnTo>
                      <a:pt x="106" y="602"/>
                    </a:lnTo>
                    <a:lnTo>
                      <a:pt x="103" y="599"/>
                    </a:lnTo>
                    <a:lnTo>
                      <a:pt x="100" y="599"/>
                    </a:lnTo>
                    <a:lnTo>
                      <a:pt x="97" y="596"/>
                    </a:lnTo>
                    <a:lnTo>
                      <a:pt x="97" y="590"/>
                    </a:lnTo>
                    <a:lnTo>
                      <a:pt x="94" y="590"/>
                    </a:lnTo>
                    <a:lnTo>
                      <a:pt x="92" y="590"/>
                    </a:lnTo>
                    <a:lnTo>
                      <a:pt x="81" y="582"/>
                    </a:lnTo>
                    <a:lnTo>
                      <a:pt x="83" y="579"/>
                    </a:lnTo>
                    <a:lnTo>
                      <a:pt x="78" y="577"/>
                    </a:lnTo>
                    <a:lnTo>
                      <a:pt x="78" y="571"/>
                    </a:lnTo>
                    <a:lnTo>
                      <a:pt x="75" y="568"/>
                    </a:lnTo>
                    <a:lnTo>
                      <a:pt x="72" y="565"/>
                    </a:lnTo>
                    <a:lnTo>
                      <a:pt x="72" y="563"/>
                    </a:lnTo>
                    <a:lnTo>
                      <a:pt x="78" y="563"/>
                    </a:lnTo>
                    <a:lnTo>
                      <a:pt x="83" y="565"/>
                    </a:lnTo>
                    <a:lnTo>
                      <a:pt x="86" y="568"/>
                    </a:lnTo>
                    <a:lnTo>
                      <a:pt x="89" y="574"/>
                    </a:lnTo>
                    <a:lnTo>
                      <a:pt x="94" y="579"/>
                    </a:lnTo>
                    <a:lnTo>
                      <a:pt x="97" y="577"/>
                    </a:lnTo>
                    <a:lnTo>
                      <a:pt x="97" y="577"/>
                    </a:lnTo>
                    <a:lnTo>
                      <a:pt x="100" y="579"/>
                    </a:lnTo>
                    <a:lnTo>
                      <a:pt x="103" y="582"/>
                    </a:lnTo>
                    <a:lnTo>
                      <a:pt x="106" y="579"/>
                    </a:lnTo>
                    <a:lnTo>
                      <a:pt x="106" y="579"/>
                    </a:lnTo>
                    <a:lnTo>
                      <a:pt x="106" y="579"/>
                    </a:lnTo>
                    <a:lnTo>
                      <a:pt x="108" y="579"/>
                    </a:lnTo>
                    <a:lnTo>
                      <a:pt x="111" y="585"/>
                    </a:lnTo>
                    <a:lnTo>
                      <a:pt x="114" y="585"/>
                    </a:lnTo>
                    <a:lnTo>
                      <a:pt x="119" y="585"/>
                    </a:lnTo>
                    <a:lnTo>
                      <a:pt x="122" y="588"/>
                    </a:lnTo>
                    <a:lnTo>
                      <a:pt x="125" y="588"/>
                    </a:lnTo>
                    <a:lnTo>
                      <a:pt x="128" y="590"/>
                    </a:lnTo>
                    <a:lnTo>
                      <a:pt x="142" y="596"/>
                    </a:lnTo>
                    <a:lnTo>
                      <a:pt x="150" y="596"/>
                    </a:lnTo>
                    <a:lnTo>
                      <a:pt x="156" y="599"/>
                    </a:lnTo>
                    <a:lnTo>
                      <a:pt x="158" y="602"/>
                    </a:lnTo>
                    <a:lnTo>
                      <a:pt x="178" y="604"/>
                    </a:lnTo>
                    <a:lnTo>
                      <a:pt x="181" y="602"/>
                    </a:lnTo>
                    <a:lnTo>
                      <a:pt x="186" y="602"/>
                    </a:lnTo>
                    <a:lnTo>
                      <a:pt x="197" y="596"/>
                    </a:lnTo>
                    <a:lnTo>
                      <a:pt x="214" y="577"/>
                    </a:lnTo>
                    <a:lnTo>
                      <a:pt x="217" y="563"/>
                    </a:lnTo>
                    <a:lnTo>
                      <a:pt x="214" y="560"/>
                    </a:lnTo>
                    <a:lnTo>
                      <a:pt x="214" y="560"/>
                    </a:lnTo>
                    <a:lnTo>
                      <a:pt x="211" y="543"/>
                    </a:lnTo>
                    <a:lnTo>
                      <a:pt x="209" y="540"/>
                    </a:lnTo>
                    <a:lnTo>
                      <a:pt x="206" y="538"/>
                    </a:lnTo>
                    <a:lnTo>
                      <a:pt x="206" y="538"/>
                    </a:lnTo>
                    <a:lnTo>
                      <a:pt x="203" y="535"/>
                    </a:lnTo>
                    <a:lnTo>
                      <a:pt x="203" y="532"/>
                    </a:lnTo>
                    <a:lnTo>
                      <a:pt x="197" y="529"/>
                    </a:lnTo>
                    <a:lnTo>
                      <a:pt x="197" y="526"/>
                    </a:lnTo>
                    <a:lnTo>
                      <a:pt x="192" y="524"/>
                    </a:lnTo>
                    <a:lnTo>
                      <a:pt x="195" y="526"/>
                    </a:lnTo>
                    <a:lnTo>
                      <a:pt x="192" y="526"/>
                    </a:lnTo>
                    <a:lnTo>
                      <a:pt x="184" y="521"/>
                    </a:lnTo>
                    <a:lnTo>
                      <a:pt x="184" y="521"/>
                    </a:lnTo>
                    <a:lnTo>
                      <a:pt x="181" y="521"/>
                    </a:lnTo>
                    <a:lnTo>
                      <a:pt x="181" y="518"/>
                    </a:lnTo>
                    <a:lnTo>
                      <a:pt x="175" y="512"/>
                    </a:lnTo>
                    <a:lnTo>
                      <a:pt x="178" y="518"/>
                    </a:lnTo>
                    <a:lnTo>
                      <a:pt x="172" y="515"/>
                    </a:lnTo>
                    <a:lnTo>
                      <a:pt x="170" y="512"/>
                    </a:lnTo>
                    <a:lnTo>
                      <a:pt x="170" y="510"/>
                    </a:lnTo>
                    <a:lnTo>
                      <a:pt x="131" y="476"/>
                    </a:lnTo>
                    <a:lnTo>
                      <a:pt x="122" y="476"/>
                    </a:lnTo>
                    <a:lnTo>
                      <a:pt x="122" y="476"/>
                    </a:lnTo>
                    <a:lnTo>
                      <a:pt x="122" y="479"/>
                    </a:lnTo>
                    <a:lnTo>
                      <a:pt x="119" y="479"/>
                    </a:lnTo>
                    <a:lnTo>
                      <a:pt x="100" y="471"/>
                    </a:lnTo>
                    <a:lnTo>
                      <a:pt x="100" y="473"/>
                    </a:lnTo>
                    <a:lnTo>
                      <a:pt x="94" y="473"/>
                    </a:lnTo>
                    <a:lnTo>
                      <a:pt x="92" y="476"/>
                    </a:lnTo>
                    <a:lnTo>
                      <a:pt x="92" y="473"/>
                    </a:lnTo>
                    <a:lnTo>
                      <a:pt x="92" y="471"/>
                    </a:lnTo>
                    <a:lnTo>
                      <a:pt x="92" y="468"/>
                    </a:lnTo>
                    <a:lnTo>
                      <a:pt x="92" y="468"/>
                    </a:lnTo>
                    <a:lnTo>
                      <a:pt x="86" y="471"/>
                    </a:lnTo>
                    <a:lnTo>
                      <a:pt x="86" y="465"/>
                    </a:lnTo>
                    <a:lnTo>
                      <a:pt x="83" y="468"/>
                    </a:lnTo>
                    <a:lnTo>
                      <a:pt x="83" y="465"/>
                    </a:lnTo>
                    <a:lnTo>
                      <a:pt x="83" y="465"/>
                    </a:lnTo>
                    <a:lnTo>
                      <a:pt x="81" y="465"/>
                    </a:lnTo>
                    <a:lnTo>
                      <a:pt x="78" y="465"/>
                    </a:lnTo>
                    <a:lnTo>
                      <a:pt x="78" y="465"/>
                    </a:lnTo>
                    <a:lnTo>
                      <a:pt x="78" y="462"/>
                    </a:lnTo>
                    <a:lnTo>
                      <a:pt x="78" y="460"/>
                    </a:lnTo>
                    <a:lnTo>
                      <a:pt x="72" y="462"/>
                    </a:lnTo>
                    <a:lnTo>
                      <a:pt x="75" y="454"/>
                    </a:lnTo>
                    <a:lnTo>
                      <a:pt x="75" y="457"/>
                    </a:lnTo>
                    <a:lnTo>
                      <a:pt x="78" y="457"/>
                    </a:lnTo>
                    <a:lnTo>
                      <a:pt x="78" y="457"/>
                    </a:lnTo>
                    <a:lnTo>
                      <a:pt x="81" y="460"/>
                    </a:lnTo>
                    <a:lnTo>
                      <a:pt x="83" y="460"/>
                    </a:lnTo>
                    <a:lnTo>
                      <a:pt x="86" y="460"/>
                    </a:lnTo>
                    <a:lnTo>
                      <a:pt x="89" y="457"/>
                    </a:lnTo>
                    <a:lnTo>
                      <a:pt x="89" y="454"/>
                    </a:lnTo>
                    <a:lnTo>
                      <a:pt x="83" y="451"/>
                    </a:lnTo>
                    <a:lnTo>
                      <a:pt x="81" y="451"/>
                    </a:lnTo>
                    <a:lnTo>
                      <a:pt x="78" y="448"/>
                    </a:lnTo>
                    <a:lnTo>
                      <a:pt x="78" y="448"/>
                    </a:lnTo>
                    <a:lnTo>
                      <a:pt x="69" y="443"/>
                    </a:lnTo>
                    <a:lnTo>
                      <a:pt x="72" y="446"/>
                    </a:lnTo>
                    <a:lnTo>
                      <a:pt x="72" y="451"/>
                    </a:lnTo>
                    <a:lnTo>
                      <a:pt x="69" y="451"/>
                    </a:lnTo>
                    <a:lnTo>
                      <a:pt x="67" y="448"/>
                    </a:lnTo>
                    <a:lnTo>
                      <a:pt x="67" y="451"/>
                    </a:lnTo>
                    <a:lnTo>
                      <a:pt x="67" y="454"/>
                    </a:lnTo>
                    <a:lnTo>
                      <a:pt x="67" y="457"/>
                    </a:lnTo>
                    <a:lnTo>
                      <a:pt x="64" y="457"/>
                    </a:lnTo>
                    <a:lnTo>
                      <a:pt x="61" y="454"/>
                    </a:lnTo>
                    <a:lnTo>
                      <a:pt x="55" y="451"/>
                    </a:lnTo>
                    <a:lnTo>
                      <a:pt x="55" y="451"/>
                    </a:lnTo>
                    <a:lnTo>
                      <a:pt x="55" y="451"/>
                    </a:lnTo>
                    <a:lnTo>
                      <a:pt x="55" y="457"/>
                    </a:lnTo>
                    <a:lnTo>
                      <a:pt x="53" y="460"/>
                    </a:lnTo>
                    <a:lnTo>
                      <a:pt x="50" y="462"/>
                    </a:lnTo>
                    <a:lnTo>
                      <a:pt x="44" y="457"/>
                    </a:lnTo>
                    <a:lnTo>
                      <a:pt x="42" y="465"/>
                    </a:lnTo>
                    <a:lnTo>
                      <a:pt x="39" y="468"/>
                    </a:lnTo>
                    <a:lnTo>
                      <a:pt x="30" y="473"/>
                    </a:lnTo>
                    <a:lnTo>
                      <a:pt x="30" y="476"/>
                    </a:lnTo>
                    <a:lnTo>
                      <a:pt x="30" y="479"/>
                    </a:lnTo>
                    <a:lnTo>
                      <a:pt x="30" y="479"/>
                    </a:lnTo>
                    <a:lnTo>
                      <a:pt x="28" y="482"/>
                    </a:lnTo>
                    <a:lnTo>
                      <a:pt x="25" y="482"/>
                    </a:lnTo>
                    <a:lnTo>
                      <a:pt x="16" y="490"/>
                    </a:lnTo>
                    <a:lnTo>
                      <a:pt x="19" y="490"/>
                    </a:lnTo>
                    <a:lnTo>
                      <a:pt x="19" y="493"/>
                    </a:lnTo>
                    <a:lnTo>
                      <a:pt x="16" y="504"/>
                    </a:lnTo>
                    <a:lnTo>
                      <a:pt x="19" y="515"/>
                    </a:lnTo>
                    <a:lnTo>
                      <a:pt x="19" y="518"/>
                    </a:lnTo>
                    <a:lnTo>
                      <a:pt x="22" y="521"/>
                    </a:lnTo>
                    <a:lnTo>
                      <a:pt x="28" y="521"/>
                    </a:lnTo>
                    <a:lnTo>
                      <a:pt x="30" y="524"/>
                    </a:lnTo>
                    <a:lnTo>
                      <a:pt x="39" y="538"/>
                    </a:lnTo>
                    <a:lnTo>
                      <a:pt x="42" y="546"/>
                    </a:lnTo>
                    <a:lnTo>
                      <a:pt x="28" y="571"/>
                    </a:lnTo>
                    <a:lnTo>
                      <a:pt x="28" y="577"/>
                    </a:lnTo>
                    <a:lnTo>
                      <a:pt x="42" y="618"/>
                    </a:lnTo>
                    <a:lnTo>
                      <a:pt x="39" y="624"/>
                    </a:lnTo>
                    <a:lnTo>
                      <a:pt x="36" y="632"/>
                    </a:lnTo>
                    <a:lnTo>
                      <a:pt x="39" y="635"/>
                    </a:lnTo>
                    <a:lnTo>
                      <a:pt x="39" y="641"/>
                    </a:lnTo>
                    <a:lnTo>
                      <a:pt x="36" y="646"/>
                    </a:lnTo>
                    <a:lnTo>
                      <a:pt x="36" y="652"/>
                    </a:lnTo>
                    <a:lnTo>
                      <a:pt x="42" y="652"/>
                    </a:lnTo>
                    <a:lnTo>
                      <a:pt x="44" y="657"/>
                    </a:lnTo>
                    <a:lnTo>
                      <a:pt x="42" y="663"/>
                    </a:lnTo>
                    <a:lnTo>
                      <a:pt x="44" y="668"/>
                    </a:lnTo>
                    <a:lnTo>
                      <a:pt x="50" y="671"/>
                    </a:lnTo>
                    <a:lnTo>
                      <a:pt x="50" y="677"/>
                    </a:lnTo>
                    <a:lnTo>
                      <a:pt x="44" y="691"/>
                    </a:lnTo>
                    <a:lnTo>
                      <a:pt x="44" y="696"/>
                    </a:lnTo>
                    <a:lnTo>
                      <a:pt x="47" y="699"/>
                    </a:lnTo>
                    <a:lnTo>
                      <a:pt x="55" y="707"/>
                    </a:lnTo>
                    <a:lnTo>
                      <a:pt x="58" y="710"/>
                    </a:lnTo>
                    <a:lnTo>
                      <a:pt x="61" y="716"/>
                    </a:lnTo>
                    <a:lnTo>
                      <a:pt x="61" y="716"/>
                    </a:lnTo>
                    <a:lnTo>
                      <a:pt x="61" y="724"/>
                    </a:lnTo>
                    <a:lnTo>
                      <a:pt x="3" y="797"/>
                    </a:lnTo>
                    <a:lnTo>
                      <a:pt x="11" y="797"/>
                    </a:lnTo>
                    <a:lnTo>
                      <a:pt x="14" y="794"/>
                    </a:lnTo>
                    <a:lnTo>
                      <a:pt x="19" y="791"/>
                    </a:lnTo>
                    <a:lnTo>
                      <a:pt x="19" y="791"/>
                    </a:lnTo>
                    <a:lnTo>
                      <a:pt x="19" y="794"/>
                    </a:lnTo>
                    <a:lnTo>
                      <a:pt x="19" y="799"/>
                    </a:lnTo>
                    <a:lnTo>
                      <a:pt x="16" y="797"/>
                    </a:lnTo>
                    <a:lnTo>
                      <a:pt x="16" y="797"/>
                    </a:lnTo>
                    <a:lnTo>
                      <a:pt x="16" y="799"/>
                    </a:lnTo>
                    <a:lnTo>
                      <a:pt x="16" y="802"/>
                    </a:lnTo>
                    <a:lnTo>
                      <a:pt x="19" y="802"/>
                    </a:lnTo>
                    <a:lnTo>
                      <a:pt x="25" y="808"/>
                    </a:lnTo>
                    <a:lnTo>
                      <a:pt x="33" y="808"/>
                    </a:lnTo>
                    <a:lnTo>
                      <a:pt x="36" y="808"/>
                    </a:lnTo>
                    <a:lnTo>
                      <a:pt x="39" y="810"/>
                    </a:lnTo>
                    <a:lnTo>
                      <a:pt x="39" y="813"/>
                    </a:lnTo>
                    <a:lnTo>
                      <a:pt x="42" y="813"/>
                    </a:lnTo>
                    <a:lnTo>
                      <a:pt x="44" y="813"/>
                    </a:lnTo>
                    <a:lnTo>
                      <a:pt x="44" y="816"/>
                    </a:lnTo>
                    <a:lnTo>
                      <a:pt x="42" y="816"/>
                    </a:lnTo>
                    <a:lnTo>
                      <a:pt x="25" y="813"/>
                    </a:lnTo>
                    <a:lnTo>
                      <a:pt x="25" y="816"/>
                    </a:lnTo>
                    <a:lnTo>
                      <a:pt x="25" y="819"/>
                    </a:lnTo>
                    <a:lnTo>
                      <a:pt x="19" y="819"/>
                    </a:lnTo>
                    <a:lnTo>
                      <a:pt x="16" y="819"/>
                    </a:lnTo>
                    <a:lnTo>
                      <a:pt x="16" y="819"/>
                    </a:lnTo>
                    <a:lnTo>
                      <a:pt x="14" y="822"/>
                    </a:lnTo>
                    <a:lnTo>
                      <a:pt x="14" y="824"/>
                    </a:lnTo>
                    <a:lnTo>
                      <a:pt x="11" y="822"/>
                    </a:lnTo>
                    <a:lnTo>
                      <a:pt x="8" y="822"/>
                    </a:lnTo>
                    <a:lnTo>
                      <a:pt x="8" y="822"/>
                    </a:lnTo>
                    <a:lnTo>
                      <a:pt x="8" y="827"/>
                    </a:lnTo>
                    <a:lnTo>
                      <a:pt x="11" y="827"/>
                    </a:lnTo>
                    <a:lnTo>
                      <a:pt x="14" y="830"/>
                    </a:lnTo>
                    <a:lnTo>
                      <a:pt x="14" y="833"/>
                    </a:lnTo>
                    <a:lnTo>
                      <a:pt x="11" y="833"/>
                    </a:lnTo>
                    <a:lnTo>
                      <a:pt x="8" y="838"/>
                    </a:lnTo>
                    <a:lnTo>
                      <a:pt x="5" y="847"/>
                    </a:lnTo>
                    <a:lnTo>
                      <a:pt x="5" y="849"/>
                    </a:lnTo>
                    <a:lnTo>
                      <a:pt x="5" y="855"/>
                    </a:lnTo>
                    <a:lnTo>
                      <a:pt x="5" y="858"/>
                    </a:lnTo>
                    <a:lnTo>
                      <a:pt x="5" y="861"/>
                    </a:lnTo>
                    <a:lnTo>
                      <a:pt x="5" y="861"/>
                    </a:lnTo>
                    <a:lnTo>
                      <a:pt x="3" y="866"/>
                    </a:lnTo>
                    <a:lnTo>
                      <a:pt x="0" y="866"/>
                    </a:lnTo>
                    <a:lnTo>
                      <a:pt x="3" y="869"/>
                    </a:lnTo>
                    <a:lnTo>
                      <a:pt x="8" y="869"/>
                    </a:lnTo>
                    <a:lnTo>
                      <a:pt x="11" y="874"/>
                    </a:lnTo>
                    <a:lnTo>
                      <a:pt x="11" y="877"/>
                    </a:lnTo>
                    <a:lnTo>
                      <a:pt x="8" y="877"/>
                    </a:lnTo>
                    <a:lnTo>
                      <a:pt x="3" y="872"/>
                    </a:lnTo>
                    <a:lnTo>
                      <a:pt x="3" y="877"/>
                    </a:lnTo>
                    <a:lnTo>
                      <a:pt x="0" y="883"/>
                    </a:lnTo>
                    <a:lnTo>
                      <a:pt x="0" y="886"/>
                    </a:lnTo>
                    <a:lnTo>
                      <a:pt x="3" y="888"/>
                    </a:lnTo>
                    <a:lnTo>
                      <a:pt x="3" y="888"/>
                    </a:lnTo>
                    <a:lnTo>
                      <a:pt x="5" y="891"/>
                    </a:lnTo>
                    <a:lnTo>
                      <a:pt x="5" y="894"/>
                    </a:lnTo>
                    <a:lnTo>
                      <a:pt x="8" y="894"/>
                    </a:lnTo>
                    <a:lnTo>
                      <a:pt x="5" y="905"/>
                    </a:lnTo>
                    <a:lnTo>
                      <a:pt x="8" y="905"/>
                    </a:lnTo>
                    <a:lnTo>
                      <a:pt x="8" y="905"/>
                    </a:lnTo>
                    <a:lnTo>
                      <a:pt x="8" y="908"/>
                    </a:lnTo>
                    <a:lnTo>
                      <a:pt x="14" y="919"/>
                    </a:lnTo>
                    <a:lnTo>
                      <a:pt x="14" y="925"/>
                    </a:lnTo>
                    <a:lnTo>
                      <a:pt x="14" y="927"/>
                    </a:lnTo>
                    <a:lnTo>
                      <a:pt x="19" y="927"/>
                    </a:lnTo>
                    <a:lnTo>
                      <a:pt x="22" y="927"/>
                    </a:lnTo>
                    <a:lnTo>
                      <a:pt x="22" y="930"/>
                    </a:lnTo>
                    <a:lnTo>
                      <a:pt x="28" y="930"/>
                    </a:lnTo>
                    <a:lnTo>
                      <a:pt x="30" y="930"/>
                    </a:lnTo>
                    <a:lnTo>
                      <a:pt x="33" y="933"/>
                    </a:lnTo>
                    <a:lnTo>
                      <a:pt x="33" y="939"/>
                    </a:lnTo>
                    <a:lnTo>
                      <a:pt x="36" y="936"/>
                    </a:lnTo>
                    <a:lnTo>
                      <a:pt x="39" y="936"/>
                    </a:lnTo>
                    <a:lnTo>
                      <a:pt x="39" y="933"/>
                    </a:lnTo>
                    <a:lnTo>
                      <a:pt x="47" y="933"/>
                    </a:lnTo>
                    <a:lnTo>
                      <a:pt x="50" y="936"/>
                    </a:lnTo>
                    <a:lnTo>
                      <a:pt x="53" y="941"/>
                    </a:lnTo>
                    <a:lnTo>
                      <a:pt x="55" y="941"/>
                    </a:lnTo>
                    <a:lnTo>
                      <a:pt x="55" y="944"/>
                    </a:lnTo>
                    <a:lnTo>
                      <a:pt x="55" y="947"/>
                    </a:lnTo>
                    <a:lnTo>
                      <a:pt x="55" y="950"/>
                    </a:lnTo>
                    <a:lnTo>
                      <a:pt x="55" y="950"/>
                    </a:lnTo>
                    <a:lnTo>
                      <a:pt x="58" y="952"/>
                    </a:lnTo>
                    <a:lnTo>
                      <a:pt x="55" y="958"/>
                    </a:lnTo>
                    <a:lnTo>
                      <a:pt x="55" y="958"/>
                    </a:lnTo>
                    <a:lnTo>
                      <a:pt x="53" y="961"/>
                    </a:lnTo>
                    <a:lnTo>
                      <a:pt x="55" y="964"/>
                    </a:lnTo>
                    <a:lnTo>
                      <a:pt x="58" y="966"/>
                    </a:lnTo>
                    <a:lnTo>
                      <a:pt x="64" y="977"/>
                    </a:lnTo>
                    <a:lnTo>
                      <a:pt x="67" y="980"/>
                    </a:lnTo>
                    <a:lnTo>
                      <a:pt x="69" y="983"/>
                    </a:lnTo>
                    <a:lnTo>
                      <a:pt x="69" y="986"/>
                    </a:lnTo>
                    <a:lnTo>
                      <a:pt x="69" y="989"/>
                    </a:lnTo>
                    <a:lnTo>
                      <a:pt x="69" y="989"/>
                    </a:lnTo>
                    <a:lnTo>
                      <a:pt x="78" y="989"/>
                    </a:lnTo>
                    <a:lnTo>
                      <a:pt x="78" y="991"/>
                    </a:lnTo>
                    <a:lnTo>
                      <a:pt x="81" y="991"/>
                    </a:lnTo>
                    <a:lnTo>
                      <a:pt x="81" y="994"/>
                    </a:lnTo>
                    <a:lnTo>
                      <a:pt x="81" y="994"/>
                    </a:lnTo>
                    <a:lnTo>
                      <a:pt x="83" y="994"/>
                    </a:lnTo>
                    <a:lnTo>
                      <a:pt x="83" y="1000"/>
                    </a:lnTo>
                    <a:lnTo>
                      <a:pt x="75" y="1005"/>
                    </a:lnTo>
                    <a:lnTo>
                      <a:pt x="72" y="1005"/>
                    </a:lnTo>
                    <a:lnTo>
                      <a:pt x="67" y="1003"/>
                    </a:lnTo>
                    <a:lnTo>
                      <a:pt x="64" y="1003"/>
                    </a:lnTo>
                    <a:lnTo>
                      <a:pt x="64" y="1003"/>
                    </a:lnTo>
                    <a:lnTo>
                      <a:pt x="64" y="1005"/>
                    </a:lnTo>
                    <a:lnTo>
                      <a:pt x="61" y="1008"/>
                    </a:lnTo>
                    <a:lnTo>
                      <a:pt x="61" y="1008"/>
                    </a:lnTo>
                    <a:lnTo>
                      <a:pt x="64" y="1011"/>
                    </a:lnTo>
                    <a:lnTo>
                      <a:pt x="64" y="1014"/>
                    </a:lnTo>
                    <a:lnTo>
                      <a:pt x="64" y="1016"/>
                    </a:lnTo>
                    <a:lnTo>
                      <a:pt x="67" y="1019"/>
                    </a:lnTo>
                    <a:lnTo>
                      <a:pt x="64" y="1019"/>
                    </a:lnTo>
                    <a:lnTo>
                      <a:pt x="67" y="1022"/>
                    </a:lnTo>
                    <a:lnTo>
                      <a:pt x="67" y="1025"/>
                    </a:lnTo>
                    <a:lnTo>
                      <a:pt x="67" y="1025"/>
                    </a:lnTo>
                    <a:lnTo>
                      <a:pt x="69" y="1033"/>
                    </a:lnTo>
                    <a:lnTo>
                      <a:pt x="69" y="1033"/>
                    </a:lnTo>
                    <a:lnTo>
                      <a:pt x="72" y="1033"/>
                    </a:lnTo>
                    <a:lnTo>
                      <a:pt x="72" y="1033"/>
                    </a:lnTo>
                    <a:lnTo>
                      <a:pt x="75" y="1033"/>
                    </a:lnTo>
                    <a:lnTo>
                      <a:pt x="78" y="1030"/>
                    </a:lnTo>
                    <a:lnTo>
                      <a:pt x="78" y="1030"/>
                    </a:lnTo>
                    <a:lnTo>
                      <a:pt x="78" y="1028"/>
                    </a:lnTo>
                    <a:lnTo>
                      <a:pt x="86" y="1028"/>
                    </a:lnTo>
                    <a:lnTo>
                      <a:pt x="92" y="1028"/>
                    </a:lnTo>
                    <a:lnTo>
                      <a:pt x="94" y="1028"/>
                    </a:lnTo>
                    <a:lnTo>
                      <a:pt x="100" y="1028"/>
                    </a:lnTo>
                    <a:lnTo>
                      <a:pt x="103" y="1030"/>
                    </a:lnTo>
                    <a:lnTo>
                      <a:pt x="106" y="1033"/>
                    </a:lnTo>
                    <a:lnTo>
                      <a:pt x="106" y="1033"/>
                    </a:lnTo>
                    <a:lnTo>
                      <a:pt x="108" y="1039"/>
                    </a:lnTo>
                    <a:lnTo>
                      <a:pt x="108" y="1042"/>
                    </a:lnTo>
                    <a:lnTo>
                      <a:pt x="108" y="1044"/>
                    </a:lnTo>
                    <a:lnTo>
                      <a:pt x="106" y="1044"/>
                    </a:lnTo>
                    <a:lnTo>
                      <a:pt x="106" y="1044"/>
                    </a:lnTo>
                    <a:lnTo>
                      <a:pt x="106" y="1047"/>
                    </a:lnTo>
                    <a:lnTo>
                      <a:pt x="108" y="1053"/>
                    </a:lnTo>
                    <a:lnTo>
                      <a:pt x="111" y="1055"/>
                    </a:lnTo>
                    <a:lnTo>
                      <a:pt x="117" y="1055"/>
                    </a:lnTo>
                    <a:lnTo>
                      <a:pt x="117" y="1055"/>
                    </a:lnTo>
                    <a:lnTo>
                      <a:pt x="119" y="1055"/>
                    </a:lnTo>
                    <a:lnTo>
                      <a:pt x="122" y="1058"/>
                    </a:lnTo>
                    <a:lnTo>
                      <a:pt x="125" y="1061"/>
                    </a:lnTo>
                    <a:lnTo>
                      <a:pt x="125" y="1069"/>
                    </a:lnTo>
                    <a:lnTo>
                      <a:pt x="125" y="1069"/>
                    </a:lnTo>
                    <a:lnTo>
                      <a:pt x="125" y="1072"/>
                    </a:lnTo>
                    <a:lnTo>
                      <a:pt x="131" y="1075"/>
                    </a:lnTo>
                    <a:lnTo>
                      <a:pt x="133" y="1075"/>
                    </a:lnTo>
                    <a:lnTo>
                      <a:pt x="133" y="1075"/>
                    </a:lnTo>
                    <a:lnTo>
                      <a:pt x="136" y="1075"/>
                    </a:lnTo>
                    <a:lnTo>
                      <a:pt x="139" y="1078"/>
                    </a:lnTo>
                    <a:lnTo>
                      <a:pt x="142" y="1078"/>
                    </a:lnTo>
                    <a:lnTo>
                      <a:pt x="145" y="1078"/>
                    </a:lnTo>
                    <a:lnTo>
                      <a:pt x="156" y="1075"/>
                    </a:lnTo>
                    <a:lnTo>
                      <a:pt x="158" y="1075"/>
                    </a:lnTo>
                    <a:lnTo>
                      <a:pt x="164" y="1086"/>
                    </a:lnTo>
                    <a:lnTo>
                      <a:pt x="167" y="1086"/>
                    </a:lnTo>
                    <a:lnTo>
                      <a:pt x="170" y="1083"/>
                    </a:lnTo>
                    <a:lnTo>
                      <a:pt x="170" y="1083"/>
                    </a:lnTo>
                    <a:lnTo>
                      <a:pt x="172" y="1086"/>
                    </a:lnTo>
                    <a:lnTo>
                      <a:pt x="175" y="1086"/>
                    </a:lnTo>
                    <a:lnTo>
                      <a:pt x="178" y="1086"/>
                    </a:lnTo>
                    <a:lnTo>
                      <a:pt x="178" y="1089"/>
                    </a:lnTo>
                    <a:lnTo>
                      <a:pt x="184" y="1089"/>
                    </a:lnTo>
                    <a:lnTo>
                      <a:pt x="186" y="1092"/>
                    </a:lnTo>
                    <a:lnTo>
                      <a:pt x="189" y="1092"/>
                    </a:lnTo>
                    <a:lnTo>
                      <a:pt x="192" y="1094"/>
                    </a:lnTo>
                    <a:lnTo>
                      <a:pt x="197" y="1094"/>
                    </a:lnTo>
                    <a:lnTo>
                      <a:pt x="200" y="1094"/>
                    </a:lnTo>
                    <a:lnTo>
                      <a:pt x="197" y="1097"/>
                    </a:lnTo>
                    <a:lnTo>
                      <a:pt x="200" y="1103"/>
                    </a:lnTo>
                    <a:lnTo>
                      <a:pt x="197" y="1108"/>
                    </a:lnTo>
                    <a:lnTo>
                      <a:pt x="192" y="1108"/>
                    </a:lnTo>
                    <a:lnTo>
                      <a:pt x="195" y="1111"/>
                    </a:lnTo>
                    <a:lnTo>
                      <a:pt x="195" y="1111"/>
                    </a:lnTo>
                    <a:lnTo>
                      <a:pt x="197" y="1114"/>
                    </a:lnTo>
                    <a:lnTo>
                      <a:pt x="192" y="1114"/>
                    </a:lnTo>
                    <a:lnTo>
                      <a:pt x="192" y="1117"/>
                    </a:lnTo>
                    <a:lnTo>
                      <a:pt x="192" y="1120"/>
                    </a:lnTo>
                    <a:lnTo>
                      <a:pt x="192" y="1120"/>
                    </a:lnTo>
                    <a:lnTo>
                      <a:pt x="195" y="1122"/>
                    </a:lnTo>
                    <a:lnTo>
                      <a:pt x="195" y="1125"/>
                    </a:lnTo>
                    <a:lnTo>
                      <a:pt x="195" y="1125"/>
                    </a:lnTo>
                    <a:lnTo>
                      <a:pt x="192" y="1136"/>
                    </a:lnTo>
                    <a:lnTo>
                      <a:pt x="189" y="1139"/>
                    </a:lnTo>
                    <a:lnTo>
                      <a:pt x="186" y="1136"/>
                    </a:lnTo>
                    <a:lnTo>
                      <a:pt x="184" y="1136"/>
                    </a:lnTo>
                    <a:lnTo>
                      <a:pt x="181" y="1136"/>
                    </a:lnTo>
                    <a:lnTo>
                      <a:pt x="175" y="1142"/>
                    </a:lnTo>
                    <a:lnTo>
                      <a:pt x="170" y="1142"/>
                    </a:lnTo>
                    <a:lnTo>
                      <a:pt x="170" y="1147"/>
                    </a:lnTo>
                    <a:lnTo>
                      <a:pt x="170" y="1153"/>
                    </a:lnTo>
                    <a:lnTo>
                      <a:pt x="172" y="1153"/>
                    </a:lnTo>
                    <a:lnTo>
                      <a:pt x="175" y="1153"/>
                    </a:lnTo>
                    <a:lnTo>
                      <a:pt x="178" y="1150"/>
                    </a:lnTo>
                    <a:lnTo>
                      <a:pt x="181" y="1150"/>
                    </a:lnTo>
                    <a:lnTo>
                      <a:pt x="184" y="1150"/>
                    </a:lnTo>
                    <a:lnTo>
                      <a:pt x="184" y="1153"/>
                    </a:lnTo>
                    <a:lnTo>
                      <a:pt x="186" y="1153"/>
                    </a:lnTo>
                    <a:lnTo>
                      <a:pt x="186" y="1153"/>
                    </a:lnTo>
                    <a:lnTo>
                      <a:pt x="186" y="1156"/>
                    </a:lnTo>
                    <a:lnTo>
                      <a:pt x="184" y="1156"/>
                    </a:lnTo>
                    <a:lnTo>
                      <a:pt x="172" y="1158"/>
                    </a:lnTo>
                    <a:lnTo>
                      <a:pt x="172" y="1161"/>
                    </a:lnTo>
                    <a:lnTo>
                      <a:pt x="172" y="1164"/>
                    </a:lnTo>
                    <a:lnTo>
                      <a:pt x="172" y="1164"/>
                    </a:lnTo>
                    <a:lnTo>
                      <a:pt x="170" y="1164"/>
                    </a:lnTo>
                    <a:lnTo>
                      <a:pt x="161" y="1164"/>
                    </a:lnTo>
                    <a:lnTo>
                      <a:pt x="161" y="1167"/>
                    </a:lnTo>
                    <a:lnTo>
                      <a:pt x="164" y="1170"/>
                    </a:lnTo>
                    <a:lnTo>
                      <a:pt x="167" y="1170"/>
                    </a:lnTo>
                    <a:lnTo>
                      <a:pt x="172" y="1175"/>
                    </a:lnTo>
                    <a:lnTo>
                      <a:pt x="172" y="1178"/>
                    </a:lnTo>
                    <a:lnTo>
                      <a:pt x="170" y="1175"/>
                    </a:lnTo>
                    <a:lnTo>
                      <a:pt x="167" y="1178"/>
                    </a:lnTo>
                    <a:lnTo>
                      <a:pt x="164" y="1178"/>
                    </a:lnTo>
                    <a:lnTo>
                      <a:pt x="156" y="1192"/>
                    </a:lnTo>
                    <a:lnTo>
                      <a:pt x="147" y="1192"/>
                    </a:lnTo>
                    <a:lnTo>
                      <a:pt x="147" y="1195"/>
                    </a:lnTo>
                    <a:lnTo>
                      <a:pt x="147" y="1195"/>
                    </a:lnTo>
                    <a:lnTo>
                      <a:pt x="145" y="1197"/>
                    </a:lnTo>
                    <a:lnTo>
                      <a:pt x="150" y="1200"/>
                    </a:lnTo>
                    <a:lnTo>
                      <a:pt x="153" y="1206"/>
                    </a:lnTo>
                    <a:lnTo>
                      <a:pt x="156" y="1209"/>
                    </a:lnTo>
                    <a:lnTo>
                      <a:pt x="158" y="1209"/>
                    </a:lnTo>
                    <a:lnTo>
                      <a:pt x="158" y="1206"/>
                    </a:lnTo>
                    <a:lnTo>
                      <a:pt x="184" y="1223"/>
                    </a:lnTo>
                    <a:lnTo>
                      <a:pt x="189" y="1231"/>
                    </a:lnTo>
                    <a:lnTo>
                      <a:pt x="192" y="1231"/>
                    </a:lnTo>
                    <a:lnTo>
                      <a:pt x="195" y="1234"/>
                    </a:lnTo>
                    <a:lnTo>
                      <a:pt x="200" y="1231"/>
                    </a:lnTo>
                    <a:lnTo>
                      <a:pt x="203" y="1234"/>
                    </a:lnTo>
                    <a:lnTo>
                      <a:pt x="206" y="1234"/>
                    </a:lnTo>
                    <a:lnTo>
                      <a:pt x="211" y="1234"/>
                    </a:lnTo>
                    <a:lnTo>
                      <a:pt x="211" y="1236"/>
                    </a:lnTo>
                    <a:lnTo>
                      <a:pt x="222" y="1239"/>
                    </a:lnTo>
                    <a:lnTo>
                      <a:pt x="231" y="1239"/>
                    </a:lnTo>
                    <a:lnTo>
                      <a:pt x="236" y="1239"/>
                    </a:lnTo>
                    <a:lnTo>
                      <a:pt x="242" y="1239"/>
                    </a:lnTo>
                    <a:lnTo>
                      <a:pt x="256" y="1250"/>
                    </a:lnTo>
                    <a:lnTo>
                      <a:pt x="256" y="1250"/>
                    </a:lnTo>
                    <a:lnTo>
                      <a:pt x="259" y="1253"/>
                    </a:lnTo>
                    <a:lnTo>
                      <a:pt x="267" y="1248"/>
                    </a:lnTo>
                    <a:lnTo>
                      <a:pt x="270" y="1248"/>
                    </a:lnTo>
                    <a:lnTo>
                      <a:pt x="270" y="1250"/>
                    </a:lnTo>
                    <a:lnTo>
                      <a:pt x="273" y="1250"/>
                    </a:lnTo>
                    <a:lnTo>
                      <a:pt x="278" y="1250"/>
                    </a:lnTo>
                    <a:lnTo>
                      <a:pt x="278" y="1253"/>
                    </a:lnTo>
                    <a:lnTo>
                      <a:pt x="281" y="1253"/>
                    </a:lnTo>
                    <a:lnTo>
                      <a:pt x="284" y="1253"/>
                    </a:lnTo>
                    <a:lnTo>
                      <a:pt x="284" y="1253"/>
                    </a:lnTo>
                    <a:lnTo>
                      <a:pt x="287" y="1256"/>
                    </a:lnTo>
                    <a:lnTo>
                      <a:pt x="284" y="1262"/>
                    </a:lnTo>
                    <a:lnTo>
                      <a:pt x="289" y="1264"/>
                    </a:lnTo>
                    <a:lnTo>
                      <a:pt x="292" y="1264"/>
                    </a:lnTo>
                    <a:lnTo>
                      <a:pt x="298" y="1270"/>
                    </a:lnTo>
                    <a:lnTo>
                      <a:pt x="300" y="1270"/>
                    </a:lnTo>
                    <a:lnTo>
                      <a:pt x="303" y="1273"/>
                    </a:lnTo>
                    <a:lnTo>
                      <a:pt x="306" y="1273"/>
                    </a:lnTo>
                    <a:lnTo>
                      <a:pt x="306" y="1273"/>
                    </a:lnTo>
                    <a:lnTo>
                      <a:pt x="309" y="1281"/>
                    </a:lnTo>
                    <a:lnTo>
                      <a:pt x="317" y="1281"/>
                    </a:lnTo>
                    <a:lnTo>
                      <a:pt x="320" y="1281"/>
                    </a:lnTo>
                    <a:lnTo>
                      <a:pt x="320" y="1278"/>
                    </a:lnTo>
                    <a:lnTo>
                      <a:pt x="323" y="1275"/>
                    </a:lnTo>
                    <a:lnTo>
                      <a:pt x="326" y="1273"/>
                    </a:lnTo>
                    <a:lnTo>
                      <a:pt x="328" y="1267"/>
                    </a:lnTo>
                    <a:lnTo>
                      <a:pt x="326" y="1267"/>
                    </a:lnTo>
                    <a:lnTo>
                      <a:pt x="314" y="1242"/>
                    </a:lnTo>
                    <a:lnTo>
                      <a:pt x="314" y="1236"/>
                    </a:lnTo>
                    <a:lnTo>
                      <a:pt x="314" y="1228"/>
                    </a:lnTo>
                    <a:lnTo>
                      <a:pt x="314" y="1225"/>
                    </a:lnTo>
                    <a:lnTo>
                      <a:pt x="312" y="1231"/>
                    </a:lnTo>
                    <a:lnTo>
                      <a:pt x="312" y="1228"/>
                    </a:lnTo>
                    <a:lnTo>
                      <a:pt x="312" y="1225"/>
                    </a:lnTo>
                    <a:lnTo>
                      <a:pt x="303" y="1214"/>
                    </a:lnTo>
                    <a:lnTo>
                      <a:pt x="300" y="1214"/>
                    </a:lnTo>
                    <a:lnTo>
                      <a:pt x="300" y="1211"/>
                    </a:lnTo>
                    <a:lnTo>
                      <a:pt x="303" y="1206"/>
                    </a:lnTo>
                    <a:lnTo>
                      <a:pt x="303" y="1203"/>
                    </a:lnTo>
                    <a:lnTo>
                      <a:pt x="306" y="1200"/>
                    </a:lnTo>
                    <a:lnTo>
                      <a:pt x="306" y="1200"/>
                    </a:lnTo>
                    <a:lnTo>
                      <a:pt x="306" y="1200"/>
                    </a:lnTo>
                    <a:lnTo>
                      <a:pt x="306" y="1197"/>
                    </a:lnTo>
                    <a:lnTo>
                      <a:pt x="309" y="1195"/>
                    </a:lnTo>
                    <a:lnTo>
                      <a:pt x="312" y="1184"/>
                    </a:lnTo>
                    <a:lnTo>
                      <a:pt x="314" y="1186"/>
                    </a:lnTo>
                    <a:lnTo>
                      <a:pt x="314" y="1175"/>
                    </a:lnTo>
                    <a:lnTo>
                      <a:pt x="312" y="1172"/>
                    </a:lnTo>
                    <a:lnTo>
                      <a:pt x="320" y="1172"/>
                    </a:lnTo>
                    <a:lnTo>
                      <a:pt x="320" y="1175"/>
                    </a:lnTo>
                    <a:lnTo>
                      <a:pt x="323" y="1181"/>
                    </a:lnTo>
                    <a:lnTo>
                      <a:pt x="323" y="1181"/>
                    </a:lnTo>
                    <a:lnTo>
                      <a:pt x="326" y="1181"/>
                    </a:lnTo>
                    <a:lnTo>
                      <a:pt x="326" y="1181"/>
                    </a:lnTo>
                    <a:lnTo>
                      <a:pt x="331" y="1172"/>
                    </a:lnTo>
                    <a:lnTo>
                      <a:pt x="331" y="1172"/>
                    </a:lnTo>
                    <a:lnTo>
                      <a:pt x="331" y="1172"/>
                    </a:lnTo>
                    <a:lnTo>
                      <a:pt x="328" y="1170"/>
                    </a:lnTo>
                    <a:lnTo>
                      <a:pt x="328" y="1170"/>
                    </a:lnTo>
                    <a:lnTo>
                      <a:pt x="326" y="1170"/>
                    </a:lnTo>
                    <a:lnTo>
                      <a:pt x="323" y="1167"/>
                    </a:lnTo>
                    <a:lnTo>
                      <a:pt x="323" y="1167"/>
                    </a:lnTo>
                    <a:lnTo>
                      <a:pt x="323" y="1164"/>
                    </a:lnTo>
                    <a:lnTo>
                      <a:pt x="323" y="1161"/>
                    </a:lnTo>
                    <a:lnTo>
                      <a:pt x="326" y="1161"/>
                    </a:lnTo>
                    <a:lnTo>
                      <a:pt x="328" y="1164"/>
                    </a:lnTo>
                    <a:lnTo>
                      <a:pt x="331" y="1161"/>
                    </a:lnTo>
                    <a:lnTo>
                      <a:pt x="328" y="1147"/>
                    </a:lnTo>
                    <a:lnTo>
                      <a:pt x="328" y="1145"/>
                    </a:lnTo>
                    <a:lnTo>
                      <a:pt x="326" y="1139"/>
                    </a:lnTo>
                    <a:lnTo>
                      <a:pt x="323" y="1139"/>
                    </a:lnTo>
                    <a:lnTo>
                      <a:pt x="314" y="1139"/>
                    </a:lnTo>
                    <a:lnTo>
                      <a:pt x="312" y="1136"/>
                    </a:lnTo>
                    <a:lnTo>
                      <a:pt x="312" y="1139"/>
                    </a:lnTo>
                    <a:lnTo>
                      <a:pt x="309" y="1136"/>
                    </a:lnTo>
                    <a:lnTo>
                      <a:pt x="309" y="1133"/>
                    </a:lnTo>
                    <a:lnTo>
                      <a:pt x="306" y="1131"/>
                    </a:lnTo>
                    <a:lnTo>
                      <a:pt x="309" y="1131"/>
                    </a:lnTo>
                    <a:lnTo>
                      <a:pt x="306" y="1128"/>
                    </a:lnTo>
                    <a:lnTo>
                      <a:pt x="306" y="1125"/>
                    </a:lnTo>
                    <a:lnTo>
                      <a:pt x="298" y="1122"/>
                    </a:lnTo>
                    <a:lnTo>
                      <a:pt x="300" y="1111"/>
                    </a:lnTo>
                    <a:lnTo>
                      <a:pt x="306" y="1108"/>
                    </a:lnTo>
                    <a:lnTo>
                      <a:pt x="306" y="1106"/>
                    </a:lnTo>
                    <a:lnTo>
                      <a:pt x="306" y="1106"/>
                    </a:lnTo>
                    <a:lnTo>
                      <a:pt x="303" y="1100"/>
                    </a:lnTo>
                    <a:lnTo>
                      <a:pt x="306" y="1089"/>
                    </a:lnTo>
                    <a:lnTo>
                      <a:pt x="309" y="1086"/>
                    </a:lnTo>
                    <a:lnTo>
                      <a:pt x="312" y="1083"/>
                    </a:lnTo>
                    <a:lnTo>
                      <a:pt x="312" y="1081"/>
                    </a:lnTo>
                    <a:lnTo>
                      <a:pt x="312" y="1081"/>
                    </a:lnTo>
                    <a:lnTo>
                      <a:pt x="312" y="1078"/>
                    </a:lnTo>
                    <a:lnTo>
                      <a:pt x="312" y="1075"/>
                    </a:lnTo>
                    <a:lnTo>
                      <a:pt x="314" y="1072"/>
                    </a:lnTo>
                    <a:lnTo>
                      <a:pt x="314" y="1075"/>
                    </a:lnTo>
                    <a:lnTo>
                      <a:pt x="317" y="1078"/>
                    </a:lnTo>
                    <a:lnTo>
                      <a:pt x="320" y="1081"/>
                    </a:lnTo>
                    <a:lnTo>
                      <a:pt x="326" y="1089"/>
                    </a:lnTo>
                    <a:lnTo>
                      <a:pt x="328" y="1092"/>
                    </a:lnTo>
                    <a:lnTo>
                      <a:pt x="334" y="1086"/>
                    </a:lnTo>
                    <a:lnTo>
                      <a:pt x="328" y="1069"/>
                    </a:lnTo>
                    <a:lnTo>
                      <a:pt x="331" y="1072"/>
                    </a:lnTo>
                    <a:lnTo>
                      <a:pt x="342" y="1064"/>
                    </a:lnTo>
                    <a:lnTo>
                      <a:pt x="342" y="1064"/>
                    </a:lnTo>
                    <a:lnTo>
                      <a:pt x="342" y="1058"/>
                    </a:lnTo>
                    <a:lnTo>
                      <a:pt x="345" y="1058"/>
                    </a:lnTo>
                    <a:lnTo>
                      <a:pt x="348" y="1058"/>
                    </a:lnTo>
                    <a:lnTo>
                      <a:pt x="351" y="1058"/>
                    </a:lnTo>
                    <a:lnTo>
                      <a:pt x="351" y="1055"/>
                    </a:lnTo>
                    <a:lnTo>
                      <a:pt x="356" y="1053"/>
                    </a:lnTo>
                    <a:lnTo>
                      <a:pt x="356" y="1053"/>
                    </a:lnTo>
                    <a:lnTo>
                      <a:pt x="359" y="1050"/>
                    </a:lnTo>
                    <a:lnTo>
                      <a:pt x="359" y="1050"/>
                    </a:lnTo>
                    <a:lnTo>
                      <a:pt x="362" y="1047"/>
                    </a:lnTo>
                    <a:lnTo>
                      <a:pt x="362" y="1044"/>
                    </a:lnTo>
                    <a:lnTo>
                      <a:pt x="367" y="1044"/>
                    </a:lnTo>
                    <a:lnTo>
                      <a:pt x="370" y="1044"/>
                    </a:lnTo>
                    <a:lnTo>
                      <a:pt x="373" y="1047"/>
                    </a:lnTo>
                    <a:lnTo>
                      <a:pt x="378" y="1047"/>
                    </a:lnTo>
                    <a:lnTo>
                      <a:pt x="378" y="1050"/>
                    </a:lnTo>
                    <a:lnTo>
                      <a:pt x="381" y="1047"/>
                    </a:lnTo>
                    <a:lnTo>
                      <a:pt x="381" y="1044"/>
                    </a:lnTo>
                    <a:lnTo>
                      <a:pt x="381" y="1044"/>
                    </a:lnTo>
                    <a:lnTo>
                      <a:pt x="384" y="1044"/>
                    </a:lnTo>
                    <a:lnTo>
                      <a:pt x="387" y="1042"/>
                    </a:lnTo>
                    <a:lnTo>
                      <a:pt x="390" y="1042"/>
                    </a:lnTo>
                    <a:lnTo>
                      <a:pt x="390" y="1047"/>
                    </a:lnTo>
                    <a:lnTo>
                      <a:pt x="392" y="1047"/>
                    </a:lnTo>
                    <a:lnTo>
                      <a:pt x="395" y="1047"/>
                    </a:lnTo>
                    <a:lnTo>
                      <a:pt x="398" y="1047"/>
                    </a:lnTo>
                    <a:lnTo>
                      <a:pt x="403" y="1047"/>
                    </a:lnTo>
                    <a:lnTo>
                      <a:pt x="406" y="1047"/>
                    </a:lnTo>
                    <a:lnTo>
                      <a:pt x="409" y="1050"/>
                    </a:lnTo>
                    <a:lnTo>
                      <a:pt x="412" y="1055"/>
                    </a:lnTo>
                    <a:lnTo>
                      <a:pt x="417" y="1058"/>
                    </a:lnTo>
                    <a:lnTo>
                      <a:pt x="417" y="1061"/>
                    </a:lnTo>
                    <a:lnTo>
                      <a:pt x="417" y="1061"/>
                    </a:lnTo>
                    <a:lnTo>
                      <a:pt x="423" y="1067"/>
                    </a:lnTo>
                    <a:lnTo>
                      <a:pt x="423" y="1069"/>
                    </a:lnTo>
                    <a:lnTo>
                      <a:pt x="423" y="1072"/>
                    </a:lnTo>
                    <a:lnTo>
                      <a:pt x="426" y="1072"/>
                    </a:lnTo>
                    <a:lnTo>
                      <a:pt x="426" y="1064"/>
                    </a:lnTo>
                    <a:lnTo>
                      <a:pt x="423" y="1064"/>
                    </a:lnTo>
                    <a:lnTo>
                      <a:pt x="426" y="1061"/>
                    </a:lnTo>
                    <a:lnTo>
                      <a:pt x="429" y="1061"/>
                    </a:lnTo>
                    <a:lnTo>
                      <a:pt x="429" y="1064"/>
                    </a:lnTo>
                    <a:lnTo>
                      <a:pt x="431" y="1064"/>
                    </a:lnTo>
                    <a:lnTo>
                      <a:pt x="431" y="1067"/>
                    </a:lnTo>
                    <a:lnTo>
                      <a:pt x="431" y="1067"/>
                    </a:lnTo>
                    <a:lnTo>
                      <a:pt x="440" y="1072"/>
                    </a:lnTo>
                    <a:lnTo>
                      <a:pt x="442" y="1072"/>
                    </a:lnTo>
                    <a:lnTo>
                      <a:pt x="448" y="1067"/>
                    </a:lnTo>
                    <a:lnTo>
                      <a:pt x="448" y="1064"/>
                    </a:lnTo>
                    <a:lnTo>
                      <a:pt x="451" y="1064"/>
                    </a:lnTo>
                    <a:lnTo>
                      <a:pt x="454" y="1061"/>
                    </a:lnTo>
                    <a:lnTo>
                      <a:pt x="454" y="1061"/>
                    </a:lnTo>
                    <a:lnTo>
                      <a:pt x="456" y="1064"/>
                    </a:lnTo>
                    <a:lnTo>
                      <a:pt x="456" y="1061"/>
                    </a:lnTo>
                    <a:lnTo>
                      <a:pt x="462" y="1061"/>
                    </a:lnTo>
                    <a:lnTo>
                      <a:pt x="465" y="1058"/>
                    </a:lnTo>
                    <a:lnTo>
                      <a:pt x="470" y="1064"/>
                    </a:lnTo>
                    <a:lnTo>
                      <a:pt x="473" y="1061"/>
                    </a:lnTo>
                    <a:lnTo>
                      <a:pt x="473" y="1058"/>
                    </a:lnTo>
                    <a:lnTo>
                      <a:pt x="479" y="1058"/>
                    </a:lnTo>
                    <a:lnTo>
                      <a:pt x="481" y="1058"/>
                    </a:lnTo>
                    <a:lnTo>
                      <a:pt x="484" y="1061"/>
                    </a:lnTo>
                    <a:lnTo>
                      <a:pt x="487" y="1061"/>
                    </a:lnTo>
                    <a:lnTo>
                      <a:pt x="487" y="1067"/>
                    </a:lnTo>
                    <a:lnTo>
                      <a:pt x="490" y="1069"/>
                    </a:lnTo>
                    <a:lnTo>
                      <a:pt x="495" y="1069"/>
                    </a:lnTo>
                    <a:lnTo>
                      <a:pt x="498" y="1069"/>
                    </a:lnTo>
                    <a:lnTo>
                      <a:pt x="498" y="1069"/>
                    </a:lnTo>
                    <a:lnTo>
                      <a:pt x="498" y="1072"/>
                    </a:lnTo>
                    <a:lnTo>
                      <a:pt x="504" y="1072"/>
                    </a:lnTo>
                    <a:lnTo>
                      <a:pt x="506" y="1072"/>
                    </a:lnTo>
                    <a:lnTo>
                      <a:pt x="509" y="1067"/>
                    </a:lnTo>
                    <a:lnTo>
                      <a:pt x="512" y="1067"/>
                    </a:lnTo>
                    <a:lnTo>
                      <a:pt x="515" y="1069"/>
                    </a:lnTo>
                    <a:lnTo>
                      <a:pt x="523" y="1069"/>
                    </a:lnTo>
                    <a:lnTo>
                      <a:pt x="526" y="1067"/>
                    </a:lnTo>
                    <a:lnTo>
                      <a:pt x="529" y="1067"/>
                    </a:lnTo>
                    <a:lnTo>
                      <a:pt x="534" y="1053"/>
                    </a:lnTo>
                    <a:lnTo>
                      <a:pt x="532" y="1050"/>
                    </a:lnTo>
                    <a:lnTo>
                      <a:pt x="523" y="1050"/>
                    </a:lnTo>
                    <a:lnTo>
                      <a:pt x="520" y="1047"/>
                    </a:lnTo>
                    <a:lnTo>
                      <a:pt x="515" y="1044"/>
                    </a:lnTo>
                    <a:lnTo>
                      <a:pt x="515" y="1042"/>
                    </a:lnTo>
                    <a:lnTo>
                      <a:pt x="512" y="1042"/>
                    </a:lnTo>
                    <a:lnTo>
                      <a:pt x="509" y="1039"/>
                    </a:lnTo>
                    <a:lnTo>
                      <a:pt x="509" y="1036"/>
                    </a:lnTo>
                    <a:lnTo>
                      <a:pt x="512" y="1036"/>
                    </a:lnTo>
                    <a:lnTo>
                      <a:pt x="515" y="1033"/>
                    </a:lnTo>
                    <a:lnTo>
                      <a:pt x="523" y="1030"/>
                    </a:lnTo>
                    <a:lnTo>
                      <a:pt x="523" y="1028"/>
                    </a:lnTo>
                    <a:lnTo>
                      <a:pt x="523" y="1025"/>
                    </a:lnTo>
                    <a:lnTo>
                      <a:pt x="518" y="1016"/>
                    </a:lnTo>
                    <a:lnTo>
                      <a:pt x="520" y="1016"/>
                    </a:lnTo>
                    <a:lnTo>
                      <a:pt x="523" y="1014"/>
                    </a:lnTo>
                    <a:lnTo>
                      <a:pt x="523" y="1014"/>
                    </a:lnTo>
                    <a:lnTo>
                      <a:pt x="526" y="1011"/>
                    </a:lnTo>
                    <a:lnTo>
                      <a:pt x="529" y="1011"/>
                    </a:lnTo>
                    <a:lnTo>
                      <a:pt x="529" y="1011"/>
                    </a:lnTo>
                    <a:lnTo>
                      <a:pt x="532" y="1011"/>
                    </a:lnTo>
                    <a:lnTo>
                      <a:pt x="534" y="1011"/>
                    </a:lnTo>
                    <a:lnTo>
                      <a:pt x="540" y="1011"/>
                    </a:lnTo>
                    <a:lnTo>
                      <a:pt x="540" y="1011"/>
                    </a:lnTo>
                    <a:lnTo>
                      <a:pt x="543" y="1008"/>
                    </a:lnTo>
                    <a:lnTo>
                      <a:pt x="540" y="1005"/>
                    </a:lnTo>
                    <a:lnTo>
                      <a:pt x="537" y="1005"/>
                    </a:lnTo>
                    <a:lnTo>
                      <a:pt x="529" y="1003"/>
                    </a:lnTo>
                    <a:lnTo>
                      <a:pt x="526" y="1000"/>
                    </a:lnTo>
                    <a:lnTo>
                      <a:pt x="526" y="1000"/>
                    </a:lnTo>
                    <a:lnTo>
                      <a:pt x="529" y="1000"/>
                    </a:lnTo>
                    <a:lnTo>
                      <a:pt x="532" y="997"/>
                    </a:lnTo>
                    <a:lnTo>
                      <a:pt x="532" y="997"/>
                    </a:lnTo>
                    <a:lnTo>
                      <a:pt x="532" y="994"/>
                    </a:lnTo>
                    <a:lnTo>
                      <a:pt x="529" y="994"/>
                    </a:lnTo>
                    <a:lnTo>
                      <a:pt x="523" y="994"/>
                    </a:lnTo>
                    <a:lnTo>
                      <a:pt x="523" y="994"/>
                    </a:lnTo>
                    <a:lnTo>
                      <a:pt x="526" y="991"/>
                    </a:lnTo>
                    <a:lnTo>
                      <a:pt x="526" y="989"/>
                    </a:lnTo>
                    <a:lnTo>
                      <a:pt x="523" y="986"/>
                    </a:lnTo>
                    <a:lnTo>
                      <a:pt x="529" y="986"/>
                    </a:lnTo>
                    <a:lnTo>
                      <a:pt x="529" y="983"/>
                    </a:lnTo>
                    <a:lnTo>
                      <a:pt x="532" y="983"/>
                    </a:lnTo>
                    <a:lnTo>
                      <a:pt x="532" y="986"/>
                    </a:lnTo>
                    <a:lnTo>
                      <a:pt x="534" y="986"/>
                    </a:lnTo>
                    <a:lnTo>
                      <a:pt x="537" y="986"/>
                    </a:lnTo>
                    <a:lnTo>
                      <a:pt x="540" y="986"/>
                    </a:lnTo>
                    <a:lnTo>
                      <a:pt x="545" y="986"/>
                    </a:lnTo>
                    <a:lnTo>
                      <a:pt x="548" y="986"/>
                    </a:lnTo>
                    <a:lnTo>
                      <a:pt x="551" y="983"/>
                    </a:lnTo>
                    <a:lnTo>
                      <a:pt x="554" y="983"/>
                    </a:lnTo>
                    <a:lnTo>
                      <a:pt x="557" y="983"/>
                    </a:lnTo>
                    <a:lnTo>
                      <a:pt x="559" y="980"/>
                    </a:lnTo>
                    <a:lnTo>
                      <a:pt x="562" y="980"/>
                    </a:lnTo>
                    <a:lnTo>
                      <a:pt x="565" y="977"/>
                    </a:lnTo>
                    <a:lnTo>
                      <a:pt x="568" y="977"/>
                    </a:lnTo>
                    <a:lnTo>
                      <a:pt x="568" y="980"/>
                    </a:lnTo>
                    <a:lnTo>
                      <a:pt x="571" y="980"/>
                    </a:lnTo>
                    <a:lnTo>
                      <a:pt x="573" y="977"/>
                    </a:lnTo>
                    <a:lnTo>
                      <a:pt x="576" y="977"/>
                    </a:lnTo>
                    <a:lnTo>
                      <a:pt x="579" y="975"/>
                    </a:lnTo>
                    <a:lnTo>
                      <a:pt x="582" y="975"/>
                    </a:lnTo>
                    <a:lnTo>
                      <a:pt x="582" y="975"/>
                    </a:lnTo>
                    <a:lnTo>
                      <a:pt x="584" y="975"/>
                    </a:lnTo>
                    <a:lnTo>
                      <a:pt x="587" y="975"/>
                    </a:lnTo>
                    <a:lnTo>
                      <a:pt x="590" y="969"/>
                    </a:lnTo>
                    <a:lnTo>
                      <a:pt x="593" y="966"/>
                    </a:lnTo>
                    <a:lnTo>
                      <a:pt x="596" y="966"/>
                    </a:lnTo>
                    <a:lnTo>
                      <a:pt x="596" y="969"/>
                    </a:lnTo>
                    <a:lnTo>
                      <a:pt x="601" y="966"/>
                    </a:lnTo>
                    <a:lnTo>
                      <a:pt x="601" y="966"/>
                    </a:lnTo>
                    <a:lnTo>
                      <a:pt x="629" y="961"/>
                    </a:lnTo>
                    <a:lnTo>
                      <a:pt x="632" y="958"/>
                    </a:lnTo>
                    <a:lnTo>
                      <a:pt x="635" y="958"/>
                    </a:lnTo>
                    <a:lnTo>
                      <a:pt x="635" y="958"/>
                    </a:lnTo>
                    <a:lnTo>
                      <a:pt x="637" y="955"/>
                    </a:lnTo>
                    <a:lnTo>
                      <a:pt x="637" y="952"/>
                    </a:lnTo>
                    <a:lnTo>
                      <a:pt x="640" y="952"/>
                    </a:lnTo>
                    <a:lnTo>
                      <a:pt x="640" y="952"/>
                    </a:lnTo>
                    <a:lnTo>
                      <a:pt x="643" y="950"/>
                    </a:lnTo>
                    <a:lnTo>
                      <a:pt x="646" y="950"/>
                    </a:lnTo>
                    <a:lnTo>
                      <a:pt x="646" y="950"/>
                    </a:lnTo>
                    <a:lnTo>
                      <a:pt x="648" y="947"/>
                    </a:lnTo>
                    <a:lnTo>
                      <a:pt x="651" y="947"/>
                    </a:lnTo>
                    <a:lnTo>
                      <a:pt x="651" y="947"/>
                    </a:lnTo>
                    <a:lnTo>
                      <a:pt x="654" y="947"/>
                    </a:lnTo>
                    <a:lnTo>
                      <a:pt x="657" y="950"/>
                    </a:lnTo>
                    <a:lnTo>
                      <a:pt x="660" y="947"/>
                    </a:lnTo>
                    <a:lnTo>
                      <a:pt x="662" y="950"/>
                    </a:lnTo>
                    <a:lnTo>
                      <a:pt x="662" y="950"/>
                    </a:lnTo>
                    <a:lnTo>
                      <a:pt x="665" y="952"/>
                    </a:lnTo>
                    <a:lnTo>
                      <a:pt x="671" y="950"/>
                    </a:lnTo>
                    <a:lnTo>
                      <a:pt x="674" y="950"/>
                    </a:lnTo>
                    <a:lnTo>
                      <a:pt x="676" y="950"/>
                    </a:lnTo>
                    <a:lnTo>
                      <a:pt x="679" y="952"/>
                    </a:lnTo>
                    <a:lnTo>
                      <a:pt x="679" y="955"/>
                    </a:lnTo>
                    <a:lnTo>
                      <a:pt x="679" y="961"/>
                    </a:lnTo>
                    <a:lnTo>
                      <a:pt x="679" y="964"/>
                    </a:lnTo>
                    <a:lnTo>
                      <a:pt x="685" y="966"/>
                    </a:lnTo>
                    <a:lnTo>
                      <a:pt x="682" y="969"/>
                    </a:lnTo>
                    <a:lnTo>
                      <a:pt x="682" y="975"/>
                    </a:lnTo>
                    <a:lnTo>
                      <a:pt x="679" y="977"/>
                    </a:lnTo>
                    <a:lnTo>
                      <a:pt x="682" y="980"/>
                    </a:lnTo>
                    <a:lnTo>
                      <a:pt x="682" y="980"/>
                    </a:lnTo>
                    <a:lnTo>
                      <a:pt x="687" y="980"/>
                    </a:lnTo>
                    <a:lnTo>
                      <a:pt x="687" y="980"/>
                    </a:lnTo>
                    <a:lnTo>
                      <a:pt x="690" y="980"/>
                    </a:lnTo>
                    <a:lnTo>
                      <a:pt x="690" y="977"/>
                    </a:lnTo>
                    <a:lnTo>
                      <a:pt x="693" y="977"/>
                    </a:lnTo>
                    <a:lnTo>
                      <a:pt x="696" y="980"/>
                    </a:lnTo>
                    <a:lnTo>
                      <a:pt x="696" y="975"/>
                    </a:lnTo>
                    <a:lnTo>
                      <a:pt x="699" y="975"/>
                    </a:lnTo>
                    <a:lnTo>
                      <a:pt x="701" y="980"/>
                    </a:lnTo>
                    <a:lnTo>
                      <a:pt x="701" y="980"/>
                    </a:lnTo>
                    <a:lnTo>
                      <a:pt x="701" y="983"/>
                    </a:lnTo>
                    <a:lnTo>
                      <a:pt x="701" y="986"/>
                    </a:lnTo>
                    <a:lnTo>
                      <a:pt x="704" y="986"/>
                    </a:lnTo>
                    <a:lnTo>
                      <a:pt x="704" y="983"/>
                    </a:lnTo>
                    <a:lnTo>
                      <a:pt x="704" y="983"/>
                    </a:lnTo>
                    <a:lnTo>
                      <a:pt x="704" y="980"/>
                    </a:lnTo>
                    <a:lnTo>
                      <a:pt x="710" y="983"/>
                    </a:lnTo>
                    <a:lnTo>
                      <a:pt x="713" y="983"/>
                    </a:lnTo>
                    <a:lnTo>
                      <a:pt x="713" y="986"/>
                    </a:lnTo>
                    <a:lnTo>
                      <a:pt x="715" y="986"/>
                    </a:lnTo>
                    <a:lnTo>
                      <a:pt x="718" y="986"/>
                    </a:lnTo>
                    <a:lnTo>
                      <a:pt x="718" y="983"/>
                    </a:lnTo>
                    <a:lnTo>
                      <a:pt x="721" y="983"/>
                    </a:lnTo>
                    <a:lnTo>
                      <a:pt x="721" y="986"/>
                    </a:lnTo>
                    <a:lnTo>
                      <a:pt x="721" y="989"/>
                    </a:lnTo>
                    <a:lnTo>
                      <a:pt x="718" y="989"/>
                    </a:lnTo>
                    <a:lnTo>
                      <a:pt x="718" y="989"/>
                    </a:lnTo>
                    <a:lnTo>
                      <a:pt x="715" y="991"/>
                    </a:lnTo>
                    <a:lnTo>
                      <a:pt x="715" y="994"/>
                    </a:lnTo>
                    <a:lnTo>
                      <a:pt x="715" y="997"/>
                    </a:lnTo>
                    <a:lnTo>
                      <a:pt x="718" y="997"/>
                    </a:lnTo>
                    <a:lnTo>
                      <a:pt x="718" y="997"/>
                    </a:lnTo>
                    <a:lnTo>
                      <a:pt x="721" y="997"/>
                    </a:lnTo>
                    <a:lnTo>
                      <a:pt x="726" y="994"/>
                    </a:lnTo>
                    <a:lnTo>
                      <a:pt x="726" y="994"/>
                    </a:lnTo>
                    <a:lnTo>
                      <a:pt x="729" y="994"/>
                    </a:lnTo>
                    <a:lnTo>
                      <a:pt x="732" y="997"/>
                    </a:lnTo>
                    <a:lnTo>
                      <a:pt x="735" y="997"/>
                    </a:lnTo>
                    <a:lnTo>
                      <a:pt x="732" y="994"/>
                    </a:lnTo>
                    <a:lnTo>
                      <a:pt x="735" y="994"/>
                    </a:lnTo>
                    <a:lnTo>
                      <a:pt x="738" y="991"/>
                    </a:lnTo>
                    <a:lnTo>
                      <a:pt x="740" y="989"/>
                    </a:lnTo>
                    <a:lnTo>
                      <a:pt x="743" y="989"/>
                    </a:lnTo>
                    <a:lnTo>
                      <a:pt x="746" y="986"/>
                    </a:lnTo>
                    <a:lnTo>
                      <a:pt x="749" y="980"/>
                    </a:lnTo>
                    <a:lnTo>
                      <a:pt x="751" y="980"/>
                    </a:lnTo>
                    <a:lnTo>
                      <a:pt x="754" y="980"/>
                    </a:lnTo>
                    <a:lnTo>
                      <a:pt x="760" y="977"/>
                    </a:lnTo>
                    <a:lnTo>
                      <a:pt x="760" y="977"/>
                    </a:lnTo>
                    <a:lnTo>
                      <a:pt x="765" y="977"/>
                    </a:lnTo>
                    <a:lnTo>
                      <a:pt x="768" y="975"/>
                    </a:lnTo>
                    <a:lnTo>
                      <a:pt x="771" y="975"/>
                    </a:lnTo>
                    <a:lnTo>
                      <a:pt x="771" y="977"/>
                    </a:lnTo>
                    <a:lnTo>
                      <a:pt x="768" y="980"/>
                    </a:lnTo>
                    <a:lnTo>
                      <a:pt x="768" y="980"/>
                    </a:lnTo>
                    <a:lnTo>
                      <a:pt x="765" y="980"/>
                    </a:lnTo>
                    <a:lnTo>
                      <a:pt x="765" y="98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8" name="Freeform 567"/>
              <p:cNvSpPr>
                <a:spLocks noChangeAspect="1"/>
              </p:cNvSpPr>
              <p:nvPr>
                <p:custDataLst>
                  <p:tags r:id="rId706"/>
                </p:custDataLst>
              </p:nvPr>
            </p:nvSpPr>
            <p:spPr bwMode="gray">
              <a:xfrm>
                <a:off x="6283521" y="3200308"/>
                <a:ext cx="288507" cy="197092"/>
              </a:xfrm>
              <a:custGeom>
                <a:avLst/>
                <a:gdLst>
                  <a:gd name="T0" fmla="*/ 72 w 222"/>
                  <a:gd name="T1" fmla="*/ 33 h 153"/>
                  <a:gd name="T2" fmla="*/ 69 w 222"/>
                  <a:gd name="T3" fmla="*/ 22 h 153"/>
                  <a:gd name="T4" fmla="*/ 75 w 222"/>
                  <a:gd name="T5" fmla="*/ 14 h 153"/>
                  <a:gd name="T6" fmla="*/ 86 w 222"/>
                  <a:gd name="T7" fmla="*/ 11 h 153"/>
                  <a:gd name="T8" fmla="*/ 91 w 222"/>
                  <a:gd name="T9" fmla="*/ 11 h 153"/>
                  <a:gd name="T10" fmla="*/ 89 w 222"/>
                  <a:gd name="T11" fmla="*/ 5 h 153"/>
                  <a:gd name="T12" fmla="*/ 97 w 222"/>
                  <a:gd name="T13" fmla="*/ 2 h 153"/>
                  <a:gd name="T14" fmla="*/ 111 w 222"/>
                  <a:gd name="T15" fmla="*/ 11 h 153"/>
                  <a:gd name="T16" fmla="*/ 119 w 222"/>
                  <a:gd name="T17" fmla="*/ 14 h 153"/>
                  <a:gd name="T18" fmla="*/ 122 w 222"/>
                  <a:gd name="T19" fmla="*/ 22 h 153"/>
                  <a:gd name="T20" fmla="*/ 119 w 222"/>
                  <a:gd name="T21" fmla="*/ 27 h 153"/>
                  <a:gd name="T22" fmla="*/ 125 w 222"/>
                  <a:gd name="T23" fmla="*/ 33 h 153"/>
                  <a:gd name="T24" fmla="*/ 142 w 222"/>
                  <a:gd name="T25" fmla="*/ 33 h 153"/>
                  <a:gd name="T26" fmla="*/ 150 w 222"/>
                  <a:gd name="T27" fmla="*/ 39 h 153"/>
                  <a:gd name="T28" fmla="*/ 155 w 222"/>
                  <a:gd name="T29" fmla="*/ 50 h 153"/>
                  <a:gd name="T30" fmla="*/ 158 w 222"/>
                  <a:gd name="T31" fmla="*/ 61 h 153"/>
                  <a:gd name="T32" fmla="*/ 203 w 222"/>
                  <a:gd name="T33" fmla="*/ 94 h 153"/>
                  <a:gd name="T34" fmla="*/ 211 w 222"/>
                  <a:gd name="T35" fmla="*/ 91 h 153"/>
                  <a:gd name="T36" fmla="*/ 222 w 222"/>
                  <a:gd name="T37" fmla="*/ 100 h 153"/>
                  <a:gd name="T38" fmla="*/ 217 w 222"/>
                  <a:gd name="T39" fmla="*/ 111 h 153"/>
                  <a:gd name="T40" fmla="*/ 206 w 222"/>
                  <a:gd name="T41" fmla="*/ 108 h 153"/>
                  <a:gd name="T42" fmla="*/ 203 w 222"/>
                  <a:gd name="T43" fmla="*/ 114 h 153"/>
                  <a:gd name="T44" fmla="*/ 194 w 222"/>
                  <a:gd name="T45" fmla="*/ 114 h 153"/>
                  <a:gd name="T46" fmla="*/ 192 w 222"/>
                  <a:gd name="T47" fmla="*/ 117 h 153"/>
                  <a:gd name="T48" fmla="*/ 189 w 222"/>
                  <a:gd name="T49" fmla="*/ 125 h 153"/>
                  <a:gd name="T50" fmla="*/ 183 w 222"/>
                  <a:gd name="T51" fmla="*/ 136 h 153"/>
                  <a:gd name="T52" fmla="*/ 178 w 222"/>
                  <a:gd name="T53" fmla="*/ 139 h 153"/>
                  <a:gd name="T54" fmla="*/ 167 w 222"/>
                  <a:gd name="T55" fmla="*/ 142 h 153"/>
                  <a:gd name="T56" fmla="*/ 167 w 222"/>
                  <a:gd name="T57" fmla="*/ 144 h 153"/>
                  <a:gd name="T58" fmla="*/ 164 w 222"/>
                  <a:gd name="T59" fmla="*/ 150 h 153"/>
                  <a:gd name="T60" fmla="*/ 155 w 222"/>
                  <a:gd name="T61" fmla="*/ 153 h 153"/>
                  <a:gd name="T62" fmla="*/ 150 w 222"/>
                  <a:gd name="T63" fmla="*/ 150 h 153"/>
                  <a:gd name="T64" fmla="*/ 142 w 222"/>
                  <a:gd name="T65" fmla="*/ 147 h 153"/>
                  <a:gd name="T66" fmla="*/ 139 w 222"/>
                  <a:gd name="T67" fmla="*/ 142 h 153"/>
                  <a:gd name="T68" fmla="*/ 136 w 222"/>
                  <a:gd name="T69" fmla="*/ 125 h 153"/>
                  <a:gd name="T70" fmla="*/ 108 w 222"/>
                  <a:gd name="T71" fmla="*/ 111 h 153"/>
                  <a:gd name="T72" fmla="*/ 100 w 222"/>
                  <a:gd name="T73" fmla="*/ 105 h 153"/>
                  <a:gd name="T74" fmla="*/ 72 w 222"/>
                  <a:gd name="T75" fmla="*/ 91 h 153"/>
                  <a:gd name="T76" fmla="*/ 61 w 222"/>
                  <a:gd name="T77" fmla="*/ 97 h 153"/>
                  <a:gd name="T78" fmla="*/ 47 w 222"/>
                  <a:gd name="T79" fmla="*/ 97 h 153"/>
                  <a:gd name="T80" fmla="*/ 22 w 222"/>
                  <a:gd name="T81" fmla="*/ 89 h 153"/>
                  <a:gd name="T82" fmla="*/ 22 w 222"/>
                  <a:gd name="T83" fmla="*/ 78 h 153"/>
                  <a:gd name="T84" fmla="*/ 13 w 222"/>
                  <a:gd name="T85" fmla="*/ 69 h 153"/>
                  <a:gd name="T86" fmla="*/ 13 w 222"/>
                  <a:gd name="T87" fmla="*/ 64 h 153"/>
                  <a:gd name="T88" fmla="*/ 22 w 222"/>
                  <a:gd name="T89" fmla="*/ 58 h 153"/>
                  <a:gd name="T90" fmla="*/ 8 w 222"/>
                  <a:gd name="T91" fmla="*/ 61 h 153"/>
                  <a:gd name="T92" fmla="*/ 5 w 222"/>
                  <a:gd name="T93" fmla="*/ 47 h 153"/>
                  <a:gd name="T94" fmla="*/ 11 w 222"/>
                  <a:gd name="T95" fmla="*/ 44 h 153"/>
                  <a:gd name="T96" fmla="*/ 25 w 222"/>
                  <a:gd name="T97" fmla="*/ 44 h 153"/>
                  <a:gd name="T98" fmla="*/ 27 w 222"/>
                  <a:gd name="T99" fmla="*/ 44 h 153"/>
                  <a:gd name="T100" fmla="*/ 36 w 222"/>
                  <a:gd name="T101" fmla="*/ 36 h 153"/>
                  <a:gd name="T102" fmla="*/ 19 w 222"/>
                  <a:gd name="T103" fmla="*/ 16 h 153"/>
                  <a:gd name="T104" fmla="*/ 5 w 222"/>
                  <a:gd name="T105" fmla="*/ 25 h 153"/>
                  <a:gd name="T106" fmla="*/ 5 w 222"/>
                  <a:gd name="T107" fmla="*/ 33 h 153"/>
                  <a:gd name="T108" fmla="*/ 0 w 222"/>
                  <a:gd name="T109" fmla="*/ 22 h 153"/>
                  <a:gd name="T110" fmla="*/ 27 w 222"/>
                  <a:gd name="T111" fmla="*/ 8 h 153"/>
                  <a:gd name="T112" fmla="*/ 47 w 222"/>
                  <a:gd name="T113" fmla="*/ 3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22" h="153">
                    <a:moveTo>
                      <a:pt x="55" y="30"/>
                    </a:moveTo>
                    <a:lnTo>
                      <a:pt x="72" y="33"/>
                    </a:lnTo>
                    <a:lnTo>
                      <a:pt x="72" y="33"/>
                    </a:lnTo>
                    <a:lnTo>
                      <a:pt x="72" y="27"/>
                    </a:lnTo>
                    <a:lnTo>
                      <a:pt x="72" y="25"/>
                    </a:lnTo>
                    <a:lnTo>
                      <a:pt x="69" y="22"/>
                    </a:lnTo>
                    <a:lnTo>
                      <a:pt x="72" y="19"/>
                    </a:lnTo>
                    <a:lnTo>
                      <a:pt x="72" y="16"/>
                    </a:lnTo>
                    <a:lnTo>
                      <a:pt x="75" y="14"/>
                    </a:lnTo>
                    <a:lnTo>
                      <a:pt x="83" y="14"/>
                    </a:lnTo>
                    <a:lnTo>
                      <a:pt x="86" y="14"/>
                    </a:lnTo>
                    <a:lnTo>
                      <a:pt x="86" y="11"/>
                    </a:lnTo>
                    <a:lnTo>
                      <a:pt x="86" y="8"/>
                    </a:lnTo>
                    <a:lnTo>
                      <a:pt x="89" y="8"/>
                    </a:lnTo>
                    <a:lnTo>
                      <a:pt x="91" y="11"/>
                    </a:lnTo>
                    <a:lnTo>
                      <a:pt x="94" y="11"/>
                    </a:lnTo>
                    <a:lnTo>
                      <a:pt x="91" y="5"/>
                    </a:lnTo>
                    <a:lnTo>
                      <a:pt x="89" y="5"/>
                    </a:lnTo>
                    <a:lnTo>
                      <a:pt x="91" y="2"/>
                    </a:lnTo>
                    <a:lnTo>
                      <a:pt x="94" y="2"/>
                    </a:lnTo>
                    <a:lnTo>
                      <a:pt x="97" y="2"/>
                    </a:lnTo>
                    <a:lnTo>
                      <a:pt x="97" y="0"/>
                    </a:lnTo>
                    <a:lnTo>
                      <a:pt x="108" y="11"/>
                    </a:lnTo>
                    <a:lnTo>
                      <a:pt x="111" y="11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4"/>
                    </a:lnTo>
                    <a:lnTo>
                      <a:pt x="116" y="16"/>
                    </a:lnTo>
                    <a:lnTo>
                      <a:pt x="116" y="19"/>
                    </a:lnTo>
                    <a:lnTo>
                      <a:pt x="122" y="22"/>
                    </a:lnTo>
                    <a:lnTo>
                      <a:pt x="119" y="22"/>
                    </a:lnTo>
                    <a:lnTo>
                      <a:pt x="119" y="25"/>
                    </a:lnTo>
                    <a:lnTo>
                      <a:pt x="119" y="27"/>
                    </a:lnTo>
                    <a:lnTo>
                      <a:pt x="119" y="27"/>
                    </a:lnTo>
                    <a:lnTo>
                      <a:pt x="119" y="30"/>
                    </a:lnTo>
                    <a:lnTo>
                      <a:pt x="125" y="33"/>
                    </a:lnTo>
                    <a:lnTo>
                      <a:pt x="139" y="36"/>
                    </a:lnTo>
                    <a:lnTo>
                      <a:pt x="142" y="33"/>
                    </a:lnTo>
                    <a:lnTo>
                      <a:pt x="142" y="33"/>
                    </a:lnTo>
                    <a:lnTo>
                      <a:pt x="142" y="30"/>
                    </a:lnTo>
                    <a:lnTo>
                      <a:pt x="150" y="36"/>
                    </a:lnTo>
                    <a:lnTo>
                      <a:pt x="150" y="39"/>
                    </a:lnTo>
                    <a:lnTo>
                      <a:pt x="150" y="44"/>
                    </a:lnTo>
                    <a:lnTo>
                      <a:pt x="153" y="47"/>
                    </a:lnTo>
                    <a:lnTo>
                      <a:pt x="155" y="50"/>
                    </a:lnTo>
                    <a:lnTo>
                      <a:pt x="155" y="52"/>
                    </a:lnTo>
                    <a:lnTo>
                      <a:pt x="155" y="55"/>
                    </a:lnTo>
                    <a:lnTo>
                      <a:pt x="158" y="61"/>
                    </a:lnTo>
                    <a:lnTo>
                      <a:pt x="181" y="78"/>
                    </a:lnTo>
                    <a:lnTo>
                      <a:pt x="186" y="78"/>
                    </a:lnTo>
                    <a:lnTo>
                      <a:pt x="203" y="94"/>
                    </a:lnTo>
                    <a:lnTo>
                      <a:pt x="206" y="94"/>
                    </a:lnTo>
                    <a:lnTo>
                      <a:pt x="208" y="91"/>
                    </a:lnTo>
                    <a:lnTo>
                      <a:pt x="211" y="91"/>
                    </a:lnTo>
                    <a:lnTo>
                      <a:pt x="217" y="94"/>
                    </a:lnTo>
                    <a:lnTo>
                      <a:pt x="217" y="97"/>
                    </a:lnTo>
                    <a:lnTo>
                      <a:pt x="222" y="100"/>
                    </a:lnTo>
                    <a:lnTo>
                      <a:pt x="219" y="103"/>
                    </a:lnTo>
                    <a:lnTo>
                      <a:pt x="219" y="111"/>
                    </a:lnTo>
                    <a:lnTo>
                      <a:pt x="217" y="111"/>
                    </a:lnTo>
                    <a:lnTo>
                      <a:pt x="208" y="108"/>
                    </a:lnTo>
                    <a:lnTo>
                      <a:pt x="206" y="108"/>
                    </a:lnTo>
                    <a:lnTo>
                      <a:pt x="206" y="108"/>
                    </a:lnTo>
                    <a:lnTo>
                      <a:pt x="206" y="111"/>
                    </a:lnTo>
                    <a:lnTo>
                      <a:pt x="206" y="114"/>
                    </a:lnTo>
                    <a:lnTo>
                      <a:pt x="203" y="114"/>
                    </a:lnTo>
                    <a:lnTo>
                      <a:pt x="200" y="114"/>
                    </a:lnTo>
                    <a:lnTo>
                      <a:pt x="197" y="114"/>
                    </a:lnTo>
                    <a:lnTo>
                      <a:pt x="194" y="114"/>
                    </a:lnTo>
                    <a:lnTo>
                      <a:pt x="194" y="117"/>
                    </a:lnTo>
                    <a:lnTo>
                      <a:pt x="192" y="117"/>
                    </a:lnTo>
                    <a:lnTo>
                      <a:pt x="192" y="117"/>
                    </a:lnTo>
                    <a:lnTo>
                      <a:pt x="192" y="119"/>
                    </a:lnTo>
                    <a:lnTo>
                      <a:pt x="192" y="125"/>
                    </a:lnTo>
                    <a:lnTo>
                      <a:pt x="189" y="125"/>
                    </a:lnTo>
                    <a:lnTo>
                      <a:pt x="189" y="130"/>
                    </a:lnTo>
                    <a:lnTo>
                      <a:pt x="186" y="133"/>
                    </a:lnTo>
                    <a:lnTo>
                      <a:pt x="183" y="136"/>
                    </a:lnTo>
                    <a:lnTo>
                      <a:pt x="181" y="136"/>
                    </a:lnTo>
                    <a:lnTo>
                      <a:pt x="178" y="139"/>
                    </a:lnTo>
                    <a:lnTo>
                      <a:pt x="178" y="139"/>
                    </a:lnTo>
                    <a:lnTo>
                      <a:pt x="169" y="142"/>
                    </a:lnTo>
                    <a:lnTo>
                      <a:pt x="167" y="142"/>
                    </a:lnTo>
                    <a:lnTo>
                      <a:pt x="167" y="142"/>
                    </a:lnTo>
                    <a:lnTo>
                      <a:pt x="169" y="144"/>
                    </a:lnTo>
                    <a:lnTo>
                      <a:pt x="169" y="144"/>
                    </a:lnTo>
                    <a:lnTo>
                      <a:pt x="167" y="144"/>
                    </a:lnTo>
                    <a:lnTo>
                      <a:pt x="167" y="150"/>
                    </a:lnTo>
                    <a:lnTo>
                      <a:pt x="164" y="150"/>
                    </a:lnTo>
                    <a:lnTo>
                      <a:pt x="164" y="150"/>
                    </a:lnTo>
                    <a:lnTo>
                      <a:pt x="161" y="153"/>
                    </a:lnTo>
                    <a:lnTo>
                      <a:pt x="158" y="153"/>
                    </a:lnTo>
                    <a:lnTo>
                      <a:pt x="155" y="153"/>
                    </a:lnTo>
                    <a:lnTo>
                      <a:pt x="153" y="153"/>
                    </a:lnTo>
                    <a:lnTo>
                      <a:pt x="153" y="150"/>
                    </a:lnTo>
                    <a:lnTo>
                      <a:pt x="150" y="150"/>
                    </a:lnTo>
                    <a:lnTo>
                      <a:pt x="150" y="147"/>
                    </a:lnTo>
                    <a:lnTo>
                      <a:pt x="144" y="150"/>
                    </a:lnTo>
                    <a:lnTo>
                      <a:pt x="142" y="147"/>
                    </a:lnTo>
                    <a:lnTo>
                      <a:pt x="142" y="147"/>
                    </a:lnTo>
                    <a:lnTo>
                      <a:pt x="139" y="144"/>
                    </a:lnTo>
                    <a:lnTo>
                      <a:pt x="139" y="142"/>
                    </a:lnTo>
                    <a:lnTo>
                      <a:pt x="136" y="139"/>
                    </a:lnTo>
                    <a:lnTo>
                      <a:pt x="136" y="128"/>
                    </a:lnTo>
                    <a:lnTo>
                      <a:pt x="136" y="125"/>
                    </a:lnTo>
                    <a:lnTo>
                      <a:pt x="128" y="125"/>
                    </a:lnTo>
                    <a:lnTo>
                      <a:pt x="111" y="114"/>
                    </a:lnTo>
                    <a:lnTo>
                      <a:pt x="108" y="111"/>
                    </a:lnTo>
                    <a:lnTo>
                      <a:pt x="105" y="105"/>
                    </a:lnTo>
                    <a:lnTo>
                      <a:pt x="103" y="105"/>
                    </a:lnTo>
                    <a:lnTo>
                      <a:pt x="100" y="105"/>
                    </a:lnTo>
                    <a:lnTo>
                      <a:pt x="97" y="105"/>
                    </a:lnTo>
                    <a:lnTo>
                      <a:pt x="77" y="100"/>
                    </a:lnTo>
                    <a:lnTo>
                      <a:pt x="72" y="91"/>
                    </a:lnTo>
                    <a:lnTo>
                      <a:pt x="61" y="91"/>
                    </a:lnTo>
                    <a:lnTo>
                      <a:pt x="61" y="94"/>
                    </a:lnTo>
                    <a:lnTo>
                      <a:pt x="61" y="97"/>
                    </a:lnTo>
                    <a:lnTo>
                      <a:pt x="58" y="97"/>
                    </a:lnTo>
                    <a:lnTo>
                      <a:pt x="52" y="94"/>
                    </a:lnTo>
                    <a:lnTo>
                      <a:pt x="47" y="97"/>
                    </a:lnTo>
                    <a:lnTo>
                      <a:pt x="33" y="108"/>
                    </a:lnTo>
                    <a:lnTo>
                      <a:pt x="22" y="108"/>
                    </a:lnTo>
                    <a:lnTo>
                      <a:pt x="22" y="89"/>
                    </a:lnTo>
                    <a:lnTo>
                      <a:pt x="22" y="83"/>
                    </a:lnTo>
                    <a:lnTo>
                      <a:pt x="25" y="78"/>
                    </a:lnTo>
                    <a:lnTo>
                      <a:pt x="22" y="78"/>
                    </a:lnTo>
                    <a:lnTo>
                      <a:pt x="16" y="72"/>
                    </a:lnTo>
                    <a:lnTo>
                      <a:pt x="13" y="72"/>
                    </a:lnTo>
                    <a:lnTo>
                      <a:pt x="13" y="69"/>
                    </a:lnTo>
                    <a:lnTo>
                      <a:pt x="22" y="66"/>
                    </a:lnTo>
                    <a:lnTo>
                      <a:pt x="16" y="64"/>
                    </a:lnTo>
                    <a:lnTo>
                      <a:pt x="13" y="64"/>
                    </a:lnTo>
                    <a:lnTo>
                      <a:pt x="19" y="61"/>
                    </a:lnTo>
                    <a:lnTo>
                      <a:pt x="22" y="64"/>
                    </a:lnTo>
                    <a:lnTo>
                      <a:pt x="22" y="58"/>
                    </a:lnTo>
                    <a:lnTo>
                      <a:pt x="16" y="58"/>
                    </a:lnTo>
                    <a:lnTo>
                      <a:pt x="11" y="58"/>
                    </a:lnTo>
                    <a:lnTo>
                      <a:pt x="8" y="61"/>
                    </a:lnTo>
                    <a:lnTo>
                      <a:pt x="5" y="61"/>
                    </a:lnTo>
                    <a:lnTo>
                      <a:pt x="5" y="52"/>
                    </a:lnTo>
                    <a:lnTo>
                      <a:pt x="5" y="47"/>
                    </a:lnTo>
                    <a:lnTo>
                      <a:pt x="8" y="44"/>
                    </a:lnTo>
                    <a:lnTo>
                      <a:pt x="8" y="36"/>
                    </a:lnTo>
                    <a:lnTo>
                      <a:pt x="11" y="44"/>
                    </a:lnTo>
                    <a:lnTo>
                      <a:pt x="16" y="44"/>
                    </a:lnTo>
                    <a:lnTo>
                      <a:pt x="22" y="44"/>
                    </a:lnTo>
                    <a:lnTo>
                      <a:pt x="25" y="44"/>
                    </a:lnTo>
                    <a:lnTo>
                      <a:pt x="27" y="47"/>
                    </a:lnTo>
                    <a:lnTo>
                      <a:pt x="30" y="44"/>
                    </a:lnTo>
                    <a:lnTo>
                      <a:pt x="27" y="44"/>
                    </a:lnTo>
                    <a:lnTo>
                      <a:pt x="27" y="41"/>
                    </a:lnTo>
                    <a:lnTo>
                      <a:pt x="33" y="41"/>
                    </a:lnTo>
                    <a:lnTo>
                      <a:pt x="36" y="36"/>
                    </a:lnTo>
                    <a:lnTo>
                      <a:pt x="25" y="27"/>
                    </a:lnTo>
                    <a:lnTo>
                      <a:pt x="25" y="22"/>
                    </a:lnTo>
                    <a:lnTo>
                      <a:pt x="19" y="16"/>
                    </a:lnTo>
                    <a:lnTo>
                      <a:pt x="16" y="16"/>
                    </a:lnTo>
                    <a:lnTo>
                      <a:pt x="8" y="19"/>
                    </a:lnTo>
                    <a:lnTo>
                      <a:pt x="5" y="25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33"/>
                    </a:lnTo>
                    <a:lnTo>
                      <a:pt x="5" y="33"/>
                    </a:lnTo>
                    <a:lnTo>
                      <a:pt x="2" y="27"/>
                    </a:lnTo>
                    <a:lnTo>
                      <a:pt x="0" y="22"/>
                    </a:lnTo>
                    <a:lnTo>
                      <a:pt x="8" y="14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36" y="14"/>
                    </a:lnTo>
                    <a:lnTo>
                      <a:pt x="44" y="30"/>
                    </a:lnTo>
                    <a:lnTo>
                      <a:pt x="47" y="33"/>
                    </a:lnTo>
                    <a:lnTo>
                      <a:pt x="52" y="33"/>
                    </a:lnTo>
                    <a:lnTo>
                      <a:pt x="55" y="3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9" name="Freeform 568"/>
              <p:cNvSpPr>
                <a:spLocks noChangeAspect="1"/>
              </p:cNvSpPr>
              <p:nvPr>
                <p:custDataLst>
                  <p:tags r:id="rId707"/>
                </p:custDataLst>
              </p:nvPr>
            </p:nvSpPr>
            <p:spPr bwMode="gray">
              <a:xfrm>
                <a:off x="6623655" y="3187696"/>
                <a:ext cx="224731" cy="105641"/>
              </a:xfrm>
              <a:custGeom>
                <a:avLst/>
                <a:gdLst>
                  <a:gd name="T0" fmla="*/ 73 w 173"/>
                  <a:gd name="T1" fmla="*/ 73 h 81"/>
                  <a:gd name="T2" fmla="*/ 84 w 173"/>
                  <a:gd name="T3" fmla="*/ 64 h 81"/>
                  <a:gd name="T4" fmla="*/ 87 w 173"/>
                  <a:gd name="T5" fmla="*/ 61 h 81"/>
                  <a:gd name="T6" fmla="*/ 92 w 173"/>
                  <a:gd name="T7" fmla="*/ 59 h 81"/>
                  <a:gd name="T8" fmla="*/ 100 w 173"/>
                  <a:gd name="T9" fmla="*/ 59 h 81"/>
                  <a:gd name="T10" fmla="*/ 112 w 173"/>
                  <a:gd name="T11" fmla="*/ 61 h 81"/>
                  <a:gd name="T12" fmla="*/ 117 w 173"/>
                  <a:gd name="T13" fmla="*/ 53 h 81"/>
                  <a:gd name="T14" fmla="*/ 142 w 173"/>
                  <a:gd name="T15" fmla="*/ 45 h 81"/>
                  <a:gd name="T16" fmla="*/ 148 w 173"/>
                  <a:gd name="T17" fmla="*/ 36 h 81"/>
                  <a:gd name="T18" fmla="*/ 173 w 173"/>
                  <a:gd name="T19" fmla="*/ 23 h 81"/>
                  <a:gd name="T20" fmla="*/ 170 w 173"/>
                  <a:gd name="T21" fmla="*/ 20 h 81"/>
                  <a:gd name="T22" fmla="*/ 162 w 173"/>
                  <a:gd name="T23" fmla="*/ 17 h 81"/>
                  <a:gd name="T24" fmla="*/ 148 w 173"/>
                  <a:gd name="T25" fmla="*/ 9 h 81"/>
                  <a:gd name="T26" fmla="*/ 128 w 173"/>
                  <a:gd name="T27" fmla="*/ 9 h 81"/>
                  <a:gd name="T28" fmla="*/ 120 w 173"/>
                  <a:gd name="T29" fmla="*/ 6 h 81"/>
                  <a:gd name="T30" fmla="*/ 95 w 173"/>
                  <a:gd name="T31" fmla="*/ 6 h 81"/>
                  <a:gd name="T32" fmla="*/ 89 w 173"/>
                  <a:gd name="T33" fmla="*/ 6 h 81"/>
                  <a:gd name="T34" fmla="*/ 78 w 173"/>
                  <a:gd name="T35" fmla="*/ 0 h 81"/>
                  <a:gd name="T36" fmla="*/ 73 w 173"/>
                  <a:gd name="T37" fmla="*/ 3 h 81"/>
                  <a:gd name="T38" fmla="*/ 67 w 173"/>
                  <a:gd name="T39" fmla="*/ 6 h 81"/>
                  <a:gd name="T40" fmla="*/ 67 w 173"/>
                  <a:gd name="T41" fmla="*/ 9 h 81"/>
                  <a:gd name="T42" fmla="*/ 64 w 173"/>
                  <a:gd name="T43" fmla="*/ 17 h 81"/>
                  <a:gd name="T44" fmla="*/ 39 w 173"/>
                  <a:gd name="T45" fmla="*/ 9 h 81"/>
                  <a:gd name="T46" fmla="*/ 28 w 173"/>
                  <a:gd name="T47" fmla="*/ 11 h 81"/>
                  <a:gd name="T48" fmla="*/ 28 w 173"/>
                  <a:gd name="T49" fmla="*/ 14 h 81"/>
                  <a:gd name="T50" fmla="*/ 31 w 173"/>
                  <a:gd name="T51" fmla="*/ 20 h 81"/>
                  <a:gd name="T52" fmla="*/ 28 w 173"/>
                  <a:gd name="T53" fmla="*/ 25 h 81"/>
                  <a:gd name="T54" fmla="*/ 17 w 173"/>
                  <a:gd name="T55" fmla="*/ 36 h 81"/>
                  <a:gd name="T56" fmla="*/ 20 w 173"/>
                  <a:gd name="T57" fmla="*/ 39 h 81"/>
                  <a:gd name="T58" fmla="*/ 25 w 173"/>
                  <a:gd name="T59" fmla="*/ 42 h 81"/>
                  <a:gd name="T60" fmla="*/ 34 w 173"/>
                  <a:gd name="T61" fmla="*/ 45 h 81"/>
                  <a:gd name="T62" fmla="*/ 36 w 173"/>
                  <a:gd name="T63" fmla="*/ 42 h 81"/>
                  <a:gd name="T64" fmla="*/ 39 w 173"/>
                  <a:gd name="T65" fmla="*/ 36 h 81"/>
                  <a:gd name="T66" fmla="*/ 42 w 173"/>
                  <a:gd name="T67" fmla="*/ 42 h 81"/>
                  <a:gd name="T68" fmla="*/ 50 w 173"/>
                  <a:gd name="T69" fmla="*/ 45 h 81"/>
                  <a:gd name="T70" fmla="*/ 59 w 173"/>
                  <a:gd name="T71" fmla="*/ 50 h 81"/>
                  <a:gd name="T72" fmla="*/ 62 w 173"/>
                  <a:gd name="T73" fmla="*/ 50 h 81"/>
                  <a:gd name="T74" fmla="*/ 56 w 173"/>
                  <a:gd name="T75" fmla="*/ 53 h 81"/>
                  <a:gd name="T76" fmla="*/ 53 w 173"/>
                  <a:gd name="T77" fmla="*/ 56 h 81"/>
                  <a:gd name="T78" fmla="*/ 50 w 173"/>
                  <a:gd name="T79" fmla="*/ 59 h 81"/>
                  <a:gd name="T80" fmla="*/ 45 w 173"/>
                  <a:gd name="T81" fmla="*/ 59 h 81"/>
                  <a:gd name="T82" fmla="*/ 42 w 173"/>
                  <a:gd name="T83" fmla="*/ 61 h 81"/>
                  <a:gd name="T84" fmla="*/ 34 w 173"/>
                  <a:gd name="T85" fmla="*/ 61 h 81"/>
                  <a:gd name="T86" fmla="*/ 25 w 173"/>
                  <a:gd name="T87" fmla="*/ 64 h 81"/>
                  <a:gd name="T88" fmla="*/ 23 w 173"/>
                  <a:gd name="T89" fmla="*/ 67 h 81"/>
                  <a:gd name="T90" fmla="*/ 17 w 173"/>
                  <a:gd name="T91" fmla="*/ 64 h 81"/>
                  <a:gd name="T92" fmla="*/ 0 w 173"/>
                  <a:gd name="T93" fmla="*/ 67 h 81"/>
                  <a:gd name="T94" fmla="*/ 3 w 173"/>
                  <a:gd name="T95" fmla="*/ 75 h 81"/>
                  <a:gd name="T96" fmla="*/ 9 w 173"/>
                  <a:gd name="T97" fmla="*/ 75 h 81"/>
                  <a:gd name="T98" fmla="*/ 20 w 173"/>
                  <a:gd name="T99" fmla="*/ 75 h 81"/>
                  <a:gd name="T100" fmla="*/ 25 w 173"/>
                  <a:gd name="T101" fmla="*/ 78 h 81"/>
                  <a:gd name="T102" fmla="*/ 36 w 173"/>
                  <a:gd name="T103" fmla="*/ 75 h 81"/>
                  <a:gd name="T104" fmla="*/ 39 w 173"/>
                  <a:gd name="T105" fmla="*/ 78 h 81"/>
                  <a:gd name="T106" fmla="*/ 45 w 173"/>
                  <a:gd name="T107" fmla="*/ 81 h 81"/>
                  <a:gd name="T108" fmla="*/ 53 w 173"/>
                  <a:gd name="T109" fmla="*/ 81 h 81"/>
                  <a:gd name="T110" fmla="*/ 62 w 173"/>
                  <a:gd name="T111" fmla="*/ 81 h 81"/>
                  <a:gd name="T112" fmla="*/ 67 w 173"/>
                  <a:gd name="T113" fmla="*/ 81 h 81"/>
                  <a:gd name="T114" fmla="*/ 73 w 173"/>
                  <a:gd name="T115" fmla="*/ 7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3" h="81">
                    <a:moveTo>
                      <a:pt x="73" y="75"/>
                    </a:moveTo>
                    <a:lnTo>
                      <a:pt x="73" y="73"/>
                    </a:lnTo>
                    <a:lnTo>
                      <a:pt x="75" y="67"/>
                    </a:lnTo>
                    <a:lnTo>
                      <a:pt x="84" y="64"/>
                    </a:lnTo>
                    <a:lnTo>
                      <a:pt x="87" y="61"/>
                    </a:lnTo>
                    <a:lnTo>
                      <a:pt x="87" y="61"/>
                    </a:lnTo>
                    <a:lnTo>
                      <a:pt x="89" y="59"/>
                    </a:lnTo>
                    <a:lnTo>
                      <a:pt x="92" y="59"/>
                    </a:lnTo>
                    <a:lnTo>
                      <a:pt x="95" y="59"/>
                    </a:lnTo>
                    <a:lnTo>
                      <a:pt x="100" y="59"/>
                    </a:lnTo>
                    <a:lnTo>
                      <a:pt x="100" y="61"/>
                    </a:lnTo>
                    <a:lnTo>
                      <a:pt x="112" y="61"/>
                    </a:lnTo>
                    <a:lnTo>
                      <a:pt x="114" y="59"/>
                    </a:lnTo>
                    <a:lnTo>
                      <a:pt x="117" y="53"/>
                    </a:lnTo>
                    <a:lnTo>
                      <a:pt x="120" y="50"/>
                    </a:lnTo>
                    <a:lnTo>
                      <a:pt x="142" y="45"/>
                    </a:lnTo>
                    <a:lnTo>
                      <a:pt x="142" y="42"/>
                    </a:lnTo>
                    <a:lnTo>
                      <a:pt x="148" y="36"/>
                    </a:lnTo>
                    <a:lnTo>
                      <a:pt x="170" y="28"/>
                    </a:lnTo>
                    <a:lnTo>
                      <a:pt x="173" y="23"/>
                    </a:lnTo>
                    <a:lnTo>
                      <a:pt x="173" y="20"/>
                    </a:lnTo>
                    <a:lnTo>
                      <a:pt x="170" y="20"/>
                    </a:lnTo>
                    <a:lnTo>
                      <a:pt x="165" y="17"/>
                    </a:lnTo>
                    <a:lnTo>
                      <a:pt x="162" y="17"/>
                    </a:lnTo>
                    <a:lnTo>
                      <a:pt x="156" y="11"/>
                    </a:lnTo>
                    <a:lnTo>
                      <a:pt x="148" y="9"/>
                    </a:lnTo>
                    <a:lnTo>
                      <a:pt x="145" y="9"/>
                    </a:lnTo>
                    <a:lnTo>
                      <a:pt x="128" y="9"/>
                    </a:lnTo>
                    <a:lnTo>
                      <a:pt x="123" y="6"/>
                    </a:lnTo>
                    <a:lnTo>
                      <a:pt x="120" y="6"/>
                    </a:lnTo>
                    <a:lnTo>
                      <a:pt x="117" y="9"/>
                    </a:lnTo>
                    <a:lnTo>
                      <a:pt x="95" y="6"/>
                    </a:lnTo>
                    <a:lnTo>
                      <a:pt x="92" y="6"/>
                    </a:lnTo>
                    <a:lnTo>
                      <a:pt x="89" y="6"/>
                    </a:lnTo>
                    <a:lnTo>
                      <a:pt x="87" y="6"/>
                    </a:lnTo>
                    <a:lnTo>
                      <a:pt x="78" y="0"/>
                    </a:lnTo>
                    <a:lnTo>
                      <a:pt x="75" y="3"/>
                    </a:lnTo>
                    <a:lnTo>
                      <a:pt x="73" y="3"/>
                    </a:lnTo>
                    <a:lnTo>
                      <a:pt x="70" y="3"/>
                    </a:lnTo>
                    <a:lnTo>
                      <a:pt x="67" y="6"/>
                    </a:lnTo>
                    <a:lnTo>
                      <a:pt x="67" y="9"/>
                    </a:lnTo>
                    <a:lnTo>
                      <a:pt x="67" y="9"/>
                    </a:lnTo>
                    <a:lnTo>
                      <a:pt x="64" y="14"/>
                    </a:lnTo>
                    <a:lnTo>
                      <a:pt x="64" y="17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6" y="9"/>
                    </a:lnTo>
                    <a:lnTo>
                      <a:pt x="28" y="11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25" y="20"/>
                    </a:lnTo>
                    <a:lnTo>
                      <a:pt x="31" y="20"/>
                    </a:lnTo>
                    <a:lnTo>
                      <a:pt x="31" y="23"/>
                    </a:lnTo>
                    <a:lnTo>
                      <a:pt x="28" y="25"/>
                    </a:lnTo>
                    <a:lnTo>
                      <a:pt x="17" y="34"/>
                    </a:lnTo>
                    <a:lnTo>
                      <a:pt x="17" y="36"/>
                    </a:lnTo>
                    <a:lnTo>
                      <a:pt x="20" y="36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5" y="42"/>
                    </a:lnTo>
                    <a:lnTo>
                      <a:pt x="31" y="45"/>
                    </a:lnTo>
                    <a:lnTo>
                      <a:pt x="34" y="45"/>
                    </a:lnTo>
                    <a:lnTo>
                      <a:pt x="34" y="42"/>
                    </a:lnTo>
                    <a:lnTo>
                      <a:pt x="36" y="42"/>
                    </a:lnTo>
                    <a:lnTo>
                      <a:pt x="39" y="36"/>
                    </a:lnTo>
                    <a:lnTo>
                      <a:pt x="39" y="36"/>
                    </a:lnTo>
                    <a:lnTo>
                      <a:pt x="42" y="39"/>
                    </a:lnTo>
                    <a:lnTo>
                      <a:pt x="42" y="42"/>
                    </a:lnTo>
                    <a:lnTo>
                      <a:pt x="48" y="45"/>
                    </a:lnTo>
                    <a:lnTo>
                      <a:pt x="50" y="45"/>
                    </a:lnTo>
                    <a:lnTo>
                      <a:pt x="53" y="48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62" y="50"/>
                    </a:lnTo>
                    <a:lnTo>
                      <a:pt x="62" y="53"/>
                    </a:lnTo>
                    <a:lnTo>
                      <a:pt x="56" y="53"/>
                    </a:lnTo>
                    <a:lnTo>
                      <a:pt x="56" y="56"/>
                    </a:lnTo>
                    <a:lnTo>
                      <a:pt x="53" y="56"/>
                    </a:lnTo>
                    <a:lnTo>
                      <a:pt x="50" y="56"/>
                    </a:lnTo>
                    <a:lnTo>
                      <a:pt x="50" y="59"/>
                    </a:lnTo>
                    <a:lnTo>
                      <a:pt x="48" y="59"/>
                    </a:lnTo>
                    <a:lnTo>
                      <a:pt x="45" y="59"/>
                    </a:lnTo>
                    <a:lnTo>
                      <a:pt x="45" y="61"/>
                    </a:lnTo>
                    <a:lnTo>
                      <a:pt x="42" y="61"/>
                    </a:lnTo>
                    <a:lnTo>
                      <a:pt x="36" y="64"/>
                    </a:lnTo>
                    <a:lnTo>
                      <a:pt x="34" y="61"/>
                    </a:lnTo>
                    <a:lnTo>
                      <a:pt x="28" y="61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23" y="67"/>
                    </a:lnTo>
                    <a:lnTo>
                      <a:pt x="20" y="67"/>
                    </a:lnTo>
                    <a:lnTo>
                      <a:pt x="17" y="64"/>
                    </a:lnTo>
                    <a:lnTo>
                      <a:pt x="9" y="64"/>
                    </a:lnTo>
                    <a:lnTo>
                      <a:pt x="0" y="67"/>
                    </a:lnTo>
                    <a:lnTo>
                      <a:pt x="0" y="75"/>
                    </a:lnTo>
                    <a:lnTo>
                      <a:pt x="3" y="75"/>
                    </a:lnTo>
                    <a:lnTo>
                      <a:pt x="6" y="75"/>
                    </a:lnTo>
                    <a:lnTo>
                      <a:pt x="9" y="75"/>
                    </a:lnTo>
                    <a:lnTo>
                      <a:pt x="11" y="78"/>
                    </a:lnTo>
                    <a:lnTo>
                      <a:pt x="20" y="75"/>
                    </a:lnTo>
                    <a:lnTo>
                      <a:pt x="23" y="75"/>
                    </a:lnTo>
                    <a:lnTo>
                      <a:pt x="25" y="78"/>
                    </a:lnTo>
                    <a:lnTo>
                      <a:pt x="28" y="78"/>
                    </a:lnTo>
                    <a:lnTo>
                      <a:pt x="36" y="75"/>
                    </a:lnTo>
                    <a:lnTo>
                      <a:pt x="36" y="78"/>
                    </a:lnTo>
                    <a:lnTo>
                      <a:pt x="39" y="78"/>
                    </a:lnTo>
                    <a:lnTo>
                      <a:pt x="42" y="81"/>
                    </a:lnTo>
                    <a:lnTo>
                      <a:pt x="45" y="81"/>
                    </a:lnTo>
                    <a:lnTo>
                      <a:pt x="48" y="81"/>
                    </a:lnTo>
                    <a:lnTo>
                      <a:pt x="53" y="81"/>
                    </a:lnTo>
                    <a:lnTo>
                      <a:pt x="56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7" y="81"/>
                    </a:lnTo>
                    <a:lnTo>
                      <a:pt x="67" y="75"/>
                    </a:lnTo>
                    <a:lnTo>
                      <a:pt x="73" y="7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0" name="Freeform 569"/>
              <p:cNvSpPr>
                <a:spLocks noChangeAspect="1"/>
              </p:cNvSpPr>
              <p:nvPr>
                <p:custDataLst>
                  <p:tags r:id="rId708"/>
                </p:custDataLst>
              </p:nvPr>
            </p:nvSpPr>
            <p:spPr bwMode="gray">
              <a:xfrm>
                <a:off x="4859207" y="3812084"/>
                <a:ext cx="129068" cy="89874"/>
              </a:xfrm>
              <a:custGeom>
                <a:avLst/>
                <a:gdLst>
                  <a:gd name="T0" fmla="*/ 17 w 100"/>
                  <a:gd name="T1" fmla="*/ 47 h 69"/>
                  <a:gd name="T2" fmla="*/ 6 w 100"/>
                  <a:gd name="T3" fmla="*/ 30 h 69"/>
                  <a:gd name="T4" fmla="*/ 3 w 100"/>
                  <a:gd name="T5" fmla="*/ 30 h 69"/>
                  <a:gd name="T6" fmla="*/ 0 w 100"/>
                  <a:gd name="T7" fmla="*/ 28 h 69"/>
                  <a:gd name="T8" fmla="*/ 11 w 100"/>
                  <a:gd name="T9" fmla="*/ 22 h 69"/>
                  <a:gd name="T10" fmla="*/ 17 w 100"/>
                  <a:gd name="T11" fmla="*/ 8 h 69"/>
                  <a:gd name="T12" fmla="*/ 22 w 100"/>
                  <a:gd name="T13" fmla="*/ 0 h 69"/>
                  <a:gd name="T14" fmla="*/ 31 w 100"/>
                  <a:gd name="T15" fmla="*/ 3 h 69"/>
                  <a:gd name="T16" fmla="*/ 36 w 100"/>
                  <a:gd name="T17" fmla="*/ 0 h 69"/>
                  <a:gd name="T18" fmla="*/ 39 w 100"/>
                  <a:gd name="T19" fmla="*/ 0 h 69"/>
                  <a:gd name="T20" fmla="*/ 42 w 100"/>
                  <a:gd name="T21" fmla="*/ 0 h 69"/>
                  <a:gd name="T22" fmla="*/ 50 w 100"/>
                  <a:gd name="T23" fmla="*/ 0 h 69"/>
                  <a:gd name="T24" fmla="*/ 56 w 100"/>
                  <a:gd name="T25" fmla="*/ 3 h 69"/>
                  <a:gd name="T26" fmla="*/ 61 w 100"/>
                  <a:gd name="T27" fmla="*/ 5 h 69"/>
                  <a:gd name="T28" fmla="*/ 64 w 100"/>
                  <a:gd name="T29" fmla="*/ 8 h 69"/>
                  <a:gd name="T30" fmla="*/ 70 w 100"/>
                  <a:gd name="T31" fmla="*/ 14 h 69"/>
                  <a:gd name="T32" fmla="*/ 70 w 100"/>
                  <a:gd name="T33" fmla="*/ 16 h 69"/>
                  <a:gd name="T34" fmla="*/ 73 w 100"/>
                  <a:gd name="T35" fmla="*/ 16 h 69"/>
                  <a:gd name="T36" fmla="*/ 75 w 100"/>
                  <a:gd name="T37" fmla="*/ 22 h 69"/>
                  <a:gd name="T38" fmla="*/ 75 w 100"/>
                  <a:gd name="T39" fmla="*/ 22 h 69"/>
                  <a:gd name="T40" fmla="*/ 78 w 100"/>
                  <a:gd name="T41" fmla="*/ 25 h 69"/>
                  <a:gd name="T42" fmla="*/ 81 w 100"/>
                  <a:gd name="T43" fmla="*/ 28 h 69"/>
                  <a:gd name="T44" fmla="*/ 86 w 100"/>
                  <a:gd name="T45" fmla="*/ 30 h 69"/>
                  <a:gd name="T46" fmla="*/ 86 w 100"/>
                  <a:gd name="T47" fmla="*/ 36 h 69"/>
                  <a:gd name="T48" fmla="*/ 86 w 100"/>
                  <a:gd name="T49" fmla="*/ 36 h 69"/>
                  <a:gd name="T50" fmla="*/ 89 w 100"/>
                  <a:gd name="T51" fmla="*/ 42 h 69"/>
                  <a:gd name="T52" fmla="*/ 89 w 100"/>
                  <a:gd name="T53" fmla="*/ 47 h 69"/>
                  <a:gd name="T54" fmla="*/ 92 w 100"/>
                  <a:gd name="T55" fmla="*/ 53 h 69"/>
                  <a:gd name="T56" fmla="*/ 95 w 100"/>
                  <a:gd name="T57" fmla="*/ 50 h 69"/>
                  <a:gd name="T58" fmla="*/ 95 w 100"/>
                  <a:gd name="T59" fmla="*/ 55 h 69"/>
                  <a:gd name="T60" fmla="*/ 98 w 100"/>
                  <a:gd name="T61" fmla="*/ 58 h 69"/>
                  <a:gd name="T62" fmla="*/ 98 w 100"/>
                  <a:gd name="T63" fmla="*/ 58 h 69"/>
                  <a:gd name="T64" fmla="*/ 98 w 100"/>
                  <a:gd name="T65" fmla="*/ 61 h 69"/>
                  <a:gd name="T66" fmla="*/ 98 w 100"/>
                  <a:gd name="T67" fmla="*/ 67 h 69"/>
                  <a:gd name="T68" fmla="*/ 95 w 100"/>
                  <a:gd name="T69" fmla="*/ 67 h 69"/>
                  <a:gd name="T70" fmla="*/ 86 w 100"/>
                  <a:gd name="T71" fmla="*/ 67 h 69"/>
                  <a:gd name="T72" fmla="*/ 81 w 100"/>
                  <a:gd name="T73" fmla="*/ 67 h 69"/>
                  <a:gd name="T74" fmla="*/ 75 w 100"/>
                  <a:gd name="T75" fmla="*/ 67 h 69"/>
                  <a:gd name="T76" fmla="*/ 73 w 100"/>
                  <a:gd name="T77" fmla="*/ 67 h 69"/>
                  <a:gd name="T78" fmla="*/ 70 w 100"/>
                  <a:gd name="T79" fmla="*/ 64 h 69"/>
                  <a:gd name="T80" fmla="*/ 64 w 100"/>
                  <a:gd name="T81" fmla="*/ 61 h 69"/>
                  <a:gd name="T82" fmla="*/ 22 w 100"/>
                  <a:gd name="T83" fmla="*/ 67 h 69"/>
                  <a:gd name="T84" fmla="*/ 14 w 100"/>
                  <a:gd name="T85" fmla="*/ 67 h 69"/>
                  <a:gd name="T86" fmla="*/ 14 w 100"/>
                  <a:gd name="T87" fmla="*/ 67 h 69"/>
                  <a:gd name="T88" fmla="*/ 14 w 100"/>
                  <a:gd name="T89" fmla="*/ 55 h 69"/>
                  <a:gd name="T90" fmla="*/ 28 w 100"/>
                  <a:gd name="T91" fmla="*/ 53 h 69"/>
                  <a:gd name="T92" fmla="*/ 34 w 100"/>
                  <a:gd name="T93" fmla="*/ 53 h 69"/>
                  <a:gd name="T94" fmla="*/ 39 w 100"/>
                  <a:gd name="T95" fmla="*/ 50 h 69"/>
                  <a:gd name="T96" fmla="*/ 45 w 100"/>
                  <a:gd name="T97" fmla="*/ 50 h 69"/>
                  <a:gd name="T98" fmla="*/ 50 w 100"/>
                  <a:gd name="T99" fmla="*/ 53 h 69"/>
                  <a:gd name="T100" fmla="*/ 56 w 100"/>
                  <a:gd name="T101" fmla="*/ 53 h 69"/>
                  <a:gd name="T102" fmla="*/ 61 w 100"/>
                  <a:gd name="T103" fmla="*/ 50 h 69"/>
                  <a:gd name="T104" fmla="*/ 59 w 100"/>
                  <a:gd name="T105" fmla="*/ 50 h 69"/>
                  <a:gd name="T106" fmla="*/ 53 w 100"/>
                  <a:gd name="T107" fmla="*/ 50 h 69"/>
                  <a:gd name="T108" fmla="*/ 47 w 100"/>
                  <a:gd name="T109" fmla="*/ 47 h 69"/>
                  <a:gd name="T110" fmla="*/ 42 w 100"/>
                  <a:gd name="T111" fmla="*/ 44 h 69"/>
                  <a:gd name="T112" fmla="*/ 36 w 100"/>
                  <a:gd name="T113" fmla="*/ 44 h 69"/>
                  <a:gd name="T114" fmla="*/ 34 w 100"/>
                  <a:gd name="T115" fmla="*/ 4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0" h="69">
                    <a:moveTo>
                      <a:pt x="17" y="47"/>
                    </a:moveTo>
                    <a:lnTo>
                      <a:pt x="17" y="47"/>
                    </a:lnTo>
                    <a:lnTo>
                      <a:pt x="17" y="47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6" y="30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3" y="28"/>
                    </a:lnTo>
                    <a:lnTo>
                      <a:pt x="6" y="28"/>
                    </a:lnTo>
                    <a:lnTo>
                      <a:pt x="11" y="22"/>
                    </a:lnTo>
                    <a:lnTo>
                      <a:pt x="17" y="14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20" y="5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7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3"/>
                    </a:lnTo>
                    <a:lnTo>
                      <a:pt x="56" y="5"/>
                    </a:lnTo>
                    <a:lnTo>
                      <a:pt x="59" y="8"/>
                    </a:lnTo>
                    <a:lnTo>
                      <a:pt x="61" y="5"/>
                    </a:lnTo>
                    <a:lnTo>
                      <a:pt x="61" y="8"/>
                    </a:lnTo>
                    <a:lnTo>
                      <a:pt x="61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3" y="16"/>
                    </a:lnTo>
                    <a:lnTo>
                      <a:pt x="73" y="16"/>
                    </a:lnTo>
                    <a:lnTo>
                      <a:pt x="73" y="16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5" y="22"/>
                    </a:lnTo>
                    <a:lnTo>
                      <a:pt x="75" y="22"/>
                    </a:lnTo>
                    <a:lnTo>
                      <a:pt x="75" y="22"/>
                    </a:lnTo>
                    <a:lnTo>
                      <a:pt x="75" y="22"/>
                    </a:lnTo>
                    <a:lnTo>
                      <a:pt x="75" y="22"/>
                    </a:lnTo>
                    <a:lnTo>
                      <a:pt x="78" y="25"/>
                    </a:lnTo>
                    <a:lnTo>
                      <a:pt x="78" y="25"/>
                    </a:lnTo>
                    <a:lnTo>
                      <a:pt x="81" y="25"/>
                    </a:lnTo>
                    <a:lnTo>
                      <a:pt x="81" y="25"/>
                    </a:lnTo>
                    <a:lnTo>
                      <a:pt x="81" y="28"/>
                    </a:lnTo>
                    <a:lnTo>
                      <a:pt x="81" y="28"/>
                    </a:lnTo>
                    <a:lnTo>
                      <a:pt x="84" y="28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3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9" y="36"/>
                    </a:lnTo>
                    <a:lnTo>
                      <a:pt x="89" y="42"/>
                    </a:lnTo>
                    <a:lnTo>
                      <a:pt x="89" y="42"/>
                    </a:lnTo>
                    <a:lnTo>
                      <a:pt x="89" y="44"/>
                    </a:lnTo>
                    <a:lnTo>
                      <a:pt x="89" y="47"/>
                    </a:lnTo>
                    <a:lnTo>
                      <a:pt x="89" y="47"/>
                    </a:lnTo>
                    <a:lnTo>
                      <a:pt x="89" y="50"/>
                    </a:lnTo>
                    <a:lnTo>
                      <a:pt x="92" y="53"/>
                    </a:lnTo>
                    <a:lnTo>
                      <a:pt x="92" y="53"/>
                    </a:lnTo>
                    <a:lnTo>
                      <a:pt x="92" y="53"/>
                    </a:lnTo>
                    <a:lnTo>
                      <a:pt x="92" y="50"/>
                    </a:lnTo>
                    <a:lnTo>
                      <a:pt x="95" y="50"/>
                    </a:lnTo>
                    <a:lnTo>
                      <a:pt x="95" y="53"/>
                    </a:lnTo>
                    <a:lnTo>
                      <a:pt x="95" y="53"/>
                    </a:lnTo>
                    <a:lnTo>
                      <a:pt x="95" y="55"/>
                    </a:lnTo>
                    <a:lnTo>
                      <a:pt x="98" y="55"/>
                    </a:lnTo>
                    <a:lnTo>
                      <a:pt x="98" y="55"/>
                    </a:lnTo>
                    <a:lnTo>
                      <a:pt x="98" y="58"/>
                    </a:lnTo>
                    <a:lnTo>
                      <a:pt x="98" y="58"/>
                    </a:lnTo>
                    <a:lnTo>
                      <a:pt x="98" y="58"/>
                    </a:lnTo>
                    <a:lnTo>
                      <a:pt x="98" y="58"/>
                    </a:lnTo>
                    <a:lnTo>
                      <a:pt x="98" y="61"/>
                    </a:lnTo>
                    <a:lnTo>
                      <a:pt x="98" y="61"/>
                    </a:lnTo>
                    <a:lnTo>
                      <a:pt x="98" y="61"/>
                    </a:lnTo>
                    <a:lnTo>
                      <a:pt x="98" y="64"/>
                    </a:lnTo>
                    <a:lnTo>
                      <a:pt x="100" y="67"/>
                    </a:lnTo>
                    <a:lnTo>
                      <a:pt x="98" y="67"/>
                    </a:lnTo>
                    <a:lnTo>
                      <a:pt x="98" y="67"/>
                    </a:lnTo>
                    <a:lnTo>
                      <a:pt x="95" y="67"/>
                    </a:lnTo>
                    <a:lnTo>
                      <a:pt x="95" y="67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6" y="67"/>
                    </a:lnTo>
                    <a:lnTo>
                      <a:pt x="84" y="67"/>
                    </a:lnTo>
                    <a:lnTo>
                      <a:pt x="84" y="69"/>
                    </a:lnTo>
                    <a:lnTo>
                      <a:pt x="81" y="67"/>
                    </a:lnTo>
                    <a:lnTo>
                      <a:pt x="81" y="67"/>
                    </a:lnTo>
                    <a:lnTo>
                      <a:pt x="78" y="67"/>
                    </a:lnTo>
                    <a:lnTo>
                      <a:pt x="75" y="67"/>
                    </a:lnTo>
                    <a:lnTo>
                      <a:pt x="75" y="64"/>
                    </a:lnTo>
                    <a:lnTo>
                      <a:pt x="75" y="64"/>
                    </a:lnTo>
                    <a:lnTo>
                      <a:pt x="73" y="67"/>
                    </a:lnTo>
                    <a:lnTo>
                      <a:pt x="73" y="67"/>
                    </a:lnTo>
                    <a:lnTo>
                      <a:pt x="73" y="64"/>
                    </a:lnTo>
                    <a:lnTo>
                      <a:pt x="70" y="64"/>
                    </a:lnTo>
                    <a:lnTo>
                      <a:pt x="70" y="64"/>
                    </a:lnTo>
                    <a:lnTo>
                      <a:pt x="67" y="64"/>
                    </a:lnTo>
                    <a:lnTo>
                      <a:pt x="64" y="61"/>
                    </a:lnTo>
                    <a:lnTo>
                      <a:pt x="39" y="61"/>
                    </a:lnTo>
                    <a:lnTo>
                      <a:pt x="31" y="67"/>
                    </a:lnTo>
                    <a:lnTo>
                      <a:pt x="22" y="67"/>
                    </a:lnTo>
                    <a:lnTo>
                      <a:pt x="17" y="67"/>
                    </a:lnTo>
                    <a:lnTo>
                      <a:pt x="17" y="67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4" y="58"/>
                    </a:lnTo>
                    <a:lnTo>
                      <a:pt x="14" y="55"/>
                    </a:lnTo>
                    <a:lnTo>
                      <a:pt x="28" y="53"/>
                    </a:lnTo>
                    <a:lnTo>
                      <a:pt x="28" y="53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1" y="53"/>
                    </a:lnTo>
                    <a:lnTo>
                      <a:pt x="34" y="53"/>
                    </a:lnTo>
                    <a:lnTo>
                      <a:pt x="36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45" y="50"/>
                    </a:lnTo>
                    <a:lnTo>
                      <a:pt x="47" y="53"/>
                    </a:lnTo>
                    <a:lnTo>
                      <a:pt x="47" y="53"/>
                    </a:lnTo>
                    <a:lnTo>
                      <a:pt x="50" y="53"/>
                    </a:lnTo>
                    <a:lnTo>
                      <a:pt x="53" y="53"/>
                    </a:lnTo>
                    <a:lnTo>
                      <a:pt x="53" y="53"/>
                    </a:lnTo>
                    <a:lnTo>
                      <a:pt x="56" y="53"/>
                    </a:lnTo>
                    <a:lnTo>
                      <a:pt x="59" y="53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9" y="50"/>
                    </a:lnTo>
                    <a:lnTo>
                      <a:pt x="59" y="47"/>
                    </a:lnTo>
                    <a:lnTo>
                      <a:pt x="56" y="47"/>
                    </a:lnTo>
                    <a:lnTo>
                      <a:pt x="53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5" y="47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39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4" y="47"/>
                    </a:lnTo>
                    <a:lnTo>
                      <a:pt x="34" y="47"/>
                    </a:lnTo>
                    <a:lnTo>
                      <a:pt x="17" y="4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1" name="Freeform 576"/>
              <p:cNvSpPr>
                <a:spLocks noChangeAspect="1"/>
              </p:cNvSpPr>
              <p:nvPr>
                <p:custDataLst>
                  <p:tags r:id="rId709"/>
                </p:custDataLst>
              </p:nvPr>
            </p:nvSpPr>
            <p:spPr bwMode="gray">
              <a:xfrm>
                <a:off x="5742949" y="3220808"/>
                <a:ext cx="62256" cy="55186"/>
              </a:xfrm>
              <a:custGeom>
                <a:avLst/>
                <a:gdLst>
                  <a:gd name="T0" fmla="*/ 34 w 48"/>
                  <a:gd name="T1" fmla="*/ 3 h 42"/>
                  <a:gd name="T2" fmla="*/ 31 w 48"/>
                  <a:gd name="T3" fmla="*/ 3 h 42"/>
                  <a:gd name="T4" fmla="*/ 23 w 48"/>
                  <a:gd name="T5" fmla="*/ 3 h 42"/>
                  <a:gd name="T6" fmla="*/ 20 w 48"/>
                  <a:gd name="T7" fmla="*/ 0 h 42"/>
                  <a:gd name="T8" fmla="*/ 9 w 48"/>
                  <a:gd name="T9" fmla="*/ 3 h 42"/>
                  <a:gd name="T10" fmla="*/ 6 w 48"/>
                  <a:gd name="T11" fmla="*/ 6 h 42"/>
                  <a:gd name="T12" fmla="*/ 6 w 48"/>
                  <a:gd name="T13" fmla="*/ 9 h 42"/>
                  <a:gd name="T14" fmla="*/ 9 w 48"/>
                  <a:gd name="T15" fmla="*/ 11 h 42"/>
                  <a:gd name="T16" fmla="*/ 9 w 48"/>
                  <a:gd name="T17" fmla="*/ 14 h 42"/>
                  <a:gd name="T18" fmla="*/ 6 w 48"/>
                  <a:gd name="T19" fmla="*/ 17 h 42"/>
                  <a:gd name="T20" fmla="*/ 6 w 48"/>
                  <a:gd name="T21" fmla="*/ 25 h 42"/>
                  <a:gd name="T22" fmla="*/ 0 w 48"/>
                  <a:gd name="T23" fmla="*/ 28 h 42"/>
                  <a:gd name="T24" fmla="*/ 3 w 48"/>
                  <a:gd name="T25" fmla="*/ 31 h 42"/>
                  <a:gd name="T26" fmla="*/ 3 w 48"/>
                  <a:gd name="T27" fmla="*/ 31 h 42"/>
                  <a:gd name="T28" fmla="*/ 14 w 48"/>
                  <a:gd name="T29" fmla="*/ 31 h 42"/>
                  <a:gd name="T30" fmla="*/ 12 w 48"/>
                  <a:gd name="T31" fmla="*/ 31 h 42"/>
                  <a:gd name="T32" fmla="*/ 6 w 48"/>
                  <a:gd name="T33" fmla="*/ 36 h 42"/>
                  <a:gd name="T34" fmla="*/ 3 w 48"/>
                  <a:gd name="T35" fmla="*/ 42 h 42"/>
                  <a:gd name="T36" fmla="*/ 6 w 48"/>
                  <a:gd name="T37" fmla="*/ 39 h 42"/>
                  <a:gd name="T38" fmla="*/ 9 w 48"/>
                  <a:gd name="T39" fmla="*/ 36 h 42"/>
                  <a:gd name="T40" fmla="*/ 26 w 48"/>
                  <a:gd name="T41" fmla="*/ 23 h 42"/>
                  <a:gd name="T42" fmla="*/ 42 w 48"/>
                  <a:gd name="T43" fmla="*/ 23 h 42"/>
                  <a:gd name="T44" fmla="*/ 42 w 48"/>
                  <a:gd name="T45" fmla="*/ 23 h 42"/>
                  <a:gd name="T46" fmla="*/ 48 w 48"/>
                  <a:gd name="T47" fmla="*/ 23 h 42"/>
                  <a:gd name="T48" fmla="*/ 48 w 48"/>
                  <a:gd name="T49" fmla="*/ 20 h 42"/>
                  <a:gd name="T50" fmla="*/ 48 w 48"/>
                  <a:gd name="T51" fmla="*/ 17 h 42"/>
                  <a:gd name="T52" fmla="*/ 45 w 48"/>
                  <a:gd name="T53" fmla="*/ 17 h 42"/>
                  <a:gd name="T54" fmla="*/ 37 w 48"/>
                  <a:gd name="T55" fmla="*/ 14 h 42"/>
                  <a:gd name="T56" fmla="*/ 34 w 48"/>
                  <a:gd name="T57" fmla="*/ 9 h 42"/>
                  <a:gd name="T58" fmla="*/ 31 w 48"/>
                  <a:gd name="T59" fmla="*/ 6 h 42"/>
                  <a:gd name="T60" fmla="*/ 34 w 48"/>
                  <a:gd name="T61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8" h="42">
                    <a:moveTo>
                      <a:pt x="34" y="3"/>
                    </a:moveTo>
                    <a:lnTo>
                      <a:pt x="31" y="3"/>
                    </a:lnTo>
                    <a:lnTo>
                      <a:pt x="23" y="3"/>
                    </a:lnTo>
                    <a:lnTo>
                      <a:pt x="20" y="0"/>
                    </a:lnTo>
                    <a:lnTo>
                      <a:pt x="9" y="3"/>
                    </a:lnTo>
                    <a:lnTo>
                      <a:pt x="6" y="6"/>
                    </a:lnTo>
                    <a:lnTo>
                      <a:pt x="6" y="9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6" y="17"/>
                    </a:lnTo>
                    <a:lnTo>
                      <a:pt x="6" y="25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6" y="36"/>
                    </a:lnTo>
                    <a:lnTo>
                      <a:pt x="3" y="42"/>
                    </a:lnTo>
                    <a:lnTo>
                      <a:pt x="6" y="39"/>
                    </a:lnTo>
                    <a:lnTo>
                      <a:pt x="9" y="36"/>
                    </a:lnTo>
                    <a:lnTo>
                      <a:pt x="26" y="23"/>
                    </a:lnTo>
                    <a:lnTo>
                      <a:pt x="42" y="23"/>
                    </a:lnTo>
                    <a:lnTo>
                      <a:pt x="42" y="23"/>
                    </a:lnTo>
                    <a:lnTo>
                      <a:pt x="48" y="23"/>
                    </a:lnTo>
                    <a:lnTo>
                      <a:pt x="48" y="20"/>
                    </a:lnTo>
                    <a:lnTo>
                      <a:pt x="48" y="17"/>
                    </a:lnTo>
                    <a:lnTo>
                      <a:pt x="45" y="17"/>
                    </a:lnTo>
                    <a:lnTo>
                      <a:pt x="37" y="14"/>
                    </a:lnTo>
                    <a:lnTo>
                      <a:pt x="34" y="9"/>
                    </a:lnTo>
                    <a:lnTo>
                      <a:pt x="31" y="6"/>
                    </a:lnTo>
                    <a:lnTo>
                      <a:pt x="34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2" name="Freeform 582"/>
              <p:cNvSpPr>
                <a:spLocks noChangeAspect="1"/>
              </p:cNvSpPr>
              <p:nvPr>
                <p:custDataLst>
                  <p:tags r:id="rId710"/>
                </p:custDataLst>
              </p:nvPr>
            </p:nvSpPr>
            <p:spPr bwMode="gray">
              <a:xfrm>
                <a:off x="5820390" y="4166851"/>
                <a:ext cx="221694" cy="220743"/>
              </a:xfrm>
              <a:custGeom>
                <a:avLst/>
                <a:gdLst>
                  <a:gd name="T0" fmla="*/ 150 w 170"/>
                  <a:gd name="T1" fmla="*/ 59 h 170"/>
                  <a:gd name="T2" fmla="*/ 148 w 170"/>
                  <a:gd name="T3" fmla="*/ 90 h 170"/>
                  <a:gd name="T4" fmla="*/ 153 w 170"/>
                  <a:gd name="T5" fmla="*/ 95 h 170"/>
                  <a:gd name="T6" fmla="*/ 153 w 170"/>
                  <a:gd name="T7" fmla="*/ 101 h 170"/>
                  <a:gd name="T8" fmla="*/ 153 w 170"/>
                  <a:gd name="T9" fmla="*/ 109 h 170"/>
                  <a:gd name="T10" fmla="*/ 150 w 170"/>
                  <a:gd name="T11" fmla="*/ 115 h 170"/>
                  <a:gd name="T12" fmla="*/ 153 w 170"/>
                  <a:gd name="T13" fmla="*/ 123 h 170"/>
                  <a:gd name="T14" fmla="*/ 156 w 170"/>
                  <a:gd name="T15" fmla="*/ 131 h 170"/>
                  <a:gd name="T16" fmla="*/ 159 w 170"/>
                  <a:gd name="T17" fmla="*/ 134 h 170"/>
                  <a:gd name="T18" fmla="*/ 159 w 170"/>
                  <a:gd name="T19" fmla="*/ 140 h 170"/>
                  <a:gd name="T20" fmla="*/ 164 w 170"/>
                  <a:gd name="T21" fmla="*/ 145 h 170"/>
                  <a:gd name="T22" fmla="*/ 170 w 170"/>
                  <a:gd name="T23" fmla="*/ 148 h 170"/>
                  <a:gd name="T24" fmla="*/ 142 w 170"/>
                  <a:gd name="T25" fmla="*/ 162 h 170"/>
                  <a:gd name="T26" fmla="*/ 131 w 170"/>
                  <a:gd name="T27" fmla="*/ 162 h 170"/>
                  <a:gd name="T28" fmla="*/ 111 w 170"/>
                  <a:gd name="T29" fmla="*/ 167 h 170"/>
                  <a:gd name="T30" fmla="*/ 106 w 170"/>
                  <a:gd name="T31" fmla="*/ 170 h 170"/>
                  <a:gd name="T32" fmla="*/ 97 w 170"/>
                  <a:gd name="T33" fmla="*/ 165 h 170"/>
                  <a:gd name="T34" fmla="*/ 81 w 170"/>
                  <a:gd name="T35" fmla="*/ 167 h 170"/>
                  <a:gd name="T36" fmla="*/ 78 w 170"/>
                  <a:gd name="T37" fmla="*/ 159 h 170"/>
                  <a:gd name="T38" fmla="*/ 72 w 170"/>
                  <a:gd name="T39" fmla="*/ 140 h 170"/>
                  <a:gd name="T40" fmla="*/ 64 w 170"/>
                  <a:gd name="T41" fmla="*/ 137 h 170"/>
                  <a:gd name="T42" fmla="*/ 61 w 170"/>
                  <a:gd name="T43" fmla="*/ 134 h 170"/>
                  <a:gd name="T44" fmla="*/ 58 w 170"/>
                  <a:gd name="T45" fmla="*/ 134 h 170"/>
                  <a:gd name="T46" fmla="*/ 50 w 170"/>
                  <a:gd name="T47" fmla="*/ 131 h 170"/>
                  <a:gd name="T48" fmla="*/ 25 w 170"/>
                  <a:gd name="T49" fmla="*/ 120 h 170"/>
                  <a:gd name="T50" fmla="*/ 14 w 170"/>
                  <a:gd name="T51" fmla="*/ 101 h 170"/>
                  <a:gd name="T52" fmla="*/ 3 w 170"/>
                  <a:gd name="T53" fmla="*/ 87 h 170"/>
                  <a:gd name="T54" fmla="*/ 3 w 170"/>
                  <a:gd name="T55" fmla="*/ 78 h 170"/>
                  <a:gd name="T56" fmla="*/ 0 w 170"/>
                  <a:gd name="T57" fmla="*/ 64 h 170"/>
                  <a:gd name="T58" fmla="*/ 0 w 170"/>
                  <a:gd name="T59" fmla="*/ 53 h 170"/>
                  <a:gd name="T60" fmla="*/ 17 w 170"/>
                  <a:gd name="T61" fmla="*/ 34 h 170"/>
                  <a:gd name="T62" fmla="*/ 14 w 170"/>
                  <a:gd name="T63" fmla="*/ 31 h 170"/>
                  <a:gd name="T64" fmla="*/ 14 w 170"/>
                  <a:gd name="T65" fmla="*/ 25 h 170"/>
                  <a:gd name="T66" fmla="*/ 11 w 170"/>
                  <a:gd name="T67" fmla="*/ 0 h 170"/>
                  <a:gd name="T68" fmla="*/ 19 w 170"/>
                  <a:gd name="T69" fmla="*/ 0 h 170"/>
                  <a:gd name="T70" fmla="*/ 33 w 170"/>
                  <a:gd name="T71" fmla="*/ 25 h 170"/>
                  <a:gd name="T72" fmla="*/ 36 w 170"/>
                  <a:gd name="T73" fmla="*/ 28 h 170"/>
                  <a:gd name="T74" fmla="*/ 39 w 170"/>
                  <a:gd name="T75" fmla="*/ 23 h 170"/>
                  <a:gd name="T76" fmla="*/ 47 w 170"/>
                  <a:gd name="T77" fmla="*/ 25 h 170"/>
                  <a:gd name="T78" fmla="*/ 50 w 170"/>
                  <a:gd name="T79" fmla="*/ 31 h 170"/>
                  <a:gd name="T80" fmla="*/ 53 w 170"/>
                  <a:gd name="T81" fmla="*/ 25 h 170"/>
                  <a:gd name="T82" fmla="*/ 64 w 170"/>
                  <a:gd name="T83" fmla="*/ 20 h 170"/>
                  <a:gd name="T84" fmla="*/ 58 w 170"/>
                  <a:gd name="T85" fmla="*/ 20 h 170"/>
                  <a:gd name="T86" fmla="*/ 58 w 170"/>
                  <a:gd name="T87" fmla="*/ 14 h 170"/>
                  <a:gd name="T88" fmla="*/ 61 w 170"/>
                  <a:gd name="T89" fmla="*/ 14 h 170"/>
                  <a:gd name="T90" fmla="*/ 64 w 170"/>
                  <a:gd name="T91" fmla="*/ 9 h 170"/>
                  <a:gd name="T92" fmla="*/ 67 w 170"/>
                  <a:gd name="T93" fmla="*/ 6 h 170"/>
                  <a:gd name="T94" fmla="*/ 67 w 170"/>
                  <a:gd name="T95" fmla="*/ 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0" h="170">
                    <a:moveTo>
                      <a:pt x="125" y="34"/>
                    </a:moveTo>
                    <a:lnTo>
                      <a:pt x="128" y="45"/>
                    </a:lnTo>
                    <a:lnTo>
                      <a:pt x="150" y="59"/>
                    </a:lnTo>
                    <a:lnTo>
                      <a:pt x="142" y="81"/>
                    </a:lnTo>
                    <a:lnTo>
                      <a:pt x="145" y="87"/>
                    </a:lnTo>
                    <a:lnTo>
                      <a:pt x="148" y="90"/>
                    </a:lnTo>
                    <a:lnTo>
                      <a:pt x="150" y="92"/>
                    </a:lnTo>
                    <a:lnTo>
                      <a:pt x="153" y="92"/>
                    </a:lnTo>
                    <a:lnTo>
                      <a:pt x="153" y="95"/>
                    </a:lnTo>
                    <a:lnTo>
                      <a:pt x="153" y="98"/>
                    </a:lnTo>
                    <a:lnTo>
                      <a:pt x="153" y="98"/>
                    </a:lnTo>
                    <a:lnTo>
                      <a:pt x="153" y="101"/>
                    </a:lnTo>
                    <a:lnTo>
                      <a:pt x="150" y="106"/>
                    </a:lnTo>
                    <a:lnTo>
                      <a:pt x="153" y="106"/>
                    </a:lnTo>
                    <a:lnTo>
                      <a:pt x="153" y="109"/>
                    </a:lnTo>
                    <a:lnTo>
                      <a:pt x="153" y="109"/>
                    </a:lnTo>
                    <a:lnTo>
                      <a:pt x="153" y="112"/>
                    </a:lnTo>
                    <a:lnTo>
                      <a:pt x="150" y="115"/>
                    </a:lnTo>
                    <a:lnTo>
                      <a:pt x="150" y="115"/>
                    </a:lnTo>
                    <a:lnTo>
                      <a:pt x="153" y="123"/>
                    </a:lnTo>
                    <a:lnTo>
                      <a:pt x="153" y="123"/>
                    </a:lnTo>
                    <a:lnTo>
                      <a:pt x="153" y="123"/>
                    </a:lnTo>
                    <a:lnTo>
                      <a:pt x="153" y="126"/>
                    </a:lnTo>
                    <a:lnTo>
                      <a:pt x="156" y="131"/>
                    </a:lnTo>
                    <a:lnTo>
                      <a:pt x="156" y="131"/>
                    </a:lnTo>
                    <a:lnTo>
                      <a:pt x="156" y="134"/>
                    </a:lnTo>
                    <a:lnTo>
                      <a:pt x="159" y="134"/>
                    </a:lnTo>
                    <a:lnTo>
                      <a:pt x="159" y="137"/>
                    </a:lnTo>
                    <a:lnTo>
                      <a:pt x="159" y="140"/>
                    </a:lnTo>
                    <a:lnTo>
                      <a:pt x="159" y="140"/>
                    </a:lnTo>
                    <a:lnTo>
                      <a:pt x="159" y="142"/>
                    </a:lnTo>
                    <a:lnTo>
                      <a:pt x="161" y="142"/>
                    </a:lnTo>
                    <a:lnTo>
                      <a:pt x="164" y="145"/>
                    </a:lnTo>
                    <a:lnTo>
                      <a:pt x="167" y="148"/>
                    </a:lnTo>
                    <a:lnTo>
                      <a:pt x="167" y="148"/>
                    </a:lnTo>
                    <a:lnTo>
                      <a:pt x="170" y="148"/>
                    </a:lnTo>
                    <a:lnTo>
                      <a:pt x="170" y="151"/>
                    </a:lnTo>
                    <a:lnTo>
                      <a:pt x="159" y="156"/>
                    </a:lnTo>
                    <a:lnTo>
                      <a:pt x="142" y="162"/>
                    </a:lnTo>
                    <a:lnTo>
                      <a:pt x="139" y="162"/>
                    </a:lnTo>
                    <a:lnTo>
                      <a:pt x="134" y="162"/>
                    </a:lnTo>
                    <a:lnTo>
                      <a:pt x="131" y="162"/>
                    </a:lnTo>
                    <a:lnTo>
                      <a:pt x="128" y="162"/>
                    </a:lnTo>
                    <a:lnTo>
                      <a:pt x="125" y="167"/>
                    </a:lnTo>
                    <a:lnTo>
                      <a:pt x="111" y="167"/>
                    </a:lnTo>
                    <a:lnTo>
                      <a:pt x="109" y="167"/>
                    </a:lnTo>
                    <a:lnTo>
                      <a:pt x="106" y="167"/>
                    </a:lnTo>
                    <a:lnTo>
                      <a:pt x="106" y="170"/>
                    </a:lnTo>
                    <a:lnTo>
                      <a:pt x="103" y="167"/>
                    </a:lnTo>
                    <a:lnTo>
                      <a:pt x="100" y="165"/>
                    </a:lnTo>
                    <a:lnTo>
                      <a:pt x="97" y="165"/>
                    </a:lnTo>
                    <a:lnTo>
                      <a:pt x="97" y="165"/>
                    </a:lnTo>
                    <a:lnTo>
                      <a:pt x="95" y="167"/>
                    </a:lnTo>
                    <a:lnTo>
                      <a:pt x="81" y="167"/>
                    </a:lnTo>
                    <a:lnTo>
                      <a:pt x="81" y="165"/>
                    </a:lnTo>
                    <a:lnTo>
                      <a:pt x="81" y="162"/>
                    </a:lnTo>
                    <a:lnTo>
                      <a:pt x="78" y="159"/>
                    </a:lnTo>
                    <a:lnTo>
                      <a:pt x="78" y="159"/>
                    </a:lnTo>
                    <a:lnTo>
                      <a:pt x="78" y="154"/>
                    </a:lnTo>
                    <a:lnTo>
                      <a:pt x="72" y="140"/>
                    </a:lnTo>
                    <a:lnTo>
                      <a:pt x="70" y="137"/>
                    </a:lnTo>
                    <a:lnTo>
                      <a:pt x="67" y="134"/>
                    </a:lnTo>
                    <a:lnTo>
                      <a:pt x="64" y="137"/>
                    </a:lnTo>
                    <a:lnTo>
                      <a:pt x="64" y="137"/>
                    </a:lnTo>
                    <a:lnTo>
                      <a:pt x="64" y="134"/>
                    </a:lnTo>
                    <a:lnTo>
                      <a:pt x="61" y="134"/>
                    </a:lnTo>
                    <a:lnTo>
                      <a:pt x="58" y="137"/>
                    </a:lnTo>
                    <a:lnTo>
                      <a:pt x="58" y="137"/>
                    </a:lnTo>
                    <a:lnTo>
                      <a:pt x="58" y="134"/>
                    </a:lnTo>
                    <a:lnTo>
                      <a:pt x="56" y="134"/>
                    </a:lnTo>
                    <a:lnTo>
                      <a:pt x="50" y="131"/>
                    </a:lnTo>
                    <a:lnTo>
                      <a:pt x="50" y="131"/>
                    </a:lnTo>
                    <a:lnTo>
                      <a:pt x="50" y="131"/>
                    </a:lnTo>
                    <a:lnTo>
                      <a:pt x="33" y="126"/>
                    </a:lnTo>
                    <a:lnTo>
                      <a:pt x="25" y="120"/>
                    </a:lnTo>
                    <a:lnTo>
                      <a:pt x="25" y="120"/>
                    </a:lnTo>
                    <a:lnTo>
                      <a:pt x="22" y="120"/>
                    </a:lnTo>
                    <a:lnTo>
                      <a:pt x="14" y="101"/>
                    </a:lnTo>
                    <a:lnTo>
                      <a:pt x="14" y="95"/>
                    </a:lnTo>
                    <a:lnTo>
                      <a:pt x="8" y="90"/>
                    </a:lnTo>
                    <a:lnTo>
                      <a:pt x="3" y="87"/>
                    </a:lnTo>
                    <a:lnTo>
                      <a:pt x="0" y="81"/>
                    </a:lnTo>
                    <a:lnTo>
                      <a:pt x="3" y="81"/>
                    </a:lnTo>
                    <a:lnTo>
                      <a:pt x="3" y="78"/>
                    </a:lnTo>
                    <a:lnTo>
                      <a:pt x="3" y="70"/>
                    </a:lnTo>
                    <a:lnTo>
                      <a:pt x="3" y="67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53"/>
                    </a:lnTo>
                    <a:lnTo>
                      <a:pt x="0" y="53"/>
                    </a:lnTo>
                    <a:lnTo>
                      <a:pt x="8" y="51"/>
                    </a:lnTo>
                    <a:lnTo>
                      <a:pt x="17" y="37"/>
                    </a:lnTo>
                    <a:lnTo>
                      <a:pt x="17" y="34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4" y="31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7" y="20"/>
                    </a:lnTo>
                    <a:lnTo>
                      <a:pt x="19" y="17"/>
                    </a:lnTo>
                    <a:lnTo>
                      <a:pt x="11" y="0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33" y="0"/>
                    </a:lnTo>
                    <a:lnTo>
                      <a:pt x="31" y="17"/>
                    </a:lnTo>
                    <a:lnTo>
                      <a:pt x="33" y="25"/>
                    </a:lnTo>
                    <a:lnTo>
                      <a:pt x="33" y="25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36" y="25"/>
                    </a:lnTo>
                    <a:lnTo>
                      <a:pt x="39" y="25"/>
                    </a:lnTo>
                    <a:lnTo>
                      <a:pt x="39" y="23"/>
                    </a:lnTo>
                    <a:lnTo>
                      <a:pt x="39" y="23"/>
                    </a:lnTo>
                    <a:lnTo>
                      <a:pt x="45" y="25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28"/>
                    </a:lnTo>
                    <a:lnTo>
                      <a:pt x="53" y="25"/>
                    </a:lnTo>
                    <a:lnTo>
                      <a:pt x="53" y="25"/>
                    </a:lnTo>
                    <a:lnTo>
                      <a:pt x="58" y="25"/>
                    </a:lnTo>
                    <a:lnTo>
                      <a:pt x="61" y="23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58" y="20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1" y="14"/>
                    </a:lnTo>
                    <a:lnTo>
                      <a:pt x="61" y="12"/>
                    </a:lnTo>
                    <a:lnTo>
                      <a:pt x="64" y="12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7" y="6"/>
                    </a:lnTo>
                    <a:lnTo>
                      <a:pt x="67" y="6"/>
                    </a:lnTo>
                    <a:lnTo>
                      <a:pt x="67" y="6"/>
                    </a:lnTo>
                    <a:lnTo>
                      <a:pt x="67" y="3"/>
                    </a:lnTo>
                    <a:lnTo>
                      <a:pt x="67" y="3"/>
                    </a:lnTo>
                    <a:lnTo>
                      <a:pt x="70" y="0"/>
                    </a:lnTo>
                    <a:lnTo>
                      <a:pt x="125" y="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3" name="Freeform 583"/>
              <p:cNvSpPr>
                <a:spLocks noChangeAspect="1"/>
              </p:cNvSpPr>
              <p:nvPr>
                <p:custDataLst>
                  <p:tags r:id="rId711"/>
                </p:custDataLst>
              </p:nvPr>
            </p:nvSpPr>
            <p:spPr bwMode="gray">
              <a:xfrm>
                <a:off x="4954870" y="3380058"/>
                <a:ext cx="241436" cy="192362"/>
              </a:xfrm>
              <a:custGeom>
                <a:avLst/>
                <a:gdLst>
                  <a:gd name="T0" fmla="*/ 69 w 186"/>
                  <a:gd name="T1" fmla="*/ 150 h 150"/>
                  <a:gd name="T2" fmla="*/ 2 w 186"/>
                  <a:gd name="T3" fmla="*/ 147 h 150"/>
                  <a:gd name="T4" fmla="*/ 33 w 186"/>
                  <a:gd name="T5" fmla="*/ 133 h 150"/>
                  <a:gd name="T6" fmla="*/ 39 w 186"/>
                  <a:gd name="T7" fmla="*/ 128 h 150"/>
                  <a:gd name="T8" fmla="*/ 44 w 186"/>
                  <a:gd name="T9" fmla="*/ 125 h 150"/>
                  <a:gd name="T10" fmla="*/ 52 w 186"/>
                  <a:gd name="T11" fmla="*/ 103 h 150"/>
                  <a:gd name="T12" fmla="*/ 50 w 186"/>
                  <a:gd name="T13" fmla="*/ 86 h 150"/>
                  <a:gd name="T14" fmla="*/ 55 w 186"/>
                  <a:gd name="T15" fmla="*/ 75 h 150"/>
                  <a:gd name="T16" fmla="*/ 58 w 186"/>
                  <a:gd name="T17" fmla="*/ 75 h 150"/>
                  <a:gd name="T18" fmla="*/ 61 w 186"/>
                  <a:gd name="T19" fmla="*/ 64 h 150"/>
                  <a:gd name="T20" fmla="*/ 94 w 186"/>
                  <a:gd name="T21" fmla="*/ 39 h 150"/>
                  <a:gd name="T22" fmla="*/ 100 w 186"/>
                  <a:gd name="T23" fmla="*/ 30 h 150"/>
                  <a:gd name="T24" fmla="*/ 111 w 186"/>
                  <a:gd name="T25" fmla="*/ 5 h 150"/>
                  <a:gd name="T26" fmla="*/ 119 w 186"/>
                  <a:gd name="T27" fmla="*/ 0 h 150"/>
                  <a:gd name="T28" fmla="*/ 130 w 186"/>
                  <a:gd name="T29" fmla="*/ 14 h 150"/>
                  <a:gd name="T30" fmla="*/ 142 w 186"/>
                  <a:gd name="T31" fmla="*/ 14 h 150"/>
                  <a:gd name="T32" fmla="*/ 155 w 186"/>
                  <a:gd name="T33" fmla="*/ 11 h 150"/>
                  <a:gd name="T34" fmla="*/ 164 w 186"/>
                  <a:gd name="T35" fmla="*/ 17 h 150"/>
                  <a:gd name="T36" fmla="*/ 172 w 186"/>
                  <a:gd name="T37" fmla="*/ 17 h 150"/>
                  <a:gd name="T38" fmla="*/ 172 w 186"/>
                  <a:gd name="T39" fmla="*/ 19 h 150"/>
                  <a:gd name="T40" fmla="*/ 175 w 186"/>
                  <a:gd name="T41" fmla="*/ 22 h 150"/>
                  <a:gd name="T42" fmla="*/ 175 w 186"/>
                  <a:gd name="T43" fmla="*/ 25 h 150"/>
                  <a:gd name="T44" fmla="*/ 178 w 186"/>
                  <a:gd name="T45" fmla="*/ 25 h 150"/>
                  <a:gd name="T46" fmla="*/ 175 w 186"/>
                  <a:gd name="T47" fmla="*/ 25 h 150"/>
                  <a:gd name="T48" fmla="*/ 178 w 186"/>
                  <a:gd name="T49" fmla="*/ 30 h 150"/>
                  <a:gd name="T50" fmla="*/ 178 w 186"/>
                  <a:gd name="T51" fmla="*/ 42 h 150"/>
                  <a:gd name="T52" fmla="*/ 178 w 186"/>
                  <a:gd name="T53" fmla="*/ 44 h 150"/>
                  <a:gd name="T54" fmla="*/ 178 w 186"/>
                  <a:gd name="T55" fmla="*/ 47 h 150"/>
                  <a:gd name="T56" fmla="*/ 181 w 186"/>
                  <a:gd name="T57" fmla="*/ 53 h 150"/>
                  <a:gd name="T58" fmla="*/ 181 w 186"/>
                  <a:gd name="T59" fmla="*/ 58 h 150"/>
                  <a:gd name="T60" fmla="*/ 186 w 186"/>
                  <a:gd name="T61" fmla="*/ 64 h 150"/>
                  <a:gd name="T62" fmla="*/ 183 w 186"/>
                  <a:gd name="T63" fmla="*/ 67 h 150"/>
                  <a:gd name="T64" fmla="*/ 183 w 186"/>
                  <a:gd name="T65" fmla="*/ 69 h 150"/>
                  <a:gd name="T66" fmla="*/ 183 w 186"/>
                  <a:gd name="T67" fmla="*/ 69 h 150"/>
                  <a:gd name="T68" fmla="*/ 175 w 186"/>
                  <a:gd name="T69" fmla="*/ 69 h 150"/>
                  <a:gd name="T70" fmla="*/ 161 w 186"/>
                  <a:gd name="T71" fmla="*/ 69 h 150"/>
                  <a:gd name="T72" fmla="*/ 161 w 186"/>
                  <a:gd name="T73" fmla="*/ 72 h 150"/>
                  <a:gd name="T74" fmla="*/ 158 w 186"/>
                  <a:gd name="T75" fmla="*/ 72 h 150"/>
                  <a:gd name="T76" fmla="*/ 155 w 186"/>
                  <a:gd name="T77" fmla="*/ 75 h 150"/>
                  <a:gd name="T78" fmla="*/ 155 w 186"/>
                  <a:gd name="T79" fmla="*/ 78 h 150"/>
                  <a:gd name="T80" fmla="*/ 144 w 186"/>
                  <a:gd name="T81" fmla="*/ 78 h 150"/>
                  <a:gd name="T82" fmla="*/ 142 w 186"/>
                  <a:gd name="T83" fmla="*/ 81 h 150"/>
                  <a:gd name="T84" fmla="*/ 142 w 186"/>
                  <a:gd name="T85" fmla="*/ 83 h 150"/>
                  <a:gd name="T86" fmla="*/ 144 w 186"/>
                  <a:gd name="T87" fmla="*/ 83 h 150"/>
                  <a:gd name="T88" fmla="*/ 144 w 186"/>
                  <a:gd name="T89" fmla="*/ 86 h 150"/>
                  <a:gd name="T90" fmla="*/ 144 w 186"/>
                  <a:gd name="T91" fmla="*/ 89 h 150"/>
                  <a:gd name="T92" fmla="*/ 144 w 186"/>
                  <a:gd name="T93" fmla="*/ 89 h 150"/>
                  <a:gd name="T94" fmla="*/ 147 w 186"/>
                  <a:gd name="T95" fmla="*/ 89 h 150"/>
                  <a:gd name="T96" fmla="*/ 147 w 186"/>
                  <a:gd name="T97" fmla="*/ 92 h 150"/>
                  <a:gd name="T98" fmla="*/ 133 w 186"/>
                  <a:gd name="T99" fmla="*/ 97 h 150"/>
                  <a:gd name="T100" fmla="*/ 128 w 186"/>
                  <a:gd name="T101" fmla="*/ 100 h 150"/>
                  <a:gd name="T102" fmla="*/ 122 w 186"/>
                  <a:gd name="T103" fmla="*/ 103 h 150"/>
                  <a:gd name="T104" fmla="*/ 122 w 186"/>
                  <a:gd name="T105" fmla="*/ 106 h 150"/>
                  <a:gd name="T106" fmla="*/ 108 w 186"/>
                  <a:gd name="T107" fmla="*/ 111 h 150"/>
                  <a:gd name="T108" fmla="*/ 105 w 186"/>
                  <a:gd name="T109" fmla="*/ 114 h 150"/>
                  <a:gd name="T110" fmla="*/ 100 w 186"/>
                  <a:gd name="T111" fmla="*/ 114 h 150"/>
                  <a:gd name="T112" fmla="*/ 100 w 186"/>
                  <a:gd name="T113" fmla="*/ 117 h 150"/>
                  <a:gd name="T114" fmla="*/ 94 w 186"/>
                  <a:gd name="T115" fmla="*/ 117 h 150"/>
                  <a:gd name="T116" fmla="*/ 91 w 186"/>
                  <a:gd name="T117" fmla="*/ 117 h 150"/>
                  <a:gd name="T118" fmla="*/ 89 w 186"/>
                  <a:gd name="T119" fmla="*/ 120 h 150"/>
                  <a:gd name="T120" fmla="*/ 86 w 186"/>
                  <a:gd name="T121" fmla="*/ 122 h 150"/>
                  <a:gd name="T122" fmla="*/ 69 w 186"/>
                  <a:gd name="T123" fmla="*/ 131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86" h="150">
                    <a:moveTo>
                      <a:pt x="69" y="131"/>
                    </a:moveTo>
                    <a:lnTo>
                      <a:pt x="69" y="150"/>
                    </a:lnTo>
                    <a:lnTo>
                      <a:pt x="0" y="150"/>
                    </a:lnTo>
                    <a:lnTo>
                      <a:pt x="2" y="147"/>
                    </a:lnTo>
                    <a:lnTo>
                      <a:pt x="22" y="142"/>
                    </a:lnTo>
                    <a:lnTo>
                      <a:pt x="33" y="133"/>
                    </a:lnTo>
                    <a:lnTo>
                      <a:pt x="36" y="131"/>
                    </a:lnTo>
                    <a:lnTo>
                      <a:pt x="39" y="128"/>
                    </a:lnTo>
                    <a:lnTo>
                      <a:pt x="41" y="125"/>
                    </a:lnTo>
                    <a:lnTo>
                      <a:pt x="44" y="125"/>
                    </a:lnTo>
                    <a:lnTo>
                      <a:pt x="52" y="111"/>
                    </a:lnTo>
                    <a:lnTo>
                      <a:pt x="52" y="103"/>
                    </a:lnTo>
                    <a:lnTo>
                      <a:pt x="50" y="97"/>
                    </a:lnTo>
                    <a:lnTo>
                      <a:pt x="50" y="86"/>
                    </a:lnTo>
                    <a:lnTo>
                      <a:pt x="55" y="78"/>
                    </a:lnTo>
                    <a:lnTo>
                      <a:pt x="55" y="75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61" y="67"/>
                    </a:lnTo>
                    <a:lnTo>
                      <a:pt x="61" y="64"/>
                    </a:lnTo>
                    <a:lnTo>
                      <a:pt x="72" y="50"/>
                    </a:lnTo>
                    <a:lnTo>
                      <a:pt x="94" y="39"/>
                    </a:lnTo>
                    <a:lnTo>
                      <a:pt x="100" y="36"/>
                    </a:lnTo>
                    <a:lnTo>
                      <a:pt x="100" y="30"/>
                    </a:lnTo>
                    <a:lnTo>
                      <a:pt x="103" y="25"/>
                    </a:lnTo>
                    <a:lnTo>
                      <a:pt x="111" y="5"/>
                    </a:lnTo>
                    <a:lnTo>
                      <a:pt x="114" y="3"/>
                    </a:lnTo>
                    <a:lnTo>
                      <a:pt x="119" y="0"/>
                    </a:lnTo>
                    <a:lnTo>
                      <a:pt x="122" y="5"/>
                    </a:lnTo>
                    <a:lnTo>
                      <a:pt x="130" y="14"/>
                    </a:lnTo>
                    <a:lnTo>
                      <a:pt x="133" y="17"/>
                    </a:lnTo>
                    <a:lnTo>
                      <a:pt x="142" y="14"/>
                    </a:lnTo>
                    <a:lnTo>
                      <a:pt x="153" y="14"/>
                    </a:lnTo>
                    <a:lnTo>
                      <a:pt x="155" y="11"/>
                    </a:lnTo>
                    <a:lnTo>
                      <a:pt x="161" y="17"/>
                    </a:lnTo>
                    <a:lnTo>
                      <a:pt x="164" y="17"/>
                    </a:lnTo>
                    <a:lnTo>
                      <a:pt x="167" y="17"/>
                    </a:lnTo>
                    <a:lnTo>
                      <a:pt x="172" y="17"/>
                    </a:lnTo>
                    <a:lnTo>
                      <a:pt x="172" y="19"/>
                    </a:lnTo>
                    <a:lnTo>
                      <a:pt x="172" y="19"/>
                    </a:lnTo>
                    <a:lnTo>
                      <a:pt x="172" y="22"/>
                    </a:lnTo>
                    <a:lnTo>
                      <a:pt x="175" y="22"/>
                    </a:lnTo>
                    <a:lnTo>
                      <a:pt x="175" y="22"/>
                    </a:lnTo>
                    <a:lnTo>
                      <a:pt x="175" y="25"/>
                    </a:lnTo>
                    <a:lnTo>
                      <a:pt x="178" y="25"/>
                    </a:lnTo>
                    <a:lnTo>
                      <a:pt x="178" y="25"/>
                    </a:lnTo>
                    <a:lnTo>
                      <a:pt x="175" y="25"/>
                    </a:lnTo>
                    <a:lnTo>
                      <a:pt x="175" y="25"/>
                    </a:lnTo>
                    <a:lnTo>
                      <a:pt x="178" y="28"/>
                    </a:lnTo>
                    <a:lnTo>
                      <a:pt x="178" y="30"/>
                    </a:lnTo>
                    <a:lnTo>
                      <a:pt x="178" y="36"/>
                    </a:lnTo>
                    <a:lnTo>
                      <a:pt x="178" y="42"/>
                    </a:lnTo>
                    <a:lnTo>
                      <a:pt x="178" y="42"/>
                    </a:lnTo>
                    <a:lnTo>
                      <a:pt x="178" y="44"/>
                    </a:lnTo>
                    <a:lnTo>
                      <a:pt x="181" y="47"/>
                    </a:lnTo>
                    <a:lnTo>
                      <a:pt x="178" y="47"/>
                    </a:lnTo>
                    <a:lnTo>
                      <a:pt x="178" y="50"/>
                    </a:lnTo>
                    <a:lnTo>
                      <a:pt x="181" y="53"/>
                    </a:lnTo>
                    <a:lnTo>
                      <a:pt x="181" y="56"/>
                    </a:lnTo>
                    <a:lnTo>
                      <a:pt x="181" y="58"/>
                    </a:lnTo>
                    <a:lnTo>
                      <a:pt x="186" y="64"/>
                    </a:lnTo>
                    <a:lnTo>
                      <a:pt x="186" y="64"/>
                    </a:lnTo>
                    <a:lnTo>
                      <a:pt x="186" y="64"/>
                    </a:lnTo>
                    <a:lnTo>
                      <a:pt x="183" y="67"/>
                    </a:lnTo>
                    <a:lnTo>
                      <a:pt x="183" y="69"/>
                    </a:lnTo>
                    <a:lnTo>
                      <a:pt x="183" y="69"/>
                    </a:lnTo>
                    <a:lnTo>
                      <a:pt x="183" y="69"/>
                    </a:lnTo>
                    <a:lnTo>
                      <a:pt x="183" y="69"/>
                    </a:lnTo>
                    <a:lnTo>
                      <a:pt x="181" y="69"/>
                    </a:lnTo>
                    <a:lnTo>
                      <a:pt x="175" y="69"/>
                    </a:lnTo>
                    <a:lnTo>
                      <a:pt x="172" y="69"/>
                    </a:lnTo>
                    <a:lnTo>
                      <a:pt x="161" y="69"/>
                    </a:lnTo>
                    <a:lnTo>
                      <a:pt x="161" y="72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5" y="75"/>
                    </a:lnTo>
                    <a:lnTo>
                      <a:pt x="155" y="75"/>
                    </a:lnTo>
                    <a:lnTo>
                      <a:pt x="155" y="78"/>
                    </a:lnTo>
                    <a:lnTo>
                      <a:pt x="147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2" y="81"/>
                    </a:lnTo>
                    <a:lnTo>
                      <a:pt x="142" y="81"/>
                    </a:lnTo>
                    <a:lnTo>
                      <a:pt x="142" y="83"/>
                    </a:lnTo>
                    <a:lnTo>
                      <a:pt x="142" y="83"/>
                    </a:lnTo>
                    <a:lnTo>
                      <a:pt x="144" y="83"/>
                    </a:lnTo>
                    <a:lnTo>
                      <a:pt x="144" y="83"/>
                    </a:lnTo>
                    <a:lnTo>
                      <a:pt x="144" y="86"/>
                    </a:lnTo>
                    <a:lnTo>
                      <a:pt x="142" y="89"/>
                    </a:lnTo>
                    <a:lnTo>
                      <a:pt x="144" y="89"/>
                    </a:lnTo>
                    <a:lnTo>
                      <a:pt x="144" y="89"/>
                    </a:lnTo>
                    <a:lnTo>
                      <a:pt x="144" y="89"/>
                    </a:lnTo>
                    <a:lnTo>
                      <a:pt x="144" y="89"/>
                    </a:lnTo>
                    <a:lnTo>
                      <a:pt x="147" y="89"/>
                    </a:lnTo>
                    <a:lnTo>
                      <a:pt x="147" y="92"/>
                    </a:lnTo>
                    <a:lnTo>
                      <a:pt x="147" y="92"/>
                    </a:lnTo>
                    <a:lnTo>
                      <a:pt x="139" y="94"/>
                    </a:lnTo>
                    <a:lnTo>
                      <a:pt x="133" y="97"/>
                    </a:lnTo>
                    <a:lnTo>
                      <a:pt x="130" y="97"/>
                    </a:lnTo>
                    <a:lnTo>
                      <a:pt x="128" y="100"/>
                    </a:lnTo>
                    <a:lnTo>
                      <a:pt x="125" y="103"/>
                    </a:lnTo>
                    <a:lnTo>
                      <a:pt x="122" y="103"/>
                    </a:lnTo>
                    <a:lnTo>
                      <a:pt x="122" y="106"/>
                    </a:lnTo>
                    <a:lnTo>
                      <a:pt x="122" y="106"/>
                    </a:lnTo>
                    <a:lnTo>
                      <a:pt x="119" y="108"/>
                    </a:lnTo>
                    <a:lnTo>
                      <a:pt x="108" y="111"/>
                    </a:lnTo>
                    <a:lnTo>
                      <a:pt x="105" y="111"/>
                    </a:lnTo>
                    <a:lnTo>
                      <a:pt x="105" y="114"/>
                    </a:lnTo>
                    <a:lnTo>
                      <a:pt x="100" y="111"/>
                    </a:lnTo>
                    <a:lnTo>
                      <a:pt x="100" y="114"/>
                    </a:lnTo>
                    <a:lnTo>
                      <a:pt x="100" y="117"/>
                    </a:lnTo>
                    <a:lnTo>
                      <a:pt x="100" y="117"/>
                    </a:lnTo>
                    <a:lnTo>
                      <a:pt x="97" y="117"/>
                    </a:lnTo>
                    <a:lnTo>
                      <a:pt x="94" y="117"/>
                    </a:lnTo>
                    <a:lnTo>
                      <a:pt x="94" y="117"/>
                    </a:lnTo>
                    <a:lnTo>
                      <a:pt x="91" y="117"/>
                    </a:lnTo>
                    <a:lnTo>
                      <a:pt x="91" y="117"/>
                    </a:lnTo>
                    <a:lnTo>
                      <a:pt x="89" y="120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0" y="122"/>
                    </a:lnTo>
                    <a:lnTo>
                      <a:pt x="69" y="1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4" name="Freeform 584"/>
              <p:cNvSpPr>
                <a:spLocks noChangeAspect="1"/>
              </p:cNvSpPr>
              <p:nvPr>
                <p:custDataLst>
                  <p:tags r:id="rId712"/>
                </p:custDataLst>
              </p:nvPr>
            </p:nvSpPr>
            <p:spPr bwMode="gray">
              <a:xfrm>
                <a:off x="4945759" y="3950839"/>
                <a:ext cx="62257" cy="58338"/>
              </a:xfrm>
              <a:custGeom>
                <a:avLst/>
                <a:gdLst>
                  <a:gd name="T0" fmla="*/ 3 w 47"/>
                  <a:gd name="T1" fmla="*/ 13 h 47"/>
                  <a:gd name="T2" fmla="*/ 6 w 47"/>
                  <a:gd name="T3" fmla="*/ 13 h 47"/>
                  <a:gd name="T4" fmla="*/ 8 w 47"/>
                  <a:gd name="T5" fmla="*/ 11 h 47"/>
                  <a:gd name="T6" fmla="*/ 8 w 47"/>
                  <a:gd name="T7" fmla="*/ 8 h 47"/>
                  <a:gd name="T8" fmla="*/ 14 w 47"/>
                  <a:gd name="T9" fmla="*/ 2 h 47"/>
                  <a:gd name="T10" fmla="*/ 14 w 47"/>
                  <a:gd name="T11" fmla="*/ 0 h 47"/>
                  <a:gd name="T12" fmla="*/ 17 w 47"/>
                  <a:gd name="T13" fmla="*/ 2 h 47"/>
                  <a:gd name="T14" fmla="*/ 22 w 47"/>
                  <a:gd name="T15" fmla="*/ 0 h 47"/>
                  <a:gd name="T16" fmla="*/ 33 w 47"/>
                  <a:gd name="T17" fmla="*/ 2 h 47"/>
                  <a:gd name="T18" fmla="*/ 36 w 47"/>
                  <a:gd name="T19" fmla="*/ 5 h 47"/>
                  <a:gd name="T20" fmla="*/ 39 w 47"/>
                  <a:gd name="T21" fmla="*/ 5 h 47"/>
                  <a:gd name="T22" fmla="*/ 39 w 47"/>
                  <a:gd name="T23" fmla="*/ 8 h 47"/>
                  <a:gd name="T24" fmla="*/ 42 w 47"/>
                  <a:gd name="T25" fmla="*/ 8 h 47"/>
                  <a:gd name="T26" fmla="*/ 42 w 47"/>
                  <a:gd name="T27" fmla="*/ 11 h 47"/>
                  <a:gd name="T28" fmla="*/ 42 w 47"/>
                  <a:gd name="T29" fmla="*/ 11 h 47"/>
                  <a:gd name="T30" fmla="*/ 42 w 47"/>
                  <a:gd name="T31" fmla="*/ 13 h 47"/>
                  <a:gd name="T32" fmla="*/ 45 w 47"/>
                  <a:gd name="T33" fmla="*/ 16 h 47"/>
                  <a:gd name="T34" fmla="*/ 45 w 47"/>
                  <a:gd name="T35" fmla="*/ 19 h 47"/>
                  <a:gd name="T36" fmla="*/ 42 w 47"/>
                  <a:gd name="T37" fmla="*/ 19 h 47"/>
                  <a:gd name="T38" fmla="*/ 42 w 47"/>
                  <a:gd name="T39" fmla="*/ 25 h 47"/>
                  <a:gd name="T40" fmla="*/ 47 w 47"/>
                  <a:gd name="T41" fmla="*/ 22 h 47"/>
                  <a:gd name="T42" fmla="*/ 47 w 47"/>
                  <a:gd name="T43" fmla="*/ 25 h 47"/>
                  <a:gd name="T44" fmla="*/ 47 w 47"/>
                  <a:gd name="T45" fmla="*/ 27 h 47"/>
                  <a:gd name="T46" fmla="*/ 45 w 47"/>
                  <a:gd name="T47" fmla="*/ 27 h 47"/>
                  <a:gd name="T48" fmla="*/ 42 w 47"/>
                  <a:gd name="T49" fmla="*/ 30 h 47"/>
                  <a:gd name="T50" fmla="*/ 42 w 47"/>
                  <a:gd name="T51" fmla="*/ 36 h 47"/>
                  <a:gd name="T52" fmla="*/ 39 w 47"/>
                  <a:gd name="T53" fmla="*/ 36 h 47"/>
                  <a:gd name="T54" fmla="*/ 36 w 47"/>
                  <a:gd name="T55" fmla="*/ 39 h 47"/>
                  <a:gd name="T56" fmla="*/ 33 w 47"/>
                  <a:gd name="T57" fmla="*/ 41 h 47"/>
                  <a:gd name="T58" fmla="*/ 31 w 47"/>
                  <a:gd name="T59" fmla="*/ 44 h 47"/>
                  <a:gd name="T60" fmla="*/ 31 w 47"/>
                  <a:gd name="T61" fmla="*/ 47 h 47"/>
                  <a:gd name="T62" fmla="*/ 28 w 47"/>
                  <a:gd name="T63" fmla="*/ 47 h 47"/>
                  <a:gd name="T64" fmla="*/ 14 w 47"/>
                  <a:gd name="T65" fmla="*/ 39 h 47"/>
                  <a:gd name="T66" fmla="*/ 6 w 47"/>
                  <a:gd name="T67" fmla="*/ 33 h 47"/>
                  <a:gd name="T68" fmla="*/ 6 w 47"/>
                  <a:gd name="T69" fmla="*/ 30 h 47"/>
                  <a:gd name="T70" fmla="*/ 6 w 47"/>
                  <a:gd name="T71" fmla="*/ 27 h 47"/>
                  <a:gd name="T72" fmla="*/ 3 w 47"/>
                  <a:gd name="T73" fmla="*/ 25 h 47"/>
                  <a:gd name="T74" fmla="*/ 3 w 47"/>
                  <a:gd name="T75" fmla="*/ 25 h 47"/>
                  <a:gd name="T76" fmla="*/ 3 w 47"/>
                  <a:gd name="T77" fmla="*/ 25 h 47"/>
                  <a:gd name="T78" fmla="*/ 3 w 47"/>
                  <a:gd name="T79" fmla="*/ 22 h 47"/>
                  <a:gd name="T80" fmla="*/ 3 w 47"/>
                  <a:gd name="T81" fmla="*/ 22 h 47"/>
                  <a:gd name="T82" fmla="*/ 3 w 47"/>
                  <a:gd name="T83" fmla="*/ 19 h 47"/>
                  <a:gd name="T84" fmla="*/ 0 w 47"/>
                  <a:gd name="T85" fmla="*/ 16 h 47"/>
                  <a:gd name="T86" fmla="*/ 0 w 47"/>
                  <a:gd name="T87" fmla="*/ 1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" h="47">
                    <a:moveTo>
                      <a:pt x="0" y="13"/>
                    </a:moveTo>
                    <a:lnTo>
                      <a:pt x="3" y="13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11" y="8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9" y="8"/>
                    </a:lnTo>
                    <a:lnTo>
                      <a:pt x="39" y="8"/>
                    </a:lnTo>
                    <a:lnTo>
                      <a:pt x="39" y="8"/>
                    </a:lnTo>
                    <a:lnTo>
                      <a:pt x="42" y="8"/>
                    </a:lnTo>
                    <a:lnTo>
                      <a:pt x="42" y="11"/>
                    </a:lnTo>
                    <a:lnTo>
                      <a:pt x="42" y="11"/>
                    </a:lnTo>
                    <a:lnTo>
                      <a:pt x="42" y="11"/>
                    </a:lnTo>
                    <a:lnTo>
                      <a:pt x="42" y="11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2" y="19"/>
                    </a:lnTo>
                    <a:lnTo>
                      <a:pt x="42" y="25"/>
                    </a:lnTo>
                    <a:lnTo>
                      <a:pt x="42" y="25"/>
                    </a:lnTo>
                    <a:lnTo>
                      <a:pt x="45" y="25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5"/>
                    </a:lnTo>
                    <a:lnTo>
                      <a:pt x="47" y="25"/>
                    </a:lnTo>
                    <a:lnTo>
                      <a:pt x="47" y="27"/>
                    </a:lnTo>
                    <a:lnTo>
                      <a:pt x="47" y="27"/>
                    </a:lnTo>
                    <a:lnTo>
                      <a:pt x="45" y="27"/>
                    </a:lnTo>
                    <a:lnTo>
                      <a:pt x="45" y="30"/>
                    </a:lnTo>
                    <a:lnTo>
                      <a:pt x="42" y="30"/>
                    </a:lnTo>
                    <a:lnTo>
                      <a:pt x="42" y="33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9" y="36"/>
                    </a:lnTo>
                    <a:lnTo>
                      <a:pt x="39" y="39"/>
                    </a:lnTo>
                    <a:lnTo>
                      <a:pt x="36" y="39"/>
                    </a:lnTo>
                    <a:lnTo>
                      <a:pt x="33" y="41"/>
                    </a:lnTo>
                    <a:lnTo>
                      <a:pt x="33" y="41"/>
                    </a:lnTo>
                    <a:lnTo>
                      <a:pt x="31" y="41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31" y="47"/>
                    </a:lnTo>
                    <a:lnTo>
                      <a:pt x="31" y="47"/>
                    </a:lnTo>
                    <a:lnTo>
                      <a:pt x="28" y="47"/>
                    </a:lnTo>
                    <a:lnTo>
                      <a:pt x="14" y="41"/>
                    </a:lnTo>
                    <a:lnTo>
                      <a:pt x="14" y="39"/>
                    </a:lnTo>
                    <a:lnTo>
                      <a:pt x="14" y="39"/>
                    </a:lnTo>
                    <a:lnTo>
                      <a:pt x="6" y="33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7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3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5" name="Freeform 585"/>
              <p:cNvSpPr>
                <a:spLocks noChangeAspect="1"/>
              </p:cNvSpPr>
              <p:nvPr>
                <p:custDataLst>
                  <p:tags r:id="rId713"/>
                </p:custDataLst>
              </p:nvPr>
            </p:nvSpPr>
            <p:spPr bwMode="gray">
              <a:xfrm>
                <a:off x="5044460" y="3935071"/>
                <a:ext cx="122995" cy="129293"/>
              </a:xfrm>
              <a:custGeom>
                <a:avLst/>
                <a:gdLst>
                  <a:gd name="T0" fmla="*/ 67 w 95"/>
                  <a:gd name="T1" fmla="*/ 87 h 101"/>
                  <a:gd name="T2" fmla="*/ 89 w 95"/>
                  <a:gd name="T3" fmla="*/ 87 h 101"/>
                  <a:gd name="T4" fmla="*/ 89 w 95"/>
                  <a:gd name="T5" fmla="*/ 78 h 101"/>
                  <a:gd name="T6" fmla="*/ 84 w 95"/>
                  <a:gd name="T7" fmla="*/ 59 h 101"/>
                  <a:gd name="T8" fmla="*/ 89 w 95"/>
                  <a:gd name="T9" fmla="*/ 48 h 101"/>
                  <a:gd name="T10" fmla="*/ 95 w 95"/>
                  <a:gd name="T11" fmla="*/ 39 h 101"/>
                  <a:gd name="T12" fmla="*/ 92 w 95"/>
                  <a:gd name="T13" fmla="*/ 25 h 101"/>
                  <a:gd name="T14" fmla="*/ 92 w 95"/>
                  <a:gd name="T15" fmla="*/ 20 h 101"/>
                  <a:gd name="T16" fmla="*/ 89 w 95"/>
                  <a:gd name="T17" fmla="*/ 20 h 101"/>
                  <a:gd name="T18" fmla="*/ 84 w 95"/>
                  <a:gd name="T19" fmla="*/ 12 h 101"/>
                  <a:gd name="T20" fmla="*/ 67 w 95"/>
                  <a:gd name="T21" fmla="*/ 14 h 101"/>
                  <a:gd name="T22" fmla="*/ 61 w 95"/>
                  <a:gd name="T23" fmla="*/ 14 h 101"/>
                  <a:gd name="T24" fmla="*/ 59 w 95"/>
                  <a:gd name="T25" fmla="*/ 17 h 101"/>
                  <a:gd name="T26" fmla="*/ 56 w 95"/>
                  <a:gd name="T27" fmla="*/ 12 h 101"/>
                  <a:gd name="T28" fmla="*/ 53 w 95"/>
                  <a:gd name="T29" fmla="*/ 9 h 101"/>
                  <a:gd name="T30" fmla="*/ 53 w 95"/>
                  <a:gd name="T31" fmla="*/ 6 h 101"/>
                  <a:gd name="T32" fmla="*/ 47 w 95"/>
                  <a:gd name="T33" fmla="*/ 3 h 101"/>
                  <a:gd name="T34" fmla="*/ 39 w 95"/>
                  <a:gd name="T35" fmla="*/ 6 h 101"/>
                  <a:gd name="T36" fmla="*/ 36 w 95"/>
                  <a:gd name="T37" fmla="*/ 3 h 101"/>
                  <a:gd name="T38" fmla="*/ 36 w 95"/>
                  <a:gd name="T39" fmla="*/ 0 h 101"/>
                  <a:gd name="T40" fmla="*/ 31 w 95"/>
                  <a:gd name="T41" fmla="*/ 0 h 101"/>
                  <a:gd name="T42" fmla="*/ 28 w 95"/>
                  <a:gd name="T43" fmla="*/ 3 h 101"/>
                  <a:gd name="T44" fmla="*/ 22 w 95"/>
                  <a:gd name="T45" fmla="*/ 6 h 101"/>
                  <a:gd name="T46" fmla="*/ 20 w 95"/>
                  <a:gd name="T47" fmla="*/ 9 h 101"/>
                  <a:gd name="T48" fmla="*/ 17 w 95"/>
                  <a:gd name="T49" fmla="*/ 6 h 101"/>
                  <a:gd name="T50" fmla="*/ 14 w 95"/>
                  <a:gd name="T51" fmla="*/ 3 h 101"/>
                  <a:gd name="T52" fmla="*/ 11 w 95"/>
                  <a:gd name="T53" fmla="*/ 6 h 101"/>
                  <a:gd name="T54" fmla="*/ 8 w 95"/>
                  <a:gd name="T55" fmla="*/ 9 h 101"/>
                  <a:gd name="T56" fmla="*/ 6 w 95"/>
                  <a:gd name="T57" fmla="*/ 20 h 101"/>
                  <a:gd name="T58" fmla="*/ 8 w 95"/>
                  <a:gd name="T59" fmla="*/ 25 h 101"/>
                  <a:gd name="T60" fmla="*/ 11 w 95"/>
                  <a:gd name="T61" fmla="*/ 25 h 101"/>
                  <a:gd name="T62" fmla="*/ 11 w 95"/>
                  <a:gd name="T63" fmla="*/ 31 h 101"/>
                  <a:gd name="T64" fmla="*/ 14 w 95"/>
                  <a:gd name="T65" fmla="*/ 37 h 101"/>
                  <a:gd name="T66" fmla="*/ 11 w 95"/>
                  <a:gd name="T67" fmla="*/ 37 h 101"/>
                  <a:gd name="T68" fmla="*/ 3 w 95"/>
                  <a:gd name="T69" fmla="*/ 37 h 101"/>
                  <a:gd name="T70" fmla="*/ 6 w 95"/>
                  <a:gd name="T71" fmla="*/ 39 h 101"/>
                  <a:gd name="T72" fmla="*/ 8 w 95"/>
                  <a:gd name="T73" fmla="*/ 42 h 101"/>
                  <a:gd name="T74" fmla="*/ 6 w 95"/>
                  <a:gd name="T75" fmla="*/ 48 h 101"/>
                  <a:gd name="T76" fmla="*/ 0 w 95"/>
                  <a:gd name="T77" fmla="*/ 51 h 101"/>
                  <a:gd name="T78" fmla="*/ 3 w 95"/>
                  <a:gd name="T79" fmla="*/ 56 h 101"/>
                  <a:gd name="T80" fmla="*/ 0 w 95"/>
                  <a:gd name="T81" fmla="*/ 64 h 101"/>
                  <a:gd name="T82" fmla="*/ 0 w 95"/>
                  <a:gd name="T83" fmla="*/ 67 h 101"/>
                  <a:gd name="T84" fmla="*/ 6 w 95"/>
                  <a:gd name="T85" fmla="*/ 70 h 101"/>
                  <a:gd name="T86" fmla="*/ 11 w 95"/>
                  <a:gd name="T87" fmla="*/ 73 h 101"/>
                  <a:gd name="T88" fmla="*/ 14 w 95"/>
                  <a:gd name="T89" fmla="*/ 76 h 101"/>
                  <a:gd name="T90" fmla="*/ 17 w 95"/>
                  <a:gd name="T91" fmla="*/ 81 h 101"/>
                  <a:gd name="T92" fmla="*/ 17 w 95"/>
                  <a:gd name="T93" fmla="*/ 84 h 101"/>
                  <a:gd name="T94" fmla="*/ 14 w 95"/>
                  <a:gd name="T95" fmla="*/ 9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" h="101">
                    <a:moveTo>
                      <a:pt x="14" y="98"/>
                    </a:moveTo>
                    <a:lnTo>
                      <a:pt x="17" y="101"/>
                    </a:lnTo>
                    <a:lnTo>
                      <a:pt x="20" y="101"/>
                    </a:lnTo>
                    <a:lnTo>
                      <a:pt x="67" y="87"/>
                    </a:lnTo>
                    <a:lnTo>
                      <a:pt x="84" y="90"/>
                    </a:lnTo>
                    <a:lnTo>
                      <a:pt x="86" y="87"/>
                    </a:lnTo>
                    <a:lnTo>
                      <a:pt x="86" y="87"/>
                    </a:lnTo>
                    <a:lnTo>
                      <a:pt x="89" y="87"/>
                    </a:lnTo>
                    <a:lnTo>
                      <a:pt x="89" y="87"/>
                    </a:lnTo>
                    <a:lnTo>
                      <a:pt x="92" y="87"/>
                    </a:lnTo>
                    <a:lnTo>
                      <a:pt x="89" y="78"/>
                    </a:lnTo>
                    <a:lnTo>
                      <a:pt x="89" y="78"/>
                    </a:lnTo>
                    <a:lnTo>
                      <a:pt x="86" y="78"/>
                    </a:lnTo>
                    <a:lnTo>
                      <a:pt x="86" y="78"/>
                    </a:lnTo>
                    <a:lnTo>
                      <a:pt x="84" y="67"/>
                    </a:lnTo>
                    <a:lnTo>
                      <a:pt x="84" y="59"/>
                    </a:lnTo>
                    <a:lnTo>
                      <a:pt x="84" y="59"/>
                    </a:lnTo>
                    <a:lnTo>
                      <a:pt x="86" y="56"/>
                    </a:lnTo>
                    <a:lnTo>
                      <a:pt x="86" y="53"/>
                    </a:lnTo>
                    <a:lnTo>
                      <a:pt x="89" y="48"/>
                    </a:lnTo>
                    <a:lnTo>
                      <a:pt x="89" y="42"/>
                    </a:lnTo>
                    <a:lnTo>
                      <a:pt x="92" y="42"/>
                    </a:lnTo>
                    <a:lnTo>
                      <a:pt x="92" y="39"/>
                    </a:lnTo>
                    <a:lnTo>
                      <a:pt x="95" y="39"/>
                    </a:lnTo>
                    <a:lnTo>
                      <a:pt x="95" y="39"/>
                    </a:lnTo>
                    <a:lnTo>
                      <a:pt x="95" y="39"/>
                    </a:lnTo>
                    <a:lnTo>
                      <a:pt x="92" y="25"/>
                    </a:lnTo>
                    <a:lnTo>
                      <a:pt x="92" y="25"/>
                    </a:lnTo>
                    <a:lnTo>
                      <a:pt x="89" y="25"/>
                    </a:lnTo>
                    <a:lnTo>
                      <a:pt x="89" y="25"/>
                    </a:lnTo>
                    <a:lnTo>
                      <a:pt x="92" y="23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89" y="20"/>
                    </a:lnTo>
                    <a:lnTo>
                      <a:pt x="89" y="20"/>
                    </a:lnTo>
                    <a:lnTo>
                      <a:pt x="89" y="20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4" y="12"/>
                    </a:lnTo>
                    <a:lnTo>
                      <a:pt x="84" y="12"/>
                    </a:lnTo>
                    <a:lnTo>
                      <a:pt x="81" y="12"/>
                    </a:lnTo>
                    <a:lnTo>
                      <a:pt x="75" y="12"/>
                    </a:lnTo>
                    <a:lnTo>
                      <a:pt x="67" y="14"/>
                    </a:lnTo>
                    <a:lnTo>
                      <a:pt x="64" y="17"/>
                    </a:lnTo>
                    <a:lnTo>
                      <a:pt x="64" y="17"/>
                    </a:lnTo>
                    <a:lnTo>
                      <a:pt x="61" y="17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59" y="14"/>
                    </a:lnTo>
                    <a:lnTo>
                      <a:pt x="59" y="17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9"/>
                    </a:lnTo>
                    <a:lnTo>
                      <a:pt x="53" y="9"/>
                    </a:lnTo>
                    <a:lnTo>
                      <a:pt x="53" y="9"/>
                    </a:lnTo>
                    <a:lnTo>
                      <a:pt x="53" y="9"/>
                    </a:lnTo>
                    <a:lnTo>
                      <a:pt x="53" y="6"/>
                    </a:lnTo>
                    <a:lnTo>
                      <a:pt x="53" y="6"/>
                    </a:lnTo>
                    <a:lnTo>
                      <a:pt x="53" y="6"/>
                    </a:lnTo>
                    <a:lnTo>
                      <a:pt x="47" y="6"/>
                    </a:lnTo>
                    <a:lnTo>
                      <a:pt x="47" y="6"/>
                    </a:lnTo>
                    <a:lnTo>
                      <a:pt x="47" y="3"/>
                    </a:lnTo>
                    <a:lnTo>
                      <a:pt x="45" y="3"/>
                    </a:lnTo>
                    <a:lnTo>
                      <a:pt x="42" y="3"/>
                    </a:lnTo>
                    <a:lnTo>
                      <a:pt x="42" y="6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20" y="9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1" y="20"/>
                    </a:lnTo>
                    <a:lnTo>
                      <a:pt x="8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8"/>
                    </a:lnTo>
                    <a:lnTo>
                      <a:pt x="8" y="31"/>
                    </a:lnTo>
                    <a:lnTo>
                      <a:pt x="8" y="31"/>
                    </a:lnTo>
                    <a:lnTo>
                      <a:pt x="11" y="31"/>
                    </a:lnTo>
                    <a:lnTo>
                      <a:pt x="11" y="31"/>
                    </a:lnTo>
                    <a:lnTo>
                      <a:pt x="11" y="31"/>
                    </a:lnTo>
                    <a:lnTo>
                      <a:pt x="11" y="34"/>
                    </a:lnTo>
                    <a:lnTo>
                      <a:pt x="14" y="37"/>
                    </a:lnTo>
                    <a:lnTo>
                      <a:pt x="11" y="37"/>
                    </a:lnTo>
                    <a:lnTo>
                      <a:pt x="11" y="37"/>
                    </a:lnTo>
                    <a:lnTo>
                      <a:pt x="11" y="37"/>
                    </a:lnTo>
                    <a:lnTo>
                      <a:pt x="11" y="37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3" y="39"/>
                    </a:lnTo>
                    <a:lnTo>
                      <a:pt x="6" y="39"/>
                    </a:lnTo>
                    <a:lnTo>
                      <a:pt x="6" y="39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3"/>
                    </a:lnTo>
                    <a:lnTo>
                      <a:pt x="3" y="53"/>
                    </a:lnTo>
                    <a:lnTo>
                      <a:pt x="3" y="56"/>
                    </a:lnTo>
                    <a:lnTo>
                      <a:pt x="3" y="56"/>
                    </a:lnTo>
                    <a:lnTo>
                      <a:pt x="3" y="56"/>
                    </a:lnTo>
                    <a:lnTo>
                      <a:pt x="3" y="6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6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1" y="70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1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7" y="81"/>
                    </a:lnTo>
                    <a:lnTo>
                      <a:pt x="17" y="84"/>
                    </a:lnTo>
                    <a:lnTo>
                      <a:pt x="17" y="84"/>
                    </a:lnTo>
                    <a:lnTo>
                      <a:pt x="17" y="84"/>
                    </a:lnTo>
                    <a:lnTo>
                      <a:pt x="17" y="84"/>
                    </a:lnTo>
                    <a:lnTo>
                      <a:pt x="17" y="87"/>
                    </a:lnTo>
                    <a:lnTo>
                      <a:pt x="17" y="87"/>
                    </a:lnTo>
                    <a:lnTo>
                      <a:pt x="14" y="87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2"/>
                    </a:lnTo>
                    <a:lnTo>
                      <a:pt x="14" y="9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6" name="Freeform 586"/>
              <p:cNvSpPr>
                <a:spLocks noChangeAspect="1"/>
              </p:cNvSpPr>
              <p:nvPr>
                <p:custDataLst>
                  <p:tags r:id="rId714"/>
                </p:custDataLst>
              </p:nvPr>
            </p:nvSpPr>
            <p:spPr bwMode="gray">
              <a:xfrm>
                <a:off x="5209971" y="3924031"/>
                <a:ext cx="47072" cy="104064"/>
              </a:xfrm>
              <a:custGeom>
                <a:avLst/>
                <a:gdLst>
                  <a:gd name="T0" fmla="*/ 25 w 36"/>
                  <a:gd name="T1" fmla="*/ 81 h 81"/>
                  <a:gd name="T2" fmla="*/ 22 w 36"/>
                  <a:gd name="T3" fmla="*/ 81 h 81"/>
                  <a:gd name="T4" fmla="*/ 17 w 36"/>
                  <a:gd name="T5" fmla="*/ 72 h 81"/>
                  <a:gd name="T6" fmla="*/ 11 w 36"/>
                  <a:gd name="T7" fmla="*/ 28 h 81"/>
                  <a:gd name="T8" fmla="*/ 11 w 36"/>
                  <a:gd name="T9" fmla="*/ 28 h 81"/>
                  <a:gd name="T10" fmla="*/ 9 w 36"/>
                  <a:gd name="T11" fmla="*/ 17 h 81"/>
                  <a:gd name="T12" fmla="*/ 6 w 36"/>
                  <a:gd name="T13" fmla="*/ 11 h 81"/>
                  <a:gd name="T14" fmla="*/ 3 w 36"/>
                  <a:gd name="T15" fmla="*/ 8 h 81"/>
                  <a:gd name="T16" fmla="*/ 3 w 36"/>
                  <a:gd name="T17" fmla="*/ 8 h 81"/>
                  <a:gd name="T18" fmla="*/ 3 w 36"/>
                  <a:gd name="T19" fmla="*/ 6 h 81"/>
                  <a:gd name="T20" fmla="*/ 3 w 36"/>
                  <a:gd name="T21" fmla="*/ 6 h 81"/>
                  <a:gd name="T22" fmla="*/ 6 w 36"/>
                  <a:gd name="T23" fmla="*/ 3 h 81"/>
                  <a:gd name="T24" fmla="*/ 6 w 36"/>
                  <a:gd name="T25" fmla="*/ 3 h 81"/>
                  <a:gd name="T26" fmla="*/ 3 w 36"/>
                  <a:gd name="T27" fmla="*/ 3 h 81"/>
                  <a:gd name="T28" fmla="*/ 0 w 36"/>
                  <a:gd name="T29" fmla="*/ 3 h 81"/>
                  <a:gd name="T30" fmla="*/ 0 w 36"/>
                  <a:gd name="T31" fmla="*/ 0 h 81"/>
                  <a:gd name="T32" fmla="*/ 0 w 36"/>
                  <a:gd name="T33" fmla="*/ 3 h 81"/>
                  <a:gd name="T34" fmla="*/ 11 w 36"/>
                  <a:gd name="T35" fmla="*/ 3 h 81"/>
                  <a:gd name="T36" fmla="*/ 11 w 36"/>
                  <a:gd name="T37" fmla="*/ 6 h 81"/>
                  <a:gd name="T38" fmla="*/ 14 w 36"/>
                  <a:gd name="T39" fmla="*/ 6 h 81"/>
                  <a:gd name="T40" fmla="*/ 14 w 36"/>
                  <a:gd name="T41" fmla="*/ 3 h 81"/>
                  <a:gd name="T42" fmla="*/ 17 w 36"/>
                  <a:gd name="T43" fmla="*/ 3 h 81"/>
                  <a:gd name="T44" fmla="*/ 20 w 36"/>
                  <a:gd name="T45" fmla="*/ 3 h 81"/>
                  <a:gd name="T46" fmla="*/ 17 w 36"/>
                  <a:gd name="T47" fmla="*/ 3 h 81"/>
                  <a:gd name="T48" fmla="*/ 17 w 36"/>
                  <a:gd name="T49" fmla="*/ 6 h 81"/>
                  <a:gd name="T50" fmla="*/ 17 w 36"/>
                  <a:gd name="T51" fmla="*/ 8 h 81"/>
                  <a:gd name="T52" fmla="*/ 17 w 36"/>
                  <a:gd name="T53" fmla="*/ 11 h 81"/>
                  <a:gd name="T54" fmla="*/ 17 w 36"/>
                  <a:gd name="T55" fmla="*/ 14 h 81"/>
                  <a:gd name="T56" fmla="*/ 17 w 36"/>
                  <a:gd name="T57" fmla="*/ 14 h 81"/>
                  <a:gd name="T58" fmla="*/ 20 w 36"/>
                  <a:gd name="T59" fmla="*/ 17 h 81"/>
                  <a:gd name="T60" fmla="*/ 20 w 36"/>
                  <a:gd name="T61" fmla="*/ 17 h 81"/>
                  <a:gd name="T62" fmla="*/ 22 w 36"/>
                  <a:gd name="T63" fmla="*/ 17 h 81"/>
                  <a:gd name="T64" fmla="*/ 25 w 36"/>
                  <a:gd name="T65" fmla="*/ 20 h 81"/>
                  <a:gd name="T66" fmla="*/ 34 w 36"/>
                  <a:gd name="T67" fmla="*/ 75 h 81"/>
                  <a:gd name="T68" fmla="*/ 34 w 36"/>
                  <a:gd name="T69" fmla="*/ 78 h 81"/>
                  <a:gd name="T70" fmla="*/ 36 w 36"/>
                  <a:gd name="T71" fmla="*/ 78 h 81"/>
                  <a:gd name="T72" fmla="*/ 25 w 36"/>
                  <a:gd name="T73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6" h="81">
                    <a:moveTo>
                      <a:pt x="25" y="81"/>
                    </a:moveTo>
                    <a:lnTo>
                      <a:pt x="22" y="81"/>
                    </a:lnTo>
                    <a:lnTo>
                      <a:pt x="17" y="72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9" y="17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22" y="17"/>
                    </a:lnTo>
                    <a:lnTo>
                      <a:pt x="25" y="20"/>
                    </a:lnTo>
                    <a:lnTo>
                      <a:pt x="34" y="75"/>
                    </a:lnTo>
                    <a:lnTo>
                      <a:pt x="34" y="78"/>
                    </a:lnTo>
                    <a:lnTo>
                      <a:pt x="36" y="78"/>
                    </a:lnTo>
                    <a:lnTo>
                      <a:pt x="25" y="8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7" name="Freeform 587"/>
              <p:cNvSpPr>
                <a:spLocks noChangeAspect="1"/>
              </p:cNvSpPr>
              <p:nvPr>
                <p:custDataLst>
                  <p:tags r:id="rId715"/>
                </p:custDataLst>
              </p:nvPr>
            </p:nvSpPr>
            <p:spPr bwMode="gray">
              <a:xfrm>
                <a:off x="6048158" y="3909841"/>
                <a:ext cx="212584" cy="272775"/>
              </a:xfrm>
              <a:custGeom>
                <a:avLst/>
                <a:gdLst>
                  <a:gd name="T0" fmla="*/ 9 w 162"/>
                  <a:gd name="T1" fmla="*/ 212 h 212"/>
                  <a:gd name="T2" fmla="*/ 0 w 162"/>
                  <a:gd name="T3" fmla="*/ 142 h 212"/>
                  <a:gd name="T4" fmla="*/ 14 w 162"/>
                  <a:gd name="T5" fmla="*/ 128 h 212"/>
                  <a:gd name="T6" fmla="*/ 17 w 162"/>
                  <a:gd name="T7" fmla="*/ 125 h 212"/>
                  <a:gd name="T8" fmla="*/ 37 w 162"/>
                  <a:gd name="T9" fmla="*/ 114 h 212"/>
                  <a:gd name="T10" fmla="*/ 64 w 162"/>
                  <a:gd name="T11" fmla="*/ 109 h 212"/>
                  <a:gd name="T12" fmla="*/ 112 w 162"/>
                  <a:gd name="T13" fmla="*/ 61 h 212"/>
                  <a:gd name="T14" fmla="*/ 48 w 162"/>
                  <a:gd name="T15" fmla="*/ 44 h 212"/>
                  <a:gd name="T16" fmla="*/ 42 w 162"/>
                  <a:gd name="T17" fmla="*/ 39 h 212"/>
                  <a:gd name="T18" fmla="*/ 37 w 162"/>
                  <a:gd name="T19" fmla="*/ 33 h 212"/>
                  <a:gd name="T20" fmla="*/ 34 w 162"/>
                  <a:gd name="T21" fmla="*/ 31 h 212"/>
                  <a:gd name="T22" fmla="*/ 31 w 162"/>
                  <a:gd name="T23" fmla="*/ 25 h 212"/>
                  <a:gd name="T24" fmla="*/ 37 w 162"/>
                  <a:gd name="T25" fmla="*/ 8 h 212"/>
                  <a:gd name="T26" fmla="*/ 37 w 162"/>
                  <a:gd name="T27" fmla="*/ 8 h 212"/>
                  <a:gd name="T28" fmla="*/ 48 w 162"/>
                  <a:gd name="T29" fmla="*/ 22 h 212"/>
                  <a:gd name="T30" fmla="*/ 56 w 162"/>
                  <a:gd name="T31" fmla="*/ 25 h 212"/>
                  <a:gd name="T32" fmla="*/ 73 w 162"/>
                  <a:gd name="T33" fmla="*/ 19 h 212"/>
                  <a:gd name="T34" fmla="*/ 76 w 162"/>
                  <a:gd name="T35" fmla="*/ 17 h 212"/>
                  <a:gd name="T36" fmla="*/ 76 w 162"/>
                  <a:gd name="T37" fmla="*/ 19 h 212"/>
                  <a:gd name="T38" fmla="*/ 78 w 162"/>
                  <a:gd name="T39" fmla="*/ 19 h 212"/>
                  <a:gd name="T40" fmla="*/ 84 w 162"/>
                  <a:gd name="T41" fmla="*/ 19 h 212"/>
                  <a:gd name="T42" fmla="*/ 92 w 162"/>
                  <a:gd name="T43" fmla="*/ 17 h 212"/>
                  <a:gd name="T44" fmla="*/ 98 w 162"/>
                  <a:gd name="T45" fmla="*/ 14 h 212"/>
                  <a:gd name="T46" fmla="*/ 106 w 162"/>
                  <a:gd name="T47" fmla="*/ 14 h 212"/>
                  <a:gd name="T48" fmla="*/ 117 w 162"/>
                  <a:gd name="T49" fmla="*/ 11 h 212"/>
                  <a:gd name="T50" fmla="*/ 128 w 162"/>
                  <a:gd name="T51" fmla="*/ 8 h 212"/>
                  <a:gd name="T52" fmla="*/ 131 w 162"/>
                  <a:gd name="T53" fmla="*/ 8 h 212"/>
                  <a:gd name="T54" fmla="*/ 148 w 162"/>
                  <a:gd name="T55" fmla="*/ 5 h 212"/>
                  <a:gd name="T56" fmla="*/ 151 w 162"/>
                  <a:gd name="T57" fmla="*/ 0 h 212"/>
                  <a:gd name="T58" fmla="*/ 156 w 162"/>
                  <a:gd name="T59" fmla="*/ 3 h 212"/>
                  <a:gd name="T60" fmla="*/ 159 w 162"/>
                  <a:gd name="T61" fmla="*/ 3 h 212"/>
                  <a:gd name="T62" fmla="*/ 159 w 162"/>
                  <a:gd name="T63" fmla="*/ 5 h 212"/>
                  <a:gd name="T64" fmla="*/ 156 w 162"/>
                  <a:gd name="T65" fmla="*/ 11 h 212"/>
                  <a:gd name="T66" fmla="*/ 159 w 162"/>
                  <a:gd name="T67" fmla="*/ 14 h 212"/>
                  <a:gd name="T68" fmla="*/ 159 w 162"/>
                  <a:gd name="T69" fmla="*/ 17 h 212"/>
                  <a:gd name="T70" fmla="*/ 159 w 162"/>
                  <a:gd name="T71" fmla="*/ 22 h 212"/>
                  <a:gd name="T72" fmla="*/ 156 w 162"/>
                  <a:gd name="T73" fmla="*/ 25 h 212"/>
                  <a:gd name="T74" fmla="*/ 159 w 162"/>
                  <a:gd name="T75" fmla="*/ 25 h 212"/>
                  <a:gd name="T76" fmla="*/ 159 w 162"/>
                  <a:gd name="T77" fmla="*/ 25 h 212"/>
                  <a:gd name="T78" fmla="*/ 162 w 162"/>
                  <a:gd name="T79" fmla="*/ 25 h 212"/>
                  <a:gd name="T80" fmla="*/ 162 w 162"/>
                  <a:gd name="T81" fmla="*/ 28 h 212"/>
                  <a:gd name="T82" fmla="*/ 159 w 162"/>
                  <a:gd name="T83" fmla="*/ 25 h 212"/>
                  <a:gd name="T84" fmla="*/ 156 w 162"/>
                  <a:gd name="T85" fmla="*/ 28 h 212"/>
                  <a:gd name="T86" fmla="*/ 153 w 162"/>
                  <a:gd name="T87" fmla="*/ 42 h 212"/>
                  <a:gd name="T88" fmla="*/ 151 w 162"/>
                  <a:gd name="T89" fmla="*/ 44 h 212"/>
                  <a:gd name="T90" fmla="*/ 142 w 162"/>
                  <a:gd name="T91" fmla="*/ 58 h 212"/>
                  <a:gd name="T92" fmla="*/ 137 w 162"/>
                  <a:gd name="T93" fmla="*/ 64 h 212"/>
                  <a:gd name="T94" fmla="*/ 123 w 162"/>
                  <a:gd name="T95" fmla="*/ 97 h 212"/>
                  <a:gd name="T96" fmla="*/ 120 w 162"/>
                  <a:gd name="T97" fmla="*/ 100 h 212"/>
                  <a:gd name="T98" fmla="*/ 120 w 162"/>
                  <a:gd name="T99" fmla="*/ 103 h 212"/>
                  <a:gd name="T100" fmla="*/ 112 w 162"/>
                  <a:gd name="T101" fmla="*/ 111 h 212"/>
                  <a:gd name="T102" fmla="*/ 103 w 162"/>
                  <a:gd name="T103" fmla="*/ 122 h 212"/>
                  <a:gd name="T104" fmla="*/ 87 w 162"/>
                  <a:gd name="T105" fmla="*/ 142 h 212"/>
                  <a:gd name="T106" fmla="*/ 81 w 162"/>
                  <a:gd name="T107" fmla="*/ 150 h 212"/>
                  <a:gd name="T108" fmla="*/ 67 w 162"/>
                  <a:gd name="T109" fmla="*/ 156 h 212"/>
                  <a:gd name="T110" fmla="*/ 31 w 162"/>
                  <a:gd name="T111" fmla="*/ 189 h 212"/>
                  <a:gd name="T112" fmla="*/ 25 w 162"/>
                  <a:gd name="T113" fmla="*/ 189 h 212"/>
                  <a:gd name="T114" fmla="*/ 25 w 162"/>
                  <a:gd name="T115" fmla="*/ 189 h 212"/>
                  <a:gd name="T116" fmla="*/ 25 w 162"/>
                  <a:gd name="T117" fmla="*/ 192 h 212"/>
                  <a:gd name="T118" fmla="*/ 25 w 162"/>
                  <a:gd name="T119" fmla="*/ 195 h 212"/>
                  <a:gd name="T120" fmla="*/ 9 w 162"/>
                  <a:gd name="T121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2" h="212">
                    <a:moveTo>
                      <a:pt x="9" y="212"/>
                    </a:moveTo>
                    <a:lnTo>
                      <a:pt x="9" y="212"/>
                    </a:lnTo>
                    <a:lnTo>
                      <a:pt x="0" y="200"/>
                    </a:lnTo>
                    <a:lnTo>
                      <a:pt x="0" y="142"/>
                    </a:lnTo>
                    <a:lnTo>
                      <a:pt x="3" y="142"/>
                    </a:lnTo>
                    <a:lnTo>
                      <a:pt x="14" y="128"/>
                    </a:lnTo>
                    <a:lnTo>
                      <a:pt x="14" y="125"/>
                    </a:lnTo>
                    <a:lnTo>
                      <a:pt x="17" y="125"/>
                    </a:lnTo>
                    <a:lnTo>
                      <a:pt x="31" y="120"/>
                    </a:lnTo>
                    <a:lnTo>
                      <a:pt x="37" y="114"/>
                    </a:lnTo>
                    <a:lnTo>
                      <a:pt x="45" y="109"/>
                    </a:lnTo>
                    <a:lnTo>
                      <a:pt x="64" y="109"/>
                    </a:lnTo>
                    <a:lnTo>
                      <a:pt x="109" y="61"/>
                    </a:lnTo>
                    <a:lnTo>
                      <a:pt x="112" y="61"/>
                    </a:lnTo>
                    <a:lnTo>
                      <a:pt x="95" y="61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2" y="39"/>
                    </a:lnTo>
                    <a:lnTo>
                      <a:pt x="39" y="36"/>
                    </a:lnTo>
                    <a:lnTo>
                      <a:pt x="37" y="33"/>
                    </a:lnTo>
                    <a:lnTo>
                      <a:pt x="37" y="33"/>
                    </a:lnTo>
                    <a:lnTo>
                      <a:pt x="34" y="31"/>
                    </a:lnTo>
                    <a:lnTo>
                      <a:pt x="34" y="28"/>
                    </a:lnTo>
                    <a:lnTo>
                      <a:pt x="31" y="25"/>
                    </a:lnTo>
                    <a:lnTo>
                      <a:pt x="28" y="19"/>
                    </a:lnTo>
                    <a:lnTo>
                      <a:pt x="37" y="8"/>
                    </a:lnTo>
                    <a:lnTo>
                      <a:pt x="37" y="8"/>
                    </a:lnTo>
                    <a:lnTo>
                      <a:pt x="37" y="8"/>
                    </a:lnTo>
                    <a:lnTo>
                      <a:pt x="39" y="8"/>
                    </a:lnTo>
                    <a:lnTo>
                      <a:pt x="48" y="22"/>
                    </a:lnTo>
                    <a:lnTo>
                      <a:pt x="53" y="25"/>
                    </a:lnTo>
                    <a:lnTo>
                      <a:pt x="56" y="25"/>
                    </a:lnTo>
                    <a:lnTo>
                      <a:pt x="62" y="25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6" y="17"/>
                    </a:lnTo>
                    <a:lnTo>
                      <a:pt x="76" y="17"/>
                    </a:lnTo>
                    <a:lnTo>
                      <a:pt x="76" y="19"/>
                    </a:lnTo>
                    <a:lnTo>
                      <a:pt x="78" y="19"/>
                    </a:lnTo>
                    <a:lnTo>
                      <a:pt x="78" y="19"/>
                    </a:lnTo>
                    <a:lnTo>
                      <a:pt x="81" y="19"/>
                    </a:lnTo>
                    <a:lnTo>
                      <a:pt x="84" y="19"/>
                    </a:lnTo>
                    <a:lnTo>
                      <a:pt x="89" y="19"/>
                    </a:lnTo>
                    <a:lnTo>
                      <a:pt x="92" y="17"/>
                    </a:lnTo>
                    <a:lnTo>
                      <a:pt x="95" y="17"/>
                    </a:lnTo>
                    <a:lnTo>
                      <a:pt x="98" y="14"/>
                    </a:lnTo>
                    <a:lnTo>
                      <a:pt x="101" y="14"/>
                    </a:lnTo>
                    <a:lnTo>
                      <a:pt x="106" y="14"/>
                    </a:lnTo>
                    <a:lnTo>
                      <a:pt x="115" y="14"/>
                    </a:lnTo>
                    <a:lnTo>
                      <a:pt x="117" y="11"/>
                    </a:lnTo>
                    <a:lnTo>
                      <a:pt x="123" y="11"/>
                    </a:lnTo>
                    <a:lnTo>
                      <a:pt x="128" y="8"/>
                    </a:lnTo>
                    <a:lnTo>
                      <a:pt x="131" y="8"/>
                    </a:lnTo>
                    <a:lnTo>
                      <a:pt x="131" y="8"/>
                    </a:lnTo>
                    <a:lnTo>
                      <a:pt x="142" y="5"/>
                    </a:lnTo>
                    <a:lnTo>
                      <a:pt x="148" y="5"/>
                    </a:lnTo>
                    <a:lnTo>
                      <a:pt x="148" y="3"/>
                    </a:lnTo>
                    <a:lnTo>
                      <a:pt x="151" y="0"/>
                    </a:lnTo>
                    <a:lnTo>
                      <a:pt x="153" y="0"/>
                    </a:lnTo>
                    <a:lnTo>
                      <a:pt x="156" y="3"/>
                    </a:lnTo>
                    <a:lnTo>
                      <a:pt x="159" y="3"/>
                    </a:lnTo>
                    <a:lnTo>
                      <a:pt x="159" y="3"/>
                    </a:lnTo>
                    <a:lnTo>
                      <a:pt x="159" y="5"/>
                    </a:lnTo>
                    <a:lnTo>
                      <a:pt x="159" y="5"/>
                    </a:lnTo>
                    <a:lnTo>
                      <a:pt x="156" y="8"/>
                    </a:lnTo>
                    <a:lnTo>
                      <a:pt x="156" y="11"/>
                    </a:lnTo>
                    <a:lnTo>
                      <a:pt x="156" y="14"/>
                    </a:lnTo>
                    <a:lnTo>
                      <a:pt x="159" y="14"/>
                    </a:lnTo>
                    <a:lnTo>
                      <a:pt x="159" y="17"/>
                    </a:lnTo>
                    <a:lnTo>
                      <a:pt x="159" y="17"/>
                    </a:lnTo>
                    <a:lnTo>
                      <a:pt x="159" y="19"/>
                    </a:lnTo>
                    <a:lnTo>
                      <a:pt x="159" y="22"/>
                    </a:lnTo>
                    <a:lnTo>
                      <a:pt x="159" y="22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9" y="25"/>
                    </a:lnTo>
                    <a:lnTo>
                      <a:pt x="159" y="25"/>
                    </a:lnTo>
                    <a:lnTo>
                      <a:pt x="159" y="25"/>
                    </a:lnTo>
                    <a:lnTo>
                      <a:pt x="159" y="25"/>
                    </a:lnTo>
                    <a:lnTo>
                      <a:pt x="162" y="25"/>
                    </a:lnTo>
                    <a:lnTo>
                      <a:pt x="162" y="25"/>
                    </a:lnTo>
                    <a:lnTo>
                      <a:pt x="162" y="28"/>
                    </a:lnTo>
                    <a:lnTo>
                      <a:pt x="159" y="28"/>
                    </a:lnTo>
                    <a:lnTo>
                      <a:pt x="159" y="25"/>
                    </a:lnTo>
                    <a:lnTo>
                      <a:pt x="156" y="25"/>
                    </a:lnTo>
                    <a:lnTo>
                      <a:pt x="156" y="28"/>
                    </a:lnTo>
                    <a:lnTo>
                      <a:pt x="153" y="28"/>
                    </a:lnTo>
                    <a:lnTo>
                      <a:pt x="153" y="42"/>
                    </a:lnTo>
                    <a:lnTo>
                      <a:pt x="151" y="42"/>
                    </a:lnTo>
                    <a:lnTo>
                      <a:pt x="151" y="44"/>
                    </a:lnTo>
                    <a:lnTo>
                      <a:pt x="148" y="47"/>
                    </a:lnTo>
                    <a:lnTo>
                      <a:pt x="142" y="58"/>
                    </a:lnTo>
                    <a:lnTo>
                      <a:pt x="140" y="61"/>
                    </a:lnTo>
                    <a:lnTo>
                      <a:pt x="137" y="64"/>
                    </a:lnTo>
                    <a:lnTo>
                      <a:pt x="137" y="70"/>
                    </a:lnTo>
                    <a:lnTo>
                      <a:pt x="123" y="97"/>
                    </a:lnTo>
                    <a:lnTo>
                      <a:pt x="120" y="100"/>
                    </a:lnTo>
                    <a:lnTo>
                      <a:pt x="120" y="100"/>
                    </a:lnTo>
                    <a:lnTo>
                      <a:pt x="120" y="103"/>
                    </a:lnTo>
                    <a:lnTo>
                      <a:pt x="120" y="103"/>
                    </a:lnTo>
                    <a:lnTo>
                      <a:pt x="115" y="109"/>
                    </a:lnTo>
                    <a:lnTo>
                      <a:pt x="112" y="111"/>
                    </a:lnTo>
                    <a:lnTo>
                      <a:pt x="112" y="111"/>
                    </a:lnTo>
                    <a:lnTo>
                      <a:pt x="103" y="122"/>
                    </a:lnTo>
                    <a:lnTo>
                      <a:pt x="103" y="122"/>
                    </a:lnTo>
                    <a:lnTo>
                      <a:pt x="87" y="142"/>
                    </a:lnTo>
                    <a:lnTo>
                      <a:pt x="87" y="142"/>
                    </a:lnTo>
                    <a:lnTo>
                      <a:pt x="81" y="150"/>
                    </a:lnTo>
                    <a:lnTo>
                      <a:pt x="73" y="156"/>
                    </a:lnTo>
                    <a:lnTo>
                      <a:pt x="67" y="156"/>
                    </a:lnTo>
                    <a:lnTo>
                      <a:pt x="64" y="159"/>
                    </a:lnTo>
                    <a:lnTo>
                      <a:pt x="31" y="189"/>
                    </a:lnTo>
                    <a:lnTo>
                      <a:pt x="28" y="189"/>
                    </a:lnTo>
                    <a:lnTo>
                      <a:pt x="25" y="189"/>
                    </a:lnTo>
                    <a:lnTo>
                      <a:pt x="25" y="189"/>
                    </a:lnTo>
                    <a:lnTo>
                      <a:pt x="25" y="189"/>
                    </a:lnTo>
                    <a:lnTo>
                      <a:pt x="25" y="192"/>
                    </a:lnTo>
                    <a:lnTo>
                      <a:pt x="25" y="192"/>
                    </a:lnTo>
                    <a:lnTo>
                      <a:pt x="25" y="192"/>
                    </a:lnTo>
                    <a:lnTo>
                      <a:pt x="25" y="195"/>
                    </a:lnTo>
                    <a:lnTo>
                      <a:pt x="11" y="212"/>
                    </a:lnTo>
                    <a:lnTo>
                      <a:pt x="9" y="21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8" name="Freeform 588"/>
              <p:cNvSpPr>
                <a:spLocks noChangeAspect="1"/>
              </p:cNvSpPr>
              <p:nvPr>
                <p:custDataLst>
                  <p:tags r:id="rId716"/>
                </p:custDataLst>
              </p:nvPr>
            </p:nvSpPr>
            <p:spPr bwMode="gray">
              <a:xfrm>
                <a:off x="5726246" y="4466432"/>
                <a:ext cx="159438" cy="146637"/>
              </a:xfrm>
              <a:custGeom>
                <a:avLst/>
                <a:gdLst>
                  <a:gd name="T0" fmla="*/ 58 w 122"/>
                  <a:gd name="T1" fmla="*/ 16 h 114"/>
                  <a:gd name="T2" fmla="*/ 58 w 122"/>
                  <a:gd name="T3" fmla="*/ 19 h 114"/>
                  <a:gd name="T4" fmla="*/ 55 w 122"/>
                  <a:gd name="T5" fmla="*/ 19 h 114"/>
                  <a:gd name="T6" fmla="*/ 52 w 122"/>
                  <a:gd name="T7" fmla="*/ 19 h 114"/>
                  <a:gd name="T8" fmla="*/ 50 w 122"/>
                  <a:gd name="T9" fmla="*/ 19 h 114"/>
                  <a:gd name="T10" fmla="*/ 50 w 122"/>
                  <a:gd name="T11" fmla="*/ 19 h 114"/>
                  <a:gd name="T12" fmla="*/ 47 w 122"/>
                  <a:gd name="T13" fmla="*/ 19 h 114"/>
                  <a:gd name="T14" fmla="*/ 44 w 122"/>
                  <a:gd name="T15" fmla="*/ 22 h 114"/>
                  <a:gd name="T16" fmla="*/ 44 w 122"/>
                  <a:gd name="T17" fmla="*/ 22 h 114"/>
                  <a:gd name="T18" fmla="*/ 44 w 122"/>
                  <a:gd name="T19" fmla="*/ 25 h 114"/>
                  <a:gd name="T20" fmla="*/ 41 w 122"/>
                  <a:gd name="T21" fmla="*/ 25 h 114"/>
                  <a:gd name="T22" fmla="*/ 41 w 122"/>
                  <a:gd name="T23" fmla="*/ 25 h 114"/>
                  <a:gd name="T24" fmla="*/ 39 w 122"/>
                  <a:gd name="T25" fmla="*/ 27 h 114"/>
                  <a:gd name="T26" fmla="*/ 36 w 122"/>
                  <a:gd name="T27" fmla="*/ 30 h 114"/>
                  <a:gd name="T28" fmla="*/ 33 w 122"/>
                  <a:gd name="T29" fmla="*/ 33 h 114"/>
                  <a:gd name="T30" fmla="*/ 30 w 122"/>
                  <a:gd name="T31" fmla="*/ 36 h 114"/>
                  <a:gd name="T32" fmla="*/ 27 w 122"/>
                  <a:gd name="T33" fmla="*/ 39 h 114"/>
                  <a:gd name="T34" fmla="*/ 22 w 122"/>
                  <a:gd name="T35" fmla="*/ 39 h 114"/>
                  <a:gd name="T36" fmla="*/ 22 w 122"/>
                  <a:gd name="T37" fmla="*/ 36 h 114"/>
                  <a:gd name="T38" fmla="*/ 19 w 122"/>
                  <a:gd name="T39" fmla="*/ 36 h 114"/>
                  <a:gd name="T40" fmla="*/ 11 w 122"/>
                  <a:gd name="T41" fmla="*/ 36 h 114"/>
                  <a:gd name="T42" fmla="*/ 2 w 122"/>
                  <a:gd name="T43" fmla="*/ 36 h 114"/>
                  <a:gd name="T44" fmla="*/ 0 w 122"/>
                  <a:gd name="T45" fmla="*/ 36 h 114"/>
                  <a:gd name="T46" fmla="*/ 5 w 122"/>
                  <a:gd name="T47" fmla="*/ 44 h 114"/>
                  <a:gd name="T48" fmla="*/ 8 w 122"/>
                  <a:gd name="T49" fmla="*/ 50 h 114"/>
                  <a:gd name="T50" fmla="*/ 27 w 122"/>
                  <a:gd name="T51" fmla="*/ 69 h 114"/>
                  <a:gd name="T52" fmla="*/ 33 w 122"/>
                  <a:gd name="T53" fmla="*/ 77 h 114"/>
                  <a:gd name="T54" fmla="*/ 41 w 122"/>
                  <a:gd name="T55" fmla="*/ 80 h 114"/>
                  <a:gd name="T56" fmla="*/ 44 w 122"/>
                  <a:gd name="T57" fmla="*/ 97 h 114"/>
                  <a:gd name="T58" fmla="*/ 55 w 122"/>
                  <a:gd name="T59" fmla="*/ 100 h 114"/>
                  <a:gd name="T60" fmla="*/ 69 w 122"/>
                  <a:gd name="T61" fmla="*/ 105 h 114"/>
                  <a:gd name="T62" fmla="*/ 89 w 122"/>
                  <a:gd name="T63" fmla="*/ 108 h 114"/>
                  <a:gd name="T64" fmla="*/ 100 w 122"/>
                  <a:gd name="T65" fmla="*/ 114 h 114"/>
                  <a:gd name="T66" fmla="*/ 100 w 122"/>
                  <a:gd name="T67" fmla="*/ 114 h 114"/>
                  <a:gd name="T68" fmla="*/ 100 w 122"/>
                  <a:gd name="T69" fmla="*/ 111 h 114"/>
                  <a:gd name="T70" fmla="*/ 103 w 122"/>
                  <a:gd name="T71" fmla="*/ 103 h 114"/>
                  <a:gd name="T72" fmla="*/ 119 w 122"/>
                  <a:gd name="T73" fmla="*/ 69 h 114"/>
                  <a:gd name="T74" fmla="*/ 122 w 122"/>
                  <a:gd name="T75" fmla="*/ 50 h 114"/>
                  <a:gd name="T76" fmla="*/ 119 w 122"/>
                  <a:gd name="T77" fmla="*/ 16 h 114"/>
                  <a:gd name="T78" fmla="*/ 91 w 122"/>
                  <a:gd name="T79" fmla="*/ 5 h 114"/>
                  <a:gd name="T80" fmla="*/ 80 w 122"/>
                  <a:gd name="T81" fmla="*/ 0 h 114"/>
                  <a:gd name="T82" fmla="*/ 78 w 122"/>
                  <a:gd name="T83" fmla="*/ 0 h 114"/>
                  <a:gd name="T84" fmla="*/ 75 w 122"/>
                  <a:gd name="T85" fmla="*/ 0 h 114"/>
                  <a:gd name="T86" fmla="*/ 72 w 122"/>
                  <a:gd name="T87" fmla="*/ 0 h 114"/>
                  <a:gd name="T88" fmla="*/ 64 w 122"/>
                  <a:gd name="T89" fmla="*/ 0 h 114"/>
                  <a:gd name="T90" fmla="*/ 58 w 122"/>
                  <a:gd name="T91" fmla="*/ 5 h 114"/>
                  <a:gd name="T92" fmla="*/ 55 w 122"/>
                  <a:gd name="T93" fmla="*/ 1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2" h="114">
                    <a:moveTo>
                      <a:pt x="55" y="13"/>
                    </a:moveTo>
                    <a:lnTo>
                      <a:pt x="58" y="16"/>
                    </a:lnTo>
                    <a:lnTo>
                      <a:pt x="58" y="16"/>
                    </a:lnTo>
                    <a:lnTo>
                      <a:pt x="58" y="19"/>
                    </a:lnTo>
                    <a:lnTo>
                      <a:pt x="55" y="19"/>
                    </a:lnTo>
                    <a:lnTo>
                      <a:pt x="55" y="19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50" y="19"/>
                    </a:lnTo>
                    <a:lnTo>
                      <a:pt x="47" y="19"/>
                    </a:lnTo>
                    <a:lnTo>
                      <a:pt x="47" y="19"/>
                    </a:lnTo>
                    <a:lnTo>
                      <a:pt x="47" y="19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5"/>
                    </a:lnTo>
                    <a:lnTo>
                      <a:pt x="44" y="22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39" y="27"/>
                    </a:lnTo>
                    <a:lnTo>
                      <a:pt x="39" y="27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0" y="36"/>
                    </a:lnTo>
                    <a:lnTo>
                      <a:pt x="27" y="36"/>
                    </a:lnTo>
                    <a:lnTo>
                      <a:pt x="27" y="39"/>
                    </a:lnTo>
                    <a:lnTo>
                      <a:pt x="25" y="39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22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6" y="36"/>
                    </a:lnTo>
                    <a:lnTo>
                      <a:pt x="11" y="36"/>
                    </a:lnTo>
                    <a:lnTo>
                      <a:pt x="8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5" y="44"/>
                    </a:lnTo>
                    <a:lnTo>
                      <a:pt x="8" y="47"/>
                    </a:lnTo>
                    <a:lnTo>
                      <a:pt x="8" y="50"/>
                    </a:lnTo>
                    <a:lnTo>
                      <a:pt x="22" y="69"/>
                    </a:lnTo>
                    <a:lnTo>
                      <a:pt x="27" y="69"/>
                    </a:lnTo>
                    <a:lnTo>
                      <a:pt x="30" y="72"/>
                    </a:lnTo>
                    <a:lnTo>
                      <a:pt x="33" y="77"/>
                    </a:lnTo>
                    <a:lnTo>
                      <a:pt x="39" y="77"/>
                    </a:lnTo>
                    <a:lnTo>
                      <a:pt x="41" y="80"/>
                    </a:lnTo>
                    <a:lnTo>
                      <a:pt x="41" y="91"/>
                    </a:lnTo>
                    <a:lnTo>
                      <a:pt x="44" y="97"/>
                    </a:lnTo>
                    <a:lnTo>
                      <a:pt x="47" y="100"/>
                    </a:lnTo>
                    <a:lnTo>
                      <a:pt x="55" y="100"/>
                    </a:lnTo>
                    <a:lnTo>
                      <a:pt x="66" y="105"/>
                    </a:lnTo>
                    <a:lnTo>
                      <a:pt x="69" y="105"/>
                    </a:lnTo>
                    <a:lnTo>
                      <a:pt x="78" y="108"/>
                    </a:lnTo>
                    <a:lnTo>
                      <a:pt x="89" y="108"/>
                    </a:lnTo>
                    <a:lnTo>
                      <a:pt x="94" y="108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100" y="111"/>
                    </a:lnTo>
                    <a:lnTo>
                      <a:pt x="103" y="105"/>
                    </a:lnTo>
                    <a:lnTo>
                      <a:pt x="103" y="103"/>
                    </a:lnTo>
                    <a:lnTo>
                      <a:pt x="108" y="100"/>
                    </a:lnTo>
                    <a:lnTo>
                      <a:pt x="119" y="69"/>
                    </a:lnTo>
                    <a:lnTo>
                      <a:pt x="119" y="55"/>
                    </a:lnTo>
                    <a:lnTo>
                      <a:pt x="122" y="50"/>
                    </a:lnTo>
                    <a:lnTo>
                      <a:pt x="122" y="30"/>
                    </a:lnTo>
                    <a:lnTo>
                      <a:pt x="119" y="16"/>
                    </a:lnTo>
                    <a:lnTo>
                      <a:pt x="117" y="13"/>
                    </a:lnTo>
                    <a:lnTo>
                      <a:pt x="91" y="5"/>
                    </a:lnTo>
                    <a:lnTo>
                      <a:pt x="80" y="5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58" y="5"/>
                    </a:lnTo>
                    <a:lnTo>
                      <a:pt x="58" y="5"/>
                    </a:lnTo>
                    <a:lnTo>
                      <a:pt x="55" y="5"/>
                    </a:lnTo>
                    <a:lnTo>
                      <a:pt x="55" y="1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9" name="Freeform 589"/>
              <p:cNvSpPr>
                <a:spLocks noChangeAspect="1"/>
              </p:cNvSpPr>
              <p:nvPr>
                <p:custDataLst>
                  <p:tags r:id="rId717"/>
                </p:custDataLst>
              </p:nvPr>
            </p:nvSpPr>
            <p:spPr bwMode="gray">
              <a:xfrm>
                <a:off x="5659435" y="3676485"/>
                <a:ext cx="337098" cy="402068"/>
              </a:xfrm>
              <a:custGeom>
                <a:avLst/>
                <a:gdLst>
                  <a:gd name="T0" fmla="*/ 17 w 259"/>
                  <a:gd name="T1" fmla="*/ 120 h 312"/>
                  <a:gd name="T2" fmla="*/ 6 w 259"/>
                  <a:gd name="T3" fmla="*/ 139 h 312"/>
                  <a:gd name="T4" fmla="*/ 6 w 259"/>
                  <a:gd name="T5" fmla="*/ 148 h 312"/>
                  <a:gd name="T6" fmla="*/ 3 w 259"/>
                  <a:gd name="T7" fmla="*/ 156 h 312"/>
                  <a:gd name="T8" fmla="*/ 3 w 259"/>
                  <a:gd name="T9" fmla="*/ 170 h 312"/>
                  <a:gd name="T10" fmla="*/ 12 w 259"/>
                  <a:gd name="T11" fmla="*/ 186 h 312"/>
                  <a:gd name="T12" fmla="*/ 14 w 259"/>
                  <a:gd name="T13" fmla="*/ 189 h 312"/>
                  <a:gd name="T14" fmla="*/ 26 w 259"/>
                  <a:gd name="T15" fmla="*/ 212 h 312"/>
                  <a:gd name="T16" fmla="*/ 26 w 259"/>
                  <a:gd name="T17" fmla="*/ 228 h 312"/>
                  <a:gd name="T18" fmla="*/ 37 w 259"/>
                  <a:gd name="T19" fmla="*/ 237 h 312"/>
                  <a:gd name="T20" fmla="*/ 51 w 259"/>
                  <a:gd name="T21" fmla="*/ 242 h 312"/>
                  <a:gd name="T22" fmla="*/ 53 w 259"/>
                  <a:gd name="T23" fmla="*/ 251 h 312"/>
                  <a:gd name="T24" fmla="*/ 70 w 259"/>
                  <a:gd name="T25" fmla="*/ 262 h 312"/>
                  <a:gd name="T26" fmla="*/ 76 w 259"/>
                  <a:gd name="T27" fmla="*/ 273 h 312"/>
                  <a:gd name="T28" fmla="*/ 87 w 259"/>
                  <a:gd name="T29" fmla="*/ 281 h 312"/>
                  <a:gd name="T30" fmla="*/ 95 w 259"/>
                  <a:gd name="T31" fmla="*/ 292 h 312"/>
                  <a:gd name="T32" fmla="*/ 106 w 259"/>
                  <a:gd name="T33" fmla="*/ 298 h 312"/>
                  <a:gd name="T34" fmla="*/ 117 w 259"/>
                  <a:gd name="T35" fmla="*/ 298 h 312"/>
                  <a:gd name="T36" fmla="*/ 142 w 259"/>
                  <a:gd name="T37" fmla="*/ 312 h 312"/>
                  <a:gd name="T38" fmla="*/ 151 w 259"/>
                  <a:gd name="T39" fmla="*/ 309 h 312"/>
                  <a:gd name="T40" fmla="*/ 159 w 259"/>
                  <a:gd name="T41" fmla="*/ 312 h 312"/>
                  <a:gd name="T42" fmla="*/ 190 w 259"/>
                  <a:gd name="T43" fmla="*/ 303 h 312"/>
                  <a:gd name="T44" fmla="*/ 198 w 259"/>
                  <a:gd name="T45" fmla="*/ 295 h 312"/>
                  <a:gd name="T46" fmla="*/ 218 w 259"/>
                  <a:gd name="T47" fmla="*/ 284 h 312"/>
                  <a:gd name="T48" fmla="*/ 201 w 259"/>
                  <a:gd name="T49" fmla="*/ 264 h 312"/>
                  <a:gd name="T50" fmla="*/ 190 w 259"/>
                  <a:gd name="T51" fmla="*/ 253 h 312"/>
                  <a:gd name="T52" fmla="*/ 181 w 259"/>
                  <a:gd name="T53" fmla="*/ 248 h 312"/>
                  <a:gd name="T54" fmla="*/ 176 w 259"/>
                  <a:gd name="T55" fmla="*/ 245 h 312"/>
                  <a:gd name="T56" fmla="*/ 176 w 259"/>
                  <a:gd name="T57" fmla="*/ 242 h 312"/>
                  <a:gd name="T58" fmla="*/ 187 w 259"/>
                  <a:gd name="T59" fmla="*/ 237 h 312"/>
                  <a:gd name="T60" fmla="*/ 193 w 259"/>
                  <a:gd name="T61" fmla="*/ 203 h 312"/>
                  <a:gd name="T62" fmla="*/ 198 w 259"/>
                  <a:gd name="T63" fmla="*/ 198 h 312"/>
                  <a:gd name="T64" fmla="*/ 206 w 259"/>
                  <a:gd name="T65" fmla="*/ 184 h 312"/>
                  <a:gd name="T66" fmla="*/ 223 w 259"/>
                  <a:gd name="T67" fmla="*/ 164 h 312"/>
                  <a:gd name="T68" fmla="*/ 237 w 259"/>
                  <a:gd name="T69" fmla="*/ 97 h 312"/>
                  <a:gd name="T70" fmla="*/ 245 w 259"/>
                  <a:gd name="T71" fmla="*/ 95 h 312"/>
                  <a:gd name="T72" fmla="*/ 259 w 259"/>
                  <a:gd name="T73" fmla="*/ 81 h 312"/>
                  <a:gd name="T74" fmla="*/ 254 w 259"/>
                  <a:gd name="T75" fmla="*/ 78 h 312"/>
                  <a:gd name="T76" fmla="*/ 243 w 259"/>
                  <a:gd name="T77" fmla="*/ 72 h 312"/>
                  <a:gd name="T78" fmla="*/ 240 w 259"/>
                  <a:gd name="T79" fmla="*/ 33 h 312"/>
                  <a:gd name="T80" fmla="*/ 234 w 259"/>
                  <a:gd name="T81" fmla="*/ 17 h 312"/>
                  <a:gd name="T82" fmla="*/ 226 w 259"/>
                  <a:gd name="T83" fmla="*/ 8 h 312"/>
                  <a:gd name="T84" fmla="*/ 206 w 259"/>
                  <a:gd name="T85" fmla="*/ 6 h 312"/>
                  <a:gd name="T86" fmla="*/ 193 w 259"/>
                  <a:gd name="T87" fmla="*/ 14 h 312"/>
                  <a:gd name="T88" fmla="*/ 176 w 259"/>
                  <a:gd name="T89" fmla="*/ 17 h 312"/>
                  <a:gd name="T90" fmla="*/ 151 w 259"/>
                  <a:gd name="T91" fmla="*/ 14 h 312"/>
                  <a:gd name="T92" fmla="*/ 145 w 259"/>
                  <a:gd name="T93" fmla="*/ 17 h 312"/>
                  <a:gd name="T94" fmla="*/ 34 w 259"/>
                  <a:gd name="T95" fmla="*/ 50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9" h="312">
                    <a:moveTo>
                      <a:pt x="34" y="58"/>
                    </a:moveTo>
                    <a:lnTo>
                      <a:pt x="34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8"/>
                    </a:lnTo>
                    <a:lnTo>
                      <a:pt x="6" y="139"/>
                    </a:lnTo>
                    <a:lnTo>
                      <a:pt x="9" y="145"/>
                    </a:lnTo>
                    <a:lnTo>
                      <a:pt x="9" y="148"/>
                    </a:lnTo>
                    <a:lnTo>
                      <a:pt x="6" y="148"/>
                    </a:lnTo>
                    <a:lnTo>
                      <a:pt x="6" y="148"/>
                    </a:lnTo>
                    <a:lnTo>
                      <a:pt x="3" y="150"/>
                    </a:lnTo>
                    <a:lnTo>
                      <a:pt x="3" y="156"/>
                    </a:lnTo>
                    <a:lnTo>
                      <a:pt x="0" y="161"/>
                    </a:lnTo>
                    <a:lnTo>
                      <a:pt x="0" y="170"/>
                    </a:lnTo>
                    <a:lnTo>
                      <a:pt x="3" y="170"/>
                    </a:lnTo>
                    <a:lnTo>
                      <a:pt x="9" y="167"/>
                    </a:lnTo>
                    <a:lnTo>
                      <a:pt x="9" y="173"/>
                    </a:lnTo>
                    <a:lnTo>
                      <a:pt x="12" y="186"/>
                    </a:lnTo>
                    <a:lnTo>
                      <a:pt x="12" y="186"/>
                    </a:lnTo>
                    <a:lnTo>
                      <a:pt x="14" y="186"/>
                    </a:lnTo>
                    <a:lnTo>
                      <a:pt x="14" y="189"/>
                    </a:lnTo>
                    <a:lnTo>
                      <a:pt x="17" y="195"/>
                    </a:lnTo>
                    <a:lnTo>
                      <a:pt x="14" y="195"/>
                    </a:lnTo>
                    <a:lnTo>
                      <a:pt x="26" y="212"/>
                    </a:lnTo>
                    <a:lnTo>
                      <a:pt x="28" y="214"/>
                    </a:lnTo>
                    <a:lnTo>
                      <a:pt x="26" y="225"/>
                    </a:lnTo>
                    <a:lnTo>
                      <a:pt x="26" y="228"/>
                    </a:lnTo>
                    <a:lnTo>
                      <a:pt x="28" y="231"/>
                    </a:lnTo>
                    <a:lnTo>
                      <a:pt x="37" y="231"/>
                    </a:lnTo>
                    <a:lnTo>
                      <a:pt x="37" y="237"/>
                    </a:lnTo>
                    <a:lnTo>
                      <a:pt x="39" y="239"/>
                    </a:lnTo>
                    <a:lnTo>
                      <a:pt x="48" y="239"/>
                    </a:lnTo>
                    <a:lnTo>
                      <a:pt x="51" y="242"/>
                    </a:lnTo>
                    <a:lnTo>
                      <a:pt x="53" y="242"/>
                    </a:lnTo>
                    <a:lnTo>
                      <a:pt x="51" y="245"/>
                    </a:lnTo>
                    <a:lnTo>
                      <a:pt x="53" y="251"/>
                    </a:lnTo>
                    <a:lnTo>
                      <a:pt x="64" y="256"/>
                    </a:lnTo>
                    <a:lnTo>
                      <a:pt x="67" y="259"/>
                    </a:lnTo>
                    <a:lnTo>
                      <a:pt x="70" y="262"/>
                    </a:lnTo>
                    <a:lnTo>
                      <a:pt x="73" y="267"/>
                    </a:lnTo>
                    <a:lnTo>
                      <a:pt x="73" y="270"/>
                    </a:lnTo>
                    <a:lnTo>
                      <a:pt x="76" y="273"/>
                    </a:lnTo>
                    <a:lnTo>
                      <a:pt x="78" y="273"/>
                    </a:lnTo>
                    <a:lnTo>
                      <a:pt x="87" y="278"/>
                    </a:lnTo>
                    <a:lnTo>
                      <a:pt x="87" y="281"/>
                    </a:lnTo>
                    <a:lnTo>
                      <a:pt x="87" y="284"/>
                    </a:lnTo>
                    <a:lnTo>
                      <a:pt x="92" y="290"/>
                    </a:lnTo>
                    <a:lnTo>
                      <a:pt x="95" y="292"/>
                    </a:lnTo>
                    <a:lnTo>
                      <a:pt x="98" y="298"/>
                    </a:lnTo>
                    <a:lnTo>
                      <a:pt x="103" y="301"/>
                    </a:lnTo>
                    <a:lnTo>
                      <a:pt x="106" y="298"/>
                    </a:lnTo>
                    <a:lnTo>
                      <a:pt x="109" y="298"/>
                    </a:lnTo>
                    <a:lnTo>
                      <a:pt x="115" y="298"/>
                    </a:lnTo>
                    <a:lnTo>
                      <a:pt x="117" y="298"/>
                    </a:lnTo>
                    <a:lnTo>
                      <a:pt x="123" y="295"/>
                    </a:lnTo>
                    <a:lnTo>
                      <a:pt x="140" y="312"/>
                    </a:lnTo>
                    <a:lnTo>
                      <a:pt x="142" y="312"/>
                    </a:lnTo>
                    <a:lnTo>
                      <a:pt x="145" y="309"/>
                    </a:lnTo>
                    <a:lnTo>
                      <a:pt x="148" y="309"/>
                    </a:lnTo>
                    <a:lnTo>
                      <a:pt x="151" y="309"/>
                    </a:lnTo>
                    <a:lnTo>
                      <a:pt x="154" y="309"/>
                    </a:lnTo>
                    <a:lnTo>
                      <a:pt x="156" y="309"/>
                    </a:lnTo>
                    <a:lnTo>
                      <a:pt x="159" y="312"/>
                    </a:lnTo>
                    <a:lnTo>
                      <a:pt x="181" y="309"/>
                    </a:lnTo>
                    <a:lnTo>
                      <a:pt x="190" y="303"/>
                    </a:lnTo>
                    <a:lnTo>
                      <a:pt x="190" y="303"/>
                    </a:lnTo>
                    <a:lnTo>
                      <a:pt x="190" y="303"/>
                    </a:lnTo>
                    <a:lnTo>
                      <a:pt x="193" y="298"/>
                    </a:lnTo>
                    <a:lnTo>
                      <a:pt x="198" y="295"/>
                    </a:lnTo>
                    <a:lnTo>
                      <a:pt x="218" y="295"/>
                    </a:lnTo>
                    <a:lnTo>
                      <a:pt x="218" y="284"/>
                    </a:lnTo>
                    <a:lnTo>
                      <a:pt x="218" y="284"/>
                    </a:lnTo>
                    <a:lnTo>
                      <a:pt x="209" y="281"/>
                    </a:lnTo>
                    <a:lnTo>
                      <a:pt x="206" y="281"/>
                    </a:lnTo>
                    <a:lnTo>
                      <a:pt x="201" y="264"/>
                    </a:lnTo>
                    <a:lnTo>
                      <a:pt x="193" y="259"/>
                    </a:lnTo>
                    <a:lnTo>
                      <a:pt x="190" y="256"/>
                    </a:lnTo>
                    <a:lnTo>
                      <a:pt x="190" y="253"/>
                    </a:lnTo>
                    <a:lnTo>
                      <a:pt x="187" y="251"/>
                    </a:lnTo>
                    <a:lnTo>
                      <a:pt x="184" y="248"/>
                    </a:lnTo>
                    <a:lnTo>
                      <a:pt x="181" y="248"/>
                    </a:lnTo>
                    <a:lnTo>
                      <a:pt x="179" y="248"/>
                    </a:lnTo>
                    <a:lnTo>
                      <a:pt x="179" y="245"/>
                    </a:lnTo>
                    <a:lnTo>
                      <a:pt x="176" y="245"/>
                    </a:lnTo>
                    <a:lnTo>
                      <a:pt x="173" y="245"/>
                    </a:lnTo>
                    <a:lnTo>
                      <a:pt x="176" y="242"/>
                    </a:lnTo>
                    <a:lnTo>
                      <a:pt x="176" y="242"/>
                    </a:lnTo>
                    <a:lnTo>
                      <a:pt x="176" y="237"/>
                    </a:lnTo>
                    <a:lnTo>
                      <a:pt x="179" y="237"/>
                    </a:lnTo>
                    <a:lnTo>
                      <a:pt x="187" y="237"/>
                    </a:lnTo>
                    <a:lnTo>
                      <a:pt x="190" y="234"/>
                    </a:lnTo>
                    <a:lnTo>
                      <a:pt x="193" y="234"/>
                    </a:lnTo>
                    <a:lnTo>
                      <a:pt x="193" y="203"/>
                    </a:lnTo>
                    <a:lnTo>
                      <a:pt x="195" y="203"/>
                    </a:lnTo>
                    <a:lnTo>
                      <a:pt x="198" y="198"/>
                    </a:lnTo>
                    <a:lnTo>
                      <a:pt x="198" y="198"/>
                    </a:lnTo>
                    <a:lnTo>
                      <a:pt x="204" y="198"/>
                    </a:lnTo>
                    <a:lnTo>
                      <a:pt x="204" y="195"/>
                    </a:lnTo>
                    <a:lnTo>
                      <a:pt x="206" y="184"/>
                    </a:lnTo>
                    <a:lnTo>
                      <a:pt x="220" y="167"/>
                    </a:lnTo>
                    <a:lnTo>
                      <a:pt x="220" y="167"/>
                    </a:lnTo>
                    <a:lnTo>
                      <a:pt x="223" y="164"/>
                    </a:lnTo>
                    <a:lnTo>
                      <a:pt x="229" y="145"/>
                    </a:lnTo>
                    <a:lnTo>
                      <a:pt x="229" y="134"/>
                    </a:lnTo>
                    <a:lnTo>
                      <a:pt x="237" y="97"/>
                    </a:lnTo>
                    <a:lnTo>
                      <a:pt x="240" y="97"/>
                    </a:lnTo>
                    <a:lnTo>
                      <a:pt x="243" y="97"/>
                    </a:lnTo>
                    <a:lnTo>
                      <a:pt x="245" y="95"/>
                    </a:lnTo>
                    <a:lnTo>
                      <a:pt x="257" y="89"/>
                    </a:lnTo>
                    <a:lnTo>
                      <a:pt x="259" y="83"/>
                    </a:lnTo>
                    <a:lnTo>
                      <a:pt x="259" y="81"/>
                    </a:lnTo>
                    <a:lnTo>
                      <a:pt x="257" y="81"/>
                    </a:lnTo>
                    <a:lnTo>
                      <a:pt x="257" y="78"/>
                    </a:lnTo>
                    <a:lnTo>
                      <a:pt x="254" y="78"/>
                    </a:lnTo>
                    <a:lnTo>
                      <a:pt x="254" y="75"/>
                    </a:lnTo>
                    <a:lnTo>
                      <a:pt x="251" y="75"/>
                    </a:lnTo>
                    <a:lnTo>
                      <a:pt x="243" y="72"/>
                    </a:lnTo>
                    <a:lnTo>
                      <a:pt x="243" y="70"/>
                    </a:lnTo>
                    <a:lnTo>
                      <a:pt x="240" y="33"/>
                    </a:lnTo>
                    <a:lnTo>
                      <a:pt x="240" y="33"/>
                    </a:lnTo>
                    <a:lnTo>
                      <a:pt x="240" y="31"/>
                    </a:lnTo>
                    <a:lnTo>
                      <a:pt x="234" y="25"/>
                    </a:lnTo>
                    <a:lnTo>
                      <a:pt x="234" y="17"/>
                    </a:lnTo>
                    <a:lnTo>
                      <a:pt x="232" y="14"/>
                    </a:lnTo>
                    <a:lnTo>
                      <a:pt x="229" y="11"/>
                    </a:lnTo>
                    <a:lnTo>
                      <a:pt x="226" y="8"/>
                    </a:lnTo>
                    <a:lnTo>
                      <a:pt x="218" y="6"/>
                    </a:lnTo>
                    <a:lnTo>
                      <a:pt x="215" y="0"/>
                    </a:lnTo>
                    <a:lnTo>
                      <a:pt x="206" y="6"/>
                    </a:lnTo>
                    <a:lnTo>
                      <a:pt x="204" y="3"/>
                    </a:lnTo>
                    <a:lnTo>
                      <a:pt x="201" y="11"/>
                    </a:lnTo>
                    <a:lnTo>
                      <a:pt x="193" y="14"/>
                    </a:lnTo>
                    <a:lnTo>
                      <a:pt x="190" y="22"/>
                    </a:lnTo>
                    <a:lnTo>
                      <a:pt x="181" y="22"/>
                    </a:lnTo>
                    <a:lnTo>
                      <a:pt x="176" y="17"/>
                    </a:lnTo>
                    <a:lnTo>
                      <a:pt x="151" y="17"/>
                    </a:lnTo>
                    <a:lnTo>
                      <a:pt x="151" y="14"/>
                    </a:lnTo>
                    <a:lnTo>
                      <a:pt x="151" y="14"/>
                    </a:lnTo>
                    <a:lnTo>
                      <a:pt x="151" y="14"/>
                    </a:lnTo>
                    <a:lnTo>
                      <a:pt x="148" y="14"/>
                    </a:lnTo>
                    <a:lnTo>
                      <a:pt x="145" y="17"/>
                    </a:lnTo>
                    <a:lnTo>
                      <a:pt x="51" y="17"/>
                    </a:lnTo>
                    <a:lnTo>
                      <a:pt x="51" y="50"/>
                    </a:lnTo>
                    <a:lnTo>
                      <a:pt x="34" y="50"/>
                    </a:lnTo>
                    <a:lnTo>
                      <a:pt x="34" y="5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0" name="Freeform 590"/>
              <p:cNvSpPr>
                <a:spLocks noChangeAspect="1"/>
              </p:cNvSpPr>
              <p:nvPr>
                <p:custDataLst>
                  <p:tags r:id="rId718"/>
                </p:custDataLst>
              </p:nvPr>
            </p:nvSpPr>
            <p:spPr bwMode="gray">
              <a:xfrm>
                <a:off x="5219081" y="3667025"/>
                <a:ext cx="321913" cy="247547"/>
              </a:xfrm>
              <a:custGeom>
                <a:avLst/>
                <a:gdLst>
                  <a:gd name="T0" fmla="*/ 64 w 248"/>
                  <a:gd name="T1" fmla="*/ 122 h 192"/>
                  <a:gd name="T2" fmla="*/ 58 w 248"/>
                  <a:gd name="T3" fmla="*/ 125 h 192"/>
                  <a:gd name="T4" fmla="*/ 58 w 248"/>
                  <a:gd name="T5" fmla="*/ 128 h 192"/>
                  <a:gd name="T6" fmla="*/ 53 w 248"/>
                  <a:gd name="T7" fmla="*/ 133 h 192"/>
                  <a:gd name="T8" fmla="*/ 44 w 248"/>
                  <a:gd name="T9" fmla="*/ 133 h 192"/>
                  <a:gd name="T10" fmla="*/ 44 w 248"/>
                  <a:gd name="T11" fmla="*/ 133 h 192"/>
                  <a:gd name="T12" fmla="*/ 11 w 248"/>
                  <a:gd name="T13" fmla="*/ 139 h 192"/>
                  <a:gd name="T14" fmla="*/ 0 w 248"/>
                  <a:gd name="T15" fmla="*/ 142 h 192"/>
                  <a:gd name="T16" fmla="*/ 0 w 248"/>
                  <a:gd name="T17" fmla="*/ 147 h 192"/>
                  <a:gd name="T18" fmla="*/ 3 w 248"/>
                  <a:gd name="T19" fmla="*/ 150 h 192"/>
                  <a:gd name="T20" fmla="*/ 3 w 248"/>
                  <a:gd name="T21" fmla="*/ 153 h 192"/>
                  <a:gd name="T22" fmla="*/ 19 w 248"/>
                  <a:gd name="T23" fmla="*/ 175 h 192"/>
                  <a:gd name="T24" fmla="*/ 25 w 248"/>
                  <a:gd name="T25" fmla="*/ 178 h 192"/>
                  <a:gd name="T26" fmla="*/ 28 w 248"/>
                  <a:gd name="T27" fmla="*/ 175 h 192"/>
                  <a:gd name="T28" fmla="*/ 30 w 248"/>
                  <a:gd name="T29" fmla="*/ 178 h 192"/>
                  <a:gd name="T30" fmla="*/ 33 w 248"/>
                  <a:gd name="T31" fmla="*/ 181 h 192"/>
                  <a:gd name="T32" fmla="*/ 30 w 248"/>
                  <a:gd name="T33" fmla="*/ 181 h 192"/>
                  <a:gd name="T34" fmla="*/ 30 w 248"/>
                  <a:gd name="T35" fmla="*/ 183 h 192"/>
                  <a:gd name="T36" fmla="*/ 39 w 248"/>
                  <a:gd name="T37" fmla="*/ 186 h 192"/>
                  <a:gd name="T38" fmla="*/ 36 w 248"/>
                  <a:gd name="T39" fmla="*/ 183 h 192"/>
                  <a:gd name="T40" fmla="*/ 42 w 248"/>
                  <a:gd name="T41" fmla="*/ 181 h 192"/>
                  <a:gd name="T42" fmla="*/ 55 w 248"/>
                  <a:gd name="T43" fmla="*/ 181 h 192"/>
                  <a:gd name="T44" fmla="*/ 55 w 248"/>
                  <a:gd name="T45" fmla="*/ 178 h 192"/>
                  <a:gd name="T46" fmla="*/ 61 w 248"/>
                  <a:gd name="T47" fmla="*/ 175 h 192"/>
                  <a:gd name="T48" fmla="*/ 67 w 248"/>
                  <a:gd name="T49" fmla="*/ 161 h 192"/>
                  <a:gd name="T50" fmla="*/ 97 w 248"/>
                  <a:gd name="T51" fmla="*/ 164 h 192"/>
                  <a:gd name="T52" fmla="*/ 106 w 248"/>
                  <a:gd name="T53" fmla="*/ 172 h 192"/>
                  <a:gd name="T54" fmla="*/ 111 w 248"/>
                  <a:gd name="T55" fmla="*/ 169 h 192"/>
                  <a:gd name="T56" fmla="*/ 122 w 248"/>
                  <a:gd name="T57" fmla="*/ 167 h 192"/>
                  <a:gd name="T58" fmla="*/ 145 w 248"/>
                  <a:gd name="T59" fmla="*/ 175 h 192"/>
                  <a:gd name="T60" fmla="*/ 158 w 248"/>
                  <a:gd name="T61" fmla="*/ 167 h 192"/>
                  <a:gd name="T62" fmla="*/ 186 w 248"/>
                  <a:gd name="T63" fmla="*/ 169 h 192"/>
                  <a:gd name="T64" fmla="*/ 192 w 248"/>
                  <a:gd name="T65" fmla="*/ 167 h 192"/>
                  <a:gd name="T66" fmla="*/ 195 w 248"/>
                  <a:gd name="T67" fmla="*/ 164 h 192"/>
                  <a:gd name="T68" fmla="*/ 200 w 248"/>
                  <a:gd name="T69" fmla="*/ 164 h 192"/>
                  <a:gd name="T70" fmla="*/ 203 w 248"/>
                  <a:gd name="T71" fmla="*/ 158 h 192"/>
                  <a:gd name="T72" fmla="*/ 203 w 248"/>
                  <a:gd name="T73" fmla="*/ 158 h 192"/>
                  <a:gd name="T74" fmla="*/ 200 w 248"/>
                  <a:gd name="T75" fmla="*/ 156 h 192"/>
                  <a:gd name="T76" fmla="*/ 203 w 248"/>
                  <a:gd name="T77" fmla="*/ 153 h 192"/>
                  <a:gd name="T78" fmla="*/ 206 w 248"/>
                  <a:gd name="T79" fmla="*/ 150 h 192"/>
                  <a:gd name="T80" fmla="*/ 206 w 248"/>
                  <a:gd name="T81" fmla="*/ 147 h 192"/>
                  <a:gd name="T82" fmla="*/ 211 w 248"/>
                  <a:gd name="T83" fmla="*/ 144 h 192"/>
                  <a:gd name="T84" fmla="*/ 211 w 248"/>
                  <a:gd name="T85" fmla="*/ 142 h 192"/>
                  <a:gd name="T86" fmla="*/ 236 w 248"/>
                  <a:gd name="T87" fmla="*/ 108 h 192"/>
                  <a:gd name="T88" fmla="*/ 248 w 248"/>
                  <a:gd name="T89" fmla="*/ 52 h 192"/>
                  <a:gd name="T90" fmla="*/ 236 w 248"/>
                  <a:gd name="T91" fmla="*/ 44 h 192"/>
                  <a:gd name="T92" fmla="*/ 234 w 248"/>
                  <a:gd name="T93" fmla="*/ 36 h 192"/>
                  <a:gd name="T94" fmla="*/ 234 w 248"/>
                  <a:gd name="T95" fmla="*/ 8 h 192"/>
                  <a:gd name="T96" fmla="*/ 225 w 248"/>
                  <a:gd name="T97" fmla="*/ 5 h 192"/>
                  <a:gd name="T98" fmla="*/ 220 w 248"/>
                  <a:gd name="T99" fmla="*/ 2 h 192"/>
                  <a:gd name="T100" fmla="*/ 184 w 248"/>
                  <a:gd name="T101" fmla="*/ 0 h 192"/>
                  <a:gd name="T102" fmla="*/ 64 w 248"/>
                  <a:gd name="T103" fmla="*/ 72 h 192"/>
                  <a:gd name="T104" fmla="*/ 64 w 248"/>
                  <a:gd name="T105" fmla="*/ 7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8" h="192">
                    <a:moveTo>
                      <a:pt x="64" y="78"/>
                    </a:moveTo>
                    <a:lnTo>
                      <a:pt x="64" y="122"/>
                    </a:lnTo>
                    <a:lnTo>
                      <a:pt x="61" y="122"/>
                    </a:lnTo>
                    <a:lnTo>
                      <a:pt x="58" y="125"/>
                    </a:lnTo>
                    <a:lnTo>
                      <a:pt x="58" y="128"/>
                    </a:lnTo>
                    <a:lnTo>
                      <a:pt x="58" y="128"/>
                    </a:lnTo>
                    <a:lnTo>
                      <a:pt x="53" y="130"/>
                    </a:lnTo>
                    <a:lnTo>
                      <a:pt x="53" y="133"/>
                    </a:lnTo>
                    <a:lnTo>
                      <a:pt x="53" y="133"/>
                    </a:lnTo>
                    <a:lnTo>
                      <a:pt x="44" y="133"/>
                    </a:lnTo>
                    <a:lnTo>
                      <a:pt x="44" y="133"/>
                    </a:lnTo>
                    <a:lnTo>
                      <a:pt x="44" y="133"/>
                    </a:lnTo>
                    <a:lnTo>
                      <a:pt x="19" y="133"/>
                    </a:lnTo>
                    <a:lnTo>
                      <a:pt x="11" y="139"/>
                    </a:lnTo>
                    <a:lnTo>
                      <a:pt x="3" y="139"/>
                    </a:lnTo>
                    <a:lnTo>
                      <a:pt x="0" y="142"/>
                    </a:lnTo>
                    <a:lnTo>
                      <a:pt x="0" y="144"/>
                    </a:lnTo>
                    <a:lnTo>
                      <a:pt x="0" y="147"/>
                    </a:lnTo>
                    <a:lnTo>
                      <a:pt x="0" y="147"/>
                    </a:lnTo>
                    <a:lnTo>
                      <a:pt x="3" y="150"/>
                    </a:lnTo>
                    <a:lnTo>
                      <a:pt x="3" y="150"/>
                    </a:lnTo>
                    <a:lnTo>
                      <a:pt x="3" y="153"/>
                    </a:lnTo>
                    <a:lnTo>
                      <a:pt x="3" y="156"/>
                    </a:lnTo>
                    <a:lnTo>
                      <a:pt x="19" y="175"/>
                    </a:lnTo>
                    <a:lnTo>
                      <a:pt x="25" y="178"/>
                    </a:lnTo>
                    <a:lnTo>
                      <a:pt x="25" y="178"/>
                    </a:lnTo>
                    <a:lnTo>
                      <a:pt x="28" y="178"/>
                    </a:lnTo>
                    <a:lnTo>
                      <a:pt x="28" y="175"/>
                    </a:lnTo>
                    <a:lnTo>
                      <a:pt x="30" y="175"/>
                    </a:lnTo>
                    <a:lnTo>
                      <a:pt x="30" y="178"/>
                    </a:lnTo>
                    <a:lnTo>
                      <a:pt x="33" y="181"/>
                    </a:lnTo>
                    <a:lnTo>
                      <a:pt x="33" y="181"/>
                    </a:lnTo>
                    <a:lnTo>
                      <a:pt x="33" y="181"/>
                    </a:lnTo>
                    <a:lnTo>
                      <a:pt x="30" y="181"/>
                    </a:lnTo>
                    <a:lnTo>
                      <a:pt x="30" y="183"/>
                    </a:lnTo>
                    <a:lnTo>
                      <a:pt x="30" y="183"/>
                    </a:lnTo>
                    <a:lnTo>
                      <a:pt x="36" y="189"/>
                    </a:lnTo>
                    <a:lnTo>
                      <a:pt x="39" y="186"/>
                    </a:lnTo>
                    <a:lnTo>
                      <a:pt x="36" y="186"/>
                    </a:lnTo>
                    <a:lnTo>
                      <a:pt x="36" y="183"/>
                    </a:lnTo>
                    <a:lnTo>
                      <a:pt x="42" y="183"/>
                    </a:lnTo>
                    <a:lnTo>
                      <a:pt x="42" y="181"/>
                    </a:lnTo>
                    <a:lnTo>
                      <a:pt x="55" y="192"/>
                    </a:lnTo>
                    <a:lnTo>
                      <a:pt x="55" y="181"/>
                    </a:lnTo>
                    <a:lnTo>
                      <a:pt x="55" y="178"/>
                    </a:lnTo>
                    <a:lnTo>
                      <a:pt x="55" y="178"/>
                    </a:lnTo>
                    <a:lnTo>
                      <a:pt x="58" y="178"/>
                    </a:lnTo>
                    <a:lnTo>
                      <a:pt x="61" y="175"/>
                    </a:lnTo>
                    <a:lnTo>
                      <a:pt x="64" y="164"/>
                    </a:lnTo>
                    <a:lnTo>
                      <a:pt x="67" y="161"/>
                    </a:lnTo>
                    <a:lnTo>
                      <a:pt x="86" y="158"/>
                    </a:lnTo>
                    <a:lnTo>
                      <a:pt x="97" y="164"/>
                    </a:lnTo>
                    <a:lnTo>
                      <a:pt x="106" y="172"/>
                    </a:lnTo>
                    <a:lnTo>
                      <a:pt x="106" y="172"/>
                    </a:lnTo>
                    <a:lnTo>
                      <a:pt x="108" y="172"/>
                    </a:lnTo>
                    <a:lnTo>
                      <a:pt x="111" y="169"/>
                    </a:lnTo>
                    <a:lnTo>
                      <a:pt x="120" y="167"/>
                    </a:lnTo>
                    <a:lnTo>
                      <a:pt x="122" y="167"/>
                    </a:lnTo>
                    <a:lnTo>
                      <a:pt x="133" y="172"/>
                    </a:lnTo>
                    <a:lnTo>
                      <a:pt x="145" y="175"/>
                    </a:lnTo>
                    <a:lnTo>
                      <a:pt x="147" y="175"/>
                    </a:lnTo>
                    <a:lnTo>
                      <a:pt x="158" y="167"/>
                    </a:lnTo>
                    <a:lnTo>
                      <a:pt x="181" y="167"/>
                    </a:lnTo>
                    <a:lnTo>
                      <a:pt x="186" y="169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5" y="164"/>
                    </a:lnTo>
                    <a:lnTo>
                      <a:pt x="195" y="164"/>
                    </a:lnTo>
                    <a:lnTo>
                      <a:pt x="197" y="164"/>
                    </a:lnTo>
                    <a:lnTo>
                      <a:pt x="200" y="164"/>
                    </a:lnTo>
                    <a:lnTo>
                      <a:pt x="200" y="164"/>
                    </a:lnTo>
                    <a:lnTo>
                      <a:pt x="203" y="158"/>
                    </a:lnTo>
                    <a:lnTo>
                      <a:pt x="203" y="158"/>
                    </a:lnTo>
                    <a:lnTo>
                      <a:pt x="203" y="158"/>
                    </a:lnTo>
                    <a:lnTo>
                      <a:pt x="203" y="158"/>
                    </a:lnTo>
                    <a:lnTo>
                      <a:pt x="200" y="156"/>
                    </a:lnTo>
                    <a:lnTo>
                      <a:pt x="200" y="156"/>
                    </a:lnTo>
                    <a:lnTo>
                      <a:pt x="203" y="153"/>
                    </a:lnTo>
                    <a:lnTo>
                      <a:pt x="206" y="150"/>
                    </a:lnTo>
                    <a:lnTo>
                      <a:pt x="206" y="150"/>
                    </a:lnTo>
                    <a:lnTo>
                      <a:pt x="206" y="150"/>
                    </a:lnTo>
                    <a:lnTo>
                      <a:pt x="206" y="147"/>
                    </a:lnTo>
                    <a:lnTo>
                      <a:pt x="209" y="144"/>
                    </a:lnTo>
                    <a:lnTo>
                      <a:pt x="211" y="144"/>
                    </a:lnTo>
                    <a:lnTo>
                      <a:pt x="209" y="142"/>
                    </a:lnTo>
                    <a:lnTo>
                      <a:pt x="211" y="142"/>
                    </a:lnTo>
                    <a:lnTo>
                      <a:pt x="211" y="139"/>
                    </a:lnTo>
                    <a:lnTo>
                      <a:pt x="236" y="108"/>
                    </a:lnTo>
                    <a:lnTo>
                      <a:pt x="245" y="58"/>
                    </a:lnTo>
                    <a:lnTo>
                      <a:pt x="248" y="52"/>
                    </a:lnTo>
                    <a:lnTo>
                      <a:pt x="239" y="47"/>
                    </a:lnTo>
                    <a:lnTo>
                      <a:pt x="236" y="44"/>
                    </a:lnTo>
                    <a:lnTo>
                      <a:pt x="234" y="39"/>
                    </a:lnTo>
                    <a:lnTo>
                      <a:pt x="234" y="36"/>
                    </a:lnTo>
                    <a:lnTo>
                      <a:pt x="234" y="33"/>
                    </a:lnTo>
                    <a:lnTo>
                      <a:pt x="234" y="8"/>
                    </a:lnTo>
                    <a:lnTo>
                      <a:pt x="228" y="11"/>
                    </a:lnTo>
                    <a:lnTo>
                      <a:pt x="225" y="5"/>
                    </a:lnTo>
                    <a:lnTo>
                      <a:pt x="220" y="2"/>
                    </a:lnTo>
                    <a:lnTo>
                      <a:pt x="220" y="2"/>
                    </a:lnTo>
                    <a:lnTo>
                      <a:pt x="217" y="2"/>
                    </a:lnTo>
                    <a:lnTo>
                      <a:pt x="184" y="0"/>
                    </a:lnTo>
                    <a:lnTo>
                      <a:pt x="86" y="6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1" name="Freeform 592"/>
              <p:cNvSpPr>
                <a:spLocks noChangeAspect="1"/>
              </p:cNvSpPr>
              <p:nvPr>
                <p:custDataLst>
                  <p:tags r:id="rId719"/>
                </p:custDataLst>
              </p:nvPr>
            </p:nvSpPr>
            <p:spPr bwMode="gray">
              <a:xfrm>
                <a:off x="5509107" y="3380058"/>
                <a:ext cx="3037" cy="3154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2 w 2"/>
                  <a:gd name="T5" fmla="*/ 0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3 h 3"/>
                  <a:gd name="T14" fmla="*/ 0 w 2"/>
                  <a:gd name="T15" fmla="*/ 0 h 3"/>
                  <a:gd name="T16" fmla="*/ 0 w 2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2" name="Freeform 593"/>
              <p:cNvSpPr>
                <a:spLocks noChangeAspect="1"/>
              </p:cNvSpPr>
              <p:nvPr>
                <p:custDataLst>
                  <p:tags r:id="rId720"/>
                </p:custDataLst>
              </p:nvPr>
            </p:nvSpPr>
            <p:spPr bwMode="gray">
              <a:xfrm>
                <a:off x="5509107" y="3380058"/>
                <a:ext cx="3037" cy="3154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2 w 2"/>
                  <a:gd name="T5" fmla="*/ 0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3 h 3"/>
                  <a:gd name="T14" fmla="*/ 0 w 2"/>
                  <a:gd name="T15" fmla="*/ 0 h 3"/>
                  <a:gd name="T16" fmla="*/ 0 w 2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3" name="Freeform 594"/>
              <p:cNvSpPr>
                <a:spLocks noChangeAspect="1"/>
              </p:cNvSpPr>
              <p:nvPr>
                <p:custDataLst>
                  <p:tags r:id="rId721"/>
                </p:custDataLst>
              </p:nvPr>
            </p:nvSpPr>
            <p:spPr bwMode="gray">
              <a:xfrm>
                <a:off x="4871355" y="3454164"/>
                <a:ext cx="9110" cy="7884"/>
              </a:xfrm>
              <a:custGeom>
                <a:avLst/>
                <a:gdLst>
                  <a:gd name="T0" fmla="*/ 5 w 8"/>
                  <a:gd name="T1" fmla="*/ 0 h 6"/>
                  <a:gd name="T2" fmla="*/ 2 w 8"/>
                  <a:gd name="T3" fmla="*/ 0 h 6"/>
                  <a:gd name="T4" fmla="*/ 2 w 8"/>
                  <a:gd name="T5" fmla="*/ 3 h 6"/>
                  <a:gd name="T6" fmla="*/ 0 w 8"/>
                  <a:gd name="T7" fmla="*/ 0 h 6"/>
                  <a:gd name="T8" fmla="*/ 0 w 8"/>
                  <a:gd name="T9" fmla="*/ 3 h 6"/>
                  <a:gd name="T10" fmla="*/ 2 w 8"/>
                  <a:gd name="T11" fmla="*/ 6 h 6"/>
                  <a:gd name="T12" fmla="*/ 5 w 8"/>
                  <a:gd name="T13" fmla="*/ 6 h 6"/>
                  <a:gd name="T14" fmla="*/ 8 w 8"/>
                  <a:gd name="T15" fmla="*/ 6 h 6"/>
                  <a:gd name="T16" fmla="*/ 5 w 8"/>
                  <a:gd name="T17" fmla="*/ 3 h 6"/>
                  <a:gd name="T18" fmla="*/ 5 w 8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6">
                    <a:moveTo>
                      <a:pt x="5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4" name="Freeform 595"/>
              <p:cNvSpPr>
                <a:spLocks noChangeAspect="1"/>
              </p:cNvSpPr>
              <p:nvPr>
                <p:custDataLst>
                  <p:tags r:id="rId722"/>
                </p:custDataLst>
              </p:nvPr>
            </p:nvSpPr>
            <p:spPr bwMode="gray">
              <a:xfrm>
                <a:off x="4871355" y="3454164"/>
                <a:ext cx="9110" cy="7884"/>
              </a:xfrm>
              <a:custGeom>
                <a:avLst/>
                <a:gdLst>
                  <a:gd name="T0" fmla="*/ 5 w 8"/>
                  <a:gd name="T1" fmla="*/ 0 h 6"/>
                  <a:gd name="T2" fmla="*/ 2 w 8"/>
                  <a:gd name="T3" fmla="*/ 0 h 6"/>
                  <a:gd name="T4" fmla="*/ 2 w 8"/>
                  <a:gd name="T5" fmla="*/ 3 h 6"/>
                  <a:gd name="T6" fmla="*/ 0 w 8"/>
                  <a:gd name="T7" fmla="*/ 0 h 6"/>
                  <a:gd name="T8" fmla="*/ 0 w 8"/>
                  <a:gd name="T9" fmla="*/ 3 h 6"/>
                  <a:gd name="T10" fmla="*/ 2 w 8"/>
                  <a:gd name="T11" fmla="*/ 6 h 6"/>
                  <a:gd name="T12" fmla="*/ 5 w 8"/>
                  <a:gd name="T13" fmla="*/ 6 h 6"/>
                  <a:gd name="T14" fmla="*/ 8 w 8"/>
                  <a:gd name="T15" fmla="*/ 6 h 6"/>
                  <a:gd name="T16" fmla="*/ 5 w 8"/>
                  <a:gd name="T17" fmla="*/ 3 h 6"/>
                  <a:gd name="T18" fmla="*/ 5 w 8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6">
                    <a:moveTo>
                      <a:pt x="5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5" name="Rectangle 596"/>
              <p:cNvSpPr>
                <a:spLocks noChangeAspect="1" noChangeArrowheads="1"/>
              </p:cNvSpPr>
              <p:nvPr>
                <p:custDataLst>
                  <p:tags r:id="rId723"/>
                </p:custDataLst>
              </p:nvPr>
            </p:nvSpPr>
            <p:spPr bwMode="gray">
              <a:xfrm>
                <a:off x="4885022" y="3446282"/>
                <a:ext cx="1519" cy="473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6" name="Rectangle 597"/>
              <p:cNvSpPr>
                <a:spLocks noChangeAspect="1" noChangeArrowheads="1"/>
              </p:cNvSpPr>
              <p:nvPr>
                <p:custDataLst>
                  <p:tags r:id="rId724"/>
                </p:custDataLst>
              </p:nvPr>
            </p:nvSpPr>
            <p:spPr bwMode="gray">
              <a:xfrm>
                <a:off x="4885022" y="3446282"/>
                <a:ext cx="1519" cy="473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7" name="Freeform 599"/>
              <p:cNvSpPr>
                <a:spLocks noChangeAspect="1"/>
              </p:cNvSpPr>
              <p:nvPr>
                <p:custDataLst>
                  <p:tags r:id="rId725"/>
                </p:custDataLst>
              </p:nvPr>
            </p:nvSpPr>
            <p:spPr bwMode="gray">
              <a:xfrm>
                <a:off x="6242521" y="3603956"/>
                <a:ext cx="4557" cy="9460"/>
              </a:xfrm>
              <a:custGeom>
                <a:avLst/>
                <a:gdLst>
                  <a:gd name="T0" fmla="*/ 3 w 3"/>
                  <a:gd name="T1" fmla="*/ 3 h 6"/>
                  <a:gd name="T2" fmla="*/ 0 w 3"/>
                  <a:gd name="T3" fmla="*/ 0 h 6"/>
                  <a:gd name="T4" fmla="*/ 0 w 3"/>
                  <a:gd name="T5" fmla="*/ 6 h 6"/>
                  <a:gd name="T6" fmla="*/ 3 w 3"/>
                  <a:gd name="T7" fmla="*/ 6 h 6"/>
                  <a:gd name="T8" fmla="*/ 3 w 3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3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8" name="Freeform 600"/>
              <p:cNvSpPr>
                <a:spLocks noChangeAspect="1"/>
              </p:cNvSpPr>
              <p:nvPr>
                <p:custDataLst>
                  <p:tags r:id="rId726"/>
                </p:custDataLst>
              </p:nvPr>
            </p:nvSpPr>
            <p:spPr bwMode="gray">
              <a:xfrm>
                <a:off x="6242521" y="3603956"/>
                <a:ext cx="4557" cy="9460"/>
              </a:xfrm>
              <a:custGeom>
                <a:avLst/>
                <a:gdLst>
                  <a:gd name="T0" fmla="*/ 3 w 3"/>
                  <a:gd name="T1" fmla="*/ 3 h 6"/>
                  <a:gd name="T2" fmla="*/ 0 w 3"/>
                  <a:gd name="T3" fmla="*/ 0 h 6"/>
                  <a:gd name="T4" fmla="*/ 0 w 3"/>
                  <a:gd name="T5" fmla="*/ 6 h 6"/>
                  <a:gd name="T6" fmla="*/ 3 w 3"/>
                  <a:gd name="T7" fmla="*/ 6 h 6"/>
                  <a:gd name="T8" fmla="*/ 3 w 3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6">
                    <a:moveTo>
                      <a:pt x="3" y="3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9" name="Freeform 601"/>
              <p:cNvSpPr>
                <a:spLocks noChangeAspect="1"/>
              </p:cNvSpPr>
              <p:nvPr>
                <p:custDataLst>
                  <p:tags r:id="rId727"/>
                </p:custDataLst>
              </p:nvPr>
            </p:nvSpPr>
            <p:spPr bwMode="gray">
              <a:xfrm>
                <a:off x="6335148" y="4578379"/>
                <a:ext cx="13665" cy="9460"/>
              </a:xfrm>
              <a:custGeom>
                <a:avLst/>
                <a:gdLst>
                  <a:gd name="T0" fmla="*/ 0 w 9"/>
                  <a:gd name="T1" fmla="*/ 0 h 8"/>
                  <a:gd name="T2" fmla="*/ 0 w 9"/>
                  <a:gd name="T3" fmla="*/ 0 h 8"/>
                  <a:gd name="T4" fmla="*/ 6 w 9"/>
                  <a:gd name="T5" fmla="*/ 0 h 8"/>
                  <a:gd name="T6" fmla="*/ 9 w 9"/>
                  <a:gd name="T7" fmla="*/ 0 h 8"/>
                  <a:gd name="T8" fmla="*/ 9 w 9"/>
                  <a:gd name="T9" fmla="*/ 3 h 8"/>
                  <a:gd name="T10" fmla="*/ 9 w 9"/>
                  <a:gd name="T11" fmla="*/ 8 h 8"/>
                  <a:gd name="T12" fmla="*/ 6 w 9"/>
                  <a:gd name="T13" fmla="*/ 8 h 8"/>
                  <a:gd name="T14" fmla="*/ 3 w 9"/>
                  <a:gd name="T15" fmla="*/ 5 h 8"/>
                  <a:gd name="T16" fmla="*/ 3 w 9"/>
                  <a:gd name="T17" fmla="*/ 3 h 8"/>
                  <a:gd name="T18" fmla="*/ 0 w 9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8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0" name="Freeform 602"/>
              <p:cNvSpPr>
                <a:spLocks noChangeAspect="1"/>
              </p:cNvSpPr>
              <p:nvPr>
                <p:custDataLst>
                  <p:tags r:id="rId728"/>
                </p:custDataLst>
              </p:nvPr>
            </p:nvSpPr>
            <p:spPr bwMode="gray">
              <a:xfrm>
                <a:off x="6335148" y="4578379"/>
                <a:ext cx="13665" cy="9460"/>
              </a:xfrm>
              <a:custGeom>
                <a:avLst/>
                <a:gdLst>
                  <a:gd name="T0" fmla="*/ 0 w 9"/>
                  <a:gd name="T1" fmla="*/ 0 h 8"/>
                  <a:gd name="T2" fmla="*/ 0 w 9"/>
                  <a:gd name="T3" fmla="*/ 0 h 8"/>
                  <a:gd name="T4" fmla="*/ 6 w 9"/>
                  <a:gd name="T5" fmla="*/ 0 h 8"/>
                  <a:gd name="T6" fmla="*/ 9 w 9"/>
                  <a:gd name="T7" fmla="*/ 0 h 8"/>
                  <a:gd name="T8" fmla="*/ 9 w 9"/>
                  <a:gd name="T9" fmla="*/ 3 h 8"/>
                  <a:gd name="T10" fmla="*/ 9 w 9"/>
                  <a:gd name="T11" fmla="*/ 8 h 8"/>
                  <a:gd name="T12" fmla="*/ 6 w 9"/>
                  <a:gd name="T13" fmla="*/ 8 h 8"/>
                  <a:gd name="T14" fmla="*/ 3 w 9"/>
                  <a:gd name="T15" fmla="*/ 5 h 8"/>
                  <a:gd name="T16" fmla="*/ 3 w 9"/>
                  <a:gd name="T17" fmla="*/ 3 h 8"/>
                  <a:gd name="T18" fmla="*/ 0 w 9"/>
                  <a:gd name="T1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8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1" name="Freeform 605"/>
              <p:cNvSpPr>
                <a:spLocks noChangeAspect="1"/>
              </p:cNvSpPr>
              <p:nvPr>
                <p:custDataLst>
                  <p:tags r:id="rId729"/>
                </p:custDataLst>
              </p:nvPr>
            </p:nvSpPr>
            <p:spPr bwMode="gray">
              <a:xfrm>
                <a:off x="5389149" y="3890922"/>
                <a:ext cx="154883" cy="225473"/>
              </a:xfrm>
              <a:custGeom>
                <a:avLst/>
                <a:gdLst>
                  <a:gd name="T0" fmla="*/ 19 w 119"/>
                  <a:gd name="T1" fmla="*/ 167 h 175"/>
                  <a:gd name="T2" fmla="*/ 22 w 119"/>
                  <a:gd name="T3" fmla="*/ 150 h 175"/>
                  <a:gd name="T4" fmla="*/ 16 w 119"/>
                  <a:gd name="T5" fmla="*/ 145 h 175"/>
                  <a:gd name="T6" fmla="*/ 16 w 119"/>
                  <a:gd name="T7" fmla="*/ 142 h 175"/>
                  <a:gd name="T8" fmla="*/ 19 w 119"/>
                  <a:gd name="T9" fmla="*/ 139 h 175"/>
                  <a:gd name="T10" fmla="*/ 16 w 119"/>
                  <a:gd name="T11" fmla="*/ 136 h 175"/>
                  <a:gd name="T12" fmla="*/ 14 w 119"/>
                  <a:gd name="T13" fmla="*/ 139 h 175"/>
                  <a:gd name="T14" fmla="*/ 8 w 119"/>
                  <a:gd name="T15" fmla="*/ 136 h 175"/>
                  <a:gd name="T16" fmla="*/ 2 w 119"/>
                  <a:gd name="T17" fmla="*/ 131 h 175"/>
                  <a:gd name="T18" fmla="*/ 0 w 119"/>
                  <a:gd name="T19" fmla="*/ 128 h 175"/>
                  <a:gd name="T20" fmla="*/ 0 w 119"/>
                  <a:gd name="T21" fmla="*/ 128 h 175"/>
                  <a:gd name="T22" fmla="*/ 0 w 119"/>
                  <a:gd name="T23" fmla="*/ 123 h 175"/>
                  <a:gd name="T24" fmla="*/ 5 w 119"/>
                  <a:gd name="T25" fmla="*/ 109 h 175"/>
                  <a:gd name="T26" fmla="*/ 14 w 119"/>
                  <a:gd name="T27" fmla="*/ 97 h 175"/>
                  <a:gd name="T28" fmla="*/ 30 w 119"/>
                  <a:gd name="T29" fmla="*/ 92 h 175"/>
                  <a:gd name="T30" fmla="*/ 36 w 119"/>
                  <a:gd name="T31" fmla="*/ 97 h 175"/>
                  <a:gd name="T32" fmla="*/ 36 w 119"/>
                  <a:gd name="T33" fmla="*/ 97 h 175"/>
                  <a:gd name="T34" fmla="*/ 44 w 119"/>
                  <a:gd name="T35" fmla="*/ 100 h 175"/>
                  <a:gd name="T36" fmla="*/ 58 w 119"/>
                  <a:gd name="T37" fmla="*/ 70 h 175"/>
                  <a:gd name="T38" fmla="*/ 66 w 119"/>
                  <a:gd name="T39" fmla="*/ 64 h 175"/>
                  <a:gd name="T40" fmla="*/ 80 w 119"/>
                  <a:gd name="T41" fmla="*/ 25 h 175"/>
                  <a:gd name="T42" fmla="*/ 86 w 119"/>
                  <a:gd name="T43" fmla="*/ 22 h 175"/>
                  <a:gd name="T44" fmla="*/ 92 w 119"/>
                  <a:gd name="T45" fmla="*/ 8 h 175"/>
                  <a:gd name="T46" fmla="*/ 89 w 119"/>
                  <a:gd name="T47" fmla="*/ 6 h 175"/>
                  <a:gd name="T48" fmla="*/ 86 w 119"/>
                  <a:gd name="T49" fmla="*/ 6 h 175"/>
                  <a:gd name="T50" fmla="*/ 92 w 119"/>
                  <a:gd name="T51" fmla="*/ 0 h 175"/>
                  <a:gd name="T52" fmla="*/ 94 w 119"/>
                  <a:gd name="T53" fmla="*/ 0 h 175"/>
                  <a:gd name="T54" fmla="*/ 100 w 119"/>
                  <a:gd name="T55" fmla="*/ 14 h 175"/>
                  <a:gd name="T56" fmla="*/ 105 w 119"/>
                  <a:gd name="T57" fmla="*/ 39 h 175"/>
                  <a:gd name="T58" fmla="*/ 105 w 119"/>
                  <a:gd name="T59" fmla="*/ 45 h 175"/>
                  <a:gd name="T60" fmla="*/ 94 w 119"/>
                  <a:gd name="T61" fmla="*/ 45 h 175"/>
                  <a:gd name="T62" fmla="*/ 89 w 119"/>
                  <a:gd name="T63" fmla="*/ 45 h 175"/>
                  <a:gd name="T64" fmla="*/ 86 w 119"/>
                  <a:gd name="T65" fmla="*/ 50 h 175"/>
                  <a:gd name="T66" fmla="*/ 89 w 119"/>
                  <a:gd name="T67" fmla="*/ 58 h 175"/>
                  <a:gd name="T68" fmla="*/ 97 w 119"/>
                  <a:gd name="T69" fmla="*/ 61 h 175"/>
                  <a:gd name="T70" fmla="*/ 105 w 119"/>
                  <a:gd name="T71" fmla="*/ 84 h 175"/>
                  <a:gd name="T72" fmla="*/ 94 w 119"/>
                  <a:gd name="T73" fmla="*/ 109 h 175"/>
                  <a:gd name="T74" fmla="*/ 94 w 119"/>
                  <a:gd name="T75" fmla="*/ 117 h 175"/>
                  <a:gd name="T76" fmla="*/ 108 w 119"/>
                  <a:gd name="T77" fmla="*/ 150 h 175"/>
                  <a:gd name="T78" fmla="*/ 119 w 119"/>
                  <a:gd name="T79" fmla="*/ 156 h 175"/>
                  <a:gd name="T80" fmla="*/ 119 w 119"/>
                  <a:gd name="T81" fmla="*/ 173 h 175"/>
                  <a:gd name="T82" fmla="*/ 117 w 119"/>
                  <a:gd name="T83" fmla="*/ 175 h 175"/>
                  <a:gd name="T84" fmla="*/ 105 w 119"/>
                  <a:gd name="T85" fmla="*/ 170 h 175"/>
                  <a:gd name="T86" fmla="*/ 94 w 119"/>
                  <a:gd name="T87" fmla="*/ 167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9" h="175">
                    <a:moveTo>
                      <a:pt x="75" y="167"/>
                    </a:moveTo>
                    <a:lnTo>
                      <a:pt x="19" y="167"/>
                    </a:lnTo>
                    <a:lnTo>
                      <a:pt x="22" y="150"/>
                    </a:lnTo>
                    <a:lnTo>
                      <a:pt x="22" y="150"/>
                    </a:lnTo>
                    <a:lnTo>
                      <a:pt x="19" y="145"/>
                    </a:lnTo>
                    <a:lnTo>
                      <a:pt x="16" y="145"/>
                    </a:lnTo>
                    <a:lnTo>
                      <a:pt x="16" y="142"/>
                    </a:lnTo>
                    <a:lnTo>
                      <a:pt x="16" y="142"/>
                    </a:lnTo>
                    <a:lnTo>
                      <a:pt x="16" y="142"/>
                    </a:lnTo>
                    <a:lnTo>
                      <a:pt x="19" y="139"/>
                    </a:lnTo>
                    <a:lnTo>
                      <a:pt x="16" y="139"/>
                    </a:lnTo>
                    <a:lnTo>
                      <a:pt x="16" y="136"/>
                    </a:lnTo>
                    <a:lnTo>
                      <a:pt x="14" y="136"/>
                    </a:lnTo>
                    <a:lnTo>
                      <a:pt x="14" y="139"/>
                    </a:lnTo>
                    <a:lnTo>
                      <a:pt x="14" y="139"/>
                    </a:lnTo>
                    <a:lnTo>
                      <a:pt x="8" y="136"/>
                    </a:lnTo>
                    <a:lnTo>
                      <a:pt x="5" y="131"/>
                    </a:lnTo>
                    <a:lnTo>
                      <a:pt x="2" y="131"/>
                    </a:lnTo>
                    <a:lnTo>
                      <a:pt x="0" y="131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5"/>
                    </a:lnTo>
                    <a:lnTo>
                      <a:pt x="0" y="123"/>
                    </a:lnTo>
                    <a:lnTo>
                      <a:pt x="2" y="117"/>
                    </a:lnTo>
                    <a:lnTo>
                      <a:pt x="5" y="109"/>
                    </a:lnTo>
                    <a:lnTo>
                      <a:pt x="11" y="100"/>
                    </a:lnTo>
                    <a:lnTo>
                      <a:pt x="14" y="97"/>
                    </a:lnTo>
                    <a:lnTo>
                      <a:pt x="16" y="95"/>
                    </a:lnTo>
                    <a:lnTo>
                      <a:pt x="30" y="92"/>
                    </a:lnTo>
                    <a:lnTo>
                      <a:pt x="36" y="95"/>
                    </a:lnTo>
                    <a:lnTo>
                      <a:pt x="36" y="97"/>
                    </a:lnTo>
                    <a:lnTo>
                      <a:pt x="36" y="97"/>
                    </a:lnTo>
                    <a:lnTo>
                      <a:pt x="36" y="97"/>
                    </a:lnTo>
                    <a:lnTo>
                      <a:pt x="39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58" y="70"/>
                    </a:lnTo>
                    <a:lnTo>
                      <a:pt x="61" y="64"/>
                    </a:lnTo>
                    <a:lnTo>
                      <a:pt x="66" y="64"/>
                    </a:lnTo>
                    <a:lnTo>
                      <a:pt x="75" y="31"/>
                    </a:lnTo>
                    <a:lnTo>
                      <a:pt x="80" y="25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92" y="17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89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9" y="6"/>
                    </a:lnTo>
                    <a:lnTo>
                      <a:pt x="92" y="0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7" y="8"/>
                    </a:lnTo>
                    <a:lnTo>
                      <a:pt x="100" y="14"/>
                    </a:lnTo>
                    <a:lnTo>
                      <a:pt x="97" y="28"/>
                    </a:lnTo>
                    <a:lnTo>
                      <a:pt x="105" y="39"/>
                    </a:lnTo>
                    <a:lnTo>
                      <a:pt x="105" y="45"/>
                    </a:lnTo>
                    <a:lnTo>
                      <a:pt x="105" y="45"/>
                    </a:lnTo>
                    <a:lnTo>
                      <a:pt x="105" y="45"/>
                    </a:lnTo>
                    <a:lnTo>
                      <a:pt x="94" y="45"/>
                    </a:lnTo>
                    <a:lnTo>
                      <a:pt x="89" y="45"/>
                    </a:lnTo>
                    <a:lnTo>
                      <a:pt x="89" y="45"/>
                    </a:lnTo>
                    <a:lnTo>
                      <a:pt x="86" y="47"/>
                    </a:lnTo>
                    <a:lnTo>
                      <a:pt x="86" y="50"/>
                    </a:lnTo>
                    <a:lnTo>
                      <a:pt x="86" y="56"/>
                    </a:lnTo>
                    <a:lnTo>
                      <a:pt x="89" y="58"/>
                    </a:lnTo>
                    <a:lnTo>
                      <a:pt x="92" y="61"/>
                    </a:lnTo>
                    <a:lnTo>
                      <a:pt x="97" y="61"/>
                    </a:lnTo>
                    <a:lnTo>
                      <a:pt x="100" y="64"/>
                    </a:lnTo>
                    <a:lnTo>
                      <a:pt x="105" y="84"/>
                    </a:lnTo>
                    <a:lnTo>
                      <a:pt x="105" y="84"/>
                    </a:lnTo>
                    <a:lnTo>
                      <a:pt x="94" y="109"/>
                    </a:lnTo>
                    <a:lnTo>
                      <a:pt x="92" y="111"/>
                    </a:lnTo>
                    <a:lnTo>
                      <a:pt x="94" y="117"/>
                    </a:lnTo>
                    <a:lnTo>
                      <a:pt x="94" y="125"/>
                    </a:lnTo>
                    <a:lnTo>
                      <a:pt x="108" y="150"/>
                    </a:lnTo>
                    <a:lnTo>
                      <a:pt x="117" y="156"/>
                    </a:lnTo>
                    <a:lnTo>
                      <a:pt x="119" y="156"/>
                    </a:lnTo>
                    <a:lnTo>
                      <a:pt x="117" y="159"/>
                    </a:lnTo>
                    <a:lnTo>
                      <a:pt x="119" y="173"/>
                    </a:lnTo>
                    <a:lnTo>
                      <a:pt x="117" y="175"/>
                    </a:lnTo>
                    <a:lnTo>
                      <a:pt x="117" y="175"/>
                    </a:lnTo>
                    <a:lnTo>
                      <a:pt x="108" y="170"/>
                    </a:lnTo>
                    <a:lnTo>
                      <a:pt x="105" y="170"/>
                    </a:lnTo>
                    <a:lnTo>
                      <a:pt x="100" y="167"/>
                    </a:lnTo>
                    <a:lnTo>
                      <a:pt x="94" y="167"/>
                    </a:lnTo>
                    <a:lnTo>
                      <a:pt x="75" y="16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2" name="Freeform 608"/>
              <p:cNvSpPr>
                <a:spLocks noChangeAspect="1"/>
              </p:cNvSpPr>
              <p:nvPr>
                <p:custDataLst>
                  <p:tags r:id="rId730"/>
                </p:custDataLst>
              </p:nvPr>
            </p:nvSpPr>
            <p:spPr bwMode="gray">
              <a:xfrm>
                <a:off x="5591104" y="3105705"/>
                <a:ext cx="88071" cy="122985"/>
              </a:xfrm>
              <a:custGeom>
                <a:avLst/>
                <a:gdLst>
                  <a:gd name="T0" fmla="*/ 5 w 66"/>
                  <a:gd name="T1" fmla="*/ 9 h 95"/>
                  <a:gd name="T2" fmla="*/ 5 w 66"/>
                  <a:gd name="T3" fmla="*/ 11 h 95"/>
                  <a:gd name="T4" fmla="*/ 5 w 66"/>
                  <a:gd name="T5" fmla="*/ 14 h 95"/>
                  <a:gd name="T6" fmla="*/ 8 w 66"/>
                  <a:gd name="T7" fmla="*/ 14 h 95"/>
                  <a:gd name="T8" fmla="*/ 8 w 66"/>
                  <a:gd name="T9" fmla="*/ 14 h 95"/>
                  <a:gd name="T10" fmla="*/ 8 w 66"/>
                  <a:gd name="T11" fmla="*/ 17 h 95"/>
                  <a:gd name="T12" fmla="*/ 11 w 66"/>
                  <a:gd name="T13" fmla="*/ 20 h 95"/>
                  <a:gd name="T14" fmla="*/ 13 w 66"/>
                  <a:gd name="T15" fmla="*/ 20 h 95"/>
                  <a:gd name="T16" fmla="*/ 13 w 66"/>
                  <a:gd name="T17" fmla="*/ 20 h 95"/>
                  <a:gd name="T18" fmla="*/ 11 w 66"/>
                  <a:gd name="T19" fmla="*/ 22 h 95"/>
                  <a:gd name="T20" fmla="*/ 11 w 66"/>
                  <a:gd name="T21" fmla="*/ 25 h 95"/>
                  <a:gd name="T22" fmla="*/ 13 w 66"/>
                  <a:gd name="T23" fmla="*/ 28 h 95"/>
                  <a:gd name="T24" fmla="*/ 11 w 66"/>
                  <a:gd name="T25" fmla="*/ 36 h 95"/>
                  <a:gd name="T26" fmla="*/ 11 w 66"/>
                  <a:gd name="T27" fmla="*/ 36 h 95"/>
                  <a:gd name="T28" fmla="*/ 11 w 66"/>
                  <a:gd name="T29" fmla="*/ 39 h 95"/>
                  <a:gd name="T30" fmla="*/ 13 w 66"/>
                  <a:gd name="T31" fmla="*/ 42 h 95"/>
                  <a:gd name="T32" fmla="*/ 16 w 66"/>
                  <a:gd name="T33" fmla="*/ 45 h 95"/>
                  <a:gd name="T34" fmla="*/ 16 w 66"/>
                  <a:gd name="T35" fmla="*/ 45 h 95"/>
                  <a:gd name="T36" fmla="*/ 13 w 66"/>
                  <a:gd name="T37" fmla="*/ 48 h 95"/>
                  <a:gd name="T38" fmla="*/ 11 w 66"/>
                  <a:gd name="T39" fmla="*/ 48 h 95"/>
                  <a:gd name="T40" fmla="*/ 16 w 66"/>
                  <a:gd name="T41" fmla="*/ 56 h 95"/>
                  <a:gd name="T42" fmla="*/ 13 w 66"/>
                  <a:gd name="T43" fmla="*/ 56 h 95"/>
                  <a:gd name="T44" fmla="*/ 11 w 66"/>
                  <a:gd name="T45" fmla="*/ 56 h 95"/>
                  <a:gd name="T46" fmla="*/ 8 w 66"/>
                  <a:gd name="T47" fmla="*/ 56 h 95"/>
                  <a:gd name="T48" fmla="*/ 8 w 66"/>
                  <a:gd name="T49" fmla="*/ 59 h 95"/>
                  <a:gd name="T50" fmla="*/ 8 w 66"/>
                  <a:gd name="T51" fmla="*/ 61 h 95"/>
                  <a:gd name="T52" fmla="*/ 8 w 66"/>
                  <a:gd name="T53" fmla="*/ 64 h 95"/>
                  <a:gd name="T54" fmla="*/ 8 w 66"/>
                  <a:gd name="T55" fmla="*/ 61 h 95"/>
                  <a:gd name="T56" fmla="*/ 2 w 66"/>
                  <a:gd name="T57" fmla="*/ 64 h 95"/>
                  <a:gd name="T58" fmla="*/ 2 w 66"/>
                  <a:gd name="T59" fmla="*/ 67 h 95"/>
                  <a:gd name="T60" fmla="*/ 0 w 66"/>
                  <a:gd name="T61" fmla="*/ 73 h 95"/>
                  <a:gd name="T62" fmla="*/ 0 w 66"/>
                  <a:gd name="T63" fmla="*/ 75 h 95"/>
                  <a:gd name="T64" fmla="*/ 0 w 66"/>
                  <a:gd name="T65" fmla="*/ 78 h 95"/>
                  <a:gd name="T66" fmla="*/ 11 w 66"/>
                  <a:gd name="T67" fmla="*/ 92 h 95"/>
                  <a:gd name="T68" fmla="*/ 13 w 66"/>
                  <a:gd name="T69" fmla="*/ 87 h 95"/>
                  <a:gd name="T70" fmla="*/ 19 w 66"/>
                  <a:gd name="T71" fmla="*/ 78 h 95"/>
                  <a:gd name="T72" fmla="*/ 27 w 66"/>
                  <a:gd name="T73" fmla="*/ 84 h 95"/>
                  <a:gd name="T74" fmla="*/ 33 w 66"/>
                  <a:gd name="T75" fmla="*/ 89 h 95"/>
                  <a:gd name="T76" fmla="*/ 36 w 66"/>
                  <a:gd name="T77" fmla="*/ 87 h 95"/>
                  <a:gd name="T78" fmla="*/ 44 w 66"/>
                  <a:gd name="T79" fmla="*/ 87 h 95"/>
                  <a:gd name="T80" fmla="*/ 47 w 66"/>
                  <a:gd name="T81" fmla="*/ 84 h 95"/>
                  <a:gd name="T82" fmla="*/ 55 w 66"/>
                  <a:gd name="T83" fmla="*/ 84 h 95"/>
                  <a:gd name="T84" fmla="*/ 61 w 66"/>
                  <a:gd name="T85" fmla="*/ 78 h 95"/>
                  <a:gd name="T86" fmla="*/ 61 w 66"/>
                  <a:gd name="T87" fmla="*/ 59 h 95"/>
                  <a:gd name="T88" fmla="*/ 64 w 66"/>
                  <a:gd name="T89" fmla="*/ 45 h 95"/>
                  <a:gd name="T90" fmla="*/ 61 w 66"/>
                  <a:gd name="T91" fmla="*/ 34 h 95"/>
                  <a:gd name="T92" fmla="*/ 47 w 66"/>
                  <a:gd name="T93" fmla="*/ 28 h 95"/>
                  <a:gd name="T94" fmla="*/ 39 w 66"/>
                  <a:gd name="T95" fmla="*/ 20 h 95"/>
                  <a:gd name="T96" fmla="*/ 30 w 66"/>
                  <a:gd name="T97" fmla="*/ 3 h 95"/>
                  <a:gd name="T98" fmla="*/ 22 w 66"/>
                  <a:gd name="T99" fmla="*/ 0 h 95"/>
                  <a:gd name="T100" fmla="*/ 8 w 66"/>
                  <a:gd name="T101" fmla="*/ 3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6" h="95">
                    <a:moveTo>
                      <a:pt x="2" y="6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3" y="20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3" y="31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11" y="39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3" y="42"/>
                    </a:lnTo>
                    <a:lnTo>
                      <a:pt x="13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6" y="45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1" y="48"/>
                    </a:lnTo>
                    <a:lnTo>
                      <a:pt x="11" y="48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6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1" y="56"/>
                    </a:lnTo>
                    <a:lnTo>
                      <a:pt x="11" y="56"/>
                    </a:lnTo>
                    <a:lnTo>
                      <a:pt x="11" y="59"/>
                    </a:lnTo>
                    <a:lnTo>
                      <a:pt x="8" y="59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5" y="61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0" y="67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0" y="81"/>
                    </a:lnTo>
                    <a:lnTo>
                      <a:pt x="8" y="89"/>
                    </a:lnTo>
                    <a:lnTo>
                      <a:pt x="11" y="92"/>
                    </a:lnTo>
                    <a:lnTo>
                      <a:pt x="13" y="95"/>
                    </a:lnTo>
                    <a:lnTo>
                      <a:pt x="13" y="89"/>
                    </a:lnTo>
                    <a:lnTo>
                      <a:pt x="13" y="87"/>
                    </a:lnTo>
                    <a:lnTo>
                      <a:pt x="13" y="81"/>
                    </a:lnTo>
                    <a:lnTo>
                      <a:pt x="16" y="81"/>
                    </a:lnTo>
                    <a:lnTo>
                      <a:pt x="19" y="78"/>
                    </a:lnTo>
                    <a:lnTo>
                      <a:pt x="22" y="81"/>
                    </a:lnTo>
                    <a:lnTo>
                      <a:pt x="25" y="81"/>
                    </a:lnTo>
                    <a:lnTo>
                      <a:pt x="27" y="84"/>
                    </a:lnTo>
                    <a:lnTo>
                      <a:pt x="30" y="84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6" y="89"/>
                    </a:lnTo>
                    <a:lnTo>
                      <a:pt x="36" y="89"/>
                    </a:lnTo>
                    <a:lnTo>
                      <a:pt x="36" y="87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44" y="87"/>
                    </a:lnTo>
                    <a:lnTo>
                      <a:pt x="44" y="87"/>
                    </a:lnTo>
                    <a:lnTo>
                      <a:pt x="44" y="87"/>
                    </a:lnTo>
                    <a:lnTo>
                      <a:pt x="47" y="84"/>
                    </a:lnTo>
                    <a:lnTo>
                      <a:pt x="50" y="87"/>
                    </a:lnTo>
                    <a:lnTo>
                      <a:pt x="52" y="84"/>
                    </a:lnTo>
                    <a:lnTo>
                      <a:pt x="55" y="84"/>
                    </a:lnTo>
                    <a:lnTo>
                      <a:pt x="58" y="84"/>
                    </a:lnTo>
                    <a:lnTo>
                      <a:pt x="61" y="84"/>
                    </a:lnTo>
                    <a:lnTo>
                      <a:pt x="61" y="78"/>
                    </a:lnTo>
                    <a:lnTo>
                      <a:pt x="64" y="70"/>
                    </a:lnTo>
                    <a:lnTo>
                      <a:pt x="66" y="67"/>
                    </a:lnTo>
                    <a:lnTo>
                      <a:pt x="61" y="59"/>
                    </a:lnTo>
                    <a:lnTo>
                      <a:pt x="61" y="48"/>
                    </a:lnTo>
                    <a:lnTo>
                      <a:pt x="66" y="45"/>
                    </a:lnTo>
                    <a:lnTo>
                      <a:pt x="64" y="45"/>
                    </a:lnTo>
                    <a:lnTo>
                      <a:pt x="61" y="39"/>
                    </a:lnTo>
                    <a:lnTo>
                      <a:pt x="64" y="36"/>
                    </a:lnTo>
                    <a:lnTo>
                      <a:pt x="61" y="34"/>
                    </a:lnTo>
                    <a:lnTo>
                      <a:pt x="58" y="36"/>
                    </a:lnTo>
                    <a:lnTo>
                      <a:pt x="50" y="34"/>
                    </a:lnTo>
                    <a:lnTo>
                      <a:pt x="47" y="28"/>
                    </a:lnTo>
                    <a:lnTo>
                      <a:pt x="44" y="22"/>
                    </a:lnTo>
                    <a:lnTo>
                      <a:pt x="44" y="20"/>
                    </a:lnTo>
                    <a:lnTo>
                      <a:pt x="39" y="20"/>
                    </a:lnTo>
                    <a:lnTo>
                      <a:pt x="39" y="17"/>
                    </a:lnTo>
                    <a:lnTo>
                      <a:pt x="33" y="9"/>
                    </a:lnTo>
                    <a:lnTo>
                      <a:pt x="30" y="3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3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3" name="Freeform 609"/>
              <p:cNvSpPr>
                <a:spLocks noChangeAspect="1"/>
              </p:cNvSpPr>
              <p:nvPr>
                <p:custDataLst>
                  <p:tags r:id="rId731"/>
                </p:custDataLst>
              </p:nvPr>
            </p:nvSpPr>
            <p:spPr bwMode="gray">
              <a:xfrm>
                <a:off x="5613880" y="2802971"/>
                <a:ext cx="65294" cy="48878"/>
              </a:xfrm>
              <a:custGeom>
                <a:avLst/>
                <a:gdLst>
                  <a:gd name="T0" fmla="*/ 0 w 50"/>
                  <a:gd name="T1" fmla="*/ 33 h 38"/>
                  <a:gd name="T2" fmla="*/ 0 w 50"/>
                  <a:gd name="T3" fmla="*/ 33 h 38"/>
                  <a:gd name="T4" fmla="*/ 3 w 50"/>
                  <a:gd name="T5" fmla="*/ 30 h 38"/>
                  <a:gd name="T6" fmla="*/ 6 w 50"/>
                  <a:gd name="T7" fmla="*/ 25 h 38"/>
                  <a:gd name="T8" fmla="*/ 6 w 50"/>
                  <a:gd name="T9" fmla="*/ 22 h 38"/>
                  <a:gd name="T10" fmla="*/ 9 w 50"/>
                  <a:gd name="T11" fmla="*/ 19 h 38"/>
                  <a:gd name="T12" fmla="*/ 14 w 50"/>
                  <a:gd name="T13" fmla="*/ 19 h 38"/>
                  <a:gd name="T14" fmla="*/ 23 w 50"/>
                  <a:gd name="T15" fmla="*/ 11 h 38"/>
                  <a:gd name="T16" fmla="*/ 25 w 50"/>
                  <a:gd name="T17" fmla="*/ 0 h 38"/>
                  <a:gd name="T18" fmla="*/ 23 w 50"/>
                  <a:gd name="T19" fmla="*/ 8 h 38"/>
                  <a:gd name="T20" fmla="*/ 17 w 50"/>
                  <a:gd name="T21" fmla="*/ 19 h 38"/>
                  <a:gd name="T22" fmla="*/ 17 w 50"/>
                  <a:gd name="T23" fmla="*/ 22 h 38"/>
                  <a:gd name="T24" fmla="*/ 20 w 50"/>
                  <a:gd name="T25" fmla="*/ 19 h 38"/>
                  <a:gd name="T26" fmla="*/ 23 w 50"/>
                  <a:gd name="T27" fmla="*/ 22 h 38"/>
                  <a:gd name="T28" fmla="*/ 25 w 50"/>
                  <a:gd name="T29" fmla="*/ 22 h 38"/>
                  <a:gd name="T30" fmla="*/ 25 w 50"/>
                  <a:gd name="T31" fmla="*/ 13 h 38"/>
                  <a:gd name="T32" fmla="*/ 25 w 50"/>
                  <a:gd name="T33" fmla="*/ 13 h 38"/>
                  <a:gd name="T34" fmla="*/ 28 w 50"/>
                  <a:gd name="T35" fmla="*/ 11 h 38"/>
                  <a:gd name="T36" fmla="*/ 31 w 50"/>
                  <a:gd name="T37" fmla="*/ 11 h 38"/>
                  <a:gd name="T38" fmla="*/ 31 w 50"/>
                  <a:gd name="T39" fmla="*/ 13 h 38"/>
                  <a:gd name="T40" fmla="*/ 34 w 50"/>
                  <a:gd name="T41" fmla="*/ 13 h 38"/>
                  <a:gd name="T42" fmla="*/ 36 w 50"/>
                  <a:gd name="T43" fmla="*/ 13 h 38"/>
                  <a:gd name="T44" fmla="*/ 42 w 50"/>
                  <a:gd name="T45" fmla="*/ 16 h 38"/>
                  <a:gd name="T46" fmla="*/ 48 w 50"/>
                  <a:gd name="T47" fmla="*/ 16 h 38"/>
                  <a:gd name="T48" fmla="*/ 48 w 50"/>
                  <a:gd name="T49" fmla="*/ 16 h 38"/>
                  <a:gd name="T50" fmla="*/ 50 w 50"/>
                  <a:gd name="T51" fmla="*/ 25 h 38"/>
                  <a:gd name="T52" fmla="*/ 50 w 50"/>
                  <a:gd name="T53" fmla="*/ 27 h 38"/>
                  <a:gd name="T54" fmla="*/ 50 w 50"/>
                  <a:gd name="T55" fmla="*/ 36 h 38"/>
                  <a:gd name="T56" fmla="*/ 36 w 50"/>
                  <a:gd name="T57" fmla="*/ 38 h 38"/>
                  <a:gd name="T58" fmla="*/ 0 w 50"/>
                  <a:gd name="T59" fmla="*/ 3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38">
                    <a:moveTo>
                      <a:pt x="0" y="33"/>
                    </a:moveTo>
                    <a:lnTo>
                      <a:pt x="0" y="33"/>
                    </a:lnTo>
                    <a:lnTo>
                      <a:pt x="3" y="30"/>
                    </a:lnTo>
                    <a:lnTo>
                      <a:pt x="6" y="25"/>
                    </a:lnTo>
                    <a:lnTo>
                      <a:pt x="6" y="22"/>
                    </a:lnTo>
                    <a:lnTo>
                      <a:pt x="9" y="19"/>
                    </a:lnTo>
                    <a:lnTo>
                      <a:pt x="14" y="19"/>
                    </a:lnTo>
                    <a:lnTo>
                      <a:pt x="23" y="11"/>
                    </a:lnTo>
                    <a:lnTo>
                      <a:pt x="25" y="0"/>
                    </a:lnTo>
                    <a:lnTo>
                      <a:pt x="23" y="8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3" y="22"/>
                    </a:lnTo>
                    <a:lnTo>
                      <a:pt x="25" y="22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8" y="11"/>
                    </a:lnTo>
                    <a:lnTo>
                      <a:pt x="31" y="11"/>
                    </a:lnTo>
                    <a:lnTo>
                      <a:pt x="31" y="13"/>
                    </a:lnTo>
                    <a:lnTo>
                      <a:pt x="34" y="13"/>
                    </a:lnTo>
                    <a:lnTo>
                      <a:pt x="36" y="13"/>
                    </a:lnTo>
                    <a:lnTo>
                      <a:pt x="42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25"/>
                    </a:lnTo>
                    <a:lnTo>
                      <a:pt x="50" y="27"/>
                    </a:lnTo>
                    <a:lnTo>
                      <a:pt x="50" y="36"/>
                    </a:lnTo>
                    <a:lnTo>
                      <a:pt x="36" y="38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4" name="Freeform 618"/>
              <p:cNvSpPr>
                <a:spLocks noChangeAspect="1"/>
              </p:cNvSpPr>
              <p:nvPr>
                <p:custDataLst>
                  <p:tags r:id="rId732"/>
                </p:custDataLst>
              </p:nvPr>
            </p:nvSpPr>
            <p:spPr bwMode="gray">
              <a:xfrm>
                <a:off x="5925164" y="3444703"/>
                <a:ext cx="88071" cy="96181"/>
              </a:xfrm>
              <a:custGeom>
                <a:avLst/>
                <a:gdLst>
                  <a:gd name="T0" fmla="*/ 61 w 67"/>
                  <a:gd name="T1" fmla="*/ 25 h 75"/>
                  <a:gd name="T2" fmla="*/ 67 w 67"/>
                  <a:gd name="T3" fmla="*/ 19 h 75"/>
                  <a:gd name="T4" fmla="*/ 61 w 67"/>
                  <a:gd name="T5" fmla="*/ 0 h 75"/>
                  <a:gd name="T6" fmla="*/ 28 w 67"/>
                  <a:gd name="T7" fmla="*/ 17 h 75"/>
                  <a:gd name="T8" fmla="*/ 25 w 67"/>
                  <a:gd name="T9" fmla="*/ 19 h 75"/>
                  <a:gd name="T10" fmla="*/ 22 w 67"/>
                  <a:gd name="T11" fmla="*/ 19 h 75"/>
                  <a:gd name="T12" fmla="*/ 14 w 67"/>
                  <a:gd name="T13" fmla="*/ 14 h 75"/>
                  <a:gd name="T14" fmla="*/ 14 w 67"/>
                  <a:gd name="T15" fmla="*/ 11 h 75"/>
                  <a:gd name="T16" fmla="*/ 11 w 67"/>
                  <a:gd name="T17" fmla="*/ 11 h 75"/>
                  <a:gd name="T18" fmla="*/ 8 w 67"/>
                  <a:gd name="T19" fmla="*/ 11 h 75"/>
                  <a:gd name="T20" fmla="*/ 8 w 67"/>
                  <a:gd name="T21" fmla="*/ 17 h 75"/>
                  <a:gd name="T22" fmla="*/ 8 w 67"/>
                  <a:gd name="T23" fmla="*/ 25 h 75"/>
                  <a:gd name="T24" fmla="*/ 8 w 67"/>
                  <a:gd name="T25" fmla="*/ 28 h 75"/>
                  <a:gd name="T26" fmla="*/ 8 w 67"/>
                  <a:gd name="T27" fmla="*/ 33 h 75"/>
                  <a:gd name="T28" fmla="*/ 5 w 67"/>
                  <a:gd name="T29" fmla="*/ 33 h 75"/>
                  <a:gd name="T30" fmla="*/ 8 w 67"/>
                  <a:gd name="T31" fmla="*/ 33 h 75"/>
                  <a:gd name="T32" fmla="*/ 5 w 67"/>
                  <a:gd name="T33" fmla="*/ 39 h 75"/>
                  <a:gd name="T34" fmla="*/ 8 w 67"/>
                  <a:gd name="T35" fmla="*/ 39 h 75"/>
                  <a:gd name="T36" fmla="*/ 0 w 67"/>
                  <a:gd name="T37" fmla="*/ 70 h 75"/>
                  <a:gd name="T38" fmla="*/ 0 w 67"/>
                  <a:gd name="T39" fmla="*/ 72 h 75"/>
                  <a:gd name="T40" fmla="*/ 16 w 67"/>
                  <a:gd name="T41" fmla="*/ 75 h 75"/>
                  <a:gd name="T42" fmla="*/ 22 w 67"/>
                  <a:gd name="T43" fmla="*/ 70 h 75"/>
                  <a:gd name="T44" fmla="*/ 28 w 67"/>
                  <a:gd name="T45" fmla="*/ 61 h 75"/>
                  <a:gd name="T46" fmla="*/ 39 w 67"/>
                  <a:gd name="T47" fmla="*/ 61 h 75"/>
                  <a:gd name="T48" fmla="*/ 41 w 67"/>
                  <a:gd name="T49" fmla="*/ 53 h 75"/>
                  <a:gd name="T50" fmla="*/ 47 w 67"/>
                  <a:gd name="T51" fmla="*/ 50 h 75"/>
                  <a:gd name="T52" fmla="*/ 47 w 67"/>
                  <a:gd name="T53" fmla="*/ 50 h 75"/>
                  <a:gd name="T54" fmla="*/ 30 w 67"/>
                  <a:gd name="T55" fmla="*/ 33 h 75"/>
                  <a:gd name="T56" fmla="*/ 61 w 67"/>
                  <a:gd name="T57" fmla="*/ 2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75">
                    <a:moveTo>
                      <a:pt x="61" y="25"/>
                    </a:moveTo>
                    <a:lnTo>
                      <a:pt x="67" y="19"/>
                    </a:lnTo>
                    <a:lnTo>
                      <a:pt x="61" y="0"/>
                    </a:lnTo>
                    <a:lnTo>
                      <a:pt x="28" y="17"/>
                    </a:lnTo>
                    <a:lnTo>
                      <a:pt x="25" y="19"/>
                    </a:lnTo>
                    <a:lnTo>
                      <a:pt x="22" y="19"/>
                    </a:lnTo>
                    <a:lnTo>
                      <a:pt x="14" y="14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8" y="11"/>
                    </a:lnTo>
                    <a:lnTo>
                      <a:pt x="8" y="17"/>
                    </a:lnTo>
                    <a:lnTo>
                      <a:pt x="8" y="25"/>
                    </a:lnTo>
                    <a:lnTo>
                      <a:pt x="8" y="28"/>
                    </a:lnTo>
                    <a:lnTo>
                      <a:pt x="8" y="33"/>
                    </a:lnTo>
                    <a:lnTo>
                      <a:pt x="5" y="33"/>
                    </a:lnTo>
                    <a:lnTo>
                      <a:pt x="8" y="33"/>
                    </a:lnTo>
                    <a:lnTo>
                      <a:pt x="5" y="39"/>
                    </a:lnTo>
                    <a:lnTo>
                      <a:pt x="8" y="39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16" y="75"/>
                    </a:lnTo>
                    <a:lnTo>
                      <a:pt x="22" y="70"/>
                    </a:lnTo>
                    <a:lnTo>
                      <a:pt x="28" y="61"/>
                    </a:lnTo>
                    <a:lnTo>
                      <a:pt x="39" y="61"/>
                    </a:lnTo>
                    <a:lnTo>
                      <a:pt x="41" y="53"/>
                    </a:lnTo>
                    <a:lnTo>
                      <a:pt x="47" y="50"/>
                    </a:lnTo>
                    <a:lnTo>
                      <a:pt x="47" y="50"/>
                    </a:lnTo>
                    <a:lnTo>
                      <a:pt x="30" y="33"/>
                    </a:lnTo>
                    <a:lnTo>
                      <a:pt x="61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5" name="Freeform 628"/>
              <p:cNvSpPr>
                <a:spLocks noChangeAspect="1"/>
              </p:cNvSpPr>
              <p:nvPr>
                <p:custDataLst>
                  <p:tags r:id="rId733"/>
                </p:custDataLst>
              </p:nvPr>
            </p:nvSpPr>
            <p:spPr bwMode="gray">
              <a:xfrm>
                <a:off x="6263779" y="3613415"/>
                <a:ext cx="97181" cy="74106"/>
              </a:xfrm>
              <a:custGeom>
                <a:avLst/>
                <a:gdLst>
                  <a:gd name="T0" fmla="*/ 55 w 75"/>
                  <a:gd name="T1" fmla="*/ 58 h 58"/>
                  <a:gd name="T2" fmla="*/ 0 w 75"/>
                  <a:gd name="T3" fmla="*/ 33 h 58"/>
                  <a:gd name="T4" fmla="*/ 0 w 75"/>
                  <a:gd name="T5" fmla="*/ 30 h 58"/>
                  <a:gd name="T6" fmla="*/ 2 w 75"/>
                  <a:gd name="T7" fmla="*/ 28 h 58"/>
                  <a:gd name="T8" fmla="*/ 5 w 75"/>
                  <a:gd name="T9" fmla="*/ 33 h 58"/>
                  <a:gd name="T10" fmla="*/ 14 w 75"/>
                  <a:gd name="T11" fmla="*/ 33 h 58"/>
                  <a:gd name="T12" fmla="*/ 16 w 75"/>
                  <a:gd name="T13" fmla="*/ 30 h 58"/>
                  <a:gd name="T14" fmla="*/ 25 w 75"/>
                  <a:gd name="T15" fmla="*/ 33 h 58"/>
                  <a:gd name="T16" fmla="*/ 30 w 75"/>
                  <a:gd name="T17" fmla="*/ 33 h 58"/>
                  <a:gd name="T18" fmla="*/ 39 w 75"/>
                  <a:gd name="T19" fmla="*/ 30 h 58"/>
                  <a:gd name="T20" fmla="*/ 41 w 75"/>
                  <a:gd name="T21" fmla="*/ 28 h 58"/>
                  <a:gd name="T22" fmla="*/ 44 w 75"/>
                  <a:gd name="T23" fmla="*/ 28 h 58"/>
                  <a:gd name="T24" fmla="*/ 44 w 75"/>
                  <a:gd name="T25" fmla="*/ 28 h 58"/>
                  <a:gd name="T26" fmla="*/ 44 w 75"/>
                  <a:gd name="T27" fmla="*/ 25 h 58"/>
                  <a:gd name="T28" fmla="*/ 47 w 75"/>
                  <a:gd name="T29" fmla="*/ 25 h 58"/>
                  <a:gd name="T30" fmla="*/ 47 w 75"/>
                  <a:gd name="T31" fmla="*/ 22 h 58"/>
                  <a:gd name="T32" fmla="*/ 47 w 75"/>
                  <a:gd name="T33" fmla="*/ 22 h 58"/>
                  <a:gd name="T34" fmla="*/ 53 w 75"/>
                  <a:gd name="T35" fmla="*/ 19 h 58"/>
                  <a:gd name="T36" fmla="*/ 53 w 75"/>
                  <a:gd name="T37" fmla="*/ 17 h 58"/>
                  <a:gd name="T38" fmla="*/ 58 w 75"/>
                  <a:gd name="T39" fmla="*/ 14 h 58"/>
                  <a:gd name="T40" fmla="*/ 58 w 75"/>
                  <a:gd name="T41" fmla="*/ 11 h 58"/>
                  <a:gd name="T42" fmla="*/ 61 w 75"/>
                  <a:gd name="T43" fmla="*/ 11 h 58"/>
                  <a:gd name="T44" fmla="*/ 61 w 75"/>
                  <a:gd name="T45" fmla="*/ 8 h 58"/>
                  <a:gd name="T46" fmla="*/ 64 w 75"/>
                  <a:gd name="T47" fmla="*/ 8 h 58"/>
                  <a:gd name="T48" fmla="*/ 66 w 75"/>
                  <a:gd name="T49" fmla="*/ 5 h 58"/>
                  <a:gd name="T50" fmla="*/ 69 w 75"/>
                  <a:gd name="T51" fmla="*/ 0 h 58"/>
                  <a:gd name="T52" fmla="*/ 72 w 75"/>
                  <a:gd name="T53" fmla="*/ 3 h 58"/>
                  <a:gd name="T54" fmla="*/ 72 w 75"/>
                  <a:gd name="T55" fmla="*/ 3 h 58"/>
                  <a:gd name="T56" fmla="*/ 72 w 75"/>
                  <a:gd name="T57" fmla="*/ 5 h 58"/>
                  <a:gd name="T58" fmla="*/ 75 w 75"/>
                  <a:gd name="T59" fmla="*/ 8 h 58"/>
                  <a:gd name="T60" fmla="*/ 64 w 75"/>
                  <a:gd name="T61" fmla="*/ 19 h 58"/>
                  <a:gd name="T62" fmla="*/ 66 w 75"/>
                  <a:gd name="T63" fmla="*/ 30 h 58"/>
                  <a:gd name="T64" fmla="*/ 66 w 75"/>
                  <a:gd name="T65" fmla="*/ 30 h 58"/>
                  <a:gd name="T66" fmla="*/ 64 w 75"/>
                  <a:gd name="T67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58">
                    <a:moveTo>
                      <a:pt x="58" y="56"/>
                    </a:moveTo>
                    <a:lnTo>
                      <a:pt x="55" y="58"/>
                    </a:lnTo>
                    <a:lnTo>
                      <a:pt x="16" y="53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3"/>
                    </a:lnTo>
                    <a:lnTo>
                      <a:pt x="5" y="33"/>
                    </a:lnTo>
                    <a:lnTo>
                      <a:pt x="11" y="33"/>
                    </a:lnTo>
                    <a:lnTo>
                      <a:pt x="14" y="33"/>
                    </a:lnTo>
                    <a:lnTo>
                      <a:pt x="14" y="33"/>
                    </a:lnTo>
                    <a:lnTo>
                      <a:pt x="16" y="30"/>
                    </a:lnTo>
                    <a:lnTo>
                      <a:pt x="25" y="30"/>
                    </a:lnTo>
                    <a:lnTo>
                      <a:pt x="25" y="33"/>
                    </a:lnTo>
                    <a:lnTo>
                      <a:pt x="27" y="33"/>
                    </a:lnTo>
                    <a:lnTo>
                      <a:pt x="30" y="33"/>
                    </a:lnTo>
                    <a:lnTo>
                      <a:pt x="39" y="33"/>
                    </a:lnTo>
                    <a:lnTo>
                      <a:pt x="39" y="30"/>
                    </a:lnTo>
                    <a:lnTo>
                      <a:pt x="41" y="30"/>
                    </a:lnTo>
                    <a:lnTo>
                      <a:pt x="41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5"/>
                    </a:lnTo>
                    <a:lnTo>
                      <a:pt x="44" y="25"/>
                    </a:lnTo>
                    <a:lnTo>
                      <a:pt x="47" y="25"/>
                    </a:lnTo>
                    <a:lnTo>
                      <a:pt x="47" y="25"/>
                    </a:lnTo>
                    <a:lnTo>
                      <a:pt x="47" y="25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50" y="19"/>
                    </a:lnTo>
                    <a:lnTo>
                      <a:pt x="53" y="19"/>
                    </a:lnTo>
                    <a:lnTo>
                      <a:pt x="53" y="17"/>
                    </a:lnTo>
                    <a:lnTo>
                      <a:pt x="53" y="17"/>
                    </a:lnTo>
                    <a:lnTo>
                      <a:pt x="55" y="17"/>
                    </a:lnTo>
                    <a:lnTo>
                      <a:pt x="58" y="14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8"/>
                    </a:lnTo>
                    <a:lnTo>
                      <a:pt x="61" y="8"/>
                    </a:lnTo>
                    <a:lnTo>
                      <a:pt x="64" y="8"/>
                    </a:lnTo>
                    <a:lnTo>
                      <a:pt x="64" y="5"/>
                    </a:lnTo>
                    <a:lnTo>
                      <a:pt x="66" y="5"/>
                    </a:lnTo>
                    <a:lnTo>
                      <a:pt x="69" y="3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2" y="3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69" y="5"/>
                    </a:lnTo>
                    <a:lnTo>
                      <a:pt x="72" y="5"/>
                    </a:lnTo>
                    <a:lnTo>
                      <a:pt x="72" y="5"/>
                    </a:lnTo>
                    <a:lnTo>
                      <a:pt x="75" y="8"/>
                    </a:lnTo>
                    <a:lnTo>
                      <a:pt x="75" y="19"/>
                    </a:lnTo>
                    <a:lnTo>
                      <a:pt x="64" y="19"/>
                    </a:lnTo>
                    <a:lnTo>
                      <a:pt x="66" y="28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3"/>
                    </a:lnTo>
                    <a:lnTo>
                      <a:pt x="64" y="33"/>
                    </a:lnTo>
                    <a:lnTo>
                      <a:pt x="58" y="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6" name="Freeform 629"/>
              <p:cNvSpPr>
                <a:spLocks noChangeAspect="1"/>
              </p:cNvSpPr>
              <p:nvPr>
                <p:custDataLst>
                  <p:tags r:id="rId734"/>
                </p:custDataLst>
              </p:nvPr>
            </p:nvSpPr>
            <p:spPr bwMode="gray">
              <a:xfrm>
                <a:off x="6081565" y="3763205"/>
                <a:ext cx="212584" cy="132445"/>
              </a:xfrm>
              <a:custGeom>
                <a:avLst/>
                <a:gdLst>
                  <a:gd name="T0" fmla="*/ 154 w 162"/>
                  <a:gd name="T1" fmla="*/ 44 h 103"/>
                  <a:gd name="T2" fmla="*/ 151 w 162"/>
                  <a:gd name="T3" fmla="*/ 50 h 103"/>
                  <a:gd name="T4" fmla="*/ 151 w 162"/>
                  <a:gd name="T5" fmla="*/ 55 h 103"/>
                  <a:gd name="T6" fmla="*/ 151 w 162"/>
                  <a:gd name="T7" fmla="*/ 55 h 103"/>
                  <a:gd name="T8" fmla="*/ 142 w 162"/>
                  <a:gd name="T9" fmla="*/ 58 h 103"/>
                  <a:gd name="T10" fmla="*/ 101 w 162"/>
                  <a:gd name="T11" fmla="*/ 72 h 103"/>
                  <a:gd name="T12" fmla="*/ 95 w 162"/>
                  <a:gd name="T13" fmla="*/ 83 h 103"/>
                  <a:gd name="T14" fmla="*/ 81 w 162"/>
                  <a:gd name="T15" fmla="*/ 83 h 103"/>
                  <a:gd name="T16" fmla="*/ 78 w 162"/>
                  <a:gd name="T17" fmla="*/ 86 h 103"/>
                  <a:gd name="T18" fmla="*/ 62 w 162"/>
                  <a:gd name="T19" fmla="*/ 92 h 103"/>
                  <a:gd name="T20" fmla="*/ 51 w 162"/>
                  <a:gd name="T21" fmla="*/ 92 h 103"/>
                  <a:gd name="T22" fmla="*/ 45 w 162"/>
                  <a:gd name="T23" fmla="*/ 97 h 103"/>
                  <a:gd name="T24" fmla="*/ 28 w 162"/>
                  <a:gd name="T25" fmla="*/ 103 h 103"/>
                  <a:gd name="T26" fmla="*/ 23 w 162"/>
                  <a:gd name="T27" fmla="*/ 103 h 103"/>
                  <a:gd name="T28" fmla="*/ 17 w 162"/>
                  <a:gd name="T29" fmla="*/ 103 h 103"/>
                  <a:gd name="T30" fmla="*/ 14 w 162"/>
                  <a:gd name="T31" fmla="*/ 97 h 103"/>
                  <a:gd name="T32" fmla="*/ 9 w 162"/>
                  <a:gd name="T33" fmla="*/ 83 h 103"/>
                  <a:gd name="T34" fmla="*/ 3 w 162"/>
                  <a:gd name="T35" fmla="*/ 64 h 103"/>
                  <a:gd name="T36" fmla="*/ 0 w 162"/>
                  <a:gd name="T37" fmla="*/ 61 h 103"/>
                  <a:gd name="T38" fmla="*/ 3 w 162"/>
                  <a:gd name="T39" fmla="*/ 61 h 103"/>
                  <a:gd name="T40" fmla="*/ 3 w 162"/>
                  <a:gd name="T41" fmla="*/ 58 h 103"/>
                  <a:gd name="T42" fmla="*/ 0 w 162"/>
                  <a:gd name="T43" fmla="*/ 53 h 103"/>
                  <a:gd name="T44" fmla="*/ 3 w 162"/>
                  <a:gd name="T45" fmla="*/ 50 h 103"/>
                  <a:gd name="T46" fmla="*/ 3 w 162"/>
                  <a:gd name="T47" fmla="*/ 42 h 103"/>
                  <a:gd name="T48" fmla="*/ 6 w 162"/>
                  <a:gd name="T49" fmla="*/ 39 h 103"/>
                  <a:gd name="T50" fmla="*/ 12 w 162"/>
                  <a:gd name="T51" fmla="*/ 36 h 103"/>
                  <a:gd name="T52" fmla="*/ 14 w 162"/>
                  <a:gd name="T53" fmla="*/ 33 h 103"/>
                  <a:gd name="T54" fmla="*/ 28 w 162"/>
                  <a:gd name="T55" fmla="*/ 25 h 103"/>
                  <a:gd name="T56" fmla="*/ 70 w 162"/>
                  <a:gd name="T57" fmla="*/ 33 h 103"/>
                  <a:gd name="T58" fmla="*/ 76 w 162"/>
                  <a:gd name="T59" fmla="*/ 30 h 103"/>
                  <a:gd name="T60" fmla="*/ 87 w 162"/>
                  <a:gd name="T61" fmla="*/ 14 h 103"/>
                  <a:gd name="T62" fmla="*/ 148 w 162"/>
                  <a:gd name="T6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2" h="103">
                    <a:moveTo>
                      <a:pt x="162" y="39"/>
                    </a:moveTo>
                    <a:lnTo>
                      <a:pt x="154" y="44"/>
                    </a:lnTo>
                    <a:lnTo>
                      <a:pt x="154" y="47"/>
                    </a:lnTo>
                    <a:lnTo>
                      <a:pt x="151" y="50"/>
                    </a:lnTo>
                    <a:lnTo>
                      <a:pt x="151" y="55"/>
                    </a:lnTo>
                    <a:lnTo>
                      <a:pt x="151" y="55"/>
                    </a:lnTo>
                    <a:lnTo>
                      <a:pt x="151" y="55"/>
                    </a:lnTo>
                    <a:lnTo>
                      <a:pt x="151" y="55"/>
                    </a:lnTo>
                    <a:lnTo>
                      <a:pt x="148" y="55"/>
                    </a:lnTo>
                    <a:lnTo>
                      <a:pt x="142" y="58"/>
                    </a:lnTo>
                    <a:lnTo>
                      <a:pt x="140" y="61"/>
                    </a:lnTo>
                    <a:lnTo>
                      <a:pt x="101" y="72"/>
                    </a:lnTo>
                    <a:lnTo>
                      <a:pt x="101" y="78"/>
                    </a:lnTo>
                    <a:lnTo>
                      <a:pt x="95" y="83"/>
                    </a:lnTo>
                    <a:lnTo>
                      <a:pt x="92" y="83"/>
                    </a:lnTo>
                    <a:lnTo>
                      <a:pt x="81" y="83"/>
                    </a:lnTo>
                    <a:lnTo>
                      <a:pt x="78" y="83"/>
                    </a:lnTo>
                    <a:lnTo>
                      <a:pt x="78" y="86"/>
                    </a:lnTo>
                    <a:lnTo>
                      <a:pt x="64" y="92"/>
                    </a:lnTo>
                    <a:lnTo>
                      <a:pt x="62" y="92"/>
                    </a:lnTo>
                    <a:lnTo>
                      <a:pt x="59" y="92"/>
                    </a:lnTo>
                    <a:lnTo>
                      <a:pt x="51" y="92"/>
                    </a:lnTo>
                    <a:lnTo>
                      <a:pt x="48" y="94"/>
                    </a:lnTo>
                    <a:lnTo>
                      <a:pt x="45" y="97"/>
                    </a:lnTo>
                    <a:lnTo>
                      <a:pt x="37" y="103"/>
                    </a:lnTo>
                    <a:lnTo>
                      <a:pt x="28" y="103"/>
                    </a:lnTo>
                    <a:lnTo>
                      <a:pt x="25" y="103"/>
                    </a:lnTo>
                    <a:lnTo>
                      <a:pt x="23" y="103"/>
                    </a:lnTo>
                    <a:lnTo>
                      <a:pt x="20" y="103"/>
                    </a:lnTo>
                    <a:lnTo>
                      <a:pt x="17" y="103"/>
                    </a:lnTo>
                    <a:lnTo>
                      <a:pt x="14" y="103"/>
                    </a:lnTo>
                    <a:lnTo>
                      <a:pt x="14" y="97"/>
                    </a:lnTo>
                    <a:lnTo>
                      <a:pt x="12" y="94"/>
                    </a:lnTo>
                    <a:lnTo>
                      <a:pt x="9" y="83"/>
                    </a:lnTo>
                    <a:lnTo>
                      <a:pt x="9" y="83"/>
                    </a:lnTo>
                    <a:lnTo>
                      <a:pt x="3" y="64"/>
                    </a:lnTo>
                    <a:lnTo>
                      <a:pt x="3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3" y="61"/>
                    </a:lnTo>
                    <a:lnTo>
                      <a:pt x="3" y="58"/>
                    </a:lnTo>
                    <a:lnTo>
                      <a:pt x="3" y="58"/>
                    </a:lnTo>
                    <a:lnTo>
                      <a:pt x="3" y="55"/>
                    </a:lnTo>
                    <a:lnTo>
                      <a:pt x="0" y="53"/>
                    </a:lnTo>
                    <a:lnTo>
                      <a:pt x="3" y="53"/>
                    </a:lnTo>
                    <a:lnTo>
                      <a:pt x="3" y="50"/>
                    </a:lnTo>
                    <a:lnTo>
                      <a:pt x="3" y="44"/>
                    </a:lnTo>
                    <a:lnTo>
                      <a:pt x="3" y="42"/>
                    </a:lnTo>
                    <a:lnTo>
                      <a:pt x="6" y="42"/>
                    </a:lnTo>
                    <a:lnTo>
                      <a:pt x="6" y="39"/>
                    </a:lnTo>
                    <a:lnTo>
                      <a:pt x="6" y="39"/>
                    </a:lnTo>
                    <a:lnTo>
                      <a:pt x="12" y="36"/>
                    </a:lnTo>
                    <a:lnTo>
                      <a:pt x="12" y="33"/>
                    </a:lnTo>
                    <a:lnTo>
                      <a:pt x="14" y="33"/>
                    </a:lnTo>
                    <a:lnTo>
                      <a:pt x="20" y="30"/>
                    </a:lnTo>
                    <a:lnTo>
                      <a:pt x="28" y="25"/>
                    </a:lnTo>
                    <a:lnTo>
                      <a:pt x="64" y="28"/>
                    </a:lnTo>
                    <a:lnTo>
                      <a:pt x="70" y="33"/>
                    </a:lnTo>
                    <a:lnTo>
                      <a:pt x="73" y="33"/>
                    </a:lnTo>
                    <a:lnTo>
                      <a:pt x="76" y="30"/>
                    </a:lnTo>
                    <a:lnTo>
                      <a:pt x="78" y="25"/>
                    </a:lnTo>
                    <a:lnTo>
                      <a:pt x="87" y="14"/>
                    </a:lnTo>
                    <a:lnTo>
                      <a:pt x="101" y="8"/>
                    </a:lnTo>
                    <a:lnTo>
                      <a:pt x="148" y="0"/>
                    </a:lnTo>
                    <a:lnTo>
                      <a:pt x="162" y="3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7" name="Freeform 630"/>
              <p:cNvSpPr>
                <a:spLocks noChangeAspect="1"/>
              </p:cNvSpPr>
              <p:nvPr>
                <p:custDataLst>
                  <p:tags r:id="rId735"/>
                </p:custDataLst>
              </p:nvPr>
            </p:nvSpPr>
            <p:spPr bwMode="gray">
              <a:xfrm>
                <a:off x="5449887" y="4266184"/>
                <a:ext cx="256620" cy="250701"/>
              </a:xfrm>
              <a:custGeom>
                <a:avLst/>
                <a:gdLst>
                  <a:gd name="T0" fmla="*/ 3 w 198"/>
                  <a:gd name="T1" fmla="*/ 161 h 195"/>
                  <a:gd name="T2" fmla="*/ 14 w 198"/>
                  <a:gd name="T3" fmla="*/ 128 h 195"/>
                  <a:gd name="T4" fmla="*/ 14 w 198"/>
                  <a:gd name="T5" fmla="*/ 125 h 195"/>
                  <a:gd name="T6" fmla="*/ 17 w 198"/>
                  <a:gd name="T7" fmla="*/ 119 h 195"/>
                  <a:gd name="T8" fmla="*/ 19 w 198"/>
                  <a:gd name="T9" fmla="*/ 111 h 195"/>
                  <a:gd name="T10" fmla="*/ 31 w 198"/>
                  <a:gd name="T11" fmla="*/ 103 h 195"/>
                  <a:gd name="T12" fmla="*/ 36 w 198"/>
                  <a:gd name="T13" fmla="*/ 80 h 195"/>
                  <a:gd name="T14" fmla="*/ 31 w 198"/>
                  <a:gd name="T15" fmla="*/ 72 h 195"/>
                  <a:gd name="T16" fmla="*/ 28 w 198"/>
                  <a:gd name="T17" fmla="*/ 66 h 195"/>
                  <a:gd name="T18" fmla="*/ 25 w 198"/>
                  <a:gd name="T19" fmla="*/ 52 h 195"/>
                  <a:gd name="T20" fmla="*/ 28 w 198"/>
                  <a:gd name="T21" fmla="*/ 41 h 195"/>
                  <a:gd name="T22" fmla="*/ 25 w 198"/>
                  <a:gd name="T23" fmla="*/ 36 h 195"/>
                  <a:gd name="T24" fmla="*/ 11 w 198"/>
                  <a:gd name="T25" fmla="*/ 8 h 195"/>
                  <a:gd name="T26" fmla="*/ 14 w 198"/>
                  <a:gd name="T27" fmla="*/ 5 h 195"/>
                  <a:gd name="T28" fmla="*/ 45 w 198"/>
                  <a:gd name="T29" fmla="*/ 0 h 195"/>
                  <a:gd name="T30" fmla="*/ 72 w 198"/>
                  <a:gd name="T31" fmla="*/ 0 h 195"/>
                  <a:gd name="T32" fmla="*/ 75 w 198"/>
                  <a:gd name="T33" fmla="*/ 2 h 195"/>
                  <a:gd name="T34" fmla="*/ 78 w 198"/>
                  <a:gd name="T35" fmla="*/ 2 h 195"/>
                  <a:gd name="T36" fmla="*/ 95 w 198"/>
                  <a:gd name="T37" fmla="*/ 36 h 195"/>
                  <a:gd name="T38" fmla="*/ 100 w 198"/>
                  <a:gd name="T39" fmla="*/ 36 h 195"/>
                  <a:gd name="T40" fmla="*/ 122 w 198"/>
                  <a:gd name="T41" fmla="*/ 33 h 195"/>
                  <a:gd name="T42" fmla="*/ 122 w 198"/>
                  <a:gd name="T43" fmla="*/ 27 h 195"/>
                  <a:gd name="T44" fmla="*/ 136 w 198"/>
                  <a:gd name="T45" fmla="*/ 19 h 195"/>
                  <a:gd name="T46" fmla="*/ 145 w 198"/>
                  <a:gd name="T47" fmla="*/ 16 h 195"/>
                  <a:gd name="T48" fmla="*/ 159 w 198"/>
                  <a:gd name="T49" fmla="*/ 25 h 195"/>
                  <a:gd name="T50" fmla="*/ 161 w 198"/>
                  <a:gd name="T51" fmla="*/ 50 h 195"/>
                  <a:gd name="T52" fmla="*/ 161 w 198"/>
                  <a:gd name="T53" fmla="*/ 61 h 195"/>
                  <a:gd name="T54" fmla="*/ 167 w 198"/>
                  <a:gd name="T55" fmla="*/ 78 h 195"/>
                  <a:gd name="T56" fmla="*/ 161 w 198"/>
                  <a:gd name="T57" fmla="*/ 83 h 195"/>
                  <a:gd name="T58" fmla="*/ 164 w 198"/>
                  <a:gd name="T59" fmla="*/ 83 h 195"/>
                  <a:gd name="T60" fmla="*/ 167 w 198"/>
                  <a:gd name="T61" fmla="*/ 86 h 195"/>
                  <a:gd name="T62" fmla="*/ 170 w 198"/>
                  <a:gd name="T63" fmla="*/ 86 h 195"/>
                  <a:gd name="T64" fmla="*/ 173 w 198"/>
                  <a:gd name="T65" fmla="*/ 80 h 195"/>
                  <a:gd name="T66" fmla="*/ 189 w 198"/>
                  <a:gd name="T67" fmla="*/ 80 h 195"/>
                  <a:gd name="T68" fmla="*/ 192 w 198"/>
                  <a:gd name="T69" fmla="*/ 80 h 195"/>
                  <a:gd name="T70" fmla="*/ 195 w 198"/>
                  <a:gd name="T71" fmla="*/ 80 h 195"/>
                  <a:gd name="T72" fmla="*/ 198 w 198"/>
                  <a:gd name="T73" fmla="*/ 80 h 195"/>
                  <a:gd name="T74" fmla="*/ 195 w 198"/>
                  <a:gd name="T75" fmla="*/ 83 h 195"/>
                  <a:gd name="T76" fmla="*/ 195 w 198"/>
                  <a:gd name="T77" fmla="*/ 111 h 195"/>
                  <a:gd name="T78" fmla="*/ 195 w 198"/>
                  <a:gd name="T79" fmla="*/ 111 h 195"/>
                  <a:gd name="T80" fmla="*/ 164 w 198"/>
                  <a:gd name="T81" fmla="*/ 114 h 195"/>
                  <a:gd name="T82" fmla="*/ 167 w 198"/>
                  <a:gd name="T83" fmla="*/ 172 h 195"/>
                  <a:gd name="T84" fmla="*/ 178 w 198"/>
                  <a:gd name="T85" fmla="*/ 183 h 195"/>
                  <a:gd name="T86" fmla="*/ 181 w 198"/>
                  <a:gd name="T87" fmla="*/ 186 h 195"/>
                  <a:gd name="T88" fmla="*/ 156 w 198"/>
                  <a:gd name="T89" fmla="*/ 195 h 195"/>
                  <a:gd name="T90" fmla="*/ 111 w 198"/>
                  <a:gd name="T91" fmla="*/ 189 h 195"/>
                  <a:gd name="T92" fmla="*/ 106 w 198"/>
                  <a:gd name="T93" fmla="*/ 183 h 195"/>
                  <a:gd name="T94" fmla="*/ 33 w 198"/>
                  <a:gd name="T95" fmla="*/ 181 h 195"/>
                  <a:gd name="T96" fmla="*/ 28 w 198"/>
                  <a:gd name="T97" fmla="*/ 175 h 195"/>
                  <a:gd name="T98" fmla="*/ 17 w 198"/>
                  <a:gd name="T99" fmla="*/ 178 h 195"/>
                  <a:gd name="T100" fmla="*/ 11 w 198"/>
                  <a:gd name="T101" fmla="*/ 181 h 195"/>
                  <a:gd name="T102" fmla="*/ 3 w 198"/>
                  <a:gd name="T103" fmla="*/ 183 h 195"/>
                  <a:gd name="T104" fmla="*/ 3 w 198"/>
                  <a:gd name="T105" fmla="*/ 172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98" h="195">
                    <a:moveTo>
                      <a:pt x="3" y="169"/>
                    </a:moveTo>
                    <a:lnTo>
                      <a:pt x="3" y="161"/>
                    </a:lnTo>
                    <a:lnTo>
                      <a:pt x="6" y="158"/>
                    </a:lnTo>
                    <a:lnTo>
                      <a:pt x="14" y="128"/>
                    </a:lnTo>
                    <a:lnTo>
                      <a:pt x="14" y="125"/>
                    </a:lnTo>
                    <a:lnTo>
                      <a:pt x="14" y="125"/>
                    </a:lnTo>
                    <a:lnTo>
                      <a:pt x="14" y="122"/>
                    </a:lnTo>
                    <a:lnTo>
                      <a:pt x="17" y="119"/>
                    </a:lnTo>
                    <a:lnTo>
                      <a:pt x="19" y="114"/>
                    </a:lnTo>
                    <a:lnTo>
                      <a:pt x="19" y="111"/>
                    </a:lnTo>
                    <a:lnTo>
                      <a:pt x="28" y="108"/>
                    </a:lnTo>
                    <a:lnTo>
                      <a:pt x="31" y="103"/>
                    </a:lnTo>
                    <a:lnTo>
                      <a:pt x="33" y="83"/>
                    </a:lnTo>
                    <a:lnTo>
                      <a:pt x="36" y="80"/>
                    </a:lnTo>
                    <a:lnTo>
                      <a:pt x="33" y="75"/>
                    </a:lnTo>
                    <a:lnTo>
                      <a:pt x="31" y="72"/>
                    </a:lnTo>
                    <a:lnTo>
                      <a:pt x="31" y="69"/>
                    </a:lnTo>
                    <a:lnTo>
                      <a:pt x="28" y="66"/>
                    </a:lnTo>
                    <a:lnTo>
                      <a:pt x="25" y="52"/>
                    </a:lnTo>
                    <a:lnTo>
                      <a:pt x="25" y="52"/>
                    </a:lnTo>
                    <a:lnTo>
                      <a:pt x="28" y="47"/>
                    </a:lnTo>
                    <a:lnTo>
                      <a:pt x="28" y="41"/>
                    </a:lnTo>
                    <a:lnTo>
                      <a:pt x="28" y="39"/>
                    </a:lnTo>
                    <a:lnTo>
                      <a:pt x="25" y="36"/>
                    </a:lnTo>
                    <a:lnTo>
                      <a:pt x="19" y="19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4" y="5"/>
                    </a:lnTo>
                    <a:lnTo>
                      <a:pt x="28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5" y="2"/>
                    </a:lnTo>
                    <a:lnTo>
                      <a:pt x="78" y="2"/>
                    </a:lnTo>
                    <a:lnTo>
                      <a:pt x="78" y="2"/>
                    </a:lnTo>
                    <a:lnTo>
                      <a:pt x="83" y="25"/>
                    </a:lnTo>
                    <a:lnTo>
                      <a:pt x="95" y="36"/>
                    </a:lnTo>
                    <a:lnTo>
                      <a:pt x="97" y="36"/>
                    </a:lnTo>
                    <a:lnTo>
                      <a:pt x="100" y="36"/>
                    </a:lnTo>
                    <a:lnTo>
                      <a:pt x="111" y="33"/>
                    </a:lnTo>
                    <a:lnTo>
                      <a:pt x="122" y="33"/>
                    </a:lnTo>
                    <a:lnTo>
                      <a:pt x="122" y="27"/>
                    </a:lnTo>
                    <a:lnTo>
                      <a:pt x="122" y="27"/>
                    </a:lnTo>
                    <a:lnTo>
                      <a:pt x="125" y="19"/>
                    </a:lnTo>
                    <a:lnTo>
                      <a:pt x="136" y="19"/>
                    </a:lnTo>
                    <a:lnTo>
                      <a:pt x="136" y="16"/>
                    </a:lnTo>
                    <a:lnTo>
                      <a:pt x="145" y="16"/>
                    </a:lnTo>
                    <a:lnTo>
                      <a:pt x="145" y="22"/>
                    </a:lnTo>
                    <a:lnTo>
                      <a:pt x="159" y="25"/>
                    </a:lnTo>
                    <a:lnTo>
                      <a:pt x="159" y="27"/>
                    </a:lnTo>
                    <a:lnTo>
                      <a:pt x="161" y="50"/>
                    </a:lnTo>
                    <a:lnTo>
                      <a:pt x="161" y="52"/>
                    </a:lnTo>
                    <a:lnTo>
                      <a:pt x="161" y="61"/>
                    </a:lnTo>
                    <a:lnTo>
                      <a:pt x="167" y="75"/>
                    </a:lnTo>
                    <a:lnTo>
                      <a:pt x="167" y="78"/>
                    </a:lnTo>
                    <a:lnTo>
                      <a:pt x="161" y="83"/>
                    </a:lnTo>
                    <a:lnTo>
                      <a:pt x="161" y="83"/>
                    </a:lnTo>
                    <a:lnTo>
                      <a:pt x="161" y="83"/>
                    </a:lnTo>
                    <a:lnTo>
                      <a:pt x="164" y="83"/>
                    </a:lnTo>
                    <a:lnTo>
                      <a:pt x="164" y="83"/>
                    </a:lnTo>
                    <a:lnTo>
                      <a:pt x="167" y="86"/>
                    </a:lnTo>
                    <a:lnTo>
                      <a:pt x="167" y="86"/>
                    </a:lnTo>
                    <a:lnTo>
                      <a:pt x="170" y="86"/>
                    </a:lnTo>
                    <a:lnTo>
                      <a:pt x="170" y="83"/>
                    </a:lnTo>
                    <a:lnTo>
                      <a:pt x="173" y="80"/>
                    </a:lnTo>
                    <a:lnTo>
                      <a:pt x="187" y="80"/>
                    </a:lnTo>
                    <a:lnTo>
                      <a:pt x="189" y="80"/>
                    </a:lnTo>
                    <a:lnTo>
                      <a:pt x="192" y="80"/>
                    </a:lnTo>
                    <a:lnTo>
                      <a:pt x="192" y="80"/>
                    </a:lnTo>
                    <a:lnTo>
                      <a:pt x="195" y="80"/>
                    </a:lnTo>
                    <a:lnTo>
                      <a:pt x="195" y="80"/>
                    </a:lnTo>
                    <a:lnTo>
                      <a:pt x="195" y="80"/>
                    </a:lnTo>
                    <a:lnTo>
                      <a:pt x="198" y="80"/>
                    </a:lnTo>
                    <a:lnTo>
                      <a:pt x="195" y="80"/>
                    </a:lnTo>
                    <a:lnTo>
                      <a:pt x="195" y="83"/>
                    </a:lnTo>
                    <a:lnTo>
                      <a:pt x="195" y="86"/>
                    </a:lnTo>
                    <a:lnTo>
                      <a:pt x="195" y="111"/>
                    </a:lnTo>
                    <a:lnTo>
                      <a:pt x="195" y="111"/>
                    </a:lnTo>
                    <a:lnTo>
                      <a:pt x="195" y="111"/>
                    </a:lnTo>
                    <a:lnTo>
                      <a:pt x="198" y="114"/>
                    </a:lnTo>
                    <a:lnTo>
                      <a:pt x="164" y="114"/>
                    </a:lnTo>
                    <a:lnTo>
                      <a:pt x="164" y="169"/>
                    </a:lnTo>
                    <a:lnTo>
                      <a:pt x="167" y="172"/>
                    </a:lnTo>
                    <a:lnTo>
                      <a:pt x="167" y="175"/>
                    </a:lnTo>
                    <a:lnTo>
                      <a:pt x="178" y="183"/>
                    </a:lnTo>
                    <a:lnTo>
                      <a:pt x="181" y="186"/>
                    </a:lnTo>
                    <a:lnTo>
                      <a:pt x="181" y="186"/>
                    </a:lnTo>
                    <a:lnTo>
                      <a:pt x="181" y="189"/>
                    </a:lnTo>
                    <a:lnTo>
                      <a:pt x="156" y="195"/>
                    </a:lnTo>
                    <a:lnTo>
                      <a:pt x="153" y="195"/>
                    </a:lnTo>
                    <a:lnTo>
                      <a:pt x="111" y="189"/>
                    </a:lnTo>
                    <a:lnTo>
                      <a:pt x="111" y="186"/>
                    </a:lnTo>
                    <a:lnTo>
                      <a:pt x="106" y="183"/>
                    </a:lnTo>
                    <a:lnTo>
                      <a:pt x="36" y="183"/>
                    </a:lnTo>
                    <a:lnTo>
                      <a:pt x="33" y="181"/>
                    </a:lnTo>
                    <a:lnTo>
                      <a:pt x="28" y="178"/>
                    </a:lnTo>
                    <a:lnTo>
                      <a:pt x="28" y="175"/>
                    </a:lnTo>
                    <a:lnTo>
                      <a:pt x="19" y="175"/>
                    </a:lnTo>
                    <a:lnTo>
                      <a:pt x="17" y="178"/>
                    </a:lnTo>
                    <a:lnTo>
                      <a:pt x="14" y="181"/>
                    </a:lnTo>
                    <a:lnTo>
                      <a:pt x="11" y="181"/>
                    </a:lnTo>
                    <a:lnTo>
                      <a:pt x="8" y="178"/>
                    </a:lnTo>
                    <a:lnTo>
                      <a:pt x="3" y="183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" y="16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8" name="Freeform 631"/>
              <p:cNvSpPr>
                <a:spLocks noChangeAspect="1"/>
              </p:cNvSpPr>
              <p:nvPr>
                <p:custDataLst>
                  <p:tags r:id="rId736"/>
                </p:custDataLst>
              </p:nvPr>
            </p:nvSpPr>
            <p:spPr bwMode="gray">
              <a:xfrm>
                <a:off x="5460516" y="4239380"/>
                <a:ext cx="18222" cy="28381"/>
              </a:xfrm>
              <a:custGeom>
                <a:avLst/>
                <a:gdLst>
                  <a:gd name="T0" fmla="*/ 14 w 14"/>
                  <a:gd name="T1" fmla="*/ 3 h 22"/>
                  <a:gd name="T2" fmla="*/ 14 w 14"/>
                  <a:gd name="T3" fmla="*/ 0 h 22"/>
                  <a:gd name="T4" fmla="*/ 11 w 14"/>
                  <a:gd name="T5" fmla="*/ 0 h 22"/>
                  <a:gd name="T6" fmla="*/ 9 w 14"/>
                  <a:gd name="T7" fmla="*/ 0 h 22"/>
                  <a:gd name="T8" fmla="*/ 6 w 14"/>
                  <a:gd name="T9" fmla="*/ 6 h 22"/>
                  <a:gd name="T10" fmla="*/ 0 w 14"/>
                  <a:gd name="T11" fmla="*/ 8 h 22"/>
                  <a:gd name="T12" fmla="*/ 0 w 14"/>
                  <a:gd name="T13" fmla="*/ 11 h 22"/>
                  <a:gd name="T14" fmla="*/ 0 w 14"/>
                  <a:gd name="T15" fmla="*/ 20 h 22"/>
                  <a:gd name="T16" fmla="*/ 3 w 14"/>
                  <a:gd name="T17" fmla="*/ 22 h 22"/>
                  <a:gd name="T18" fmla="*/ 6 w 14"/>
                  <a:gd name="T19" fmla="*/ 20 h 22"/>
                  <a:gd name="T20" fmla="*/ 9 w 14"/>
                  <a:gd name="T21" fmla="*/ 8 h 22"/>
                  <a:gd name="T22" fmla="*/ 14 w 14"/>
                  <a:gd name="T23" fmla="*/ 3 h 22"/>
                  <a:gd name="T24" fmla="*/ 14 w 14"/>
                  <a:gd name="T25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22">
                    <a:moveTo>
                      <a:pt x="14" y="3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3" y="22"/>
                    </a:lnTo>
                    <a:lnTo>
                      <a:pt x="6" y="20"/>
                    </a:lnTo>
                    <a:lnTo>
                      <a:pt x="9" y="8"/>
                    </a:lnTo>
                    <a:lnTo>
                      <a:pt x="14" y="3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9" name="Freeform 632"/>
              <p:cNvSpPr>
                <a:spLocks noChangeAspect="1"/>
              </p:cNvSpPr>
              <p:nvPr>
                <p:custDataLst>
                  <p:tags r:id="rId737"/>
                </p:custDataLst>
              </p:nvPr>
            </p:nvSpPr>
            <p:spPr bwMode="gray">
              <a:xfrm>
                <a:off x="5460516" y="4239380"/>
                <a:ext cx="18222" cy="28381"/>
              </a:xfrm>
              <a:custGeom>
                <a:avLst/>
                <a:gdLst>
                  <a:gd name="T0" fmla="*/ 14 w 14"/>
                  <a:gd name="T1" fmla="*/ 3 h 22"/>
                  <a:gd name="T2" fmla="*/ 14 w 14"/>
                  <a:gd name="T3" fmla="*/ 0 h 22"/>
                  <a:gd name="T4" fmla="*/ 11 w 14"/>
                  <a:gd name="T5" fmla="*/ 0 h 22"/>
                  <a:gd name="T6" fmla="*/ 9 w 14"/>
                  <a:gd name="T7" fmla="*/ 0 h 22"/>
                  <a:gd name="T8" fmla="*/ 6 w 14"/>
                  <a:gd name="T9" fmla="*/ 6 h 22"/>
                  <a:gd name="T10" fmla="*/ 0 w 14"/>
                  <a:gd name="T11" fmla="*/ 8 h 22"/>
                  <a:gd name="T12" fmla="*/ 0 w 14"/>
                  <a:gd name="T13" fmla="*/ 11 h 22"/>
                  <a:gd name="T14" fmla="*/ 0 w 14"/>
                  <a:gd name="T15" fmla="*/ 20 h 22"/>
                  <a:gd name="T16" fmla="*/ 3 w 14"/>
                  <a:gd name="T17" fmla="*/ 22 h 22"/>
                  <a:gd name="T18" fmla="*/ 6 w 14"/>
                  <a:gd name="T19" fmla="*/ 20 h 22"/>
                  <a:gd name="T20" fmla="*/ 9 w 14"/>
                  <a:gd name="T21" fmla="*/ 8 h 22"/>
                  <a:gd name="T22" fmla="*/ 14 w 14"/>
                  <a:gd name="T23" fmla="*/ 3 h 22"/>
                  <a:gd name="T24" fmla="*/ 14 w 14"/>
                  <a:gd name="T25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22">
                    <a:moveTo>
                      <a:pt x="14" y="3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20"/>
                    </a:lnTo>
                    <a:lnTo>
                      <a:pt x="3" y="22"/>
                    </a:lnTo>
                    <a:lnTo>
                      <a:pt x="6" y="20"/>
                    </a:lnTo>
                    <a:lnTo>
                      <a:pt x="9" y="8"/>
                    </a:lnTo>
                    <a:lnTo>
                      <a:pt x="14" y="3"/>
                    </a:lnTo>
                    <a:lnTo>
                      <a:pt x="14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0" name="Freeform 633"/>
              <p:cNvSpPr>
                <a:spLocks noChangeAspect="1"/>
              </p:cNvSpPr>
              <p:nvPr>
                <p:custDataLst>
                  <p:tags r:id="rId738"/>
                </p:custDataLst>
              </p:nvPr>
            </p:nvSpPr>
            <p:spPr bwMode="gray">
              <a:xfrm>
                <a:off x="5551624" y="4602031"/>
                <a:ext cx="329504" cy="286966"/>
              </a:xfrm>
              <a:custGeom>
                <a:avLst/>
                <a:gdLst>
                  <a:gd name="T0" fmla="*/ 53 w 253"/>
                  <a:gd name="T1" fmla="*/ 112 h 223"/>
                  <a:gd name="T2" fmla="*/ 39 w 253"/>
                  <a:gd name="T3" fmla="*/ 120 h 223"/>
                  <a:gd name="T4" fmla="*/ 22 w 253"/>
                  <a:gd name="T5" fmla="*/ 120 h 223"/>
                  <a:gd name="T6" fmla="*/ 17 w 253"/>
                  <a:gd name="T7" fmla="*/ 115 h 223"/>
                  <a:gd name="T8" fmla="*/ 8 w 253"/>
                  <a:gd name="T9" fmla="*/ 106 h 223"/>
                  <a:gd name="T10" fmla="*/ 0 w 253"/>
                  <a:gd name="T11" fmla="*/ 112 h 223"/>
                  <a:gd name="T12" fmla="*/ 0 w 253"/>
                  <a:gd name="T13" fmla="*/ 115 h 223"/>
                  <a:gd name="T14" fmla="*/ 0 w 253"/>
                  <a:gd name="T15" fmla="*/ 117 h 223"/>
                  <a:gd name="T16" fmla="*/ 25 w 253"/>
                  <a:gd name="T17" fmla="*/ 173 h 223"/>
                  <a:gd name="T18" fmla="*/ 25 w 253"/>
                  <a:gd name="T19" fmla="*/ 190 h 223"/>
                  <a:gd name="T20" fmla="*/ 19 w 253"/>
                  <a:gd name="T21" fmla="*/ 190 h 223"/>
                  <a:gd name="T22" fmla="*/ 19 w 253"/>
                  <a:gd name="T23" fmla="*/ 192 h 223"/>
                  <a:gd name="T24" fmla="*/ 22 w 253"/>
                  <a:gd name="T25" fmla="*/ 195 h 223"/>
                  <a:gd name="T26" fmla="*/ 25 w 253"/>
                  <a:gd name="T27" fmla="*/ 198 h 223"/>
                  <a:gd name="T28" fmla="*/ 28 w 253"/>
                  <a:gd name="T29" fmla="*/ 206 h 223"/>
                  <a:gd name="T30" fmla="*/ 28 w 253"/>
                  <a:gd name="T31" fmla="*/ 209 h 223"/>
                  <a:gd name="T32" fmla="*/ 31 w 253"/>
                  <a:gd name="T33" fmla="*/ 218 h 223"/>
                  <a:gd name="T34" fmla="*/ 31 w 253"/>
                  <a:gd name="T35" fmla="*/ 215 h 223"/>
                  <a:gd name="T36" fmla="*/ 36 w 253"/>
                  <a:gd name="T37" fmla="*/ 212 h 223"/>
                  <a:gd name="T38" fmla="*/ 36 w 253"/>
                  <a:gd name="T39" fmla="*/ 218 h 223"/>
                  <a:gd name="T40" fmla="*/ 42 w 253"/>
                  <a:gd name="T41" fmla="*/ 218 h 223"/>
                  <a:gd name="T42" fmla="*/ 42 w 253"/>
                  <a:gd name="T43" fmla="*/ 223 h 223"/>
                  <a:gd name="T44" fmla="*/ 47 w 253"/>
                  <a:gd name="T45" fmla="*/ 223 h 223"/>
                  <a:gd name="T46" fmla="*/ 53 w 253"/>
                  <a:gd name="T47" fmla="*/ 223 h 223"/>
                  <a:gd name="T48" fmla="*/ 58 w 253"/>
                  <a:gd name="T49" fmla="*/ 220 h 223"/>
                  <a:gd name="T50" fmla="*/ 67 w 253"/>
                  <a:gd name="T51" fmla="*/ 218 h 223"/>
                  <a:gd name="T52" fmla="*/ 72 w 253"/>
                  <a:gd name="T53" fmla="*/ 220 h 223"/>
                  <a:gd name="T54" fmla="*/ 81 w 253"/>
                  <a:gd name="T55" fmla="*/ 218 h 223"/>
                  <a:gd name="T56" fmla="*/ 83 w 253"/>
                  <a:gd name="T57" fmla="*/ 215 h 223"/>
                  <a:gd name="T58" fmla="*/ 89 w 253"/>
                  <a:gd name="T59" fmla="*/ 212 h 223"/>
                  <a:gd name="T60" fmla="*/ 103 w 253"/>
                  <a:gd name="T61" fmla="*/ 215 h 223"/>
                  <a:gd name="T62" fmla="*/ 106 w 253"/>
                  <a:gd name="T63" fmla="*/ 212 h 223"/>
                  <a:gd name="T64" fmla="*/ 128 w 253"/>
                  <a:gd name="T65" fmla="*/ 215 h 223"/>
                  <a:gd name="T66" fmla="*/ 134 w 253"/>
                  <a:gd name="T67" fmla="*/ 212 h 223"/>
                  <a:gd name="T68" fmla="*/ 142 w 253"/>
                  <a:gd name="T69" fmla="*/ 209 h 223"/>
                  <a:gd name="T70" fmla="*/ 145 w 253"/>
                  <a:gd name="T71" fmla="*/ 206 h 223"/>
                  <a:gd name="T72" fmla="*/ 237 w 253"/>
                  <a:gd name="T73" fmla="*/ 120 h 223"/>
                  <a:gd name="T74" fmla="*/ 245 w 253"/>
                  <a:gd name="T75" fmla="*/ 115 h 223"/>
                  <a:gd name="T76" fmla="*/ 253 w 253"/>
                  <a:gd name="T77" fmla="*/ 78 h 223"/>
                  <a:gd name="T78" fmla="*/ 239 w 253"/>
                  <a:gd name="T79" fmla="*/ 81 h 223"/>
                  <a:gd name="T80" fmla="*/ 237 w 253"/>
                  <a:gd name="T81" fmla="*/ 87 h 223"/>
                  <a:gd name="T82" fmla="*/ 223 w 253"/>
                  <a:gd name="T83" fmla="*/ 78 h 223"/>
                  <a:gd name="T84" fmla="*/ 234 w 253"/>
                  <a:gd name="T85" fmla="*/ 62 h 223"/>
                  <a:gd name="T86" fmla="*/ 242 w 253"/>
                  <a:gd name="T87" fmla="*/ 64 h 223"/>
                  <a:gd name="T88" fmla="*/ 234 w 253"/>
                  <a:gd name="T89" fmla="*/ 9 h 223"/>
                  <a:gd name="T90" fmla="*/ 228 w 253"/>
                  <a:gd name="T91" fmla="*/ 3 h 223"/>
                  <a:gd name="T92" fmla="*/ 214 w 253"/>
                  <a:gd name="T93" fmla="*/ 3 h 223"/>
                  <a:gd name="T94" fmla="*/ 200 w 253"/>
                  <a:gd name="T95" fmla="*/ 0 h 223"/>
                  <a:gd name="T96" fmla="*/ 181 w 253"/>
                  <a:gd name="T97" fmla="*/ 11 h 223"/>
                  <a:gd name="T98" fmla="*/ 156 w 253"/>
                  <a:gd name="T99" fmla="*/ 37 h 223"/>
                  <a:gd name="T100" fmla="*/ 145 w 253"/>
                  <a:gd name="T101" fmla="*/ 48 h 223"/>
                  <a:gd name="T102" fmla="*/ 139 w 253"/>
                  <a:gd name="T103" fmla="*/ 59 h 223"/>
                  <a:gd name="T104" fmla="*/ 122 w 253"/>
                  <a:gd name="T105" fmla="*/ 62 h 223"/>
                  <a:gd name="T106" fmla="*/ 109 w 253"/>
                  <a:gd name="T107" fmla="*/ 56 h 223"/>
                  <a:gd name="T108" fmla="*/ 95 w 253"/>
                  <a:gd name="T109" fmla="*/ 70 h 223"/>
                  <a:gd name="T110" fmla="*/ 86 w 253"/>
                  <a:gd name="T111" fmla="*/ 78 h 223"/>
                  <a:gd name="T112" fmla="*/ 64 w 253"/>
                  <a:gd name="T113" fmla="*/ 78 h 223"/>
                  <a:gd name="T114" fmla="*/ 67 w 253"/>
                  <a:gd name="T115" fmla="*/ 67 h 223"/>
                  <a:gd name="T116" fmla="*/ 53 w 253"/>
                  <a:gd name="T117" fmla="*/ 45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3" h="223">
                    <a:moveTo>
                      <a:pt x="53" y="45"/>
                    </a:moveTo>
                    <a:lnTo>
                      <a:pt x="53" y="112"/>
                    </a:lnTo>
                    <a:lnTo>
                      <a:pt x="47" y="112"/>
                    </a:lnTo>
                    <a:lnTo>
                      <a:pt x="39" y="120"/>
                    </a:lnTo>
                    <a:lnTo>
                      <a:pt x="28" y="117"/>
                    </a:lnTo>
                    <a:lnTo>
                      <a:pt x="22" y="120"/>
                    </a:lnTo>
                    <a:lnTo>
                      <a:pt x="19" y="120"/>
                    </a:lnTo>
                    <a:lnTo>
                      <a:pt x="17" y="115"/>
                    </a:lnTo>
                    <a:lnTo>
                      <a:pt x="17" y="112"/>
                    </a:lnTo>
                    <a:lnTo>
                      <a:pt x="8" y="106"/>
                    </a:lnTo>
                    <a:lnTo>
                      <a:pt x="5" y="106"/>
                    </a:lnTo>
                    <a:lnTo>
                      <a:pt x="0" y="112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7"/>
                    </a:lnTo>
                    <a:lnTo>
                      <a:pt x="3" y="120"/>
                    </a:lnTo>
                    <a:lnTo>
                      <a:pt x="25" y="173"/>
                    </a:lnTo>
                    <a:lnTo>
                      <a:pt x="28" y="184"/>
                    </a:lnTo>
                    <a:lnTo>
                      <a:pt x="25" y="190"/>
                    </a:lnTo>
                    <a:lnTo>
                      <a:pt x="22" y="187"/>
                    </a:lnTo>
                    <a:lnTo>
                      <a:pt x="19" y="190"/>
                    </a:lnTo>
                    <a:lnTo>
                      <a:pt x="19" y="192"/>
                    </a:lnTo>
                    <a:lnTo>
                      <a:pt x="19" y="192"/>
                    </a:lnTo>
                    <a:lnTo>
                      <a:pt x="22" y="192"/>
                    </a:lnTo>
                    <a:lnTo>
                      <a:pt x="22" y="195"/>
                    </a:lnTo>
                    <a:lnTo>
                      <a:pt x="22" y="195"/>
                    </a:lnTo>
                    <a:lnTo>
                      <a:pt x="25" y="198"/>
                    </a:lnTo>
                    <a:lnTo>
                      <a:pt x="25" y="201"/>
                    </a:lnTo>
                    <a:lnTo>
                      <a:pt x="28" y="206"/>
                    </a:lnTo>
                    <a:lnTo>
                      <a:pt x="31" y="209"/>
                    </a:lnTo>
                    <a:lnTo>
                      <a:pt x="28" y="209"/>
                    </a:lnTo>
                    <a:lnTo>
                      <a:pt x="28" y="215"/>
                    </a:lnTo>
                    <a:lnTo>
                      <a:pt x="31" y="218"/>
                    </a:lnTo>
                    <a:lnTo>
                      <a:pt x="31" y="218"/>
                    </a:lnTo>
                    <a:lnTo>
                      <a:pt x="31" y="215"/>
                    </a:lnTo>
                    <a:lnTo>
                      <a:pt x="31" y="212"/>
                    </a:lnTo>
                    <a:lnTo>
                      <a:pt x="36" y="212"/>
                    </a:lnTo>
                    <a:lnTo>
                      <a:pt x="36" y="218"/>
                    </a:lnTo>
                    <a:lnTo>
                      <a:pt x="36" y="218"/>
                    </a:lnTo>
                    <a:lnTo>
                      <a:pt x="36" y="218"/>
                    </a:lnTo>
                    <a:lnTo>
                      <a:pt x="42" y="218"/>
                    </a:lnTo>
                    <a:lnTo>
                      <a:pt x="42" y="220"/>
                    </a:lnTo>
                    <a:lnTo>
                      <a:pt x="42" y="223"/>
                    </a:lnTo>
                    <a:lnTo>
                      <a:pt x="47" y="223"/>
                    </a:lnTo>
                    <a:lnTo>
                      <a:pt x="47" y="223"/>
                    </a:lnTo>
                    <a:lnTo>
                      <a:pt x="50" y="223"/>
                    </a:lnTo>
                    <a:lnTo>
                      <a:pt x="53" y="223"/>
                    </a:lnTo>
                    <a:lnTo>
                      <a:pt x="56" y="223"/>
                    </a:lnTo>
                    <a:lnTo>
                      <a:pt x="58" y="220"/>
                    </a:lnTo>
                    <a:lnTo>
                      <a:pt x="64" y="220"/>
                    </a:lnTo>
                    <a:lnTo>
                      <a:pt x="67" y="218"/>
                    </a:lnTo>
                    <a:lnTo>
                      <a:pt x="70" y="218"/>
                    </a:lnTo>
                    <a:lnTo>
                      <a:pt x="72" y="220"/>
                    </a:lnTo>
                    <a:lnTo>
                      <a:pt x="75" y="218"/>
                    </a:lnTo>
                    <a:lnTo>
                      <a:pt x="81" y="218"/>
                    </a:lnTo>
                    <a:lnTo>
                      <a:pt x="83" y="218"/>
                    </a:lnTo>
                    <a:lnTo>
                      <a:pt x="83" y="215"/>
                    </a:lnTo>
                    <a:lnTo>
                      <a:pt x="86" y="215"/>
                    </a:lnTo>
                    <a:lnTo>
                      <a:pt x="89" y="212"/>
                    </a:lnTo>
                    <a:lnTo>
                      <a:pt x="95" y="212"/>
                    </a:lnTo>
                    <a:lnTo>
                      <a:pt x="103" y="215"/>
                    </a:lnTo>
                    <a:lnTo>
                      <a:pt x="106" y="215"/>
                    </a:lnTo>
                    <a:lnTo>
                      <a:pt x="106" y="212"/>
                    </a:lnTo>
                    <a:lnTo>
                      <a:pt x="111" y="212"/>
                    </a:lnTo>
                    <a:lnTo>
                      <a:pt x="128" y="215"/>
                    </a:lnTo>
                    <a:lnTo>
                      <a:pt x="131" y="212"/>
                    </a:lnTo>
                    <a:lnTo>
                      <a:pt x="134" y="212"/>
                    </a:lnTo>
                    <a:lnTo>
                      <a:pt x="142" y="212"/>
                    </a:lnTo>
                    <a:lnTo>
                      <a:pt x="142" y="209"/>
                    </a:lnTo>
                    <a:lnTo>
                      <a:pt x="142" y="209"/>
                    </a:lnTo>
                    <a:lnTo>
                      <a:pt x="145" y="206"/>
                    </a:lnTo>
                    <a:lnTo>
                      <a:pt x="159" y="206"/>
                    </a:lnTo>
                    <a:lnTo>
                      <a:pt x="237" y="120"/>
                    </a:lnTo>
                    <a:lnTo>
                      <a:pt x="239" y="117"/>
                    </a:lnTo>
                    <a:lnTo>
                      <a:pt x="245" y="115"/>
                    </a:lnTo>
                    <a:lnTo>
                      <a:pt x="248" y="109"/>
                    </a:lnTo>
                    <a:lnTo>
                      <a:pt x="253" y="78"/>
                    </a:lnTo>
                    <a:lnTo>
                      <a:pt x="242" y="78"/>
                    </a:lnTo>
                    <a:lnTo>
                      <a:pt x="239" y="81"/>
                    </a:lnTo>
                    <a:lnTo>
                      <a:pt x="239" y="84"/>
                    </a:lnTo>
                    <a:lnTo>
                      <a:pt x="237" y="87"/>
                    </a:lnTo>
                    <a:lnTo>
                      <a:pt x="225" y="87"/>
                    </a:lnTo>
                    <a:lnTo>
                      <a:pt x="223" y="78"/>
                    </a:lnTo>
                    <a:lnTo>
                      <a:pt x="228" y="64"/>
                    </a:lnTo>
                    <a:lnTo>
                      <a:pt x="234" y="62"/>
                    </a:lnTo>
                    <a:lnTo>
                      <a:pt x="239" y="64"/>
                    </a:lnTo>
                    <a:lnTo>
                      <a:pt x="242" y="64"/>
                    </a:lnTo>
                    <a:lnTo>
                      <a:pt x="234" y="9"/>
                    </a:lnTo>
                    <a:lnTo>
                      <a:pt x="234" y="9"/>
                    </a:lnTo>
                    <a:lnTo>
                      <a:pt x="234" y="9"/>
                    </a:lnTo>
                    <a:lnTo>
                      <a:pt x="228" y="3"/>
                    </a:lnTo>
                    <a:lnTo>
                      <a:pt x="223" y="3"/>
                    </a:lnTo>
                    <a:lnTo>
                      <a:pt x="214" y="3"/>
                    </a:lnTo>
                    <a:lnTo>
                      <a:pt x="203" y="0"/>
                    </a:lnTo>
                    <a:lnTo>
                      <a:pt x="200" y="0"/>
                    </a:lnTo>
                    <a:lnTo>
                      <a:pt x="198" y="0"/>
                    </a:lnTo>
                    <a:lnTo>
                      <a:pt x="181" y="11"/>
                    </a:lnTo>
                    <a:lnTo>
                      <a:pt x="164" y="25"/>
                    </a:lnTo>
                    <a:lnTo>
                      <a:pt x="156" y="37"/>
                    </a:lnTo>
                    <a:lnTo>
                      <a:pt x="150" y="42"/>
                    </a:lnTo>
                    <a:lnTo>
                      <a:pt x="145" y="48"/>
                    </a:lnTo>
                    <a:lnTo>
                      <a:pt x="142" y="56"/>
                    </a:lnTo>
                    <a:lnTo>
                      <a:pt x="139" y="59"/>
                    </a:lnTo>
                    <a:lnTo>
                      <a:pt x="128" y="62"/>
                    </a:lnTo>
                    <a:lnTo>
                      <a:pt x="122" y="62"/>
                    </a:lnTo>
                    <a:lnTo>
                      <a:pt x="114" y="56"/>
                    </a:lnTo>
                    <a:lnTo>
                      <a:pt x="109" y="56"/>
                    </a:lnTo>
                    <a:lnTo>
                      <a:pt x="106" y="56"/>
                    </a:lnTo>
                    <a:lnTo>
                      <a:pt x="95" y="70"/>
                    </a:lnTo>
                    <a:lnTo>
                      <a:pt x="92" y="73"/>
                    </a:lnTo>
                    <a:lnTo>
                      <a:pt x="86" y="78"/>
                    </a:lnTo>
                    <a:lnTo>
                      <a:pt x="78" y="81"/>
                    </a:lnTo>
                    <a:lnTo>
                      <a:pt x="64" y="78"/>
                    </a:lnTo>
                    <a:lnTo>
                      <a:pt x="64" y="76"/>
                    </a:lnTo>
                    <a:lnTo>
                      <a:pt x="67" y="67"/>
                    </a:lnTo>
                    <a:lnTo>
                      <a:pt x="67" y="59"/>
                    </a:lnTo>
                    <a:lnTo>
                      <a:pt x="53" y="45"/>
                    </a:lnTo>
                    <a:lnTo>
                      <a:pt x="53" y="4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1" name="Freeform 653"/>
              <p:cNvSpPr>
                <a:spLocks noChangeAspect="1"/>
              </p:cNvSpPr>
              <p:nvPr>
                <p:custDataLst>
                  <p:tags r:id="rId739"/>
                </p:custDataLst>
              </p:nvPr>
            </p:nvSpPr>
            <p:spPr bwMode="gray">
              <a:xfrm>
                <a:off x="5187194" y="2615338"/>
                <a:ext cx="9110" cy="28381"/>
              </a:xfrm>
              <a:custGeom>
                <a:avLst/>
                <a:gdLst>
                  <a:gd name="T0" fmla="*/ 5 w 8"/>
                  <a:gd name="T1" fmla="*/ 0 h 22"/>
                  <a:gd name="T2" fmla="*/ 3 w 8"/>
                  <a:gd name="T3" fmla="*/ 0 h 22"/>
                  <a:gd name="T4" fmla="*/ 3 w 8"/>
                  <a:gd name="T5" fmla="*/ 3 h 22"/>
                  <a:gd name="T6" fmla="*/ 3 w 8"/>
                  <a:gd name="T7" fmla="*/ 3 h 22"/>
                  <a:gd name="T8" fmla="*/ 0 w 8"/>
                  <a:gd name="T9" fmla="*/ 3 h 22"/>
                  <a:gd name="T10" fmla="*/ 3 w 8"/>
                  <a:gd name="T11" fmla="*/ 5 h 22"/>
                  <a:gd name="T12" fmla="*/ 3 w 8"/>
                  <a:gd name="T13" fmla="*/ 8 h 22"/>
                  <a:gd name="T14" fmla="*/ 3 w 8"/>
                  <a:gd name="T15" fmla="*/ 8 h 22"/>
                  <a:gd name="T16" fmla="*/ 0 w 8"/>
                  <a:gd name="T17" fmla="*/ 11 h 22"/>
                  <a:gd name="T18" fmla="*/ 0 w 8"/>
                  <a:gd name="T19" fmla="*/ 14 h 22"/>
                  <a:gd name="T20" fmla="*/ 3 w 8"/>
                  <a:gd name="T21" fmla="*/ 14 h 22"/>
                  <a:gd name="T22" fmla="*/ 3 w 8"/>
                  <a:gd name="T23" fmla="*/ 14 h 22"/>
                  <a:gd name="T24" fmla="*/ 5 w 8"/>
                  <a:gd name="T25" fmla="*/ 14 h 22"/>
                  <a:gd name="T26" fmla="*/ 3 w 8"/>
                  <a:gd name="T27" fmla="*/ 22 h 22"/>
                  <a:gd name="T28" fmla="*/ 5 w 8"/>
                  <a:gd name="T29" fmla="*/ 19 h 22"/>
                  <a:gd name="T30" fmla="*/ 8 w 8"/>
                  <a:gd name="T31" fmla="*/ 11 h 22"/>
                  <a:gd name="T32" fmla="*/ 8 w 8"/>
                  <a:gd name="T33" fmla="*/ 11 h 22"/>
                  <a:gd name="T34" fmla="*/ 8 w 8"/>
                  <a:gd name="T35" fmla="*/ 8 h 22"/>
                  <a:gd name="T36" fmla="*/ 5 w 8"/>
                  <a:gd name="T37" fmla="*/ 5 h 22"/>
                  <a:gd name="T38" fmla="*/ 5 w 8"/>
                  <a:gd name="T3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" h="22">
                    <a:moveTo>
                      <a:pt x="5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3" y="22"/>
                    </a:lnTo>
                    <a:lnTo>
                      <a:pt x="5" y="1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2" name="Freeform 654"/>
              <p:cNvSpPr>
                <a:spLocks noChangeAspect="1"/>
              </p:cNvSpPr>
              <p:nvPr>
                <p:custDataLst>
                  <p:tags r:id="rId740"/>
                </p:custDataLst>
              </p:nvPr>
            </p:nvSpPr>
            <p:spPr bwMode="gray">
              <a:xfrm>
                <a:off x="5073309" y="2702060"/>
                <a:ext cx="16704" cy="28381"/>
              </a:xfrm>
              <a:custGeom>
                <a:avLst/>
                <a:gdLst>
                  <a:gd name="T0" fmla="*/ 14 w 14"/>
                  <a:gd name="T1" fmla="*/ 0 h 22"/>
                  <a:gd name="T2" fmla="*/ 14 w 14"/>
                  <a:gd name="T3" fmla="*/ 0 h 22"/>
                  <a:gd name="T4" fmla="*/ 6 w 14"/>
                  <a:gd name="T5" fmla="*/ 5 h 22"/>
                  <a:gd name="T6" fmla="*/ 6 w 14"/>
                  <a:gd name="T7" fmla="*/ 8 h 22"/>
                  <a:gd name="T8" fmla="*/ 6 w 14"/>
                  <a:gd name="T9" fmla="*/ 8 h 22"/>
                  <a:gd name="T10" fmla="*/ 6 w 14"/>
                  <a:gd name="T11" fmla="*/ 8 h 22"/>
                  <a:gd name="T12" fmla="*/ 3 w 14"/>
                  <a:gd name="T13" fmla="*/ 8 h 22"/>
                  <a:gd name="T14" fmla="*/ 0 w 14"/>
                  <a:gd name="T15" fmla="*/ 11 h 22"/>
                  <a:gd name="T16" fmla="*/ 0 w 14"/>
                  <a:gd name="T17" fmla="*/ 13 h 22"/>
                  <a:gd name="T18" fmla="*/ 3 w 14"/>
                  <a:gd name="T19" fmla="*/ 16 h 22"/>
                  <a:gd name="T20" fmla="*/ 3 w 14"/>
                  <a:gd name="T21" fmla="*/ 19 h 22"/>
                  <a:gd name="T22" fmla="*/ 3 w 14"/>
                  <a:gd name="T23" fmla="*/ 19 h 22"/>
                  <a:gd name="T24" fmla="*/ 3 w 14"/>
                  <a:gd name="T25" fmla="*/ 22 h 22"/>
                  <a:gd name="T26" fmla="*/ 6 w 14"/>
                  <a:gd name="T27" fmla="*/ 19 h 22"/>
                  <a:gd name="T28" fmla="*/ 6 w 14"/>
                  <a:gd name="T29" fmla="*/ 16 h 22"/>
                  <a:gd name="T30" fmla="*/ 6 w 14"/>
                  <a:gd name="T31" fmla="*/ 16 h 22"/>
                  <a:gd name="T32" fmla="*/ 9 w 14"/>
                  <a:gd name="T33" fmla="*/ 16 h 22"/>
                  <a:gd name="T34" fmla="*/ 9 w 14"/>
                  <a:gd name="T35" fmla="*/ 16 h 22"/>
                  <a:gd name="T36" fmla="*/ 12 w 14"/>
                  <a:gd name="T37" fmla="*/ 13 h 22"/>
                  <a:gd name="T38" fmla="*/ 12 w 14"/>
                  <a:gd name="T39" fmla="*/ 11 h 22"/>
                  <a:gd name="T40" fmla="*/ 12 w 14"/>
                  <a:gd name="T41" fmla="*/ 11 h 22"/>
                  <a:gd name="T42" fmla="*/ 12 w 14"/>
                  <a:gd name="T43" fmla="*/ 11 h 22"/>
                  <a:gd name="T44" fmla="*/ 12 w 14"/>
                  <a:gd name="T45" fmla="*/ 8 h 22"/>
                  <a:gd name="T46" fmla="*/ 14 w 14"/>
                  <a:gd name="T47" fmla="*/ 8 h 22"/>
                  <a:gd name="T48" fmla="*/ 14 w 14"/>
                  <a:gd name="T49" fmla="*/ 8 h 22"/>
                  <a:gd name="T50" fmla="*/ 14 w 14"/>
                  <a:gd name="T51" fmla="*/ 8 h 22"/>
                  <a:gd name="T52" fmla="*/ 14 w 14"/>
                  <a:gd name="T53" fmla="*/ 5 h 22"/>
                  <a:gd name="T54" fmla="*/ 14 w 14"/>
                  <a:gd name="T5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" h="22">
                    <a:moveTo>
                      <a:pt x="14" y="0"/>
                    </a:moveTo>
                    <a:lnTo>
                      <a:pt x="14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3" y="22"/>
                    </a:lnTo>
                    <a:lnTo>
                      <a:pt x="6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3" name="Freeform 655"/>
              <p:cNvSpPr>
                <a:spLocks noChangeAspect="1"/>
              </p:cNvSpPr>
              <p:nvPr>
                <p:custDataLst>
                  <p:tags r:id="rId741"/>
                </p:custDataLst>
              </p:nvPr>
            </p:nvSpPr>
            <p:spPr bwMode="gray">
              <a:xfrm>
                <a:off x="5073309" y="2702060"/>
                <a:ext cx="16704" cy="28381"/>
              </a:xfrm>
              <a:custGeom>
                <a:avLst/>
                <a:gdLst>
                  <a:gd name="T0" fmla="*/ 14 w 14"/>
                  <a:gd name="T1" fmla="*/ 0 h 22"/>
                  <a:gd name="T2" fmla="*/ 14 w 14"/>
                  <a:gd name="T3" fmla="*/ 0 h 22"/>
                  <a:gd name="T4" fmla="*/ 6 w 14"/>
                  <a:gd name="T5" fmla="*/ 5 h 22"/>
                  <a:gd name="T6" fmla="*/ 6 w 14"/>
                  <a:gd name="T7" fmla="*/ 8 h 22"/>
                  <a:gd name="T8" fmla="*/ 6 w 14"/>
                  <a:gd name="T9" fmla="*/ 8 h 22"/>
                  <a:gd name="T10" fmla="*/ 6 w 14"/>
                  <a:gd name="T11" fmla="*/ 8 h 22"/>
                  <a:gd name="T12" fmla="*/ 3 w 14"/>
                  <a:gd name="T13" fmla="*/ 8 h 22"/>
                  <a:gd name="T14" fmla="*/ 0 w 14"/>
                  <a:gd name="T15" fmla="*/ 11 h 22"/>
                  <a:gd name="T16" fmla="*/ 0 w 14"/>
                  <a:gd name="T17" fmla="*/ 13 h 22"/>
                  <a:gd name="T18" fmla="*/ 3 w 14"/>
                  <a:gd name="T19" fmla="*/ 16 h 22"/>
                  <a:gd name="T20" fmla="*/ 3 w 14"/>
                  <a:gd name="T21" fmla="*/ 19 h 22"/>
                  <a:gd name="T22" fmla="*/ 3 w 14"/>
                  <a:gd name="T23" fmla="*/ 19 h 22"/>
                  <a:gd name="T24" fmla="*/ 3 w 14"/>
                  <a:gd name="T25" fmla="*/ 22 h 22"/>
                  <a:gd name="T26" fmla="*/ 6 w 14"/>
                  <a:gd name="T27" fmla="*/ 19 h 22"/>
                  <a:gd name="T28" fmla="*/ 6 w 14"/>
                  <a:gd name="T29" fmla="*/ 16 h 22"/>
                  <a:gd name="T30" fmla="*/ 6 w 14"/>
                  <a:gd name="T31" fmla="*/ 16 h 22"/>
                  <a:gd name="T32" fmla="*/ 9 w 14"/>
                  <a:gd name="T33" fmla="*/ 16 h 22"/>
                  <a:gd name="T34" fmla="*/ 9 w 14"/>
                  <a:gd name="T35" fmla="*/ 16 h 22"/>
                  <a:gd name="T36" fmla="*/ 12 w 14"/>
                  <a:gd name="T37" fmla="*/ 13 h 22"/>
                  <a:gd name="T38" fmla="*/ 12 w 14"/>
                  <a:gd name="T39" fmla="*/ 11 h 22"/>
                  <a:gd name="T40" fmla="*/ 12 w 14"/>
                  <a:gd name="T41" fmla="*/ 11 h 22"/>
                  <a:gd name="T42" fmla="*/ 12 w 14"/>
                  <a:gd name="T43" fmla="*/ 11 h 22"/>
                  <a:gd name="T44" fmla="*/ 12 w 14"/>
                  <a:gd name="T45" fmla="*/ 8 h 22"/>
                  <a:gd name="T46" fmla="*/ 14 w 14"/>
                  <a:gd name="T47" fmla="*/ 8 h 22"/>
                  <a:gd name="T48" fmla="*/ 14 w 14"/>
                  <a:gd name="T49" fmla="*/ 8 h 22"/>
                  <a:gd name="T50" fmla="*/ 14 w 14"/>
                  <a:gd name="T51" fmla="*/ 8 h 22"/>
                  <a:gd name="T52" fmla="*/ 14 w 14"/>
                  <a:gd name="T53" fmla="*/ 5 h 22"/>
                  <a:gd name="T54" fmla="*/ 14 w 14"/>
                  <a:gd name="T5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" h="22">
                    <a:moveTo>
                      <a:pt x="14" y="0"/>
                    </a:moveTo>
                    <a:lnTo>
                      <a:pt x="14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3" y="16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3" y="22"/>
                    </a:lnTo>
                    <a:lnTo>
                      <a:pt x="6" y="19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4" name="Freeform 656"/>
              <p:cNvSpPr>
                <a:spLocks noChangeAspect="1"/>
              </p:cNvSpPr>
              <p:nvPr>
                <p:custDataLst>
                  <p:tags r:id="rId742"/>
                </p:custDataLst>
              </p:nvPr>
            </p:nvSpPr>
            <p:spPr bwMode="gray">
              <a:xfrm>
                <a:off x="5065719" y="2735170"/>
                <a:ext cx="7592" cy="1577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5 w 5"/>
                  <a:gd name="T5" fmla="*/ 0 h 2"/>
                  <a:gd name="T6" fmla="*/ 0 w 5"/>
                  <a:gd name="T7" fmla="*/ 0 h 2"/>
                  <a:gd name="T8" fmla="*/ 0 w 5"/>
                  <a:gd name="T9" fmla="*/ 0 h 2"/>
                  <a:gd name="T10" fmla="*/ 3 w 5"/>
                  <a:gd name="T11" fmla="*/ 2 h 2"/>
                  <a:gd name="T12" fmla="*/ 5 w 5"/>
                  <a:gd name="T13" fmla="*/ 2 h 2"/>
                  <a:gd name="T14" fmla="*/ 5 w 5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5" name="Freeform 657"/>
              <p:cNvSpPr>
                <a:spLocks noChangeAspect="1"/>
              </p:cNvSpPr>
              <p:nvPr>
                <p:custDataLst>
                  <p:tags r:id="rId743"/>
                </p:custDataLst>
              </p:nvPr>
            </p:nvSpPr>
            <p:spPr bwMode="gray">
              <a:xfrm>
                <a:off x="5065719" y="2735170"/>
                <a:ext cx="7592" cy="1577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5 w 5"/>
                  <a:gd name="T5" fmla="*/ 0 h 2"/>
                  <a:gd name="T6" fmla="*/ 0 w 5"/>
                  <a:gd name="T7" fmla="*/ 0 h 2"/>
                  <a:gd name="T8" fmla="*/ 0 w 5"/>
                  <a:gd name="T9" fmla="*/ 0 h 2"/>
                  <a:gd name="T10" fmla="*/ 3 w 5"/>
                  <a:gd name="T11" fmla="*/ 2 h 2"/>
                  <a:gd name="T12" fmla="*/ 5 w 5"/>
                  <a:gd name="T13" fmla="*/ 2 h 2"/>
                  <a:gd name="T14" fmla="*/ 5 w 5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6" name="Freeform 658"/>
              <p:cNvSpPr>
                <a:spLocks noChangeAspect="1"/>
              </p:cNvSpPr>
              <p:nvPr>
                <p:custDataLst>
                  <p:tags r:id="rId744"/>
                </p:custDataLst>
              </p:nvPr>
            </p:nvSpPr>
            <p:spPr bwMode="gray">
              <a:xfrm>
                <a:off x="5150751" y="2675256"/>
                <a:ext cx="12148" cy="9460"/>
              </a:xfrm>
              <a:custGeom>
                <a:avLst/>
                <a:gdLst>
                  <a:gd name="T0" fmla="*/ 11 w 11"/>
                  <a:gd name="T1" fmla="*/ 6 h 6"/>
                  <a:gd name="T2" fmla="*/ 11 w 11"/>
                  <a:gd name="T3" fmla="*/ 6 h 6"/>
                  <a:gd name="T4" fmla="*/ 11 w 11"/>
                  <a:gd name="T5" fmla="*/ 3 h 6"/>
                  <a:gd name="T6" fmla="*/ 5 w 11"/>
                  <a:gd name="T7" fmla="*/ 3 h 6"/>
                  <a:gd name="T8" fmla="*/ 5 w 11"/>
                  <a:gd name="T9" fmla="*/ 0 h 6"/>
                  <a:gd name="T10" fmla="*/ 3 w 11"/>
                  <a:gd name="T11" fmla="*/ 0 h 6"/>
                  <a:gd name="T12" fmla="*/ 3 w 11"/>
                  <a:gd name="T13" fmla="*/ 0 h 6"/>
                  <a:gd name="T14" fmla="*/ 0 w 11"/>
                  <a:gd name="T15" fmla="*/ 3 h 6"/>
                  <a:gd name="T16" fmla="*/ 3 w 11"/>
                  <a:gd name="T17" fmla="*/ 6 h 6"/>
                  <a:gd name="T18" fmla="*/ 5 w 11"/>
                  <a:gd name="T19" fmla="*/ 6 h 6"/>
                  <a:gd name="T20" fmla="*/ 11 w 11"/>
                  <a:gd name="T21" fmla="*/ 6 h 6"/>
                  <a:gd name="T22" fmla="*/ 11 w 11"/>
                  <a:gd name="T2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11" y="6"/>
                    </a:moveTo>
                    <a:lnTo>
                      <a:pt x="11" y="6"/>
                    </a:lnTo>
                    <a:lnTo>
                      <a:pt x="11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7" name="Freeform 659"/>
              <p:cNvSpPr>
                <a:spLocks noChangeAspect="1"/>
              </p:cNvSpPr>
              <p:nvPr>
                <p:custDataLst>
                  <p:tags r:id="rId745"/>
                </p:custDataLst>
              </p:nvPr>
            </p:nvSpPr>
            <p:spPr bwMode="gray">
              <a:xfrm>
                <a:off x="5150751" y="2675256"/>
                <a:ext cx="12148" cy="9460"/>
              </a:xfrm>
              <a:custGeom>
                <a:avLst/>
                <a:gdLst>
                  <a:gd name="T0" fmla="*/ 11 w 11"/>
                  <a:gd name="T1" fmla="*/ 6 h 6"/>
                  <a:gd name="T2" fmla="*/ 11 w 11"/>
                  <a:gd name="T3" fmla="*/ 6 h 6"/>
                  <a:gd name="T4" fmla="*/ 11 w 11"/>
                  <a:gd name="T5" fmla="*/ 3 h 6"/>
                  <a:gd name="T6" fmla="*/ 5 w 11"/>
                  <a:gd name="T7" fmla="*/ 3 h 6"/>
                  <a:gd name="T8" fmla="*/ 5 w 11"/>
                  <a:gd name="T9" fmla="*/ 0 h 6"/>
                  <a:gd name="T10" fmla="*/ 3 w 11"/>
                  <a:gd name="T11" fmla="*/ 0 h 6"/>
                  <a:gd name="T12" fmla="*/ 3 w 11"/>
                  <a:gd name="T13" fmla="*/ 0 h 6"/>
                  <a:gd name="T14" fmla="*/ 0 w 11"/>
                  <a:gd name="T15" fmla="*/ 3 h 6"/>
                  <a:gd name="T16" fmla="*/ 3 w 11"/>
                  <a:gd name="T17" fmla="*/ 6 h 6"/>
                  <a:gd name="T18" fmla="*/ 5 w 11"/>
                  <a:gd name="T19" fmla="*/ 6 h 6"/>
                  <a:gd name="T20" fmla="*/ 11 w 11"/>
                  <a:gd name="T21" fmla="*/ 6 h 6"/>
                  <a:gd name="T22" fmla="*/ 11 w 11"/>
                  <a:gd name="T2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11" y="6"/>
                    </a:moveTo>
                    <a:lnTo>
                      <a:pt x="11" y="6"/>
                    </a:lnTo>
                    <a:lnTo>
                      <a:pt x="11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11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8" name="Freeform 660"/>
              <p:cNvSpPr>
                <a:spLocks noChangeAspect="1"/>
              </p:cNvSpPr>
              <p:nvPr>
                <p:custDataLst>
                  <p:tags r:id="rId746"/>
                </p:custDataLst>
              </p:nvPr>
            </p:nvSpPr>
            <p:spPr bwMode="gray">
              <a:xfrm>
                <a:off x="5150751" y="2684714"/>
                <a:ext cx="1518" cy="1577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0 w 3"/>
                  <a:gd name="T9" fmla="*/ 2 h 2"/>
                  <a:gd name="T10" fmla="*/ 0 w 3"/>
                  <a:gd name="T11" fmla="*/ 2 h 2"/>
                  <a:gd name="T12" fmla="*/ 3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9" name="Freeform 661"/>
              <p:cNvSpPr>
                <a:spLocks noChangeAspect="1"/>
              </p:cNvSpPr>
              <p:nvPr>
                <p:custDataLst>
                  <p:tags r:id="rId747"/>
                </p:custDataLst>
              </p:nvPr>
            </p:nvSpPr>
            <p:spPr bwMode="gray">
              <a:xfrm>
                <a:off x="5150751" y="2684714"/>
                <a:ext cx="1518" cy="1577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0 w 3"/>
                  <a:gd name="T9" fmla="*/ 2 h 2"/>
                  <a:gd name="T10" fmla="*/ 0 w 3"/>
                  <a:gd name="T11" fmla="*/ 2 h 2"/>
                  <a:gd name="T12" fmla="*/ 3 w 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0" name="Freeform 662"/>
              <p:cNvSpPr>
                <a:spLocks noChangeAspect="1"/>
              </p:cNvSpPr>
              <p:nvPr>
                <p:custDataLst>
                  <p:tags r:id="rId748"/>
                </p:custDataLst>
              </p:nvPr>
            </p:nvSpPr>
            <p:spPr bwMode="gray">
              <a:xfrm>
                <a:off x="5094568" y="2694174"/>
                <a:ext cx="159438" cy="296427"/>
              </a:xfrm>
              <a:custGeom>
                <a:avLst/>
                <a:gdLst>
                  <a:gd name="T0" fmla="*/ 64 w 123"/>
                  <a:gd name="T1" fmla="*/ 217 h 231"/>
                  <a:gd name="T2" fmla="*/ 73 w 123"/>
                  <a:gd name="T3" fmla="*/ 214 h 231"/>
                  <a:gd name="T4" fmla="*/ 81 w 123"/>
                  <a:gd name="T5" fmla="*/ 212 h 231"/>
                  <a:gd name="T6" fmla="*/ 111 w 123"/>
                  <a:gd name="T7" fmla="*/ 209 h 231"/>
                  <a:gd name="T8" fmla="*/ 106 w 123"/>
                  <a:gd name="T9" fmla="*/ 198 h 231"/>
                  <a:gd name="T10" fmla="*/ 109 w 123"/>
                  <a:gd name="T11" fmla="*/ 189 h 231"/>
                  <a:gd name="T12" fmla="*/ 114 w 123"/>
                  <a:gd name="T13" fmla="*/ 187 h 231"/>
                  <a:gd name="T14" fmla="*/ 120 w 123"/>
                  <a:gd name="T15" fmla="*/ 181 h 231"/>
                  <a:gd name="T16" fmla="*/ 103 w 123"/>
                  <a:gd name="T17" fmla="*/ 159 h 231"/>
                  <a:gd name="T18" fmla="*/ 100 w 123"/>
                  <a:gd name="T19" fmla="*/ 156 h 231"/>
                  <a:gd name="T20" fmla="*/ 89 w 123"/>
                  <a:gd name="T21" fmla="*/ 139 h 231"/>
                  <a:gd name="T22" fmla="*/ 98 w 123"/>
                  <a:gd name="T23" fmla="*/ 136 h 231"/>
                  <a:gd name="T24" fmla="*/ 78 w 123"/>
                  <a:gd name="T25" fmla="*/ 114 h 231"/>
                  <a:gd name="T26" fmla="*/ 56 w 123"/>
                  <a:gd name="T27" fmla="*/ 75 h 231"/>
                  <a:gd name="T28" fmla="*/ 45 w 123"/>
                  <a:gd name="T29" fmla="*/ 75 h 231"/>
                  <a:gd name="T30" fmla="*/ 50 w 123"/>
                  <a:gd name="T31" fmla="*/ 67 h 231"/>
                  <a:gd name="T32" fmla="*/ 56 w 123"/>
                  <a:gd name="T33" fmla="*/ 58 h 231"/>
                  <a:gd name="T34" fmla="*/ 64 w 123"/>
                  <a:gd name="T35" fmla="*/ 31 h 231"/>
                  <a:gd name="T36" fmla="*/ 31 w 123"/>
                  <a:gd name="T37" fmla="*/ 33 h 231"/>
                  <a:gd name="T38" fmla="*/ 34 w 123"/>
                  <a:gd name="T39" fmla="*/ 28 h 231"/>
                  <a:gd name="T40" fmla="*/ 34 w 123"/>
                  <a:gd name="T41" fmla="*/ 19 h 231"/>
                  <a:gd name="T42" fmla="*/ 42 w 123"/>
                  <a:gd name="T43" fmla="*/ 0 h 231"/>
                  <a:gd name="T44" fmla="*/ 14 w 123"/>
                  <a:gd name="T45" fmla="*/ 8 h 231"/>
                  <a:gd name="T46" fmla="*/ 11 w 123"/>
                  <a:gd name="T47" fmla="*/ 19 h 231"/>
                  <a:gd name="T48" fmla="*/ 6 w 123"/>
                  <a:gd name="T49" fmla="*/ 33 h 231"/>
                  <a:gd name="T50" fmla="*/ 8 w 123"/>
                  <a:gd name="T51" fmla="*/ 36 h 231"/>
                  <a:gd name="T52" fmla="*/ 8 w 123"/>
                  <a:gd name="T53" fmla="*/ 45 h 231"/>
                  <a:gd name="T54" fmla="*/ 3 w 123"/>
                  <a:gd name="T55" fmla="*/ 50 h 231"/>
                  <a:gd name="T56" fmla="*/ 3 w 123"/>
                  <a:gd name="T57" fmla="*/ 58 h 231"/>
                  <a:gd name="T58" fmla="*/ 14 w 123"/>
                  <a:gd name="T59" fmla="*/ 61 h 231"/>
                  <a:gd name="T60" fmla="*/ 8 w 123"/>
                  <a:gd name="T61" fmla="*/ 84 h 231"/>
                  <a:gd name="T62" fmla="*/ 11 w 123"/>
                  <a:gd name="T63" fmla="*/ 84 h 231"/>
                  <a:gd name="T64" fmla="*/ 14 w 123"/>
                  <a:gd name="T65" fmla="*/ 81 h 231"/>
                  <a:gd name="T66" fmla="*/ 17 w 123"/>
                  <a:gd name="T67" fmla="*/ 78 h 231"/>
                  <a:gd name="T68" fmla="*/ 20 w 123"/>
                  <a:gd name="T69" fmla="*/ 78 h 231"/>
                  <a:gd name="T70" fmla="*/ 22 w 123"/>
                  <a:gd name="T71" fmla="*/ 92 h 231"/>
                  <a:gd name="T72" fmla="*/ 17 w 123"/>
                  <a:gd name="T73" fmla="*/ 114 h 231"/>
                  <a:gd name="T74" fmla="*/ 20 w 123"/>
                  <a:gd name="T75" fmla="*/ 109 h 231"/>
                  <a:gd name="T76" fmla="*/ 39 w 123"/>
                  <a:gd name="T77" fmla="*/ 109 h 231"/>
                  <a:gd name="T78" fmla="*/ 45 w 123"/>
                  <a:gd name="T79" fmla="*/ 106 h 231"/>
                  <a:gd name="T80" fmla="*/ 42 w 123"/>
                  <a:gd name="T81" fmla="*/ 125 h 231"/>
                  <a:gd name="T82" fmla="*/ 50 w 123"/>
                  <a:gd name="T83" fmla="*/ 125 h 231"/>
                  <a:gd name="T84" fmla="*/ 47 w 123"/>
                  <a:gd name="T85" fmla="*/ 136 h 231"/>
                  <a:gd name="T86" fmla="*/ 50 w 123"/>
                  <a:gd name="T87" fmla="*/ 148 h 231"/>
                  <a:gd name="T88" fmla="*/ 22 w 123"/>
                  <a:gd name="T89" fmla="*/ 161 h 231"/>
                  <a:gd name="T90" fmla="*/ 31 w 123"/>
                  <a:gd name="T91" fmla="*/ 175 h 231"/>
                  <a:gd name="T92" fmla="*/ 20 w 123"/>
                  <a:gd name="T93" fmla="*/ 192 h 231"/>
                  <a:gd name="T94" fmla="*/ 28 w 123"/>
                  <a:gd name="T95" fmla="*/ 192 h 231"/>
                  <a:gd name="T96" fmla="*/ 36 w 123"/>
                  <a:gd name="T97" fmla="*/ 192 h 231"/>
                  <a:gd name="T98" fmla="*/ 47 w 123"/>
                  <a:gd name="T99" fmla="*/ 195 h 231"/>
                  <a:gd name="T100" fmla="*/ 47 w 123"/>
                  <a:gd name="T101" fmla="*/ 203 h 231"/>
                  <a:gd name="T102" fmla="*/ 8 w 123"/>
                  <a:gd name="T103" fmla="*/ 228 h 231"/>
                  <a:gd name="T104" fmla="*/ 14 w 123"/>
                  <a:gd name="T105" fmla="*/ 231 h 231"/>
                  <a:gd name="T106" fmla="*/ 20 w 123"/>
                  <a:gd name="T107" fmla="*/ 226 h 231"/>
                  <a:gd name="T108" fmla="*/ 39 w 123"/>
                  <a:gd name="T109" fmla="*/ 223 h 231"/>
                  <a:gd name="T110" fmla="*/ 56 w 123"/>
                  <a:gd name="T111" fmla="*/ 22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3" h="231">
                    <a:moveTo>
                      <a:pt x="56" y="220"/>
                    </a:moveTo>
                    <a:lnTo>
                      <a:pt x="56" y="220"/>
                    </a:lnTo>
                    <a:lnTo>
                      <a:pt x="59" y="217"/>
                    </a:lnTo>
                    <a:lnTo>
                      <a:pt x="59" y="217"/>
                    </a:lnTo>
                    <a:lnTo>
                      <a:pt x="64" y="217"/>
                    </a:lnTo>
                    <a:lnTo>
                      <a:pt x="64" y="217"/>
                    </a:lnTo>
                    <a:lnTo>
                      <a:pt x="64" y="214"/>
                    </a:lnTo>
                    <a:lnTo>
                      <a:pt x="70" y="214"/>
                    </a:lnTo>
                    <a:lnTo>
                      <a:pt x="73" y="214"/>
                    </a:lnTo>
                    <a:lnTo>
                      <a:pt x="73" y="214"/>
                    </a:lnTo>
                    <a:lnTo>
                      <a:pt x="73" y="212"/>
                    </a:lnTo>
                    <a:lnTo>
                      <a:pt x="75" y="212"/>
                    </a:lnTo>
                    <a:lnTo>
                      <a:pt x="78" y="212"/>
                    </a:lnTo>
                    <a:lnTo>
                      <a:pt x="81" y="212"/>
                    </a:lnTo>
                    <a:lnTo>
                      <a:pt x="81" y="212"/>
                    </a:lnTo>
                    <a:lnTo>
                      <a:pt x="81" y="214"/>
                    </a:lnTo>
                    <a:lnTo>
                      <a:pt x="92" y="212"/>
                    </a:lnTo>
                    <a:lnTo>
                      <a:pt x="98" y="214"/>
                    </a:lnTo>
                    <a:lnTo>
                      <a:pt x="109" y="209"/>
                    </a:lnTo>
                    <a:lnTo>
                      <a:pt x="111" y="209"/>
                    </a:lnTo>
                    <a:lnTo>
                      <a:pt x="117" y="203"/>
                    </a:lnTo>
                    <a:lnTo>
                      <a:pt x="117" y="200"/>
                    </a:lnTo>
                    <a:lnTo>
                      <a:pt x="117" y="200"/>
                    </a:lnTo>
                    <a:lnTo>
                      <a:pt x="106" y="200"/>
                    </a:lnTo>
                    <a:lnTo>
                      <a:pt x="106" y="198"/>
                    </a:lnTo>
                    <a:lnTo>
                      <a:pt x="103" y="195"/>
                    </a:lnTo>
                    <a:lnTo>
                      <a:pt x="109" y="195"/>
                    </a:lnTo>
                    <a:lnTo>
                      <a:pt x="109" y="192"/>
                    </a:lnTo>
                    <a:lnTo>
                      <a:pt x="109" y="192"/>
                    </a:lnTo>
                    <a:lnTo>
                      <a:pt x="109" y="189"/>
                    </a:lnTo>
                    <a:lnTo>
                      <a:pt x="106" y="189"/>
                    </a:lnTo>
                    <a:lnTo>
                      <a:pt x="109" y="18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4" y="187"/>
                    </a:lnTo>
                    <a:lnTo>
                      <a:pt x="114" y="187"/>
                    </a:lnTo>
                    <a:lnTo>
                      <a:pt x="114" y="184"/>
                    </a:lnTo>
                    <a:lnTo>
                      <a:pt x="114" y="184"/>
                    </a:lnTo>
                    <a:lnTo>
                      <a:pt x="117" y="184"/>
                    </a:lnTo>
                    <a:lnTo>
                      <a:pt x="120" y="181"/>
                    </a:lnTo>
                    <a:lnTo>
                      <a:pt x="123" y="170"/>
                    </a:lnTo>
                    <a:lnTo>
                      <a:pt x="120" y="164"/>
                    </a:lnTo>
                    <a:lnTo>
                      <a:pt x="117" y="161"/>
                    </a:lnTo>
                    <a:lnTo>
                      <a:pt x="114" y="159"/>
                    </a:lnTo>
                    <a:lnTo>
                      <a:pt x="103" y="159"/>
                    </a:lnTo>
                    <a:lnTo>
                      <a:pt x="100" y="164"/>
                    </a:lnTo>
                    <a:lnTo>
                      <a:pt x="100" y="161"/>
                    </a:lnTo>
                    <a:lnTo>
                      <a:pt x="95" y="161"/>
                    </a:lnTo>
                    <a:lnTo>
                      <a:pt x="98" y="159"/>
                    </a:lnTo>
                    <a:lnTo>
                      <a:pt x="100" y="156"/>
                    </a:lnTo>
                    <a:lnTo>
                      <a:pt x="100" y="153"/>
                    </a:lnTo>
                    <a:lnTo>
                      <a:pt x="100" y="150"/>
                    </a:lnTo>
                    <a:lnTo>
                      <a:pt x="95" y="142"/>
                    </a:lnTo>
                    <a:lnTo>
                      <a:pt x="95" y="142"/>
                    </a:lnTo>
                    <a:lnTo>
                      <a:pt x="89" y="139"/>
                    </a:lnTo>
                    <a:lnTo>
                      <a:pt x="92" y="139"/>
                    </a:lnTo>
                    <a:lnTo>
                      <a:pt x="95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36"/>
                    </a:lnTo>
                    <a:lnTo>
                      <a:pt x="92" y="131"/>
                    </a:lnTo>
                    <a:lnTo>
                      <a:pt x="92" y="128"/>
                    </a:lnTo>
                    <a:lnTo>
                      <a:pt x="86" y="117"/>
                    </a:lnTo>
                    <a:lnTo>
                      <a:pt x="78" y="114"/>
                    </a:lnTo>
                    <a:lnTo>
                      <a:pt x="78" y="114"/>
                    </a:lnTo>
                    <a:lnTo>
                      <a:pt x="73" y="100"/>
                    </a:lnTo>
                    <a:lnTo>
                      <a:pt x="70" y="89"/>
                    </a:lnTo>
                    <a:lnTo>
                      <a:pt x="64" y="84"/>
                    </a:lnTo>
                    <a:lnTo>
                      <a:pt x="61" y="81"/>
                    </a:lnTo>
                    <a:lnTo>
                      <a:pt x="56" y="75"/>
                    </a:lnTo>
                    <a:lnTo>
                      <a:pt x="53" y="75"/>
                    </a:lnTo>
                    <a:lnTo>
                      <a:pt x="47" y="78"/>
                    </a:lnTo>
                    <a:lnTo>
                      <a:pt x="45" y="78"/>
                    </a:lnTo>
                    <a:lnTo>
                      <a:pt x="45" y="75"/>
                    </a:lnTo>
                    <a:lnTo>
                      <a:pt x="45" y="75"/>
                    </a:lnTo>
                    <a:lnTo>
                      <a:pt x="47" y="72"/>
                    </a:lnTo>
                    <a:lnTo>
                      <a:pt x="50" y="72"/>
                    </a:lnTo>
                    <a:lnTo>
                      <a:pt x="53" y="70"/>
                    </a:lnTo>
                    <a:lnTo>
                      <a:pt x="50" y="67"/>
                    </a:lnTo>
                    <a:lnTo>
                      <a:pt x="50" y="67"/>
                    </a:lnTo>
                    <a:lnTo>
                      <a:pt x="50" y="64"/>
                    </a:lnTo>
                    <a:lnTo>
                      <a:pt x="53" y="64"/>
                    </a:lnTo>
                    <a:lnTo>
                      <a:pt x="53" y="64"/>
                    </a:lnTo>
                    <a:lnTo>
                      <a:pt x="56" y="61"/>
                    </a:lnTo>
                    <a:lnTo>
                      <a:pt x="56" y="58"/>
                    </a:lnTo>
                    <a:lnTo>
                      <a:pt x="59" y="53"/>
                    </a:lnTo>
                    <a:lnTo>
                      <a:pt x="61" y="42"/>
                    </a:lnTo>
                    <a:lnTo>
                      <a:pt x="67" y="36"/>
                    </a:lnTo>
                    <a:lnTo>
                      <a:pt x="67" y="31"/>
                    </a:lnTo>
                    <a:lnTo>
                      <a:pt x="64" y="31"/>
                    </a:lnTo>
                    <a:lnTo>
                      <a:pt x="47" y="31"/>
                    </a:lnTo>
                    <a:lnTo>
                      <a:pt x="45" y="28"/>
                    </a:lnTo>
                    <a:lnTo>
                      <a:pt x="34" y="31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28" y="31"/>
                    </a:lnTo>
                    <a:lnTo>
                      <a:pt x="28" y="28"/>
                    </a:lnTo>
                    <a:lnTo>
                      <a:pt x="34" y="28"/>
                    </a:lnTo>
                    <a:lnTo>
                      <a:pt x="34" y="25"/>
                    </a:lnTo>
                    <a:lnTo>
                      <a:pt x="31" y="25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4" y="19"/>
                    </a:lnTo>
                    <a:lnTo>
                      <a:pt x="39" y="17"/>
                    </a:lnTo>
                    <a:lnTo>
                      <a:pt x="42" y="11"/>
                    </a:lnTo>
                    <a:lnTo>
                      <a:pt x="45" y="8"/>
                    </a:lnTo>
                    <a:lnTo>
                      <a:pt x="47" y="3"/>
                    </a:lnTo>
                    <a:lnTo>
                      <a:pt x="42" y="0"/>
                    </a:lnTo>
                    <a:lnTo>
                      <a:pt x="28" y="6"/>
                    </a:lnTo>
                    <a:lnTo>
                      <a:pt x="25" y="3"/>
                    </a:lnTo>
                    <a:lnTo>
                      <a:pt x="22" y="3"/>
                    </a:lnTo>
                    <a:lnTo>
                      <a:pt x="17" y="3"/>
                    </a:lnTo>
                    <a:lnTo>
                      <a:pt x="14" y="8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1" y="19"/>
                    </a:lnTo>
                    <a:lnTo>
                      <a:pt x="14" y="22"/>
                    </a:lnTo>
                    <a:lnTo>
                      <a:pt x="6" y="25"/>
                    </a:lnTo>
                    <a:lnTo>
                      <a:pt x="6" y="31"/>
                    </a:lnTo>
                    <a:lnTo>
                      <a:pt x="8" y="33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3" y="33"/>
                    </a:lnTo>
                    <a:lnTo>
                      <a:pt x="3" y="39"/>
                    </a:lnTo>
                    <a:lnTo>
                      <a:pt x="6" y="39"/>
                    </a:lnTo>
                    <a:lnTo>
                      <a:pt x="8" y="36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45"/>
                    </a:lnTo>
                    <a:lnTo>
                      <a:pt x="8" y="45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6" y="47"/>
                    </a:lnTo>
                    <a:lnTo>
                      <a:pt x="6" y="50"/>
                    </a:lnTo>
                    <a:lnTo>
                      <a:pt x="3" y="50"/>
                    </a:lnTo>
                    <a:lnTo>
                      <a:pt x="3" y="56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3" y="58"/>
                    </a:lnTo>
                    <a:lnTo>
                      <a:pt x="3" y="61"/>
                    </a:lnTo>
                    <a:lnTo>
                      <a:pt x="6" y="64"/>
                    </a:lnTo>
                    <a:lnTo>
                      <a:pt x="11" y="58"/>
                    </a:lnTo>
                    <a:lnTo>
                      <a:pt x="14" y="58"/>
                    </a:lnTo>
                    <a:lnTo>
                      <a:pt x="14" y="61"/>
                    </a:lnTo>
                    <a:lnTo>
                      <a:pt x="8" y="78"/>
                    </a:lnTo>
                    <a:lnTo>
                      <a:pt x="8" y="81"/>
                    </a:lnTo>
                    <a:lnTo>
                      <a:pt x="8" y="81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6" y="89"/>
                    </a:lnTo>
                    <a:lnTo>
                      <a:pt x="6" y="95"/>
                    </a:lnTo>
                    <a:lnTo>
                      <a:pt x="6" y="95"/>
                    </a:lnTo>
                    <a:lnTo>
                      <a:pt x="8" y="95"/>
                    </a:lnTo>
                    <a:lnTo>
                      <a:pt x="11" y="84"/>
                    </a:lnTo>
                    <a:lnTo>
                      <a:pt x="11" y="75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8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81"/>
                    </a:lnTo>
                    <a:lnTo>
                      <a:pt x="14" y="78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7" y="75"/>
                    </a:lnTo>
                    <a:lnTo>
                      <a:pt x="20" y="75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0" y="81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2" y="89"/>
                    </a:lnTo>
                    <a:lnTo>
                      <a:pt x="22" y="92"/>
                    </a:lnTo>
                    <a:lnTo>
                      <a:pt x="17" y="103"/>
                    </a:lnTo>
                    <a:lnTo>
                      <a:pt x="17" y="106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7" y="114"/>
                    </a:lnTo>
                    <a:lnTo>
                      <a:pt x="17" y="114"/>
                    </a:lnTo>
                    <a:lnTo>
                      <a:pt x="20" y="114"/>
                    </a:lnTo>
                    <a:lnTo>
                      <a:pt x="17" y="111"/>
                    </a:lnTo>
                    <a:lnTo>
                      <a:pt x="20" y="109"/>
                    </a:lnTo>
                    <a:lnTo>
                      <a:pt x="20" y="109"/>
                    </a:lnTo>
                    <a:lnTo>
                      <a:pt x="25" y="114"/>
                    </a:lnTo>
                    <a:lnTo>
                      <a:pt x="28" y="111"/>
                    </a:lnTo>
                    <a:lnTo>
                      <a:pt x="28" y="109"/>
                    </a:lnTo>
                    <a:lnTo>
                      <a:pt x="34" y="109"/>
                    </a:lnTo>
                    <a:lnTo>
                      <a:pt x="39" y="109"/>
                    </a:lnTo>
                    <a:lnTo>
                      <a:pt x="39" y="106"/>
                    </a:lnTo>
                    <a:lnTo>
                      <a:pt x="42" y="106"/>
                    </a:lnTo>
                    <a:lnTo>
                      <a:pt x="47" y="106"/>
                    </a:lnTo>
                    <a:lnTo>
                      <a:pt x="45" y="106"/>
                    </a:lnTo>
                    <a:lnTo>
                      <a:pt x="45" y="106"/>
                    </a:lnTo>
                    <a:lnTo>
                      <a:pt x="42" y="109"/>
                    </a:lnTo>
                    <a:lnTo>
                      <a:pt x="39" y="120"/>
                    </a:lnTo>
                    <a:lnTo>
                      <a:pt x="39" y="120"/>
                    </a:lnTo>
                    <a:lnTo>
                      <a:pt x="42" y="122"/>
                    </a:lnTo>
                    <a:lnTo>
                      <a:pt x="42" y="125"/>
                    </a:lnTo>
                    <a:lnTo>
                      <a:pt x="42" y="125"/>
                    </a:lnTo>
                    <a:lnTo>
                      <a:pt x="42" y="125"/>
                    </a:lnTo>
                    <a:lnTo>
                      <a:pt x="45" y="128"/>
                    </a:lnTo>
                    <a:lnTo>
                      <a:pt x="47" y="128"/>
                    </a:lnTo>
                    <a:lnTo>
                      <a:pt x="50" y="125"/>
                    </a:lnTo>
                    <a:lnTo>
                      <a:pt x="53" y="125"/>
                    </a:lnTo>
                    <a:lnTo>
                      <a:pt x="50" y="128"/>
                    </a:lnTo>
                    <a:lnTo>
                      <a:pt x="50" y="131"/>
                    </a:lnTo>
                    <a:lnTo>
                      <a:pt x="50" y="134"/>
                    </a:lnTo>
                    <a:lnTo>
                      <a:pt x="47" y="136"/>
                    </a:lnTo>
                    <a:lnTo>
                      <a:pt x="50" y="136"/>
                    </a:lnTo>
                    <a:lnTo>
                      <a:pt x="50" y="139"/>
                    </a:lnTo>
                    <a:lnTo>
                      <a:pt x="47" y="145"/>
                    </a:lnTo>
                    <a:lnTo>
                      <a:pt x="47" y="145"/>
                    </a:lnTo>
                    <a:lnTo>
                      <a:pt x="50" y="148"/>
                    </a:lnTo>
                    <a:lnTo>
                      <a:pt x="50" y="148"/>
                    </a:lnTo>
                    <a:lnTo>
                      <a:pt x="47" y="150"/>
                    </a:lnTo>
                    <a:lnTo>
                      <a:pt x="36" y="150"/>
                    </a:lnTo>
                    <a:lnTo>
                      <a:pt x="22" y="161"/>
                    </a:lnTo>
                    <a:lnTo>
                      <a:pt x="22" y="161"/>
                    </a:lnTo>
                    <a:lnTo>
                      <a:pt x="28" y="159"/>
                    </a:lnTo>
                    <a:lnTo>
                      <a:pt x="31" y="159"/>
                    </a:lnTo>
                    <a:lnTo>
                      <a:pt x="31" y="167"/>
                    </a:lnTo>
                    <a:lnTo>
                      <a:pt x="34" y="170"/>
                    </a:lnTo>
                    <a:lnTo>
                      <a:pt x="31" y="175"/>
                    </a:lnTo>
                    <a:lnTo>
                      <a:pt x="14" y="187"/>
                    </a:lnTo>
                    <a:lnTo>
                      <a:pt x="14" y="187"/>
                    </a:lnTo>
                    <a:lnTo>
                      <a:pt x="17" y="192"/>
                    </a:lnTo>
                    <a:lnTo>
                      <a:pt x="17" y="192"/>
                    </a:lnTo>
                    <a:lnTo>
                      <a:pt x="20" y="192"/>
                    </a:lnTo>
                    <a:lnTo>
                      <a:pt x="20" y="192"/>
                    </a:lnTo>
                    <a:lnTo>
                      <a:pt x="22" y="189"/>
                    </a:lnTo>
                    <a:lnTo>
                      <a:pt x="25" y="189"/>
                    </a:lnTo>
                    <a:lnTo>
                      <a:pt x="25" y="189"/>
                    </a:lnTo>
                    <a:lnTo>
                      <a:pt x="28" y="192"/>
                    </a:lnTo>
                    <a:lnTo>
                      <a:pt x="28" y="192"/>
                    </a:lnTo>
                    <a:lnTo>
                      <a:pt x="31" y="195"/>
                    </a:lnTo>
                    <a:lnTo>
                      <a:pt x="34" y="192"/>
                    </a:lnTo>
                    <a:lnTo>
                      <a:pt x="34" y="192"/>
                    </a:lnTo>
                    <a:lnTo>
                      <a:pt x="36" y="192"/>
                    </a:lnTo>
                    <a:lnTo>
                      <a:pt x="39" y="198"/>
                    </a:lnTo>
                    <a:lnTo>
                      <a:pt x="42" y="198"/>
                    </a:lnTo>
                    <a:lnTo>
                      <a:pt x="45" y="198"/>
                    </a:lnTo>
                    <a:lnTo>
                      <a:pt x="45" y="198"/>
                    </a:lnTo>
                    <a:lnTo>
                      <a:pt x="47" y="195"/>
                    </a:lnTo>
                    <a:lnTo>
                      <a:pt x="56" y="189"/>
                    </a:lnTo>
                    <a:lnTo>
                      <a:pt x="56" y="192"/>
                    </a:lnTo>
                    <a:lnTo>
                      <a:pt x="50" y="198"/>
                    </a:lnTo>
                    <a:lnTo>
                      <a:pt x="47" y="200"/>
                    </a:lnTo>
                    <a:lnTo>
                      <a:pt x="47" y="203"/>
                    </a:lnTo>
                    <a:lnTo>
                      <a:pt x="31" y="203"/>
                    </a:lnTo>
                    <a:lnTo>
                      <a:pt x="28" y="206"/>
                    </a:lnTo>
                    <a:lnTo>
                      <a:pt x="25" y="209"/>
                    </a:lnTo>
                    <a:lnTo>
                      <a:pt x="25" y="212"/>
                    </a:lnTo>
                    <a:lnTo>
                      <a:pt x="8" y="228"/>
                    </a:lnTo>
                    <a:lnTo>
                      <a:pt x="8" y="231"/>
                    </a:lnTo>
                    <a:lnTo>
                      <a:pt x="8" y="231"/>
                    </a:lnTo>
                    <a:lnTo>
                      <a:pt x="8" y="231"/>
                    </a:lnTo>
                    <a:lnTo>
                      <a:pt x="8" y="228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4" y="231"/>
                    </a:lnTo>
                    <a:lnTo>
                      <a:pt x="17" y="231"/>
                    </a:lnTo>
                    <a:lnTo>
                      <a:pt x="17" y="228"/>
                    </a:lnTo>
                    <a:lnTo>
                      <a:pt x="20" y="226"/>
                    </a:lnTo>
                    <a:lnTo>
                      <a:pt x="22" y="223"/>
                    </a:lnTo>
                    <a:lnTo>
                      <a:pt x="31" y="223"/>
                    </a:lnTo>
                    <a:lnTo>
                      <a:pt x="36" y="226"/>
                    </a:lnTo>
                    <a:lnTo>
                      <a:pt x="39" y="226"/>
                    </a:lnTo>
                    <a:lnTo>
                      <a:pt x="39" y="223"/>
                    </a:lnTo>
                    <a:lnTo>
                      <a:pt x="42" y="217"/>
                    </a:lnTo>
                    <a:lnTo>
                      <a:pt x="42" y="217"/>
                    </a:lnTo>
                    <a:lnTo>
                      <a:pt x="45" y="217"/>
                    </a:lnTo>
                    <a:lnTo>
                      <a:pt x="50" y="214"/>
                    </a:lnTo>
                    <a:lnTo>
                      <a:pt x="56" y="2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1" name="Freeform 663"/>
              <p:cNvSpPr>
                <a:spLocks noChangeAspect="1"/>
              </p:cNvSpPr>
              <p:nvPr>
                <p:custDataLst>
                  <p:tags r:id="rId749"/>
                </p:custDataLst>
              </p:nvPr>
            </p:nvSpPr>
            <p:spPr bwMode="gray">
              <a:xfrm>
                <a:off x="5188712" y="2970106"/>
                <a:ext cx="7593" cy="3154"/>
              </a:xfrm>
              <a:custGeom>
                <a:avLst/>
                <a:gdLst>
                  <a:gd name="T0" fmla="*/ 2 w 5"/>
                  <a:gd name="T1" fmla="*/ 0 h 3"/>
                  <a:gd name="T2" fmla="*/ 2 w 5"/>
                  <a:gd name="T3" fmla="*/ 0 h 3"/>
                  <a:gd name="T4" fmla="*/ 2 w 5"/>
                  <a:gd name="T5" fmla="*/ 0 h 3"/>
                  <a:gd name="T6" fmla="*/ 0 w 5"/>
                  <a:gd name="T7" fmla="*/ 0 h 3"/>
                  <a:gd name="T8" fmla="*/ 0 w 5"/>
                  <a:gd name="T9" fmla="*/ 3 h 3"/>
                  <a:gd name="T10" fmla="*/ 0 w 5"/>
                  <a:gd name="T11" fmla="*/ 3 h 3"/>
                  <a:gd name="T12" fmla="*/ 2 w 5"/>
                  <a:gd name="T13" fmla="*/ 3 h 3"/>
                  <a:gd name="T14" fmla="*/ 5 w 5"/>
                  <a:gd name="T15" fmla="*/ 3 h 3"/>
                  <a:gd name="T16" fmla="*/ 5 w 5"/>
                  <a:gd name="T17" fmla="*/ 3 h 3"/>
                  <a:gd name="T18" fmla="*/ 5 w 5"/>
                  <a:gd name="T19" fmla="*/ 0 h 3"/>
                  <a:gd name="T20" fmla="*/ 2 w 5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2" name="Freeform 664"/>
              <p:cNvSpPr>
                <a:spLocks noChangeAspect="1"/>
              </p:cNvSpPr>
              <p:nvPr>
                <p:custDataLst>
                  <p:tags r:id="rId750"/>
                </p:custDataLst>
              </p:nvPr>
            </p:nvSpPr>
            <p:spPr bwMode="gray">
              <a:xfrm>
                <a:off x="5188712" y="2970106"/>
                <a:ext cx="7593" cy="3154"/>
              </a:xfrm>
              <a:custGeom>
                <a:avLst/>
                <a:gdLst>
                  <a:gd name="T0" fmla="*/ 2 w 5"/>
                  <a:gd name="T1" fmla="*/ 0 h 3"/>
                  <a:gd name="T2" fmla="*/ 2 w 5"/>
                  <a:gd name="T3" fmla="*/ 0 h 3"/>
                  <a:gd name="T4" fmla="*/ 2 w 5"/>
                  <a:gd name="T5" fmla="*/ 0 h 3"/>
                  <a:gd name="T6" fmla="*/ 0 w 5"/>
                  <a:gd name="T7" fmla="*/ 0 h 3"/>
                  <a:gd name="T8" fmla="*/ 0 w 5"/>
                  <a:gd name="T9" fmla="*/ 3 h 3"/>
                  <a:gd name="T10" fmla="*/ 0 w 5"/>
                  <a:gd name="T11" fmla="*/ 3 h 3"/>
                  <a:gd name="T12" fmla="*/ 2 w 5"/>
                  <a:gd name="T13" fmla="*/ 3 h 3"/>
                  <a:gd name="T14" fmla="*/ 5 w 5"/>
                  <a:gd name="T15" fmla="*/ 3 h 3"/>
                  <a:gd name="T16" fmla="*/ 5 w 5"/>
                  <a:gd name="T17" fmla="*/ 3 h 3"/>
                  <a:gd name="T18" fmla="*/ 5 w 5"/>
                  <a:gd name="T19" fmla="*/ 0 h 3"/>
                  <a:gd name="T20" fmla="*/ 2 w 5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3" name="Freeform 665"/>
              <p:cNvSpPr>
                <a:spLocks noChangeAspect="1"/>
              </p:cNvSpPr>
              <p:nvPr>
                <p:custDataLst>
                  <p:tags r:id="rId751"/>
                </p:custDataLst>
              </p:nvPr>
            </p:nvSpPr>
            <p:spPr bwMode="gray">
              <a:xfrm>
                <a:off x="5126457" y="2883383"/>
                <a:ext cx="9110" cy="4731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3 w 6"/>
                  <a:gd name="T5" fmla="*/ 0 h 2"/>
                  <a:gd name="T6" fmla="*/ 0 w 6"/>
                  <a:gd name="T7" fmla="*/ 0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4" name="Freeform 666"/>
              <p:cNvSpPr>
                <a:spLocks noChangeAspect="1"/>
              </p:cNvSpPr>
              <p:nvPr>
                <p:custDataLst>
                  <p:tags r:id="rId752"/>
                </p:custDataLst>
              </p:nvPr>
            </p:nvSpPr>
            <p:spPr bwMode="gray">
              <a:xfrm>
                <a:off x="5126457" y="2883383"/>
                <a:ext cx="9110" cy="4731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3 w 6"/>
                  <a:gd name="T5" fmla="*/ 0 h 2"/>
                  <a:gd name="T6" fmla="*/ 0 w 6"/>
                  <a:gd name="T7" fmla="*/ 0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6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5" name="Freeform 667"/>
              <p:cNvSpPr>
                <a:spLocks noChangeAspect="1"/>
              </p:cNvSpPr>
              <p:nvPr>
                <p:custDataLst>
                  <p:tags r:id="rId753"/>
                </p:custDataLst>
              </p:nvPr>
            </p:nvSpPr>
            <p:spPr bwMode="gray">
              <a:xfrm>
                <a:off x="5120382" y="2848696"/>
                <a:ext cx="10628" cy="14192"/>
              </a:xfrm>
              <a:custGeom>
                <a:avLst/>
                <a:gdLst>
                  <a:gd name="T0" fmla="*/ 5 w 8"/>
                  <a:gd name="T1" fmla="*/ 0 h 11"/>
                  <a:gd name="T2" fmla="*/ 0 w 8"/>
                  <a:gd name="T3" fmla="*/ 11 h 11"/>
                  <a:gd name="T4" fmla="*/ 2 w 8"/>
                  <a:gd name="T5" fmla="*/ 8 h 11"/>
                  <a:gd name="T6" fmla="*/ 5 w 8"/>
                  <a:gd name="T7" fmla="*/ 8 h 11"/>
                  <a:gd name="T8" fmla="*/ 8 w 8"/>
                  <a:gd name="T9" fmla="*/ 5 h 11"/>
                  <a:gd name="T10" fmla="*/ 8 w 8"/>
                  <a:gd name="T11" fmla="*/ 2 h 11"/>
                  <a:gd name="T12" fmla="*/ 5 w 8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lnTo>
                      <a:pt x="0" y="11"/>
                    </a:lnTo>
                    <a:lnTo>
                      <a:pt x="2" y="8"/>
                    </a:lnTo>
                    <a:lnTo>
                      <a:pt x="5" y="8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6" name="Freeform 668"/>
              <p:cNvSpPr>
                <a:spLocks noChangeAspect="1"/>
              </p:cNvSpPr>
              <p:nvPr>
                <p:custDataLst>
                  <p:tags r:id="rId754"/>
                </p:custDataLst>
              </p:nvPr>
            </p:nvSpPr>
            <p:spPr bwMode="gray">
              <a:xfrm>
                <a:off x="5120382" y="2848696"/>
                <a:ext cx="10628" cy="14192"/>
              </a:xfrm>
              <a:custGeom>
                <a:avLst/>
                <a:gdLst>
                  <a:gd name="T0" fmla="*/ 5 w 8"/>
                  <a:gd name="T1" fmla="*/ 0 h 11"/>
                  <a:gd name="T2" fmla="*/ 0 w 8"/>
                  <a:gd name="T3" fmla="*/ 11 h 11"/>
                  <a:gd name="T4" fmla="*/ 2 w 8"/>
                  <a:gd name="T5" fmla="*/ 8 h 11"/>
                  <a:gd name="T6" fmla="*/ 5 w 8"/>
                  <a:gd name="T7" fmla="*/ 8 h 11"/>
                  <a:gd name="T8" fmla="*/ 8 w 8"/>
                  <a:gd name="T9" fmla="*/ 5 h 11"/>
                  <a:gd name="T10" fmla="*/ 8 w 8"/>
                  <a:gd name="T11" fmla="*/ 2 h 11"/>
                  <a:gd name="T12" fmla="*/ 5 w 8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lnTo>
                      <a:pt x="0" y="11"/>
                    </a:lnTo>
                    <a:lnTo>
                      <a:pt x="2" y="8"/>
                    </a:lnTo>
                    <a:lnTo>
                      <a:pt x="5" y="8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7" name="Freeform 669"/>
              <p:cNvSpPr>
                <a:spLocks noChangeAspect="1"/>
              </p:cNvSpPr>
              <p:nvPr>
                <p:custDataLst>
                  <p:tags r:id="rId755"/>
                </p:custDataLst>
              </p:nvPr>
            </p:nvSpPr>
            <p:spPr bwMode="gray">
              <a:xfrm>
                <a:off x="5109753" y="2804546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6 h 6"/>
                  <a:gd name="T6" fmla="*/ 3 w 3"/>
                  <a:gd name="T7" fmla="*/ 6 h 6"/>
                  <a:gd name="T8" fmla="*/ 3 w 3"/>
                  <a:gd name="T9" fmla="*/ 6 h 6"/>
                  <a:gd name="T10" fmla="*/ 3 w 3"/>
                  <a:gd name="T11" fmla="*/ 3 h 6"/>
                  <a:gd name="T12" fmla="*/ 3 w 3"/>
                  <a:gd name="T13" fmla="*/ 0 h 6"/>
                  <a:gd name="T14" fmla="*/ 0 w 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8" name="Freeform 670"/>
              <p:cNvSpPr>
                <a:spLocks noChangeAspect="1"/>
              </p:cNvSpPr>
              <p:nvPr>
                <p:custDataLst>
                  <p:tags r:id="rId756"/>
                </p:custDataLst>
              </p:nvPr>
            </p:nvSpPr>
            <p:spPr bwMode="gray">
              <a:xfrm>
                <a:off x="5109753" y="2804546"/>
                <a:ext cx="3037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6 h 6"/>
                  <a:gd name="T6" fmla="*/ 3 w 3"/>
                  <a:gd name="T7" fmla="*/ 6 h 6"/>
                  <a:gd name="T8" fmla="*/ 3 w 3"/>
                  <a:gd name="T9" fmla="*/ 6 h 6"/>
                  <a:gd name="T10" fmla="*/ 3 w 3"/>
                  <a:gd name="T11" fmla="*/ 3 h 6"/>
                  <a:gd name="T12" fmla="*/ 3 w 3"/>
                  <a:gd name="T13" fmla="*/ 0 h 6"/>
                  <a:gd name="T14" fmla="*/ 0 w 3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9" name="Freeform 671"/>
              <p:cNvSpPr>
                <a:spLocks noChangeAspect="1"/>
              </p:cNvSpPr>
              <p:nvPr>
                <p:custDataLst>
                  <p:tags r:id="rId757"/>
                </p:custDataLst>
              </p:nvPr>
            </p:nvSpPr>
            <p:spPr bwMode="gray">
              <a:xfrm>
                <a:off x="5086976" y="2798239"/>
                <a:ext cx="7592" cy="6307"/>
              </a:xfrm>
              <a:custGeom>
                <a:avLst/>
                <a:gdLst>
                  <a:gd name="T0" fmla="*/ 2 w 5"/>
                  <a:gd name="T1" fmla="*/ 0 h 5"/>
                  <a:gd name="T2" fmla="*/ 2 w 5"/>
                  <a:gd name="T3" fmla="*/ 0 h 5"/>
                  <a:gd name="T4" fmla="*/ 2 w 5"/>
                  <a:gd name="T5" fmla="*/ 0 h 5"/>
                  <a:gd name="T6" fmla="*/ 0 w 5"/>
                  <a:gd name="T7" fmla="*/ 0 h 5"/>
                  <a:gd name="T8" fmla="*/ 0 w 5"/>
                  <a:gd name="T9" fmla="*/ 5 h 5"/>
                  <a:gd name="T10" fmla="*/ 0 w 5"/>
                  <a:gd name="T11" fmla="*/ 5 h 5"/>
                  <a:gd name="T12" fmla="*/ 0 w 5"/>
                  <a:gd name="T13" fmla="*/ 3 h 5"/>
                  <a:gd name="T14" fmla="*/ 2 w 5"/>
                  <a:gd name="T15" fmla="*/ 5 h 5"/>
                  <a:gd name="T16" fmla="*/ 5 w 5"/>
                  <a:gd name="T17" fmla="*/ 5 h 5"/>
                  <a:gd name="T18" fmla="*/ 5 w 5"/>
                  <a:gd name="T19" fmla="*/ 3 h 5"/>
                  <a:gd name="T20" fmla="*/ 2 w 5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0" name="Freeform 672"/>
              <p:cNvSpPr>
                <a:spLocks noChangeAspect="1"/>
              </p:cNvSpPr>
              <p:nvPr>
                <p:custDataLst>
                  <p:tags r:id="rId758"/>
                </p:custDataLst>
              </p:nvPr>
            </p:nvSpPr>
            <p:spPr bwMode="gray">
              <a:xfrm>
                <a:off x="5086976" y="2798239"/>
                <a:ext cx="7592" cy="6307"/>
              </a:xfrm>
              <a:custGeom>
                <a:avLst/>
                <a:gdLst>
                  <a:gd name="T0" fmla="*/ 2 w 5"/>
                  <a:gd name="T1" fmla="*/ 0 h 5"/>
                  <a:gd name="T2" fmla="*/ 2 w 5"/>
                  <a:gd name="T3" fmla="*/ 0 h 5"/>
                  <a:gd name="T4" fmla="*/ 2 w 5"/>
                  <a:gd name="T5" fmla="*/ 0 h 5"/>
                  <a:gd name="T6" fmla="*/ 0 w 5"/>
                  <a:gd name="T7" fmla="*/ 0 h 5"/>
                  <a:gd name="T8" fmla="*/ 0 w 5"/>
                  <a:gd name="T9" fmla="*/ 5 h 5"/>
                  <a:gd name="T10" fmla="*/ 0 w 5"/>
                  <a:gd name="T11" fmla="*/ 5 h 5"/>
                  <a:gd name="T12" fmla="*/ 0 w 5"/>
                  <a:gd name="T13" fmla="*/ 3 h 5"/>
                  <a:gd name="T14" fmla="*/ 2 w 5"/>
                  <a:gd name="T15" fmla="*/ 5 h 5"/>
                  <a:gd name="T16" fmla="*/ 5 w 5"/>
                  <a:gd name="T17" fmla="*/ 5 h 5"/>
                  <a:gd name="T18" fmla="*/ 5 w 5"/>
                  <a:gd name="T19" fmla="*/ 3 h 5"/>
                  <a:gd name="T20" fmla="*/ 2 w 5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1" name="Freeform 673"/>
              <p:cNvSpPr>
                <a:spLocks noChangeAspect="1"/>
              </p:cNvSpPr>
              <p:nvPr>
                <p:custDataLst>
                  <p:tags r:id="rId759"/>
                </p:custDataLst>
              </p:nvPr>
            </p:nvSpPr>
            <p:spPr bwMode="gray">
              <a:xfrm>
                <a:off x="5094568" y="2791933"/>
                <a:ext cx="7593" cy="11038"/>
              </a:xfrm>
              <a:custGeom>
                <a:avLst/>
                <a:gdLst>
                  <a:gd name="T0" fmla="*/ 6 w 6"/>
                  <a:gd name="T1" fmla="*/ 0 h 9"/>
                  <a:gd name="T2" fmla="*/ 3 w 6"/>
                  <a:gd name="T3" fmla="*/ 0 h 9"/>
                  <a:gd name="T4" fmla="*/ 3 w 6"/>
                  <a:gd name="T5" fmla="*/ 3 h 9"/>
                  <a:gd name="T6" fmla="*/ 3 w 6"/>
                  <a:gd name="T7" fmla="*/ 3 h 9"/>
                  <a:gd name="T8" fmla="*/ 0 w 6"/>
                  <a:gd name="T9" fmla="*/ 6 h 9"/>
                  <a:gd name="T10" fmla="*/ 0 w 6"/>
                  <a:gd name="T11" fmla="*/ 9 h 9"/>
                  <a:gd name="T12" fmla="*/ 3 w 6"/>
                  <a:gd name="T13" fmla="*/ 6 h 9"/>
                  <a:gd name="T14" fmla="*/ 6 w 6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9">
                    <a:moveTo>
                      <a:pt x="6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2" name="Freeform 674"/>
              <p:cNvSpPr>
                <a:spLocks noChangeAspect="1"/>
              </p:cNvSpPr>
              <p:nvPr>
                <p:custDataLst>
                  <p:tags r:id="rId760"/>
                </p:custDataLst>
              </p:nvPr>
            </p:nvSpPr>
            <p:spPr bwMode="gray">
              <a:xfrm>
                <a:off x="5094568" y="2791933"/>
                <a:ext cx="7593" cy="11038"/>
              </a:xfrm>
              <a:custGeom>
                <a:avLst/>
                <a:gdLst>
                  <a:gd name="T0" fmla="*/ 6 w 6"/>
                  <a:gd name="T1" fmla="*/ 0 h 9"/>
                  <a:gd name="T2" fmla="*/ 3 w 6"/>
                  <a:gd name="T3" fmla="*/ 0 h 9"/>
                  <a:gd name="T4" fmla="*/ 3 w 6"/>
                  <a:gd name="T5" fmla="*/ 3 h 9"/>
                  <a:gd name="T6" fmla="*/ 3 w 6"/>
                  <a:gd name="T7" fmla="*/ 3 h 9"/>
                  <a:gd name="T8" fmla="*/ 0 w 6"/>
                  <a:gd name="T9" fmla="*/ 6 h 9"/>
                  <a:gd name="T10" fmla="*/ 0 w 6"/>
                  <a:gd name="T11" fmla="*/ 9 h 9"/>
                  <a:gd name="T12" fmla="*/ 3 w 6"/>
                  <a:gd name="T13" fmla="*/ 6 h 9"/>
                  <a:gd name="T14" fmla="*/ 6 w 6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9">
                    <a:moveTo>
                      <a:pt x="6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3" name="Freeform 675"/>
              <p:cNvSpPr>
                <a:spLocks noChangeAspect="1"/>
              </p:cNvSpPr>
              <p:nvPr>
                <p:custDataLst>
                  <p:tags r:id="rId761"/>
                </p:custDataLst>
              </p:nvPr>
            </p:nvSpPr>
            <p:spPr bwMode="gray">
              <a:xfrm>
                <a:off x="5086976" y="2768283"/>
                <a:ext cx="15185" cy="15767"/>
              </a:xfrm>
              <a:custGeom>
                <a:avLst/>
                <a:gdLst>
                  <a:gd name="T0" fmla="*/ 2 w 11"/>
                  <a:gd name="T1" fmla="*/ 12 h 12"/>
                  <a:gd name="T2" fmla="*/ 0 w 11"/>
                  <a:gd name="T3" fmla="*/ 9 h 12"/>
                  <a:gd name="T4" fmla="*/ 0 w 11"/>
                  <a:gd name="T5" fmla="*/ 12 h 12"/>
                  <a:gd name="T6" fmla="*/ 2 w 11"/>
                  <a:gd name="T7" fmla="*/ 12 h 12"/>
                  <a:gd name="T8" fmla="*/ 5 w 11"/>
                  <a:gd name="T9" fmla="*/ 12 h 12"/>
                  <a:gd name="T10" fmla="*/ 8 w 11"/>
                  <a:gd name="T11" fmla="*/ 9 h 12"/>
                  <a:gd name="T12" fmla="*/ 11 w 11"/>
                  <a:gd name="T13" fmla="*/ 9 h 12"/>
                  <a:gd name="T14" fmla="*/ 11 w 11"/>
                  <a:gd name="T15" fmla="*/ 6 h 12"/>
                  <a:gd name="T16" fmla="*/ 5 w 11"/>
                  <a:gd name="T17" fmla="*/ 3 h 12"/>
                  <a:gd name="T18" fmla="*/ 5 w 11"/>
                  <a:gd name="T19" fmla="*/ 0 h 12"/>
                  <a:gd name="T20" fmla="*/ 2 w 11"/>
                  <a:gd name="T21" fmla="*/ 3 h 12"/>
                  <a:gd name="T22" fmla="*/ 2 w 11"/>
                  <a:gd name="T23" fmla="*/ 3 h 12"/>
                  <a:gd name="T24" fmla="*/ 2 w 11"/>
                  <a:gd name="T25" fmla="*/ 6 h 12"/>
                  <a:gd name="T26" fmla="*/ 5 w 11"/>
                  <a:gd name="T27" fmla="*/ 6 h 12"/>
                  <a:gd name="T28" fmla="*/ 5 w 11"/>
                  <a:gd name="T29" fmla="*/ 9 h 12"/>
                  <a:gd name="T30" fmla="*/ 5 w 11"/>
                  <a:gd name="T31" fmla="*/ 9 h 12"/>
                  <a:gd name="T32" fmla="*/ 5 w 11"/>
                  <a:gd name="T33" fmla="*/ 9 h 12"/>
                  <a:gd name="T34" fmla="*/ 2 w 11"/>
                  <a:gd name="T35" fmla="*/ 12 h 12"/>
                  <a:gd name="T36" fmla="*/ 2 w 11"/>
                  <a:gd name="T3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5" y="12"/>
                    </a:lnTo>
                    <a:lnTo>
                      <a:pt x="8" y="9"/>
                    </a:lnTo>
                    <a:lnTo>
                      <a:pt x="11" y="9"/>
                    </a:lnTo>
                    <a:lnTo>
                      <a:pt x="11" y="6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4" name="Freeform 676"/>
              <p:cNvSpPr>
                <a:spLocks noChangeAspect="1"/>
              </p:cNvSpPr>
              <p:nvPr>
                <p:custDataLst>
                  <p:tags r:id="rId762"/>
                </p:custDataLst>
              </p:nvPr>
            </p:nvSpPr>
            <p:spPr bwMode="gray">
              <a:xfrm>
                <a:off x="5086976" y="2768283"/>
                <a:ext cx="15185" cy="15767"/>
              </a:xfrm>
              <a:custGeom>
                <a:avLst/>
                <a:gdLst>
                  <a:gd name="T0" fmla="*/ 2 w 11"/>
                  <a:gd name="T1" fmla="*/ 12 h 12"/>
                  <a:gd name="T2" fmla="*/ 0 w 11"/>
                  <a:gd name="T3" fmla="*/ 9 h 12"/>
                  <a:gd name="T4" fmla="*/ 0 w 11"/>
                  <a:gd name="T5" fmla="*/ 12 h 12"/>
                  <a:gd name="T6" fmla="*/ 2 w 11"/>
                  <a:gd name="T7" fmla="*/ 12 h 12"/>
                  <a:gd name="T8" fmla="*/ 5 w 11"/>
                  <a:gd name="T9" fmla="*/ 12 h 12"/>
                  <a:gd name="T10" fmla="*/ 8 w 11"/>
                  <a:gd name="T11" fmla="*/ 9 h 12"/>
                  <a:gd name="T12" fmla="*/ 11 w 11"/>
                  <a:gd name="T13" fmla="*/ 9 h 12"/>
                  <a:gd name="T14" fmla="*/ 11 w 11"/>
                  <a:gd name="T15" fmla="*/ 6 h 12"/>
                  <a:gd name="T16" fmla="*/ 5 w 11"/>
                  <a:gd name="T17" fmla="*/ 3 h 12"/>
                  <a:gd name="T18" fmla="*/ 5 w 11"/>
                  <a:gd name="T19" fmla="*/ 0 h 12"/>
                  <a:gd name="T20" fmla="*/ 2 w 11"/>
                  <a:gd name="T21" fmla="*/ 3 h 12"/>
                  <a:gd name="T22" fmla="*/ 2 w 11"/>
                  <a:gd name="T23" fmla="*/ 3 h 12"/>
                  <a:gd name="T24" fmla="*/ 2 w 11"/>
                  <a:gd name="T25" fmla="*/ 6 h 12"/>
                  <a:gd name="T26" fmla="*/ 5 w 11"/>
                  <a:gd name="T27" fmla="*/ 6 h 12"/>
                  <a:gd name="T28" fmla="*/ 5 w 11"/>
                  <a:gd name="T29" fmla="*/ 9 h 12"/>
                  <a:gd name="T30" fmla="*/ 5 w 11"/>
                  <a:gd name="T31" fmla="*/ 9 h 12"/>
                  <a:gd name="T32" fmla="*/ 5 w 11"/>
                  <a:gd name="T33" fmla="*/ 9 h 12"/>
                  <a:gd name="T34" fmla="*/ 2 w 11"/>
                  <a:gd name="T35" fmla="*/ 12 h 12"/>
                  <a:gd name="T36" fmla="*/ 2 w 11"/>
                  <a:gd name="T3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" h="12">
                    <a:moveTo>
                      <a:pt x="2" y="12"/>
                    </a:moveTo>
                    <a:lnTo>
                      <a:pt x="0" y="9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5" y="12"/>
                    </a:lnTo>
                    <a:lnTo>
                      <a:pt x="8" y="9"/>
                    </a:lnTo>
                    <a:lnTo>
                      <a:pt x="11" y="9"/>
                    </a:lnTo>
                    <a:lnTo>
                      <a:pt x="11" y="6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2" y="12"/>
                    </a:lnTo>
                    <a:lnTo>
                      <a:pt x="2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5" name="Freeform 677"/>
              <p:cNvSpPr>
                <a:spLocks noChangeAspect="1"/>
              </p:cNvSpPr>
              <p:nvPr>
                <p:custDataLst>
                  <p:tags r:id="rId763"/>
                </p:custDataLst>
              </p:nvPr>
            </p:nvSpPr>
            <p:spPr bwMode="gray">
              <a:xfrm>
                <a:off x="5079384" y="2730442"/>
                <a:ext cx="22777" cy="23651"/>
              </a:xfrm>
              <a:custGeom>
                <a:avLst/>
                <a:gdLst>
                  <a:gd name="T0" fmla="*/ 8 w 17"/>
                  <a:gd name="T1" fmla="*/ 0 h 19"/>
                  <a:gd name="T2" fmla="*/ 6 w 17"/>
                  <a:gd name="T3" fmla="*/ 0 h 19"/>
                  <a:gd name="T4" fmla="*/ 6 w 17"/>
                  <a:gd name="T5" fmla="*/ 5 h 19"/>
                  <a:gd name="T6" fmla="*/ 3 w 17"/>
                  <a:gd name="T7" fmla="*/ 5 h 19"/>
                  <a:gd name="T8" fmla="*/ 3 w 17"/>
                  <a:gd name="T9" fmla="*/ 5 h 19"/>
                  <a:gd name="T10" fmla="*/ 0 w 17"/>
                  <a:gd name="T11" fmla="*/ 8 h 19"/>
                  <a:gd name="T12" fmla="*/ 3 w 17"/>
                  <a:gd name="T13" fmla="*/ 11 h 19"/>
                  <a:gd name="T14" fmla="*/ 6 w 17"/>
                  <a:gd name="T15" fmla="*/ 11 h 19"/>
                  <a:gd name="T16" fmla="*/ 6 w 17"/>
                  <a:gd name="T17" fmla="*/ 14 h 19"/>
                  <a:gd name="T18" fmla="*/ 8 w 17"/>
                  <a:gd name="T19" fmla="*/ 14 h 19"/>
                  <a:gd name="T20" fmla="*/ 8 w 17"/>
                  <a:gd name="T21" fmla="*/ 17 h 19"/>
                  <a:gd name="T22" fmla="*/ 14 w 17"/>
                  <a:gd name="T23" fmla="*/ 17 h 19"/>
                  <a:gd name="T24" fmla="*/ 14 w 17"/>
                  <a:gd name="T25" fmla="*/ 19 h 19"/>
                  <a:gd name="T26" fmla="*/ 14 w 17"/>
                  <a:gd name="T27" fmla="*/ 19 h 19"/>
                  <a:gd name="T28" fmla="*/ 17 w 17"/>
                  <a:gd name="T29" fmla="*/ 14 h 19"/>
                  <a:gd name="T30" fmla="*/ 14 w 17"/>
                  <a:gd name="T31" fmla="*/ 14 h 19"/>
                  <a:gd name="T32" fmla="*/ 11 w 17"/>
                  <a:gd name="T33" fmla="*/ 14 h 19"/>
                  <a:gd name="T34" fmla="*/ 11 w 17"/>
                  <a:gd name="T35" fmla="*/ 11 h 19"/>
                  <a:gd name="T36" fmla="*/ 8 w 17"/>
                  <a:gd name="T37" fmla="*/ 8 h 19"/>
                  <a:gd name="T38" fmla="*/ 8 w 17"/>
                  <a:gd name="T39" fmla="*/ 3 h 19"/>
                  <a:gd name="T40" fmla="*/ 8 w 17"/>
                  <a:gd name="T4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19">
                    <a:moveTo>
                      <a:pt x="8" y="0"/>
                    </a:moveTo>
                    <a:lnTo>
                      <a:pt x="6" y="0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1" y="11"/>
                    </a:lnTo>
                    <a:lnTo>
                      <a:pt x="8" y="8"/>
                    </a:lnTo>
                    <a:lnTo>
                      <a:pt x="8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6" name="Freeform 678"/>
              <p:cNvSpPr>
                <a:spLocks noChangeAspect="1"/>
              </p:cNvSpPr>
              <p:nvPr>
                <p:custDataLst>
                  <p:tags r:id="rId764"/>
                </p:custDataLst>
              </p:nvPr>
            </p:nvSpPr>
            <p:spPr bwMode="gray">
              <a:xfrm>
                <a:off x="5079384" y="2730442"/>
                <a:ext cx="22777" cy="23651"/>
              </a:xfrm>
              <a:custGeom>
                <a:avLst/>
                <a:gdLst>
                  <a:gd name="T0" fmla="*/ 8 w 17"/>
                  <a:gd name="T1" fmla="*/ 0 h 19"/>
                  <a:gd name="T2" fmla="*/ 6 w 17"/>
                  <a:gd name="T3" fmla="*/ 0 h 19"/>
                  <a:gd name="T4" fmla="*/ 6 w 17"/>
                  <a:gd name="T5" fmla="*/ 5 h 19"/>
                  <a:gd name="T6" fmla="*/ 3 w 17"/>
                  <a:gd name="T7" fmla="*/ 5 h 19"/>
                  <a:gd name="T8" fmla="*/ 3 w 17"/>
                  <a:gd name="T9" fmla="*/ 5 h 19"/>
                  <a:gd name="T10" fmla="*/ 0 w 17"/>
                  <a:gd name="T11" fmla="*/ 8 h 19"/>
                  <a:gd name="T12" fmla="*/ 3 w 17"/>
                  <a:gd name="T13" fmla="*/ 11 h 19"/>
                  <a:gd name="T14" fmla="*/ 6 w 17"/>
                  <a:gd name="T15" fmla="*/ 11 h 19"/>
                  <a:gd name="T16" fmla="*/ 6 w 17"/>
                  <a:gd name="T17" fmla="*/ 14 h 19"/>
                  <a:gd name="T18" fmla="*/ 8 w 17"/>
                  <a:gd name="T19" fmla="*/ 14 h 19"/>
                  <a:gd name="T20" fmla="*/ 8 w 17"/>
                  <a:gd name="T21" fmla="*/ 17 h 19"/>
                  <a:gd name="T22" fmla="*/ 14 w 17"/>
                  <a:gd name="T23" fmla="*/ 17 h 19"/>
                  <a:gd name="T24" fmla="*/ 14 w 17"/>
                  <a:gd name="T25" fmla="*/ 19 h 19"/>
                  <a:gd name="T26" fmla="*/ 14 w 17"/>
                  <a:gd name="T27" fmla="*/ 19 h 19"/>
                  <a:gd name="T28" fmla="*/ 17 w 17"/>
                  <a:gd name="T29" fmla="*/ 14 h 19"/>
                  <a:gd name="T30" fmla="*/ 14 w 17"/>
                  <a:gd name="T31" fmla="*/ 14 h 19"/>
                  <a:gd name="T32" fmla="*/ 11 w 17"/>
                  <a:gd name="T33" fmla="*/ 14 h 19"/>
                  <a:gd name="T34" fmla="*/ 11 w 17"/>
                  <a:gd name="T35" fmla="*/ 11 h 19"/>
                  <a:gd name="T36" fmla="*/ 8 w 17"/>
                  <a:gd name="T37" fmla="*/ 8 h 19"/>
                  <a:gd name="T38" fmla="*/ 8 w 17"/>
                  <a:gd name="T39" fmla="*/ 3 h 19"/>
                  <a:gd name="T40" fmla="*/ 8 w 17"/>
                  <a:gd name="T4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19">
                    <a:moveTo>
                      <a:pt x="8" y="0"/>
                    </a:moveTo>
                    <a:lnTo>
                      <a:pt x="6" y="0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1" y="11"/>
                    </a:lnTo>
                    <a:lnTo>
                      <a:pt x="8" y="8"/>
                    </a:lnTo>
                    <a:lnTo>
                      <a:pt x="8" y="3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7" name="Freeform 679"/>
              <p:cNvSpPr>
                <a:spLocks noChangeAspect="1"/>
              </p:cNvSpPr>
              <p:nvPr>
                <p:custDataLst>
                  <p:tags r:id="rId765"/>
                </p:custDataLst>
              </p:nvPr>
            </p:nvSpPr>
            <p:spPr bwMode="gray">
              <a:xfrm>
                <a:off x="5504551" y="2219576"/>
                <a:ext cx="47072" cy="44148"/>
              </a:xfrm>
              <a:custGeom>
                <a:avLst/>
                <a:gdLst>
                  <a:gd name="T0" fmla="*/ 22 w 36"/>
                  <a:gd name="T1" fmla="*/ 0 h 34"/>
                  <a:gd name="T2" fmla="*/ 25 w 36"/>
                  <a:gd name="T3" fmla="*/ 0 h 34"/>
                  <a:gd name="T4" fmla="*/ 25 w 36"/>
                  <a:gd name="T5" fmla="*/ 6 h 34"/>
                  <a:gd name="T6" fmla="*/ 25 w 36"/>
                  <a:gd name="T7" fmla="*/ 9 h 34"/>
                  <a:gd name="T8" fmla="*/ 25 w 36"/>
                  <a:gd name="T9" fmla="*/ 6 h 34"/>
                  <a:gd name="T10" fmla="*/ 28 w 36"/>
                  <a:gd name="T11" fmla="*/ 9 h 34"/>
                  <a:gd name="T12" fmla="*/ 25 w 36"/>
                  <a:gd name="T13" fmla="*/ 17 h 34"/>
                  <a:gd name="T14" fmla="*/ 25 w 36"/>
                  <a:gd name="T15" fmla="*/ 14 h 34"/>
                  <a:gd name="T16" fmla="*/ 28 w 36"/>
                  <a:gd name="T17" fmla="*/ 14 h 34"/>
                  <a:gd name="T18" fmla="*/ 28 w 36"/>
                  <a:gd name="T19" fmla="*/ 9 h 34"/>
                  <a:gd name="T20" fmla="*/ 30 w 36"/>
                  <a:gd name="T21" fmla="*/ 9 h 34"/>
                  <a:gd name="T22" fmla="*/ 30 w 36"/>
                  <a:gd name="T23" fmla="*/ 6 h 34"/>
                  <a:gd name="T24" fmla="*/ 30 w 36"/>
                  <a:gd name="T25" fmla="*/ 3 h 34"/>
                  <a:gd name="T26" fmla="*/ 33 w 36"/>
                  <a:gd name="T27" fmla="*/ 6 h 34"/>
                  <a:gd name="T28" fmla="*/ 36 w 36"/>
                  <a:gd name="T29" fmla="*/ 9 h 34"/>
                  <a:gd name="T30" fmla="*/ 36 w 36"/>
                  <a:gd name="T31" fmla="*/ 12 h 34"/>
                  <a:gd name="T32" fmla="*/ 36 w 36"/>
                  <a:gd name="T33" fmla="*/ 14 h 34"/>
                  <a:gd name="T34" fmla="*/ 33 w 36"/>
                  <a:gd name="T35" fmla="*/ 17 h 34"/>
                  <a:gd name="T36" fmla="*/ 30 w 36"/>
                  <a:gd name="T37" fmla="*/ 17 h 34"/>
                  <a:gd name="T38" fmla="*/ 30 w 36"/>
                  <a:gd name="T39" fmla="*/ 20 h 34"/>
                  <a:gd name="T40" fmla="*/ 28 w 36"/>
                  <a:gd name="T41" fmla="*/ 23 h 34"/>
                  <a:gd name="T42" fmla="*/ 28 w 36"/>
                  <a:gd name="T43" fmla="*/ 20 h 34"/>
                  <a:gd name="T44" fmla="*/ 22 w 36"/>
                  <a:gd name="T45" fmla="*/ 23 h 34"/>
                  <a:gd name="T46" fmla="*/ 22 w 36"/>
                  <a:gd name="T47" fmla="*/ 25 h 34"/>
                  <a:gd name="T48" fmla="*/ 22 w 36"/>
                  <a:gd name="T49" fmla="*/ 28 h 34"/>
                  <a:gd name="T50" fmla="*/ 19 w 36"/>
                  <a:gd name="T51" fmla="*/ 25 h 34"/>
                  <a:gd name="T52" fmla="*/ 19 w 36"/>
                  <a:gd name="T53" fmla="*/ 23 h 34"/>
                  <a:gd name="T54" fmla="*/ 19 w 36"/>
                  <a:gd name="T55" fmla="*/ 20 h 34"/>
                  <a:gd name="T56" fmla="*/ 16 w 36"/>
                  <a:gd name="T57" fmla="*/ 28 h 34"/>
                  <a:gd name="T58" fmla="*/ 11 w 36"/>
                  <a:gd name="T59" fmla="*/ 31 h 34"/>
                  <a:gd name="T60" fmla="*/ 11 w 36"/>
                  <a:gd name="T61" fmla="*/ 28 h 34"/>
                  <a:gd name="T62" fmla="*/ 8 w 36"/>
                  <a:gd name="T63" fmla="*/ 28 h 34"/>
                  <a:gd name="T64" fmla="*/ 5 w 36"/>
                  <a:gd name="T65" fmla="*/ 31 h 34"/>
                  <a:gd name="T66" fmla="*/ 3 w 36"/>
                  <a:gd name="T67" fmla="*/ 34 h 34"/>
                  <a:gd name="T68" fmla="*/ 0 w 36"/>
                  <a:gd name="T69" fmla="*/ 31 h 34"/>
                  <a:gd name="T70" fmla="*/ 0 w 36"/>
                  <a:gd name="T71" fmla="*/ 28 h 34"/>
                  <a:gd name="T72" fmla="*/ 3 w 36"/>
                  <a:gd name="T73" fmla="*/ 28 h 34"/>
                  <a:gd name="T74" fmla="*/ 3 w 36"/>
                  <a:gd name="T75" fmla="*/ 25 h 34"/>
                  <a:gd name="T76" fmla="*/ 5 w 36"/>
                  <a:gd name="T77" fmla="*/ 25 h 34"/>
                  <a:gd name="T78" fmla="*/ 8 w 36"/>
                  <a:gd name="T79" fmla="*/ 23 h 34"/>
                  <a:gd name="T80" fmla="*/ 8 w 36"/>
                  <a:gd name="T81" fmla="*/ 23 h 34"/>
                  <a:gd name="T82" fmla="*/ 11 w 36"/>
                  <a:gd name="T83" fmla="*/ 23 h 34"/>
                  <a:gd name="T84" fmla="*/ 16 w 36"/>
                  <a:gd name="T85" fmla="*/ 20 h 34"/>
                  <a:gd name="T86" fmla="*/ 16 w 36"/>
                  <a:gd name="T87" fmla="*/ 17 h 34"/>
                  <a:gd name="T88" fmla="*/ 19 w 36"/>
                  <a:gd name="T89" fmla="*/ 14 h 34"/>
                  <a:gd name="T90" fmla="*/ 19 w 36"/>
                  <a:gd name="T91" fmla="*/ 12 h 34"/>
                  <a:gd name="T92" fmla="*/ 19 w 36"/>
                  <a:gd name="T93" fmla="*/ 9 h 34"/>
                  <a:gd name="T94" fmla="*/ 22 w 36"/>
                  <a:gd name="T95" fmla="*/ 3 h 34"/>
                  <a:gd name="T96" fmla="*/ 22 w 36"/>
                  <a:gd name="T9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" h="34">
                    <a:moveTo>
                      <a:pt x="22" y="0"/>
                    </a:moveTo>
                    <a:lnTo>
                      <a:pt x="25" y="0"/>
                    </a:lnTo>
                    <a:lnTo>
                      <a:pt x="25" y="6"/>
                    </a:lnTo>
                    <a:lnTo>
                      <a:pt x="25" y="9"/>
                    </a:lnTo>
                    <a:lnTo>
                      <a:pt x="25" y="6"/>
                    </a:lnTo>
                    <a:lnTo>
                      <a:pt x="28" y="9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28" y="14"/>
                    </a:lnTo>
                    <a:lnTo>
                      <a:pt x="28" y="9"/>
                    </a:lnTo>
                    <a:lnTo>
                      <a:pt x="30" y="9"/>
                    </a:lnTo>
                    <a:lnTo>
                      <a:pt x="30" y="6"/>
                    </a:lnTo>
                    <a:lnTo>
                      <a:pt x="30" y="3"/>
                    </a:lnTo>
                    <a:lnTo>
                      <a:pt x="33" y="6"/>
                    </a:lnTo>
                    <a:lnTo>
                      <a:pt x="36" y="9"/>
                    </a:lnTo>
                    <a:lnTo>
                      <a:pt x="36" y="12"/>
                    </a:lnTo>
                    <a:lnTo>
                      <a:pt x="36" y="14"/>
                    </a:lnTo>
                    <a:lnTo>
                      <a:pt x="33" y="17"/>
                    </a:lnTo>
                    <a:lnTo>
                      <a:pt x="30" y="17"/>
                    </a:lnTo>
                    <a:lnTo>
                      <a:pt x="30" y="20"/>
                    </a:lnTo>
                    <a:lnTo>
                      <a:pt x="28" y="23"/>
                    </a:lnTo>
                    <a:lnTo>
                      <a:pt x="28" y="20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2" y="28"/>
                    </a:lnTo>
                    <a:lnTo>
                      <a:pt x="19" y="25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16" y="28"/>
                    </a:lnTo>
                    <a:lnTo>
                      <a:pt x="11" y="31"/>
                    </a:lnTo>
                    <a:lnTo>
                      <a:pt x="11" y="28"/>
                    </a:lnTo>
                    <a:lnTo>
                      <a:pt x="8" y="28"/>
                    </a:lnTo>
                    <a:lnTo>
                      <a:pt x="5" y="31"/>
                    </a:lnTo>
                    <a:lnTo>
                      <a:pt x="3" y="34"/>
                    </a:lnTo>
                    <a:lnTo>
                      <a:pt x="0" y="31"/>
                    </a:lnTo>
                    <a:lnTo>
                      <a:pt x="0" y="28"/>
                    </a:lnTo>
                    <a:lnTo>
                      <a:pt x="3" y="28"/>
                    </a:lnTo>
                    <a:lnTo>
                      <a:pt x="3" y="25"/>
                    </a:lnTo>
                    <a:lnTo>
                      <a:pt x="5" y="25"/>
                    </a:lnTo>
                    <a:lnTo>
                      <a:pt x="8" y="23"/>
                    </a:lnTo>
                    <a:lnTo>
                      <a:pt x="8" y="23"/>
                    </a:lnTo>
                    <a:lnTo>
                      <a:pt x="11" y="23"/>
                    </a:lnTo>
                    <a:lnTo>
                      <a:pt x="16" y="20"/>
                    </a:lnTo>
                    <a:lnTo>
                      <a:pt x="16" y="17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9" y="9"/>
                    </a:lnTo>
                    <a:lnTo>
                      <a:pt x="22" y="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8" name="Freeform 680"/>
              <p:cNvSpPr>
                <a:spLocks noChangeAspect="1"/>
              </p:cNvSpPr>
              <p:nvPr>
                <p:custDataLst>
                  <p:tags r:id="rId766"/>
                </p:custDataLst>
              </p:nvPr>
            </p:nvSpPr>
            <p:spPr bwMode="gray">
              <a:xfrm>
                <a:off x="5509107" y="2219576"/>
                <a:ext cx="16702" cy="22075"/>
              </a:xfrm>
              <a:custGeom>
                <a:avLst/>
                <a:gdLst>
                  <a:gd name="T0" fmla="*/ 0 w 13"/>
                  <a:gd name="T1" fmla="*/ 12 h 17"/>
                  <a:gd name="T2" fmla="*/ 2 w 13"/>
                  <a:gd name="T3" fmla="*/ 12 h 17"/>
                  <a:gd name="T4" fmla="*/ 2 w 13"/>
                  <a:gd name="T5" fmla="*/ 9 h 17"/>
                  <a:gd name="T6" fmla="*/ 2 w 13"/>
                  <a:gd name="T7" fmla="*/ 9 h 17"/>
                  <a:gd name="T8" fmla="*/ 2 w 13"/>
                  <a:gd name="T9" fmla="*/ 9 h 17"/>
                  <a:gd name="T10" fmla="*/ 2 w 13"/>
                  <a:gd name="T11" fmla="*/ 9 h 17"/>
                  <a:gd name="T12" fmla="*/ 5 w 13"/>
                  <a:gd name="T13" fmla="*/ 9 h 17"/>
                  <a:gd name="T14" fmla="*/ 5 w 13"/>
                  <a:gd name="T15" fmla="*/ 6 h 17"/>
                  <a:gd name="T16" fmla="*/ 8 w 13"/>
                  <a:gd name="T17" fmla="*/ 3 h 17"/>
                  <a:gd name="T18" fmla="*/ 8 w 13"/>
                  <a:gd name="T19" fmla="*/ 6 h 17"/>
                  <a:gd name="T20" fmla="*/ 11 w 13"/>
                  <a:gd name="T21" fmla="*/ 6 h 17"/>
                  <a:gd name="T22" fmla="*/ 11 w 13"/>
                  <a:gd name="T23" fmla="*/ 0 h 17"/>
                  <a:gd name="T24" fmla="*/ 13 w 13"/>
                  <a:gd name="T25" fmla="*/ 6 h 17"/>
                  <a:gd name="T26" fmla="*/ 13 w 13"/>
                  <a:gd name="T27" fmla="*/ 14 h 17"/>
                  <a:gd name="T28" fmla="*/ 11 w 13"/>
                  <a:gd name="T29" fmla="*/ 14 h 17"/>
                  <a:gd name="T30" fmla="*/ 11 w 13"/>
                  <a:gd name="T31" fmla="*/ 14 h 17"/>
                  <a:gd name="T32" fmla="*/ 8 w 13"/>
                  <a:gd name="T33" fmla="*/ 17 h 17"/>
                  <a:gd name="T34" fmla="*/ 8 w 13"/>
                  <a:gd name="T35" fmla="*/ 14 h 17"/>
                  <a:gd name="T36" fmla="*/ 8 w 13"/>
                  <a:gd name="T37" fmla="*/ 12 h 17"/>
                  <a:gd name="T38" fmla="*/ 11 w 13"/>
                  <a:gd name="T39" fmla="*/ 9 h 17"/>
                  <a:gd name="T40" fmla="*/ 8 w 13"/>
                  <a:gd name="T41" fmla="*/ 12 h 17"/>
                  <a:gd name="T42" fmla="*/ 8 w 13"/>
                  <a:gd name="T43" fmla="*/ 12 h 17"/>
                  <a:gd name="T44" fmla="*/ 2 w 13"/>
                  <a:gd name="T45" fmla="*/ 14 h 17"/>
                  <a:gd name="T46" fmla="*/ 0 w 13"/>
                  <a:gd name="T47" fmla="*/ 14 h 17"/>
                  <a:gd name="T48" fmla="*/ 0 w 13"/>
                  <a:gd name="T4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" h="17">
                    <a:moveTo>
                      <a:pt x="0" y="12"/>
                    </a:moveTo>
                    <a:lnTo>
                      <a:pt x="2" y="12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3" y="6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1" y="9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9" name="Freeform 681"/>
              <p:cNvSpPr>
                <a:spLocks noChangeAspect="1"/>
              </p:cNvSpPr>
              <p:nvPr>
                <p:custDataLst>
                  <p:tags r:id="rId767"/>
                </p:custDataLst>
              </p:nvPr>
            </p:nvSpPr>
            <p:spPr bwMode="gray">
              <a:xfrm>
                <a:off x="5509107" y="2219576"/>
                <a:ext cx="16702" cy="22075"/>
              </a:xfrm>
              <a:custGeom>
                <a:avLst/>
                <a:gdLst>
                  <a:gd name="T0" fmla="*/ 0 w 13"/>
                  <a:gd name="T1" fmla="*/ 12 h 17"/>
                  <a:gd name="T2" fmla="*/ 2 w 13"/>
                  <a:gd name="T3" fmla="*/ 12 h 17"/>
                  <a:gd name="T4" fmla="*/ 2 w 13"/>
                  <a:gd name="T5" fmla="*/ 9 h 17"/>
                  <a:gd name="T6" fmla="*/ 2 w 13"/>
                  <a:gd name="T7" fmla="*/ 9 h 17"/>
                  <a:gd name="T8" fmla="*/ 2 w 13"/>
                  <a:gd name="T9" fmla="*/ 9 h 17"/>
                  <a:gd name="T10" fmla="*/ 2 w 13"/>
                  <a:gd name="T11" fmla="*/ 9 h 17"/>
                  <a:gd name="T12" fmla="*/ 5 w 13"/>
                  <a:gd name="T13" fmla="*/ 9 h 17"/>
                  <a:gd name="T14" fmla="*/ 5 w 13"/>
                  <a:gd name="T15" fmla="*/ 6 h 17"/>
                  <a:gd name="T16" fmla="*/ 8 w 13"/>
                  <a:gd name="T17" fmla="*/ 3 h 17"/>
                  <a:gd name="T18" fmla="*/ 8 w 13"/>
                  <a:gd name="T19" fmla="*/ 6 h 17"/>
                  <a:gd name="T20" fmla="*/ 11 w 13"/>
                  <a:gd name="T21" fmla="*/ 6 h 17"/>
                  <a:gd name="T22" fmla="*/ 11 w 13"/>
                  <a:gd name="T23" fmla="*/ 0 h 17"/>
                  <a:gd name="T24" fmla="*/ 13 w 13"/>
                  <a:gd name="T25" fmla="*/ 6 h 17"/>
                  <a:gd name="T26" fmla="*/ 13 w 13"/>
                  <a:gd name="T27" fmla="*/ 14 h 17"/>
                  <a:gd name="T28" fmla="*/ 11 w 13"/>
                  <a:gd name="T29" fmla="*/ 14 h 17"/>
                  <a:gd name="T30" fmla="*/ 11 w 13"/>
                  <a:gd name="T31" fmla="*/ 14 h 17"/>
                  <a:gd name="T32" fmla="*/ 8 w 13"/>
                  <a:gd name="T33" fmla="*/ 17 h 17"/>
                  <a:gd name="T34" fmla="*/ 8 w 13"/>
                  <a:gd name="T35" fmla="*/ 14 h 17"/>
                  <a:gd name="T36" fmla="*/ 8 w 13"/>
                  <a:gd name="T37" fmla="*/ 12 h 17"/>
                  <a:gd name="T38" fmla="*/ 11 w 13"/>
                  <a:gd name="T39" fmla="*/ 9 h 17"/>
                  <a:gd name="T40" fmla="*/ 8 w 13"/>
                  <a:gd name="T41" fmla="*/ 12 h 17"/>
                  <a:gd name="T42" fmla="*/ 8 w 13"/>
                  <a:gd name="T43" fmla="*/ 12 h 17"/>
                  <a:gd name="T44" fmla="*/ 2 w 13"/>
                  <a:gd name="T45" fmla="*/ 14 h 17"/>
                  <a:gd name="T46" fmla="*/ 0 w 13"/>
                  <a:gd name="T47" fmla="*/ 14 h 17"/>
                  <a:gd name="T48" fmla="*/ 0 w 13"/>
                  <a:gd name="T4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" h="17">
                    <a:moveTo>
                      <a:pt x="0" y="12"/>
                    </a:moveTo>
                    <a:lnTo>
                      <a:pt x="2" y="12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5" y="6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3" y="6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1" y="9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0" name="Freeform 682"/>
              <p:cNvSpPr>
                <a:spLocks noChangeAspect="1"/>
              </p:cNvSpPr>
              <p:nvPr>
                <p:custDataLst>
                  <p:tags r:id="rId768"/>
                </p:custDataLst>
              </p:nvPr>
            </p:nvSpPr>
            <p:spPr bwMode="gray">
              <a:xfrm>
                <a:off x="5528847" y="2200654"/>
                <a:ext cx="15185" cy="15767"/>
              </a:xfrm>
              <a:custGeom>
                <a:avLst/>
                <a:gdLst>
                  <a:gd name="T0" fmla="*/ 6 w 11"/>
                  <a:gd name="T1" fmla="*/ 5 h 14"/>
                  <a:gd name="T2" fmla="*/ 6 w 11"/>
                  <a:gd name="T3" fmla="*/ 5 h 14"/>
                  <a:gd name="T4" fmla="*/ 9 w 11"/>
                  <a:gd name="T5" fmla="*/ 0 h 14"/>
                  <a:gd name="T6" fmla="*/ 9 w 11"/>
                  <a:gd name="T7" fmla="*/ 0 h 14"/>
                  <a:gd name="T8" fmla="*/ 11 w 11"/>
                  <a:gd name="T9" fmla="*/ 2 h 14"/>
                  <a:gd name="T10" fmla="*/ 9 w 11"/>
                  <a:gd name="T11" fmla="*/ 11 h 14"/>
                  <a:gd name="T12" fmla="*/ 3 w 11"/>
                  <a:gd name="T13" fmla="*/ 14 h 14"/>
                  <a:gd name="T14" fmla="*/ 3 w 11"/>
                  <a:gd name="T15" fmla="*/ 14 h 14"/>
                  <a:gd name="T16" fmla="*/ 0 w 11"/>
                  <a:gd name="T17" fmla="*/ 14 h 14"/>
                  <a:gd name="T18" fmla="*/ 3 w 11"/>
                  <a:gd name="T19" fmla="*/ 8 h 14"/>
                  <a:gd name="T20" fmla="*/ 6 w 11"/>
                  <a:gd name="T21" fmla="*/ 8 h 14"/>
                  <a:gd name="T22" fmla="*/ 6 w 11"/>
                  <a:gd name="T23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14">
                    <a:moveTo>
                      <a:pt x="6" y="5"/>
                    </a:moveTo>
                    <a:lnTo>
                      <a:pt x="6" y="5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9" y="11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0" y="14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1" name="Freeform 683"/>
              <p:cNvSpPr>
                <a:spLocks noChangeAspect="1"/>
              </p:cNvSpPr>
              <p:nvPr>
                <p:custDataLst>
                  <p:tags r:id="rId769"/>
                </p:custDataLst>
              </p:nvPr>
            </p:nvSpPr>
            <p:spPr bwMode="gray">
              <a:xfrm>
                <a:off x="5515181" y="2279492"/>
                <a:ext cx="10628" cy="9460"/>
              </a:xfrm>
              <a:custGeom>
                <a:avLst/>
                <a:gdLst>
                  <a:gd name="T0" fmla="*/ 3 w 8"/>
                  <a:gd name="T1" fmla="*/ 3 h 8"/>
                  <a:gd name="T2" fmla="*/ 3 w 8"/>
                  <a:gd name="T3" fmla="*/ 3 h 8"/>
                  <a:gd name="T4" fmla="*/ 3 w 8"/>
                  <a:gd name="T5" fmla="*/ 0 h 8"/>
                  <a:gd name="T6" fmla="*/ 3 w 8"/>
                  <a:gd name="T7" fmla="*/ 3 h 8"/>
                  <a:gd name="T8" fmla="*/ 6 w 8"/>
                  <a:gd name="T9" fmla="*/ 3 h 8"/>
                  <a:gd name="T10" fmla="*/ 8 w 8"/>
                  <a:gd name="T11" fmla="*/ 0 h 8"/>
                  <a:gd name="T12" fmla="*/ 8 w 8"/>
                  <a:gd name="T13" fmla="*/ 0 h 8"/>
                  <a:gd name="T14" fmla="*/ 8 w 8"/>
                  <a:gd name="T15" fmla="*/ 3 h 8"/>
                  <a:gd name="T16" fmla="*/ 6 w 8"/>
                  <a:gd name="T17" fmla="*/ 6 h 8"/>
                  <a:gd name="T18" fmla="*/ 6 w 8"/>
                  <a:gd name="T19" fmla="*/ 6 h 8"/>
                  <a:gd name="T20" fmla="*/ 3 w 8"/>
                  <a:gd name="T21" fmla="*/ 8 h 8"/>
                  <a:gd name="T22" fmla="*/ 0 w 8"/>
                  <a:gd name="T23" fmla="*/ 8 h 8"/>
                  <a:gd name="T24" fmla="*/ 0 w 8"/>
                  <a:gd name="T25" fmla="*/ 8 h 8"/>
                  <a:gd name="T26" fmla="*/ 3 w 8"/>
                  <a:gd name="T27" fmla="*/ 6 h 8"/>
                  <a:gd name="T28" fmla="*/ 3 w 8"/>
                  <a:gd name="T29" fmla="*/ 6 h 8"/>
                  <a:gd name="T30" fmla="*/ 3 w 8"/>
                  <a:gd name="T31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8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2" name="Freeform 684"/>
              <p:cNvSpPr>
                <a:spLocks noChangeAspect="1"/>
              </p:cNvSpPr>
              <p:nvPr>
                <p:custDataLst>
                  <p:tags r:id="rId770"/>
                </p:custDataLst>
              </p:nvPr>
            </p:nvSpPr>
            <p:spPr bwMode="gray">
              <a:xfrm>
                <a:off x="5515181" y="2279492"/>
                <a:ext cx="10628" cy="9460"/>
              </a:xfrm>
              <a:custGeom>
                <a:avLst/>
                <a:gdLst>
                  <a:gd name="T0" fmla="*/ 3 w 8"/>
                  <a:gd name="T1" fmla="*/ 3 h 8"/>
                  <a:gd name="T2" fmla="*/ 3 w 8"/>
                  <a:gd name="T3" fmla="*/ 3 h 8"/>
                  <a:gd name="T4" fmla="*/ 3 w 8"/>
                  <a:gd name="T5" fmla="*/ 0 h 8"/>
                  <a:gd name="T6" fmla="*/ 3 w 8"/>
                  <a:gd name="T7" fmla="*/ 3 h 8"/>
                  <a:gd name="T8" fmla="*/ 6 w 8"/>
                  <a:gd name="T9" fmla="*/ 3 h 8"/>
                  <a:gd name="T10" fmla="*/ 8 w 8"/>
                  <a:gd name="T11" fmla="*/ 0 h 8"/>
                  <a:gd name="T12" fmla="*/ 8 w 8"/>
                  <a:gd name="T13" fmla="*/ 0 h 8"/>
                  <a:gd name="T14" fmla="*/ 8 w 8"/>
                  <a:gd name="T15" fmla="*/ 3 h 8"/>
                  <a:gd name="T16" fmla="*/ 6 w 8"/>
                  <a:gd name="T17" fmla="*/ 6 h 8"/>
                  <a:gd name="T18" fmla="*/ 6 w 8"/>
                  <a:gd name="T19" fmla="*/ 6 h 8"/>
                  <a:gd name="T20" fmla="*/ 3 w 8"/>
                  <a:gd name="T21" fmla="*/ 8 h 8"/>
                  <a:gd name="T22" fmla="*/ 0 w 8"/>
                  <a:gd name="T23" fmla="*/ 8 h 8"/>
                  <a:gd name="T24" fmla="*/ 0 w 8"/>
                  <a:gd name="T25" fmla="*/ 8 h 8"/>
                  <a:gd name="T26" fmla="*/ 3 w 8"/>
                  <a:gd name="T27" fmla="*/ 6 h 8"/>
                  <a:gd name="T28" fmla="*/ 3 w 8"/>
                  <a:gd name="T29" fmla="*/ 6 h 8"/>
                  <a:gd name="T30" fmla="*/ 3 w 8"/>
                  <a:gd name="T31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" h="8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3" name="Freeform 685"/>
              <p:cNvSpPr>
                <a:spLocks noChangeAspect="1"/>
              </p:cNvSpPr>
              <p:nvPr>
                <p:custDataLst>
                  <p:tags r:id="rId771"/>
                </p:custDataLst>
              </p:nvPr>
            </p:nvSpPr>
            <p:spPr bwMode="gray">
              <a:xfrm>
                <a:off x="5557698" y="2184890"/>
                <a:ext cx="22777" cy="31534"/>
              </a:xfrm>
              <a:custGeom>
                <a:avLst/>
                <a:gdLst>
                  <a:gd name="T0" fmla="*/ 0 w 17"/>
                  <a:gd name="T1" fmla="*/ 16 h 25"/>
                  <a:gd name="T2" fmla="*/ 0 w 17"/>
                  <a:gd name="T3" fmla="*/ 16 h 25"/>
                  <a:gd name="T4" fmla="*/ 0 w 17"/>
                  <a:gd name="T5" fmla="*/ 16 h 25"/>
                  <a:gd name="T6" fmla="*/ 3 w 17"/>
                  <a:gd name="T7" fmla="*/ 13 h 25"/>
                  <a:gd name="T8" fmla="*/ 3 w 17"/>
                  <a:gd name="T9" fmla="*/ 13 h 25"/>
                  <a:gd name="T10" fmla="*/ 0 w 17"/>
                  <a:gd name="T11" fmla="*/ 11 h 25"/>
                  <a:gd name="T12" fmla="*/ 3 w 17"/>
                  <a:gd name="T13" fmla="*/ 11 h 25"/>
                  <a:gd name="T14" fmla="*/ 0 w 17"/>
                  <a:gd name="T15" fmla="*/ 11 h 25"/>
                  <a:gd name="T16" fmla="*/ 3 w 17"/>
                  <a:gd name="T17" fmla="*/ 8 h 25"/>
                  <a:gd name="T18" fmla="*/ 6 w 17"/>
                  <a:gd name="T19" fmla="*/ 8 h 25"/>
                  <a:gd name="T20" fmla="*/ 9 w 17"/>
                  <a:gd name="T21" fmla="*/ 8 h 25"/>
                  <a:gd name="T22" fmla="*/ 6 w 17"/>
                  <a:gd name="T23" fmla="*/ 5 h 25"/>
                  <a:gd name="T24" fmla="*/ 9 w 17"/>
                  <a:gd name="T25" fmla="*/ 5 h 25"/>
                  <a:gd name="T26" fmla="*/ 9 w 17"/>
                  <a:gd name="T27" fmla="*/ 5 h 25"/>
                  <a:gd name="T28" fmla="*/ 12 w 17"/>
                  <a:gd name="T29" fmla="*/ 2 h 25"/>
                  <a:gd name="T30" fmla="*/ 9 w 17"/>
                  <a:gd name="T31" fmla="*/ 0 h 25"/>
                  <a:gd name="T32" fmla="*/ 12 w 17"/>
                  <a:gd name="T33" fmla="*/ 2 h 25"/>
                  <a:gd name="T34" fmla="*/ 12 w 17"/>
                  <a:gd name="T35" fmla="*/ 0 h 25"/>
                  <a:gd name="T36" fmla="*/ 14 w 17"/>
                  <a:gd name="T37" fmla="*/ 0 h 25"/>
                  <a:gd name="T38" fmla="*/ 14 w 17"/>
                  <a:gd name="T39" fmla="*/ 5 h 25"/>
                  <a:gd name="T40" fmla="*/ 17 w 17"/>
                  <a:gd name="T41" fmla="*/ 5 h 25"/>
                  <a:gd name="T42" fmla="*/ 17 w 17"/>
                  <a:gd name="T43" fmla="*/ 8 h 25"/>
                  <a:gd name="T44" fmla="*/ 17 w 17"/>
                  <a:gd name="T45" fmla="*/ 13 h 25"/>
                  <a:gd name="T46" fmla="*/ 17 w 17"/>
                  <a:gd name="T47" fmla="*/ 19 h 25"/>
                  <a:gd name="T48" fmla="*/ 12 w 17"/>
                  <a:gd name="T49" fmla="*/ 19 h 25"/>
                  <a:gd name="T50" fmla="*/ 12 w 17"/>
                  <a:gd name="T51" fmla="*/ 16 h 25"/>
                  <a:gd name="T52" fmla="*/ 9 w 17"/>
                  <a:gd name="T53" fmla="*/ 16 h 25"/>
                  <a:gd name="T54" fmla="*/ 6 w 17"/>
                  <a:gd name="T55" fmla="*/ 22 h 25"/>
                  <a:gd name="T56" fmla="*/ 3 w 17"/>
                  <a:gd name="T57" fmla="*/ 22 h 25"/>
                  <a:gd name="T58" fmla="*/ 0 w 17"/>
                  <a:gd name="T59" fmla="*/ 25 h 25"/>
                  <a:gd name="T60" fmla="*/ 0 w 17"/>
                  <a:gd name="T61" fmla="*/ 22 h 25"/>
                  <a:gd name="T62" fmla="*/ 3 w 17"/>
                  <a:gd name="T63" fmla="*/ 19 h 25"/>
                  <a:gd name="T64" fmla="*/ 3 w 17"/>
                  <a:gd name="T65" fmla="*/ 16 h 25"/>
                  <a:gd name="T66" fmla="*/ 0 w 17"/>
                  <a:gd name="T67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" h="25">
                    <a:moveTo>
                      <a:pt x="0" y="16"/>
                    </a:moveTo>
                    <a:lnTo>
                      <a:pt x="0" y="16"/>
                    </a:lnTo>
                    <a:lnTo>
                      <a:pt x="0" y="16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17" y="13"/>
                    </a:lnTo>
                    <a:lnTo>
                      <a:pt x="17" y="19"/>
                    </a:lnTo>
                    <a:lnTo>
                      <a:pt x="12" y="19"/>
                    </a:lnTo>
                    <a:lnTo>
                      <a:pt x="12" y="16"/>
                    </a:lnTo>
                    <a:lnTo>
                      <a:pt x="9" y="16"/>
                    </a:lnTo>
                    <a:lnTo>
                      <a:pt x="6" y="22"/>
                    </a:lnTo>
                    <a:lnTo>
                      <a:pt x="3" y="22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3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4" name="Freeform 686"/>
              <p:cNvSpPr>
                <a:spLocks noChangeAspect="1"/>
              </p:cNvSpPr>
              <p:nvPr>
                <p:custDataLst>
                  <p:tags r:id="rId772"/>
                </p:custDataLst>
              </p:nvPr>
            </p:nvSpPr>
            <p:spPr bwMode="gray">
              <a:xfrm>
                <a:off x="5583511" y="2165968"/>
                <a:ext cx="19741" cy="22075"/>
              </a:xfrm>
              <a:custGeom>
                <a:avLst/>
                <a:gdLst>
                  <a:gd name="T0" fmla="*/ 3 w 14"/>
                  <a:gd name="T1" fmla="*/ 8 h 16"/>
                  <a:gd name="T2" fmla="*/ 6 w 14"/>
                  <a:gd name="T3" fmla="*/ 8 h 16"/>
                  <a:gd name="T4" fmla="*/ 6 w 14"/>
                  <a:gd name="T5" fmla="*/ 8 h 16"/>
                  <a:gd name="T6" fmla="*/ 6 w 14"/>
                  <a:gd name="T7" fmla="*/ 5 h 16"/>
                  <a:gd name="T8" fmla="*/ 8 w 14"/>
                  <a:gd name="T9" fmla="*/ 8 h 16"/>
                  <a:gd name="T10" fmla="*/ 8 w 14"/>
                  <a:gd name="T11" fmla="*/ 8 h 16"/>
                  <a:gd name="T12" fmla="*/ 8 w 14"/>
                  <a:gd name="T13" fmla="*/ 2 h 16"/>
                  <a:gd name="T14" fmla="*/ 8 w 14"/>
                  <a:gd name="T15" fmla="*/ 0 h 16"/>
                  <a:gd name="T16" fmla="*/ 11 w 14"/>
                  <a:gd name="T17" fmla="*/ 2 h 16"/>
                  <a:gd name="T18" fmla="*/ 14 w 14"/>
                  <a:gd name="T19" fmla="*/ 5 h 16"/>
                  <a:gd name="T20" fmla="*/ 11 w 14"/>
                  <a:gd name="T21" fmla="*/ 11 h 16"/>
                  <a:gd name="T22" fmla="*/ 11 w 14"/>
                  <a:gd name="T23" fmla="*/ 14 h 16"/>
                  <a:gd name="T24" fmla="*/ 3 w 14"/>
                  <a:gd name="T25" fmla="*/ 16 h 16"/>
                  <a:gd name="T26" fmla="*/ 0 w 14"/>
                  <a:gd name="T27" fmla="*/ 14 h 16"/>
                  <a:gd name="T28" fmla="*/ 0 w 14"/>
                  <a:gd name="T29" fmla="*/ 14 h 16"/>
                  <a:gd name="T30" fmla="*/ 3 w 14"/>
                  <a:gd name="T31" fmla="*/ 14 h 16"/>
                  <a:gd name="T32" fmla="*/ 3 w 14"/>
                  <a:gd name="T33" fmla="*/ 11 h 16"/>
                  <a:gd name="T34" fmla="*/ 3 w 14"/>
                  <a:gd name="T3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6">
                    <a:moveTo>
                      <a:pt x="3" y="8"/>
                    </a:moveTo>
                    <a:lnTo>
                      <a:pt x="6" y="8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4" y="5"/>
                    </a:lnTo>
                    <a:lnTo>
                      <a:pt x="11" y="11"/>
                    </a:lnTo>
                    <a:lnTo>
                      <a:pt x="11" y="14"/>
                    </a:lnTo>
                    <a:lnTo>
                      <a:pt x="3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5" name="Freeform 687"/>
              <p:cNvSpPr>
                <a:spLocks noChangeAspect="1"/>
              </p:cNvSpPr>
              <p:nvPr>
                <p:custDataLst>
                  <p:tags r:id="rId773"/>
                </p:custDataLst>
              </p:nvPr>
            </p:nvSpPr>
            <p:spPr bwMode="gray">
              <a:xfrm>
                <a:off x="5583511" y="2165968"/>
                <a:ext cx="19741" cy="22075"/>
              </a:xfrm>
              <a:custGeom>
                <a:avLst/>
                <a:gdLst>
                  <a:gd name="T0" fmla="*/ 3 w 14"/>
                  <a:gd name="T1" fmla="*/ 8 h 16"/>
                  <a:gd name="T2" fmla="*/ 6 w 14"/>
                  <a:gd name="T3" fmla="*/ 8 h 16"/>
                  <a:gd name="T4" fmla="*/ 6 w 14"/>
                  <a:gd name="T5" fmla="*/ 8 h 16"/>
                  <a:gd name="T6" fmla="*/ 6 w 14"/>
                  <a:gd name="T7" fmla="*/ 5 h 16"/>
                  <a:gd name="T8" fmla="*/ 8 w 14"/>
                  <a:gd name="T9" fmla="*/ 8 h 16"/>
                  <a:gd name="T10" fmla="*/ 8 w 14"/>
                  <a:gd name="T11" fmla="*/ 8 h 16"/>
                  <a:gd name="T12" fmla="*/ 8 w 14"/>
                  <a:gd name="T13" fmla="*/ 2 h 16"/>
                  <a:gd name="T14" fmla="*/ 8 w 14"/>
                  <a:gd name="T15" fmla="*/ 0 h 16"/>
                  <a:gd name="T16" fmla="*/ 11 w 14"/>
                  <a:gd name="T17" fmla="*/ 2 h 16"/>
                  <a:gd name="T18" fmla="*/ 14 w 14"/>
                  <a:gd name="T19" fmla="*/ 5 h 16"/>
                  <a:gd name="T20" fmla="*/ 11 w 14"/>
                  <a:gd name="T21" fmla="*/ 11 h 16"/>
                  <a:gd name="T22" fmla="*/ 11 w 14"/>
                  <a:gd name="T23" fmla="*/ 14 h 16"/>
                  <a:gd name="T24" fmla="*/ 3 w 14"/>
                  <a:gd name="T25" fmla="*/ 16 h 16"/>
                  <a:gd name="T26" fmla="*/ 0 w 14"/>
                  <a:gd name="T27" fmla="*/ 14 h 16"/>
                  <a:gd name="T28" fmla="*/ 0 w 14"/>
                  <a:gd name="T29" fmla="*/ 14 h 16"/>
                  <a:gd name="T30" fmla="*/ 3 w 14"/>
                  <a:gd name="T31" fmla="*/ 14 h 16"/>
                  <a:gd name="T32" fmla="*/ 3 w 14"/>
                  <a:gd name="T33" fmla="*/ 11 h 16"/>
                  <a:gd name="T34" fmla="*/ 3 w 14"/>
                  <a:gd name="T3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6">
                    <a:moveTo>
                      <a:pt x="3" y="8"/>
                    </a:moveTo>
                    <a:lnTo>
                      <a:pt x="6" y="8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4" y="5"/>
                    </a:lnTo>
                    <a:lnTo>
                      <a:pt x="11" y="11"/>
                    </a:lnTo>
                    <a:lnTo>
                      <a:pt x="11" y="14"/>
                    </a:lnTo>
                    <a:lnTo>
                      <a:pt x="3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3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6" name="Freeform 688"/>
              <p:cNvSpPr>
                <a:spLocks noChangeAspect="1"/>
              </p:cNvSpPr>
              <p:nvPr>
                <p:custDataLst>
                  <p:tags r:id="rId774"/>
                </p:custDataLst>
              </p:nvPr>
            </p:nvSpPr>
            <p:spPr bwMode="gray">
              <a:xfrm>
                <a:off x="5594141" y="2154931"/>
                <a:ext cx="19739" cy="14192"/>
              </a:xfrm>
              <a:custGeom>
                <a:avLst/>
                <a:gdLst>
                  <a:gd name="T0" fmla="*/ 3 w 14"/>
                  <a:gd name="T1" fmla="*/ 3 h 11"/>
                  <a:gd name="T2" fmla="*/ 3 w 14"/>
                  <a:gd name="T3" fmla="*/ 3 h 11"/>
                  <a:gd name="T4" fmla="*/ 0 w 14"/>
                  <a:gd name="T5" fmla="*/ 3 h 11"/>
                  <a:gd name="T6" fmla="*/ 0 w 14"/>
                  <a:gd name="T7" fmla="*/ 0 h 11"/>
                  <a:gd name="T8" fmla="*/ 0 w 14"/>
                  <a:gd name="T9" fmla="*/ 0 h 11"/>
                  <a:gd name="T10" fmla="*/ 3 w 14"/>
                  <a:gd name="T11" fmla="*/ 0 h 11"/>
                  <a:gd name="T12" fmla="*/ 6 w 14"/>
                  <a:gd name="T13" fmla="*/ 0 h 11"/>
                  <a:gd name="T14" fmla="*/ 9 w 14"/>
                  <a:gd name="T15" fmla="*/ 0 h 11"/>
                  <a:gd name="T16" fmla="*/ 9 w 14"/>
                  <a:gd name="T17" fmla="*/ 3 h 11"/>
                  <a:gd name="T18" fmla="*/ 9 w 14"/>
                  <a:gd name="T19" fmla="*/ 6 h 11"/>
                  <a:gd name="T20" fmla="*/ 9 w 14"/>
                  <a:gd name="T21" fmla="*/ 6 h 11"/>
                  <a:gd name="T22" fmla="*/ 9 w 14"/>
                  <a:gd name="T23" fmla="*/ 3 h 11"/>
                  <a:gd name="T24" fmla="*/ 11 w 14"/>
                  <a:gd name="T25" fmla="*/ 3 h 11"/>
                  <a:gd name="T26" fmla="*/ 14 w 14"/>
                  <a:gd name="T27" fmla="*/ 3 h 11"/>
                  <a:gd name="T28" fmla="*/ 11 w 14"/>
                  <a:gd name="T29" fmla="*/ 11 h 11"/>
                  <a:gd name="T30" fmla="*/ 9 w 14"/>
                  <a:gd name="T31" fmla="*/ 11 h 11"/>
                  <a:gd name="T32" fmla="*/ 3 w 14"/>
                  <a:gd name="T33" fmla="*/ 9 h 11"/>
                  <a:gd name="T34" fmla="*/ 3 w 14"/>
                  <a:gd name="T35" fmla="*/ 6 h 11"/>
                  <a:gd name="T36" fmla="*/ 3 w 14"/>
                  <a:gd name="T37" fmla="*/ 6 h 11"/>
                  <a:gd name="T38" fmla="*/ 3 w 14"/>
                  <a:gd name="T39" fmla="*/ 3 h 11"/>
                  <a:gd name="T40" fmla="*/ 3 w 14"/>
                  <a:gd name="T41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1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7" name="Freeform 689"/>
              <p:cNvSpPr>
                <a:spLocks noChangeAspect="1"/>
              </p:cNvSpPr>
              <p:nvPr>
                <p:custDataLst>
                  <p:tags r:id="rId775"/>
                </p:custDataLst>
              </p:nvPr>
            </p:nvSpPr>
            <p:spPr bwMode="gray">
              <a:xfrm>
                <a:off x="5613880" y="2145471"/>
                <a:ext cx="12148" cy="14192"/>
              </a:xfrm>
              <a:custGeom>
                <a:avLst/>
                <a:gdLst>
                  <a:gd name="T0" fmla="*/ 6 w 9"/>
                  <a:gd name="T1" fmla="*/ 3 h 11"/>
                  <a:gd name="T2" fmla="*/ 6 w 9"/>
                  <a:gd name="T3" fmla="*/ 3 h 11"/>
                  <a:gd name="T4" fmla="*/ 6 w 9"/>
                  <a:gd name="T5" fmla="*/ 6 h 11"/>
                  <a:gd name="T6" fmla="*/ 6 w 9"/>
                  <a:gd name="T7" fmla="*/ 6 h 11"/>
                  <a:gd name="T8" fmla="*/ 9 w 9"/>
                  <a:gd name="T9" fmla="*/ 8 h 11"/>
                  <a:gd name="T10" fmla="*/ 6 w 9"/>
                  <a:gd name="T11" fmla="*/ 11 h 11"/>
                  <a:gd name="T12" fmla="*/ 3 w 9"/>
                  <a:gd name="T13" fmla="*/ 8 h 11"/>
                  <a:gd name="T14" fmla="*/ 0 w 9"/>
                  <a:gd name="T15" fmla="*/ 0 h 11"/>
                  <a:gd name="T16" fmla="*/ 0 w 9"/>
                  <a:gd name="T17" fmla="*/ 0 h 11"/>
                  <a:gd name="T18" fmla="*/ 3 w 9"/>
                  <a:gd name="T19" fmla="*/ 3 h 11"/>
                  <a:gd name="T20" fmla="*/ 3 w 9"/>
                  <a:gd name="T21" fmla="*/ 6 h 11"/>
                  <a:gd name="T22" fmla="*/ 6 w 9"/>
                  <a:gd name="T2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1">
                    <a:moveTo>
                      <a:pt x="6" y="3"/>
                    </a:moveTo>
                    <a:lnTo>
                      <a:pt x="6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9" y="8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8" name="Freeform 690"/>
              <p:cNvSpPr>
                <a:spLocks noChangeAspect="1"/>
              </p:cNvSpPr>
              <p:nvPr>
                <p:custDataLst>
                  <p:tags r:id="rId776"/>
                </p:custDataLst>
              </p:nvPr>
            </p:nvSpPr>
            <p:spPr bwMode="gray">
              <a:xfrm>
                <a:off x="5613880" y="2145471"/>
                <a:ext cx="12148" cy="14192"/>
              </a:xfrm>
              <a:custGeom>
                <a:avLst/>
                <a:gdLst>
                  <a:gd name="T0" fmla="*/ 6 w 9"/>
                  <a:gd name="T1" fmla="*/ 3 h 11"/>
                  <a:gd name="T2" fmla="*/ 6 w 9"/>
                  <a:gd name="T3" fmla="*/ 3 h 11"/>
                  <a:gd name="T4" fmla="*/ 6 w 9"/>
                  <a:gd name="T5" fmla="*/ 6 h 11"/>
                  <a:gd name="T6" fmla="*/ 6 w 9"/>
                  <a:gd name="T7" fmla="*/ 6 h 11"/>
                  <a:gd name="T8" fmla="*/ 9 w 9"/>
                  <a:gd name="T9" fmla="*/ 8 h 11"/>
                  <a:gd name="T10" fmla="*/ 6 w 9"/>
                  <a:gd name="T11" fmla="*/ 11 h 11"/>
                  <a:gd name="T12" fmla="*/ 3 w 9"/>
                  <a:gd name="T13" fmla="*/ 8 h 11"/>
                  <a:gd name="T14" fmla="*/ 0 w 9"/>
                  <a:gd name="T15" fmla="*/ 0 h 11"/>
                  <a:gd name="T16" fmla="*/ 0 w 9"/>
                  <a:gd name="T17" fmla="*/ 0 h 11"/>
                  <a:gd name="T18" fmla="*/ 3 w 9"/>
                  <a:gd name="T19" fmla="*/ 3 h 11"/>
                  <a:gd name="T20" fmla="*/ 3 w 9"/>
                  <a:gd name="T21" fmla="*/ 6 h 11"/>
                  <a:gd name="T22" fmla="*/ 6 w 9"/>
                  <a:gd name="T2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1">
                    <a:moveTo>
                      <a:pt x="6" y="3"/>
                    </a:moveTo>
                    <a:lnTo>
                      <a:pt x="6" y="3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9" y="8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9" name="Freeform 691"/>
              <p:cNvSpPr>
                <a:spLocks noChangeAspect="1"/>
              </p:cNvSpPr>
              <p:nvPr>
                <p:custDataLst>
                  <p:tags r:id="rId777"/>
                </p:custDataLst>
              </p:nvPr>
            </p:nvSpPr>
            <p:spPr bwMode="gray">
              <a:xfrm>
                <a:off x="5630584" y="2150200"/>
                <a:ext cx="9110" cy="9460"/>
              </a:xfrm>
              <a:custGeom>
                <a:avLst/>
                <a:gdLst>
                  <a:gd name="T0" fmla="*/ 3 w 6"/>
                  <a:gd name="T1" fmla="*/ 0 h 8"/>
                  <a:gd name="T2" fmla="*/ 6 w 6"/>
                  <a:gd name="T3" fmla="*/ 0 h 8"/>
                  <a:gd name="T4" fmla="*/ 6 w 6"/>
                  <a:gd name="T5" fmla="*/ 0 h 8"/>
                  <a:gd name="T6" fmla="*/ 6 w 6"/>
                  <a:gd name="T7" fmla="*/ 5 h 8"/>
                  <a:gd name="T8" fmla="*/ 3 w 6"/>
                  <a:gd name="T9" fmla="*/ 8 h 8"/>
                  <a:gd name="T10" fmla="*/ 3 w 6"/>
                  <a:gd name="T11" fmla="*/ 5 h 8"/>
                  <a:gd name="T12" fmla="*/ 3 w 6"/>
                  <a:gd name="T13" fmla="*/ 3 h 8"/>
                  <a:gd name="T14" fmla="*/ 3 w 6"/>
                  <a:gd name="T15" fmla="*/ 5 h 8"/>
                  <a:gd name="T16" fmla="*/ 0 w 6"/>
                  <a:gd name="T17" fmla="*/ 5 h 8"/>
                  <a:gd name="T18" fmla="*/ 0 w 6"/>
                  <a:gd name="T19" fmla="*/ 3 h 8"/>
                  <a:gd name="T20" fmla="*/ 0 w 6"/>
                  <a:gd name="T21" fmla="*/ 0 h 8"/>
                  <a:gd name="T22" fmla="*/ 3 w 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3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0" name="Freeform 692"/>
              <p:cNvSpPr>
                <a:spLocks noChangeAspect="1"/>
              </p:cNvSpPr>
              <p:nvPr>
                <p:custDataLst>
                  <p:tags r:id="rId778"/>
                </p:custDataLst>
              </p:nvPr>
            </p:nvSpPr>
            <p:spPr bwMode="gray">
              <a:xfrm>
                <a:off x="5630584" y="2150200"/>
                <a:ext cx="9110" cy="9460"/>
              </a:xfrm>
              <a:custGeom>
                <a:avLst/>
                <a:gdLst>
                  <a:gd name="T0" fmla="*/ 3 w 6"/>
                  <a:gd name="T1" fmla="*/ 0 h 8"/>
                  <a:gd name="T2" fmla="*/ 6 w 6"/>
                  <a:gd name="T3" fmla="*/ 0 h 8"/>
                  <a:gd name="T4" fmla="*/ 6 w 6"/>
                  <a:gd name="T5" fmla="*/ 0 h 8"/>
                  <a:gd name="T6" fmla="*/ 6 w 6"/>
                  <a:gd name="T7" fmla="*/ 5 h 8"/>
                  <a:gd name="T8" fmla="*/ 3 w 6"/>
                  <a:gd name="T9" fmla="*/ 8 h 8"/>
                  <a:gd name="T10" fmla="*/ 3 w 6"/>
                  <a:gd name="T11" fmla="*/ 5 h 8"/>
                  <a:gd name="T12" fmla="*/ 3 w 6"/>
                  <a:gd name="T13" fmla="*/ 3 h 8"/>
                  <a:gd name="T14" fmla="*/ 3 w 6"/>
                  <a:gd name="T15" fmla="*/ 5 h 8"/>
                  <a:gd name="T16" fmla="*/ 0 w 6"/>
                  <a:gd name="T17" fmla="*/ 5 h 8"/>
                  <a:gd name="T18" fmla="*/ 0 w 6"/>
                  <a:gd name="T19" fmla="*/ 3 h 8"/>
                  <a:gd name="T20" fmla="*/ 0 w 6"/>
                  <a:gd name="T21" fmla="*/ 0 h 8"/>
                  <a:gd name="T22" fmla="*/ 3 w 6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8">
                    <a:moveTo>
                      <a:pt x="3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1" name="Freeform 693"/>
              <p:cNvSpPr>
                <a:spLocks noChangeAspect="1"/>
              </p:cNvSpPr>
              <p:nvPr>
                <p:custDataLst>
                  <p:tags r:id="rId779"/>
                </p:custDataLst>
              </p:nvPr>
            </p:nvSpPr>
            <p:spPr bwMode="gray">
              <a:xfrm>
                <a:off x="5671581" y="2137588"/>
                <a:ext cx="9110" cy="7884"/>
              </a:xfrm>
              <a:custGeom>
                <a:avLst/>
                <a:gdLst>
                  <a:gd name="T0" fmla="*/ 5 w 8"/>
                  <a:gd name="T1" fmla="*/ 6 h 6"/>
                  <a:gd name="T2" fmla="*/ 0 w 8"/>
                  <a:gd name="T3" fmla="*/ 3 h 6"/>
                  <a:gd name="T4" fmla="*/ 0 w 8"/>
                  <a:gd name="T5" fmla="*/ 3 h 6"/>
                  <a:gd name="T6" fmla="*/ 3 w 8"/>
                  <a:gd name="T7" fmla="*/ 0 h 6"/>
                  <a:gd name="T8" fmla="*/ 5 w 8"/>
                  <a:gd name="T9" fmla="*/ 3 h 6"/>
                  <a:gd name="T10" fmla="*/ 8 w 8"/>
                  <a:gd name="T11" fmla="*/ 3 h 6"/>
                  <a:gd name="T12" fmla="*/ 8 w 8"/>
                  <a:gd name="T13" fmla="*/ 6 h 6"/>
                  <a:gd name="T14" fmla="*/ 5 w 8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5" y="6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2" name="Freeform 694"/>
              <p:cNvSpPr>
                <a:spLocks noChangeAspect="1"/>
              </p:cNvSpPr>
              <p:nvPr>
                <p:custDataLst>
                  <p:tags r:id="rId780"/>
                </p:custDataLst>
              </p:nvPr>
            </p:nvSpPr>
            <p:spPr bwMode="gray">
              <a:xfrm>
                <a:off x="5671581" y="2137588"/>
                <a:ext cx="9110" cy="7884"/>
              </a:xfrm>
              <a:custGeom>
                <a:avLst/>
                <a:gdLst>
                  <a:gd name="T0" fmla="*/ 5 w 8"/>
                  <a:gd name="T1" fmla="*/ 6 h 6"/>
                  <a:gd name="T2" fmla="*/ 0 w 8"/>
                  <a:gd name="T3" fmla="*/ 3 h 6"/>
                  <a:gd name="T4" fmla="*/ 0 w 8"/>
                  <a:gd name="T5" fmla="*/ 3 h 6"/>
                  <a:gd name="T6" fmla="*/ 3 w 8"/>
                  <a:gd name="T7" fmla="*/ 0 h 6"/>
                  <a:gd name="T8" fmla="*/ 5 w 8"/>
                  <a:gd name="T9" fmla="*/ 3 h 6"/>
                  <a:gd name="T10" fmla="*/ 8 w 8"/>
                  <a:gd name="T11" fmla="*/ 3 h 6"/>
                  <a:gd name="T12" fmla="*/ 8 w 8"/>
                  <a:gd name="T13" fmla="*/ 6 h 6"/>
                  <a:gd name="T14" fmla="*/ 5 w 8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5" y="6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5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3" name="Freeform 695"/>
              <p:cNvSpPr>
                <a:spLocks noChangeAspect="1"/>
              </p:cNvSpPr>
              <p:nvPr>
                <p:custDataLst>
                  <p:tags r:id="rId781"/>
                </p:custDataLst>
              </p:nvPr>
            </p:nvSpPr>
            <p:spPr bwMode="gray">
              <a:xfrm>
                <a:off x="5663991" y="2117089"/>
                <a:ext cx="21259" cy="18921"/>
              </a:xfrm>
              <a:custGeom>
                <a:avLst/>
                <a:gdLst>
                  <a:gd name="T0" fmla="*/ 6 w 17"/>
                  <a:gd name="T1" fmla="*/ 2 h 14"/>
                  <a:gd name="T2" fmla="*/ 6 w 17"/>
                  <a:gd name="T3" fmla="*/ 2 h 14"/>
                  <a:gd name="T4" fmla="*/ 6 w 17"/>
                  <a:gd name="T5" fmla="*/ 2 h 14"/>
                  <a:gd name="T6" fmla="*/ 6 w 17"/>
                  <a:gd name="T7" fmla="*/ 2 h 14"/>
                  <a:gd name="T8" fmla="*/ 9 w 17"/>
                  <a:gd name="T9" fmla="*/ 0 h 14"/>
                  <a:gd name="T10" fmla="*/ 9 w 17"/>
                  <a:gd name="T11" fmla="*/ 2 h 14"/>
                  <a:gd name="T12" fmla="*/ 9 w 17"/>
                  <a:gd name="T13" fmla="*/ 5 h 14"/>
                  <a:gd name="T14" fmla="*/ 11 w 17"/>
                  <a:gd name="T15" fmla="*/ 2 h 14"/>
                  <a:gd name="T16" fmla="*/ 11 w 17"/>
                  <a:gd name="T17" fmla="*/ 0 h 14"/>
                  <a:gd name="T18" fmla="*/ 14 w 17"/>
                  <a:gd name="T19" fmla="*/ 0 h 14"/>
                  <a:gd name="T20" fmla="*/ 14 w 17"/>
                  <a:gd name="T21" fmla="*/ 2 h 14"/>
                  <a:gd name="T22" fmla="*/ 17 w 17"/>
                  <a:gd name="T23" fmla="*/ 2 h 14"/>
                  <a:gd name="T24" fmla="*/ 17 w 17"/>
                  <a:gd name="T25" fmla="*/ 5 h 14"/>
                  <a:gd name="T26" fmla="*/ 17 w 17"/>
                  <a:gd name="T27" fmla="*/ 5 h 14"/>
                  <a:gd name="T28" fmla="*/ 14 w 17"/>
                  <a:gd name="T29" fmla="*/ 5 h 14"/>
                  <a:gd name="T30" fmla="*/ 14 w 17"/>
                  <a:gd name="T31" fmla="*/ 8 h 14"/>
                  <a:gd name="T32" fmla="*/ 14 w 17"/>
                  <a:gd name="T33" fmla="*/ 11 h 14"/>
                  <a:gd name="T34" fmla="*/ 11 w 17"/>
                  <a:gd name="T35" fmla="*/ 8 h 14"/>
                  <a:gd name="T36" fmla="*/ 9 w 17"/>
                  <a:gd name="T37" fmla="*/ 11 h 14"/>
                  <a:gd name="T38" fmla="*/ 9 w 17"/>
                  <a:gd name="T39" fmla="*/ 11 h 14"/>
                  <a:gd name="T40" fmla="*/ 9 w 17"/>
                  <a:gd name="T41" fmla="*/ 11 h 14"/>
                  <a:gd name="T42" fmla="*/ 6 w 17"/>
                  <a:gd name="T43" fmla="*/ 11 h 14"/>
                  <a:gd name="T44" fmla="*/ 3 w 17"/>
                  <a:gd name="T45" fmla="*/ 8 h 14"/>
                  <a:gd name="T46" fmla="*/ 3 w 17"/>
                  <a:gd name="T47" fmla="*/ 14 h 14"/>
                  <a:gd name="T48" fmla="*/ 3 w 17"/>
                  <a:gd name="T49" fmla="*/ 8 h 14"/>
                  <a:gd name="T50" fmla="*/ 0 w 17"/>
                  <a:gd name="T51" fmla="*/ 5 h 14"/>
                  <a:gd name="T52" fmla="*/ 3 w 17"/>
                  <a:gd name="T53" fmla="*/ 5 h 14"/>
                  <a:gd name="T54" fmla="*/ 3 w 17"/>
                  <a:gd name="T55" fmla="*/ 5 h 14"/>
                  <a:gd name="T56" fmla="*/ 6 w 17"/>
                  <a:gd name="T5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7" h="14">
                    <a:moveTo>
                      <a:pt x="6" y="2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9" y="5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7" y="2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1" y="8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14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4" name="Freeform 696"/>
              <p:cNvSpPr>
                <a:spLocks noChangeAspect="1"/>
              </p:cNvSpPr>
              <p:nvPr>
                <p:custDataLst>
                  <p:tags r:id="rId782"/>
                </p:custDataLst>
              </p:nvPr>
            </p:nvSpPr>
            <p:spPr bwMode="gray">
              <a:xfrm>
                <a:off x="5680693" y="2126549"/>
                <a:ext cx="15185" cy="14192"/>
              </a:xfrm>
              <a:custGeom>
                <a:avLst/>
                <a:gdLst>
                  <a:gd name="T0" fmla="*/ 6 w 11"/>
                  <a:gd name="T1" fmla="*/ 11 h 11"/>
                  <a:gd name="T2" fmla="*/ 6 w 11"/>
                  <a:gd name="T3" fmla="*/ 11 h 11"/>
                  <a:gd name="T4" fmla="*/ 6 w 11"/>
                  <a:gd name="T5" fmla="*/ 11 h 11"/>
                  <a:gd name="T6" fmla="*/ 6 w 11"/>
                  <a:gd name="T7" fmla="*/ 11 h 11"/>
                  <a:gd name="T8" fmla="*/ 3 w 11"/>
                  <a:gd name="T9" fmla="*/ 11 h 11"/>
                  <a:gd name="T10" fmla="*/ 0 w 11"/>
                  <a:gd name="T11" fmla="*/ 11 h 11"/>
                  <a:gd name="T12" fmla="*/ 0 w 11"/>
                  <a:gd name="T13" fmla="*/ 8 h 11"/>
                  <a:gd name="T14" fmla="*/ 0 w 11"/>
                  <a:gd name="T15" fmla="*/ 8 h 11"/>
                  <a:gd name="T16" fmla="*/ 0 w 11"/>
                  <a:gd name="T17" fmla="*/ 6 h 11"/>
                  <a:gd name="T18" fmla="*/ 0 w 11"/>
                  <a:gd name="T19" fmla="*/ 3 h 11"/>
                  <a:gd name="T20" fmla="*/ 3 w 11"/>
                  <a:gd name="T21" fmla="*/ 3 h 11"/>
                  <a:gd name="T22" fmla="*/ 3 w 11"/>
                  <a:gd name="T23" fmla="*/ 0 h 11"/>
                  <a:gd name="T24" fmla="*/ 6 w 11"/>
                  <a:gd name="T25" fmla="*/ 3 h 11"/>
                  <a:gd name="T26" fmla="*/ 9 w 11"/>
                  <a:gd name="T27" fmla="*/ 0 h 11"/>
                  <a:gd name="T28" fmla="*/ 9 w 11"/>
                  <a:gd name="T29" fmla="*/ 3 h 11"/>
                  <a:gd name="T30" fmla="*/ 11 w 11"/>
                  <a:gd name="T31" fmla="*/ 6 h 11"/>
                  <a:gd name="T32" fmla="*/ 6 w 11"/>
                  <a:gd name="T3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6" y="11"/>
                    </a:moveTo>
                    <a:lnTo>
                      <a:pt x="6" y="11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11" y="6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5" name="Freeform 697"/>
              <p:cNvSpPr>
                <a:spLocks noChangeAspect="1"/>
              </p:cNvSpPr>
              <p:nvPr>
                <p:custDataLst>
                  <p:tags r:id="rId783"/>
                </p:custDataLst>
              </p:nvPr>
            </p:nvSpPr>
            <p:spPr bwMode="gray">
              <a:xfrm>
                <a:off x="5680693" y="2126549"/>
                <a:ext cx="15185" cy="14192"/>
              </a:xfrm>
              <a:custGeom>
                <a:avLst/>
                <a:gdLst>
                  <a:gd name="T0" fmla="*/ 6 w 11"/>
                  <a:gd name="T1" fmla="*/ 11 h 11"/>
                  <a:gd name="T2" fmla="*/ 6 w 11"/>
                  <a:gd name="T3" fmla="*/ 11 h 11"/>
                  <a:gd name="T4" fmla="*/ 6 w 11"/>
                  <a:gd name="T5" fmla="*/ 11 h 11"/>
                  <a:gd name="T6" fmla="*/ 6 w 11"/>
                  <a:gd name="T7" fmla="*/ 11 h 11"/>
                  <a:gd name="T8" fmla="*/ 3 w 11"/>
                  <a:gd name="T9" fmla="*/ 11 h 11"/>
                  <a:gd name="T10" fmla="*/ 0 w 11"/>
                  <a:gd name="T11" fmla="*/ 11 h 11"/>
                  <a:gd name="T12" fmla="*/ 0 w 11"/>
                  <a:gd name="T13" fmla="*/ 8 h 11"/>
                  <a:gd name="T14" fmla="*/ 0 w 11"/>
                  <a:gd name="T15" fmla="*/ 8 h 11"/>
                  <a:gd name="T16" fmla="*/ 0 w 11"/>
                  <a:gd name="T17" fmla="*/ 6 h 11"/>
                  <a:gd name="T18" fmla="*/ 0 w 11"/>
                  <a:gd name="T19" fmla="*/ 3 h 11"/>
                  <a:gd name="T20" fmla="*/ 3 w 11"/>
                  <a:gd name="T21" fmla="*/ 3 h 11"/>
                  <a:gd name="T22" fmla="*/ 3 w 11"/>
                  <a:gd name="T23" fmla="*/ 0 h 11"/>
                  <a:gd name="T24" fmla="*/ 6 w 11"/>
                  <a:gd name="T25" fmla="*/ 3 h 11"/>
                  <a:gd name="T26" fmla="*/ 9 w 11"/>
                  <a:gd name="T27" fmla="*/ 0 h 11"/>
                  <a:gd name="T28" fmla="*/ 9 w 11"/>
                  <a:gd name="T29" fmla="*/ 3 h 11"/>
                  <a:gd name="T30" fmla="*/ 11 w 11"/>
                  <a:gd name="T31" fmla="*/ 6 h 11"/>
                  <a:gd name="T32" fmla="*/ 6 w 11"/>
                  <a:gd name="T3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6" y="11"/>
                    </a:moveTo>
                    <a:lnTo>
                      <a:pt x="6" y="11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11" y="6"/>
                    </a:lnTo>
                    <a:lnTo>
                      <a:pt x="6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6" name="Freeform 698"/>
              <p:cNvSpPr>
                <a:spLocks noChangeAspect="1"/>
              </p:cNvSpPr>
              <p:nvPr>
                <p:custDataLst>
                  <p:tags r:id="rId784"/>
                </p:custDataLst>
              </p:nvPr>
            </p:nvSpPr>
            <p:spPr bwMode="gray">
              <a:xfrm>
                <a:off x="5695877" y="2117089"/>
                <a:ext cx="9110" cy="14192"/>
              </a:xfrm>
              <a:custGeom>
                <a:avLst/>
                <a:gdLst>
                  <a:gd name="T0" fmla="*/ 6 w 6"/>
                  <a:gd name="T1" fmla="*/ 8 h 11"/>
                  <a:gd name="T2" fmla="*/ 3 w 6"/>
                  <a:gd name="T3" fmla="*/ 11 h 11"/>
                  <a:gd name="T4" fmla="*/ 0 w 6"/>
                  <a:gd name="T5" fmla="*/ 2 h 11"/>
                  <a:gd name="T6" fmla="*/ 0 w 6"/>
                  <a:gd name="T7" fmla="*/ 0 h 11"/>
                  <a:gd name="T8" fmla="*/ 3 w 6"/>
                  <a:gd name="T9" fmla="*/ 2 h 11"/>
                  <a:gd name="T10" fmla="*/ 3 w 6"/>
                  <a:gd name="T11" fmla="*/ 2 h 11"/>
                  <a:gd name="T12" fmla="*/ 6 w 6"/>
                  <a:gd name="T13" fmla="*/ 2 h 11"/>
                  <a:gd name="T14" fmla="*/ 6 w 6"/>
                  <a:gd name="T15" fmla="*/ 8 h 11"/>
                  <a:gd name="T16" fmla="*/ 6 w 6"/>
                  <a:gd name="T17" fmla="*/ 8 h 11"/>
                  <a:gd name="T18" fmla="*/ 6 w 6"/>
                  <a:gd name="T1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1">
                    <a:moveTo>
                      <a:pt x="6" y="8"/>
                    </a:moveTo>
                    <a:lnTo>
                      <a:pt x="3" y="11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7" name="Freeform 699"/>
              <p:cNvSpPr>
                <a:spLocks noChangeAspect="1"/>
              </p:cNvSpPr>
              <p:nvPr>
                <p:custDataLst>
                  <p:tags r:id="rId785"/>
                </p:custDataLst>
              </p:nvPr>
            </p:nvSpPr>
            <p:spPr bwMode="gray">
              <a:xfrm>
                <a:off x="5695877" y="2117089"/>
                <a:ext cx="9110" cy="14192"/>
              </a:xfrm>
              <a:custGeom>
                <a:avLst/>
                <a:gdLst>
                  <a:gd name="T0" fmla="*/ 6 w 6"/>
                  <a:gd name="T1" fmla="*/ 8 h 11"/>
                  <a:gd name="T2" fmla="*/ 3 w 6"/>
                  <a:gd name="T3" fmla="*/ 11 h 11"/>
                  <a:gd name="T4" fmla="*/ 0 w 6"/>
                  <a:gd name="T5" fmla="*/ 2 h 11"/>
                  <a:gd name="T6" fmla="*/ 0 w 6"/>
                  <a:gd name="T7" fmla="*/ 0 h 11"/>
                  <a:gd name="T8" fmla="*/ 3 w 6"/>
                  <a:gd name="T9" fmla="*/ 2 h 11"/>
                  <a:gd name="T10" fmla="*/ 3 w 6"/>
                  <a:gd name="T11" fmla="*/ 2 h 11"/>
                  <a:gd name="T12" fmla="*/ 6 w 6"/>
                  <a:gd name="T13" fmla="*/ 2 h 11"/>
                  <a:gd name="T14" fmla="*/ 6 w 6"/>
                  <a:gd name="T15" fmla="*/ 8 h 11"/>
                  <a:gd name="T16" fmla="*/ 6 w 6"/>
                  <a:gd name="T17" fmla="*/ 8 h 11"/>
                  <a:gd name="T18" fmla="*/ 6 w 6"/>
                  <a:gd name="T1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1">
                    <a:moveTo>
                      <a:pt x="6" y="8"/>
                    </a:moveTo>
                    <a:lnTo>
                      <a:pt x="3" y="11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8" name="Freeform 700"/>
              <p:cNvSpPr>
                <a:spLocks noChangeAspect="1"/>
              </p:cNvSpPr>
              <p:nvPr>
                <p:custDataLst>
                  <p:tags r:id="rId786"/>
                </p:custDataLst>
              </p:nvPr>
            </p:nvSpPr>
            <p:spPr bwMode="gray">
              <a:xfrm>
                <a:off x="5729282" y="2091862"/>
                <a:ext cx="13667" cy="12614"/>
              </a:xfrm>
              <a:custGeom>
                <a:avLst/>
                <a:gdLst>
                  <a:gd name="T0" fmla="*/ 9 w 11"/>
                  <a:gd name="T1" fmla="*/ 3 h 11"/>
                  <a:gd name="T2" fmla="*/ 11 w 11"/>
                  <a:gd name="T3" fmla="*/ 9 h 11"/>
                  <a:gd name="T4" fmla="*/ 11 w 11"/>
                  <a:gd name="T5" fmla="*/ 9 h 11"/>
                  <a:gd name="T6" fmla="*/ 9 w 11"/>
                  <a:gd name="T7" fmla="*/ 9 h 11"/>
                  <a:gd name="T8" fmla="*/ 9 w 11"/>
                  <a:gd name="T9" fmla="*/ 11 h 11"/>
                  <a:gd name="T10" fmla="*/ 6 w 11"/>
                  <a:gd name="T11" fmla="*/ 9 h 11"/>
                  <a:gd name="T12" fmla="*/ 3 w 11"/>
                  <a:gd name="T13" fmla="*/ 11 h 11"/>
                  <a:gd name="T14" fmla="*/ 3 w 11"/>
                  <a:gd name="T15" fmla="*/ 9 h 11"/>
                  <a:gd name="T16" fmla="*/ 3 w 11"/>
                  <a:gd name="T17" fmla="*/ 9 h 11"/>
                  <a:gd name="T18" fmla="*/ 6 w 11"/>
                  <a:gd name="T19" fmla="*/ 6 h 11"/>
                  <a:gd name="T20" fmla="*/ 0 w 11"/>
                  <a:gd name="T21" fmla="*/ 6 h 11"/>
                  <a:gd name="T22" fmla="*/ 0 w 11"/>
                  <a:gd name="T23" fmla="*/ 6 h 11"/>
                  <a:gd name="T24" fmla="*/ 3 w 11"/>
                  <a:gd name="T25" fmla="*/ 3 h 11"/>
                  <a:gd name="T26" fmla="*/ 6 w 11"/>
                  <a:gd name="T27" fmla="*/ 6 h 11"/>
                  <a:gd name="T28" fmla="*/ 6 w 11"/>
                  <a:gd name="T29" fmla="*/ 3 h 11"/>
                  <a:gd name="T30" fmla="*/ 6 w 11"/>
                  <a:gd name="T31" fmla="*/ 0 h 11"/>
                  <a:gd name="T32" fmla="*/ 9 w 11"/>
                  <a:gd name="T3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9" y="3"/>
                    </a:moveTo>
                    <a:lnTo>
                      <a:pt x="11" y="9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6" y="9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9" name="Freeform 701"/>
              <p:cNvSpPr>
                <a:spLocks noChangeAspect="1"/>
              </p:cNvSpPr>
              <p:nvPr>
                <p:custDataLst>
                  <p:tags r:id="rId787"/>
                </p:custDataLst>
              </p:nvPr>
            </p:nvSpPr>
            <p:spPr bwMode="gray">
              <a:xfrm>
                <a:off x="5729282" y="2091862"/>
                <a:ext cx="13667" cy="12614"/>
              </a:xfrm>
              <a:custGeom>
                <a:avLst/>
                <a:gdLst>
                  <a:gd name="T0" fmla="*/ 9 w 11"/>
                  <a:gd name="T1" fmla="*/ 3 h 11"/>
                  <a:gd name="T2" fmla="*/ 11 w 11"/>
                  <a:gd name="T3" fmla="*/ 9 h 11"/>
                  <a:gd name="T4" fmla="*/ 11 w 11"/>
                  <a:gd name="T5" fmla="*/ 9 h 11"/>
                  <a:gd name="T6" fmla="*/ 9 w 11"/>
                  <a:gd name="T7" fmla="*/ 9 h 11"/>
                  <a:gd name="T8" fmla="*/ 9 w 11"/>
                  <a:gd name="T9" fmla="*/ 11 h 11"/>
                  <a:gd name="T10" fmla="*/ 6 w 11"/>
                  <a:gd name="T11" fmla="*/ 9 h 11"/>
                  <a:gd name="T12" fmla="*/ 3 w 11"/>
                  <a:gd name="T13" fmla="*/ 11 h 11"/>
                  <a:gd name="T14" fmla="*/ 3 w 11"/>
                  <a:gd name="T15" fmla="*/ 9 h 11"/>
                  <a:gd name="T16" fmla="*/ 3 w 11"/>
                  <a:gd name="T17" fmla="*/ 9 h 11"/>
                  <a:gd name="T18" fmla="*/ 6 w 11"/>
                  <a:gd name="T19" fmla="*/ 6 h 11"/>
                  <a:gd name="T20" fmla="*/ 0 w 11"/>
                  <a:gd name="T21" fmla="*/ 6 h 11"/>
                  <a:gd name="T22" fmla="*/ 0 w 11"/>
                  <a:gd name="T23" fmla="*/ 6 h 11"/>
                  <a:gd name="T24" fmla="*/ 3 w 11"/>
                  <a:gd name="T25" fmla="*/ 3 h 11"/>
                  <a:gd name="T26" fmla="*/ 6 w 11"/>
                  <a:gd name="T27" fmla="*/ 6 h 11"/>
                  <a:gd name="T28" fmla="*/ 6 w 11"/>
                  <a:gd name="T29" fmla="*/ 3 h 11"/>
                  <a:gd name="T30" fmla="*/ 6 w 11"/>
                  <a:gd name="T31" fmla="*/ 0 h 11"/>
                  <a:gd name="T32" fmla="*/ 9 w 11"/>
                  <a:gd name="T3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1">
                    <a:moveTo>
                      <a:pt x="9" y="3"/>
                    </a:moveTo>
                    <a:lnTo>
                      <a:pt x="11" y="9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6" y="9"/>
                    </a:lnTo>
                    <a:lnTo>
                      <a:pt x="3" y="11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0" name="Freeform 702"/>
              <p:cNvSpPr>
                <a:spLocks noChangeAspect="1"/>
              </p:cNvSpPr>
              <p:nvPr>
                <p:custDataLst>
                  <p:tags r:id="rId788"/>
                </p:custDataLst>
              </p:nvPr>
            </p:nvSpPr>
            <p:spPr bwMode="gray">
              <a:xfrm>
                <a:off x="5389149" y="2482893"/>
                <a:ext cx="13667" cy="11038"/>
              </a:xfrm>
              <a:custGeom>
                <a:avLst/>
                <a:gdLst>
                  <a:gd name="T0" fmla="*/ 0 w 11"/>
                  <a:gd name="T1" fmla="*/ 5 h 8"/>
                  <a:gd name="T2" fmla="*/ 0 w 11"/>
                  <a:gd name="T3" fmla="*/ 5 h 8"/>
                  <a:gd name="T4" fmla="*/ 0 w 11"/>
                  <a:gd name="T5" fmla="*/ 5 h 8"/>
                  <a:gd name="T6" fmla="*/ 2 w 11"/>
                  <a:gd name="T7" fmla="*/ 5 h 8"/>
                  <a:gd name="T8" fmla="*/ 2 w 11"/>
                  <a:gd name="T9" fmla="*/ 2 h 8"/>
                  <a:gd name="T10" fmla="*/ 2 w 11"/>
                  <a:gd name="T11" fmla="*/ 2 h 8"/>
                  <a:gd name="T12" fmla="*/ 8 w 11"/>
                  <a:gd name="T13" fmla="*/ 0 h 8"/>
                  <a:gd name="T14" fmla="*/ 11 w 11"/>
                  <a:gd name="T15" fmla="*/ 0 h 8"/>
                  <a:gd name="T16" fmla="*/ 8 w 11"/>
                  <a:gd name="T17" fmla="*/ 2 h 8"/>
                  <a:gd name="T18" fmla="*/ 11 w 11"/>
                  <a:gd name="T19" fmla="*/ 2 h 8"/>
                  <a:gd name="T20" fmla="*/ 11 w 11"/>
                  <a:gd name="T21" fmla="*/ 5 h 8"/>
                  <a:gd name="T22" fmla="*/ 5 w 11"/>
                  <a:gd name="T23" fmla="*/ 5 h 8"/>
                  <a:gd name="T24" fmla="*/ 2 w 11"/>
                  <a:gd name="T25" fmla="*/ 8 h 8"/>
                  <a:gd name="T26" fmla="*/ 0 w 11"/>
                  <a:gd name="T27" fmla="*/ 8 h 8"/>
                  <a:gd name="T28" fmla="*/ 0 w 11"/>
                  <a:gd name="T2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8"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1" name="Freeform 703"/>
              <p:cNvSpPr>
                <a:spLocks noChangeAspect="1"/>
              </p:cNvSpPr>
              <p:nvPr>
                <p:custDataLst>
                  <p:tags r:id="rId789"/>
                </p:custDataLst>
              </p:nvPr>
            </p:nvSpPr>
            <p:spPr bwMode="gray">
              <a:xfrm>
                <a:off x="5389149" y="2482893"/>
                <a:ext cx="13667" cy="11038"/>
              </a:xfrm>
              <a:custGeom>
                <a:avLst/>
                <a:gdLst>
                  <a:gd name="T0" fmla="*/ 0 w 11"/>
                  <a:gd name="T1" fmla="*/ 5 h 8"/>
                  <a:gd name="T2" fmla="*/ 0 w 11"/>
                  <a:gd name="T3" fmla="*/ 5 h 8"/>
                  <a:gd name="T4" fmla="*/ 0 w 11"/>
                  <a:gd name="T5" fmla="*/ 5 h 8"/>
                  <a:gd name="T6" fmla="*/ 2 w 11"/>
                  <a:gd name="T7" fmla="*/ 5 h 8"/>
                  <a:gd name="T8" fmla="*/ 2 w 11"/>
                  <a:gd name="T9" fmla="*/ 2 h 8"/>
                  <a:gd name="T10" fmla="*/ 2 w 11"/>
                  <a:gd name="T11" fmla="*/ 2 h 8"/>
                  <a:gd name="T12" fmla="*/ 8 w 11"/>
                  <a:gd name="T13" fmla="*/ 0 h 8"/>
                  <a:gd name="T14" fmla="*/ 11 w 11"/>
                  <a:gd name="T15" fmla="*/ 0 h 8"/>
                  <a:gd name="T16" fmla="*/ 8 w 11"/>
                  <a:gd name="T17" fmla="*/ 2 h 8"/>
                  <a:gd name="T18" fmla="*/ 11 w 11"/>
                  <a:gd name="T19" fmla="*/ 2 h 8"/>
                  <a:gd name="T20" fmla="*/ 11 w 11"/>
                  <a:gd name="T21" fmla="*/ 5 h 8"/>
                  <a:gd name="T22" fmla="*/ 5 w 11"/>
                  <a:gd name="T23" fmla="*/ 5 h 8"/>
                  <a:gd name="T24" fmla="*/ 2 w 11"/>
                  <a:gd name="T25" fmla="*/ 8 h 8"/>
                  <a:gd name="T26" fmla="*/ 0 w 11"/>
                  <a:gd name="T27" fmla="*/ 8 h 8"/>
                  <a:gd name="T28" fmla="*/ 0 w 11"/>
                  <a:gd name="T2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8"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2" name="Freeform 704"/>
              <p:cNvSpPr>
                <a:spLocks noChangeAspect="1"/>
              </p:cNvSpPr>
              <p:nvPr>
                <p:custDataLst>
                  <p:tags r:id="rId790"/>
                </p:custDataLst>
              </p:nvPr>
            </p:nvSpPr>
            <p:spPr bwMode="gray">
              <a:xfrm>
                <a:off x="5311708" y="2594841"/>
                <a:ext cx="4555" cy="6307"/>
              </a:xfrm>
              <a:custGeom>
                <a:avLst/>
                <a:gdLst>
                  <a:gd name="T0" fmla="*/ 3 w 3"/>
                  <a:gd name="T1" fmla="*/ 0 h 6"/>
                  <a:gd name="T2" fmla="*/ 3 w 3"/>
                  <a:gd name="T3" fmla="*/ 0 h 6"/>
                  <a:gd name="T4" fmla="*/ 0 w 3"/>
                  <a:gd name="T5" fmla="*/ 3 h 6"/>
                  <a:gd name="T6" fmla="*/ 0 w 3"/>
                  <a:gd name="T7" fmla="*/ 6 h 6"/>
                  <a:gd name="T8" fmla="*/ 0 w 3"/>
                  <a:gd name="T9" fmla="*/ 6 h 6"/>
                  <a:gd name="T10" fmla="*/ 3 w 3"/>
                  <a:gd name="T11" fmla="*/ 6 h 6"/>
                  <a:gd name="T12" fmla="*/ 3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3" name="Freeform 705"/>
              <p:cNvSpPr>
                <a:spLocks noChangeAspect="1"/>
              </p:cNvSpPr>
              <p:nvPr>
                <p:custDataLst>
                  <p:tags r:id="rId791"/>
                </p:custDataLst>
              </p:nvPr>
            </p:nvSpPr>
            <p:spPr bwMode="gray">
              <a:xfrm>
                <a:off x="5311708" y="2594841"/>
                <a:ext cx="4555" cy="6307"/>
              </a:xfrm>
              <a:custGeom>
                <a:avLst/>
                <a:gdLst>
                  <a:gd name="T0" fmla="*/ 3 w 3"/>
                  <a:gd name="T1" fmla="*/ 0 h 6"/>
                  <a:gd name="T2" fmla="*/ 3 w 3"/>
                  <a:gd name="T3" fmla="*/ 0 h 6"/>
                  <a:gd name="T4" fmla="*/ 0 w 3"/>
                  <a:gd name="T5" fmla="*/ 3 h 6"/>
                  <a:gd name="T6" fmla="*/ 0 w 3"/>
                  <a:gd name="T7" fmla="*/ 6 h 6"/>
                  <a:gd name="T8" fmla="*/ 0 w 3"/>
                  <a:gd name="T9" fmla="*/ 6 h 6"/>
                  <a:gd name="T10" fmla="*/ 3 w 3"/>
                  <a:gd name="T11" fmla="*/ 6 h 6"/>
                  <a:gd name="T12" fmla="*/ 3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4" name="Freeform 706"/>
              <p:cNvSpPr>
                <a:spLocks noChangeAspect="1"/>
              </p:cNvSpPr>
              <p:nvPr>
                <p:custDataLst>
                  <p:tags r:id="rId792"/>
                </p:custDataLst>
              </p:nvPr>
            </p:nvSpPr>
            <p:spPr bwMode="gray">
              <a:xfrm>
                <a:off x="5334485" y="2539655"/>
                <a:ext cx="4557" cy="7884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3 h 6"/>
                  <a:gd name="T4" fmla="*/ 3 w 3"/>
                  <a:gd name="T5" fmla="*/ 3 h 6"/>
                  <a:gd name="T6" fmla="*/ 0 w 3"/>
                  <a:gd name="T7" fmla="*/ 0 h 6"/>
                  <a:gd name="T8" fmla="*/ 0 w 3"/>
                  <a:gd name="T9" fmla="*/ 3 h 6"/>
                  <a:gd name="T10" fmla="*/ 0 w 3"/>
                  <a:gd name="T11" fmla="*/ 6 h 6"/>
                  <a:gd name="T12" fmla="*/ 3 w 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5" name="Freeform 707"/>
              <p:cNvSpPr>
                <a:spLocks noChangeAspect="1"/>
              </p:cNvSpPr>
              <p:nvPr>
                <p:custDataLst>
                  <p:tags r:id="rId793"/>
                </p:custDataLst>
              </p:nvPr>
            </p:nvSpPr>
            <p:spPr bwMode="gray">
              <a:xfrm>
                <a:off x="5334485" y="2539655"/>
                <a:ext cx="4557" cy="7884"/>
              </a:xfrm>
              <a:custGeom>
                <a:avLst/>
                <a:gdLst>
                  <a:gd name="T0" fmla="*/ 3 w 3"/>
                  <a:gd name="T1" fmla="*/ 6 h 6"/>
                  <a:gd name="T2" fmla="*/ 3 w 3"/>
                  <a:gd name="T3" fmla="*/ 3 h 6"/>
                  <a:gd name="T4" fmla="*/ 3 w 3"/>
                  <a:gd name="T5" fmla="*/ 3 h 6"/>
                  <a:gd name="T6" fmla="*/ 0 w 3"/>
                  <a:gd name="T7" fmla="*/ 0 h 6"/>
                  <a:gd name="T8" fmla="*/ 0 w 3"/>
                  <a:gd name="T9" fmla="*/ 3 h 6"/>
                  <a:gd name="T10" fmla="*/ 0 w 3"/>
                  <a:gd name="T11" fmla="*/ 6 h 6"/>
                  <a:gd name="T12" fmla="*/ 3 w 3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6" name="Freeform 708"/>
              <p:cNvSpPr>
                <a:spLocks noChangeAspect="1"/>
              </p:cNvSpPr>
              <p:nvPr>
                <p:custDataLst>
                  <p:tags r:id="rId794"/>
                </p:custDataLst>
              </p:nvPr>
            </p:nvSpPr>
            <p:spPr bwMode="gray">
              <a:xfrm>
                <a:off x="5319301" y="2566459"/>
                <a:ext cx="3037" cy="3154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0 h 3"/>
                  <a:gd name="T4" fmla="*/ 0 h 3"/>
                  <a:gd name="T5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7" name="Freeform 709"/>
              <p:cNvSpPr>
                <a:spLocks noChangeAspect="1"/>
              </p:cNvSpPr>
              <p:nvPr>
                <p:custDataLst>
                  <p:tags r:id="rId795"/>
                </p:custDataLst>
              </p:nvPr>
            </p:nvSpPr>
            <p:spPr bwMode="gray">
              <a:xfrm>
                <a:off x="5319301" y="2566459"/>
                <a:ext cx="3037" cy="3154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0 h 3"/>
                  <a:gd name="T4" fmla="*/ 0 h 3"/>
                  <a:gd name="T5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8" name="Freeform 710"/>
              <p:cNvSpPr>
                <a:spLocks noChangeAspect="1"/>
              </p:cNvSpPr>
              <p:nvPr>
                <p:custDataLst>
                  <p:tags r:id="rId796"/>
                </p:custDataLst>
              </p:nvPr>
            </p:nvSpPr>
            <p:spPr bwMode="gray">
              <a:xfrm>
                <a:off x="5323855" y="2643721"/>
                <a:ext cx="3037" cy="7884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0 h 6"/>
                  <a:gd name="T8" fmla="*/ 0 w 2"/>
                  <a:gd name="T9" fmla="*/ 6 h 6"/>
                  <a:gd name="T10" fmla="*/ 2 w 2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9" name="Freeform 711"/>
              <p:cNvSpPr>
                <a:spLocks noChangeAspect="1"/>
              </p:cNvSpPr>
              <p:nvPr>
                <p:custDataLst>
                  <p:tags r:id="rId797"/>
                </p:custDataLst>
              </p:nvPr>
            </p:nvSpPr>
            <p:spPr bwMode="gray">
              <a:xfrm>
                <a:off x="5323855" y="2643721"/>
                <a:ext cx="3037" cy="7884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0 h 6"/>
                  <a:gd name="T8" fmla="*/ 0 w 2"/>
                  <a:gd name="T9" fmla="*/ 6 h 6"/>
                  <a:gd name="T10" fmla="*/ 2 w 2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0" name="Freeform 712"/>
              <p:cNvSpPr>
                <a:spLocks noChangeAspect="1"/>
              </p:cNvSpPr>
              <p:nvPr>
                <p:custDataLst>
                  <p:tags r:id="rId798"/>
                </p:custDataLst>
              </p:nvPr>
            </p:nvSpPr>
            <p:spPr bwMode="gray">
              <a:xfrm>
                <a:off x="5319301" y="2665796"/>
                <a:ext cx="4557" cy="9460"/>
              </a:xfrm>
              <a:custGeom>
                <a:avLst/>
                <a:gdLst>
                  <a:gd name="T0" fmla="*/ 3 w 3"/>
                  <a:gd name="T1" fmla="*/ 8 h 8"/>
                  <a:gd name="T2" fmla="*/ 3 w 3"/>
                  <a:gd name="T3" fmla="*/ 2 h 8"/>
                  <a:gd name="T4" fmla="*/ 3 w 3"/>
                  <a:gd name="T5" fmla="*/ 0 h 8"/>
                  <a:gd name="T6" fmla="*/ 3 w 3"/>
                  <a:gd name="T7" fmla="*/ 2 h 8"/>
                  <a:gd name="T8" fmla="*/ 0 w 3"/>
                  <a:gd name="T9" fmla="*/ 5 h 8"/>
                  <a:gd name="T10" fmla="*/ 3 w 3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8">
                    <a:moveTo>
                      <a:pt x="3" y="8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1" name="Freeform 713"/>
              <p:cNvSpPr>
                <a:spLocks noChangeAspect="1"/>
              </p:cNvSpPr>
              <p:nvPr>
                <p:custDataLst>
                  <p:tags r:id="rId799"/>
                </p:custDataLst>
              </p:nvPr>
            </p:nvSpPr>
            <p:spPr bwMode="gray">
              <a:xfrm>
                <a:off x="5319301" y="2665796"/>
                <a:ext cx="4557" cy="9460"/>
              </a:xfrm>
              <a:custGeom>
                <a:avLst/>
                <a:gdLst>
                  <a:gd name="T0" fmla="*/ 3 w 3"/>
                  <a:gd name="T1" fmla="*/ 8 h 8"/>
                  <a:gd name="T2" fmla="*/ 3 w 3"/>
                  <a:gd name="T3" fmla="*/ 2 h 8"/>
                  <a:gd name="T4" fmla="*/ 3 w 3"/>
                  <a:gd name="T5" fmla="*/ 0 h 8"/>
                  <a:gd name="T6" fmla="*/ 3 w 3"/>
                  <a:gd name="T7" fmla="*/ 2 h 8"/>
                  <a:gd name="T8" fmla="*/ 0 w 3"/>
                  <a:gd name="T9" fmla="*/ 5 h 8"/>
                  <a:gd name="T10" fmla="*/ 3 w 3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8">
                    <a:moveTo>
                      <a:pt x="3" y="8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2" name="Freeform 714"/>
              <p:cNvSpPr>
                <a:spLocks noChangeAspect="1"/>
              </p:cNvSpPr>
              <p:nvPr>
                <p:custDataLst>
                  <p:tags r:id="rId800"/>
                </p:custDataLst>
              </p:nvPr>
            </p:nvSpPr>
            <p:spPr bwMode="gray">
              <a:xfrm>
                <a:off x="5241859" y="3301220"/>
                <a:ext cx="9110" cy="6307"/>
              </a:xfrm>
              <a:custGeom>
                <a:avLst/>
                <a:gdLst>
                  <a:gd name="T0" fmla="*/ 3 w 6"/>
                  <a:gd name="T1" fmla="*/ 0 h 5"/>
                  <a:gd name="T2" fmla="*/ 6 w 6"/>
                  <a:gd name="T3" fmla="*/ 0 h 5"/>
                  <a:gd name="T4" fmla="*/ 6 w 6"/>
                  <a:gd name="T5" fmla="*/ 0 h 5"/>
                  <a:gd name="T6" fmla="*/ 6 w 6"/>
                  <a:gd name="T7" fmla="*/ 2 h 5"/>
                  <a:gd name="T8" fmla="*/ 3 w 6"/>
                  <a:gd name="T9" fmla="*/ 5 h 5"/>
                  <a:gd name="T10" fmla="*/ 0 w 6"/>
                  <a:gd name="T11" fmla="*/ 2 h 5"/>
                  <a:gd name="T12" fmla="*/ 3 w 6"/>
                  <a:gd name="T13" fmla="*/ 2 h 5"/>
                  <a:gd name="T14" fmla="*/ 3 w 6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3" name="Freeform 715"/>
              <p:cNvSpPr>
                <a:spLocks noChangeAspect="1"/>
              </p:cNvSpPr>
              <p:nvPr>
                <p:custDataLst>
                  <p:tags r:id="rId801"/>
                </p:custDataLst>
              </p:nvPr>
            </p:nvSpPr>
            <p:spPr bwMode="gray">
              <a:xfrm>
                <a:off x="5267673" y="3279146"/>
                <a:ext cx="19741" cy="18921"/>
              </a:xfrm>
              <a:custGeom>
                <a:avLst/>
                <a:gdLst>
                  <a:gd name="T0" fmla="*/ 11 w 14"/>
                  <a:gd name="T1" fmla="*/ 0 h 14"/>
                  <a:gd name="T2" fmla="*/ 11 w 14"/>
                  <a:gd name="T3" fmla="*/ 3 h 14"/>
                  <a:gd name="T4" fmla="*/ 11 w 14"/>
                  <a:gd name="T5" fmla="*/ 3 h 14"/>
                  <a:gd name="T6" fmla="*/ 14 w 14"/>
                  <a:gd name="T7" fmla="*/ 3 h 14"/>
                  <a:gd name="T8" fmla="*/ 14 w 14"/>
                  <a:gd name="T9" fmla="*/ 5 h 14"/>
                  <a:gd name="T10" fmla="*/ 14 w 14"/>
                  <a:gd name="T11" fmla="*/ 8 h 14"/>
                  <a:gd name="T12" fmla="*/ 11 w 14"/>
                  <a:gd name="T13" fmla="*/ 14 h 14"/>
                  <a:gd name="T14" fmla="*/ 5 w 14"/>
                  <a:gd name="T15" fmla="*/ 11 h 14"/>
                  <a:gd name="T16" fmla="*/ 5 w 14"/>
                  <a:gd name="T17" fmla="*/ 8 h 14"/>
                  <a:gd name="T18" fmla="*/ 3 w 14"/>
                  <a:gd name="T19" fmla="*/ 8 h 14"/>
                  <a:gd name="T20" fmla="*/ 0 w 14"/>
                  <a:gd name="T21" fmla="*/ 8 h 14"/>
                  <a:gd name="T22" fmla="*/ 0 w 14"/>
                  <a:gd name="T23" fmla="*/ 5 h 14"/>
                  <a:gd name="T24" fmla="*/ 3 w 14"/>
                  <a:gd name="T25" fmla="*/ 3 h 14"/>
                  <a:gd name="T26" fmla="*/ 11 w 14"/>
                  <a:gd name="T27" fmla="*/ 0 h 14"/>
                  <a:gd name="T28" fmla="*/ 11 w 14"/>
                  <a:gd name="T29" fmla="*/ 0 h 14"/>
                  <a:gd name="T30" fmla="*/ 11 w 14"/>
                  <a:gd name="T3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14">
                    <a:moveTo>
                      <a:pt x="11" y="0"/>
                    </a:moveTo>
                    <a:lnTo>
                      <a:pt x="11" y="3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1" y="14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4" name="Freeform 716"/>
              <p:cNvSpPr>
                <a:spLocks noChangeAspect="1"/>
              </p:cNvSpPr>
              <p:nvPr>
                <p:custDataLst>
                  <p:tags r:id="rId802"/>
                </p:custDataLst>
              </p:nvPr>
            </p:nvSpPr>
            <p:spPr bwMode="gray">
              <a:xfrm>
                <a:off x="5298041" y="3275993"/>
                <a:ext cx="7593" cy="6307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6 w 6"/>
                  <a:gd name="T5" fmla="*/ 6 h 6"/>
                  <a:gd name="T6" fmla="*/ 3 w 6"/>
                  <a:gd name="T7" fmla="*/ 6 h 6"/>
                  <a:gd name="T8" fmla="*/ 0 w 6"/>
                  <a:gd name="T9" fmla="*/ 3 h 6"/>
                  <a:gd name="T10" fmla="*/ 0 w 6"/>
                  <a:gd name="T11" fmla="*/ 0 h 6"/>
                  <a:gd name="T12" fmla="*/ 0 w 6"/>
                  <a:gd name="T13" fmla="*/ 0 h 6"/>
                  <a:gd name="T14" fmla="*/ 3 w 6"/>
                  <a:gd name="T15" fmla="*/ 0 h 6"/>
                  <a:gd name="T16" fmla="*/ 3 w 6"/>
                  <a:gd name="T17" fmla="*/ 0 h 6"/>
                  <a:gd name="T18" fmla="*/ 6 w 6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5" name="Freeform 739"/>
              <p:cNvSpPr>
                <a:spLocks noChangeAspect="1"/>
              </p:cNvSpPr>
              <p:nvPr>
                <p:custDataLst>
                  <p:tags r:id="rId803"/>
                </p:custDataLst>
              </p:nvPr>
            </p:nvSpPr>
            <p:spPr bwMode="gray">
              <a:xfrm>
                <a:off x="6092195" y="4393901"/>
                <a:ext cx="145771" cy="283813"/>
              </a:xfrm>
              <a:custGeom>
                <a:avLst/>
                <a:gdLst>
                  <a:gd name="T0" fmla="*/ 19 w 111"/>
                  <a:gd name="T1" fmla="*/ 64 h 220"/>
                  <a:gd name="T2" fmla="*/ 25 w 111"/>
                  <a:gd name="T3" fmla="*/ 64 h 220"/>
                  <a:gd name="T4" fmla="*/ 30 w 111"/>
                  <a:gd name="T5" fmla="*/ 61 h 220"/>
                  <a:gd name="T6" fmla="*/ 33 w 111"/>
                  <a:gd name="T7" fmla="*/ 64 h 220"/>
                  <a:gd name="T8" fmla="*/ 36 w 111"/>
                  <a:gd name="T9" fmla="*/ 61 h 220"/>
                  <a:gd name="T10" fmla="*/ 36 w 111"/>
                  <a:gd name="T11" fmla="*/ 58 h 220"/>
                  <a:gd name="T12" fmla="*/ 42 w 111"/>
                  <a:gd name="T13" fmla="*/ 58 h 220"/>
                  <a:gd name="T14" fmla="*/ 44 w 111"/>
                  <a:gd name="T15" fmla="*/ 58 h 220"/>
                  <a:gd name="T16" fmla="*/ 47 w 111"/>
                  <a:gd name="T17" fmla="*/ 64 h 220"/>
                  <a:gd name="T18" fmla="*/ 53 w 111"/>
                  <a:gd name="T19" fmla="*/ 64 h 220"/>
                  <a:gd name="T20" fmla="*/ 50 w 111"/>
                  <a:gd name="T21" fmla="*/ 58 h 220"/>
                  <a:gd name="T22" fmla="*/ 53 w 111"/>
                  <a:gd name="T23" fmla="*/ 53 h 220"/>
                  <a:gd name="T24" fmla="*/ 58 w 111"/>
                  <a:gd name="T25" fmla="*/ 50 h 220"/>
                  <a:gd name="T26" fmla="*/ 61 w 111"/>
                  <a:gd name="T27" fmla="*/ 56 h 220"/>
                  <a:gd name="T28" fmla="*/ 58 w 111"/>
                  <a:gd name="T29" fmla="*/ 47 h 220"/>
                  <a:gd name="T30" fmla="*/ 64 w 111"/>
                  <a:gd name="T31" fmla="*/ 42 h 220"/>
                  <a:gd name="T32" fmla="*/ 67 w 111"/>
                  <a:gd name="T33" fmla="*/ 42 h 220"/>
                  <a:gd name="T34" fmla="*/ 69 w 111"/>
                  <a:gd name="T35" fmla="*/ 39 h 220"/>
                  <a:gd name="T36" fmla="*/ 72 w 111"/>
                  <a:gd name="T37" fmla="*/ 39 h 220"/>
                  <a:gd name="T38" fmla="*/ 69 w 111"/>
                  <a:gd name="T39" fmla="*/ 39 h 220"/>
                  <a:gd name="T40" fmla="*/ 72 w 111"/>
                  <a:gd name="T41" fmla="*/ 30 h 220"/>
                  <a:gd name="T42" fmla="*/ 75 w 111"/>
                  <a:gd name="T43" fmla="*/ 30 h 220"/>
                  <a:gd name="T44" fmla="*/ 72 w 111"/>
                  <a:gd name="T45" fmla="*/ 22 h 220"/>
                  <a:gd name="T46" fmla="*/ 78 w 111"/>
                  <a:gd name="T47" fmla="*/ 28 h 220"/>
                  <a:gd name="T48" fmla="*/ 81 w 111"/>
                  <a:gd name="T49" fmla="*/ 19 h 220"/>
                  <a:gd name="T50" fmla="*/ 86 w 111"/>
                  <a:gd name="T51" fmla="*/ 17 h 220"/>
                  <a:gd name="T52" fmla="*/ 86 w 111"/>
                  <a:gd name="T53" fmla="*/ 5 h 220"/>
                  <a:gd name="T54" fmla="*/ 89 w 111"/>
                  <a:gd name="T55" fmla="*/ 3 h 220"/>
                  <a:gd name="T56" fmla="*/ 100 w 111"/>
                  <a:gd name="T57" fmla="*/ 11 h 220"/>
                  <a:gd name="T58" fmla="*/ 108 w 111"/>
                  <a:gd name="T59" fmla="*/ 61 h 220"/>
                  <a:gd name="T60" fmla="*/ 103 w 111"/>
                  <a:gd name="T61" fmla="*/ 53 h 220"/>
                  <a:gd name="T62" fmla="*/ 100 w 111"/>
                  <a:gd name="T63" fmla="*/ 64 h 220"/>
                  <a:gd name="T64" fmla="*/ 103 w 111"/>
                  <a:gd name="T65" fmla="*/ 72 h 220"/>
                  <a:gd name="T66" fmla="*/ 92 w 111"/>
                  <a:gd name="T67" fmla="*/ 114 h 220"/>
                  <a:gd name="T68" fmla="*/ 61 w 111"/>
                  <a:gd name="T69" fmla="*/ 209 h 220"/>
                  <a:gd name="T70" fmla="*/ 55 w 111"/>
                  <a:gd name="T71" fmla="*/ 214 h 220"/>
                  <a:gd name="T72" fmla="*/ 44 w 111"/>
                  <a:gd name="T73" fmla="*/ 214 h 220"/>
                  <a:gd name="T74" fmla="*/ 30 w 111"/>
                  <a:gd name="T75" fmla="*/ 220 h 220"/>
                  <a:gd name="T76" fmla="*/ 8 w 111"/>
                  <a:gd name="T77" fmla="*/ 203 h 220"/>
                  <a:gd name="T78" fmla="*/ 8 w 111"/>
                  <a:gd name="T79" fmla="*/ 186 h 220"/>
                  <a:gd name="T80" fmla="*/ 3 w 111"/>
                  <a:gd name="T81" fmla="*/ 175 h 220"/>
                  <a:gd name="T82" fmla="*/ 0 w 111"/>
                  <a:gd name="T83" fmla="*/ 159 h 220"/>
                  <a:gd name="T84" fmla="*/ 8 w 111"/>
                  <a:gd name="T85" fmla="*/ 147 h 220"/>
                  <a:gd name="T86" fmla="*/ 19 w 111"/>
                  <a:gd name="T87" fmla="*/ 128 h 220"/>
                  <a:gd name="T88" fmla="*/ 19 w 111"/>
                  <a:gd name="T89" fmla="*/ 122 h 220"/>
                  <a:gd name="T90" fmla="*/ 14 w 111"/>
                  <a:gd name="T91" fmla="*/ 100 h 220"/>
                  <a:gd name="T92" fmla="*/ 11 w 111"/>
                  <a:gd name="T93" fmla="*/ 86 h 220"/>
                  <a:gd name="T94" fmla="*/ 19 w 111"/>
                  <a:gd name="T95" fmla="*/ 6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1" h="220">
                    <a:moveTo>
                      <a:pt x="19" y="67"/>
                    </a:moveTo>
                    <a:lnTo>
                      <a:pt x="19" y="64"/>
                    </a:lnTo>
                    <a:lnTo>
                      <a:pt x="22" y="64"/>
                    </a:lnTo>
                    <a:lnTo>
                      <a:pt x="25" y="64"/>
                    </a:lnTo>
                    <a:lnTo>
                      <a:pt x="28" y="64"/>
                    </a:lnTo>
                    <a:lnTo>
                      <a:pt x="30" y="61"/>
                    </a:lnTo>
                    <a:lnTo>
                      <a:pt x="30" y="64"/>
                    </a:lnTo>
                    <a:lnTo>
                      <a:pt x="33" y="64"/>
                    </a:lnTo>
                    <a:lnTo>
                      <a:pt x="33" y="61"/>
                    </a:lnTo>
                    <a:lnTo>
                      <a:pt x="36" y="61"/>
                    </a:lnTo>
                    <a:lnTo>
                      <a:pt x="36" y="61"/>
                    </a:lnTo>
                    <a:lnTo>
                      <a:pt x="36" y="58"/>
                    </a:lnTo>
                    <a:lnTo>
                      <a:pt x="39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7" y="61"/>
                    </a:lnTo>
                    <a:lnTo>
                      <a:pt x="47" y="64"/>
                    </a:lnTo>
                    <a:lnTo>
                      <a:pt x="50" y="64"/>
                    </a:lnTo>
                    <a:lnTo>
                      <a:pt x="53" y="64"/>
                    </a:lnTo>
                    <a:lnTo>
                      <a:pt x="53" y="61"/>
                    </a:lnTo>
                    <a:lnTo>
                      <a:pt x="50" y="58"/>
                    </a:lnTo>
                    <a:lnTo>
                      <a:pt x="50" y="56"/>
                    </a:lnTo>
                    <a:lnTo>
                      <a:pt x="53" y="53"/>
                    </a:lnTo>
                    <a:lnTo>
                      <a:pt x="55" y="50"/>
                    </a:lnTo>
                    <a:lnTo>
                      <a:pt x="58" y="50"/>
                    </a:lnTo>
                    <a:lnTo>
                      <a:pt x="58" y="56"/>
                    </a:lnTo>
                    <a:lnTo>
                      <a:pt x="61" y="56"/>
                    </a:lnTo>
                    <a:lnTo>
                      <a:pt x="61" y="53"/>
                    </a:lnTo>
                    <a:lnTo>
                      <a:pt x="58" y="47"/>
                    </a:lnTo>
                    <a:lnTo>
                      <a:pt x="64" y="44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7" y="42"/>
                    </a:lnTo>
                    <a:lnTo>
                      <a:pt x="64" y="47"/>
                    </a:lnTo>
                    <a:lnTo>
                      <a:pt x="69" y="39"/>
                    </a:lnTo>
                    <a:lnTo>
                      <a:pt x="72" y="42"/>
                    </a:lnTo>
                    <a:lnTo>
                      <a:pt x="72" y="39"/>
                    </a:lnTo>
                    <a:lnTo>
                      <a:pt x="72" y="39"/>
                    </a:lnTo>
                    <a:lnTo>
                      <a:pt x="69" y="39"/>
                    </a:lnTo>
                    <a:lnTo>
                      <a:pt x="69" y="36"/>
                    </a:lnTo>
                    <a:lnTo>
                      <a:pt x="72" y="30"/>
                    </a:lnTo>
                    <a:lnTo>
                      <a:pt x="72" y="33"/>
                    </a:lnTo>
                    <a:lnTo>
                      <a:pt x="75" y="30"/>
                    </a:lnTo>
                    <a:lnTo>
                      <a:pt x="72" y="25"/>
                    </a:lnTo>
                    <a:lnTo>
                      <a:pt x="72" y="22"/>
                    </a:lnTo>
                    <a:lnTo>
                      <a:pt x="75" y="22"/>
                    </a:lnTo>
                    <a:lnTo>
                      <a:pt x="78" y="28"/>
                    </a:lnTo>
                    <a:lnTo>
                      <a:pt x="81" y="22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86" y="17"/>
                    </a:lnTo>
                    <a:lnTo>
                      <a:pt x="86" y="8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9" y="3"/>
                    </a:lnTo>
                    <a:lnTo>
                      <a:pt x="92" y="0"/>
                    </a:lnTo>
                    <a:lnTo>
                      <a:pt x="100" y="11"/>
                    </a:lnTo>
                    <a:lnTo>
                      <a:pt x="111" y="56"/>
                    </a:lnTo>
                    <a:lnTo>
                      <a:pt x="108" y="61"/>
                    </a:lnTo>
                    <a:lnTo>
                      <a:pt x="106" y="61"/>
                    </a:lnTo>
                    <a:lnTo>
                      <a:pt x="103" y="53"/>
                    </a:lnTo>
                    <a:lnTo>
                      <a:pt x="103" y="53"/>
                    </a:lnTo>
                    <a:lnTo>
                      <a:pt x="100" y="64"/>
                    </a:lnTo>
                    <a:lnTo>
                      <a:pt x="103" y="67"/>
                    </a:lnTo>
                    <a:lnTo>
                      <a:pt x="103" y="72"/>
                    </a:lnTo>
                    <a:lnTo>
                      <a:pt x="97" y="81"/>
                    </a:lnTo>
                    <a:lnTo>
                      <a:pt x="92" y="114"/>
                    </a:lnTo>
                    <a:lnTo>
                      <a:pt x="89" y="114"/>
                    </a:lnTo>
                    <a:lnTo>
                      <a:pt x="61" y="209"/>
                    </a:lnTo>
                    <a:lnTo>
                      <a:pt x="58" y="211"/>
                    </a:lnTo>
                    <a:lnTo>
                      <a:pt x="55" y="214"/>
                    </a:lnTo>
                    <a:lnTo>
                      <a:pt x="53" y="214"/>
                    </a:lnTo>
                    <a:lnTo>
                      <a:pt x="44" y="214"/>
                    </a:lnTo>
                    <a:lnTo>
                      <a:pt x="33" y="220"/>
                    </a:lnTo>
                    <a:lnTo>
                      <a:pt x="30" y="220"/>
                    </a:lnTo>
                    <a:lnTo>
                      <a:pt x="14" y="209"/>
                    </a:lnTo>
                    <a:lnTo>
                      <a:pt x="8" y="203"/>
                    </a:lnTo>
                    <a:lnTo>
                      <a:pt x="5" y="189"/>
                    </a:lnTo>
                    <a:lnTo>
                      <a:pt x="8" y="186"/>
                    </a:lnTo>
                    <a:lnTo>
                      <a:pt x="5" y="178"/>
                    </a:lnTo>
                    <a:lnTo>
                      <a:pt x="3" y="175"/>
                    </a:lnTo>
                    <a:lnTo>
                      <a:pt x="0" y="170"/>
                    </a:lnTo>
                    <a:lnTo>
                      <a:pt x="0" y="159"/>
                    </a:lnTo>
                    <a:lnTo>
                      <a:pt x="5" y="147"/>
                    </a:lnTo>
                    <a:lnTo>
                      <a:pt x="8" y="147"/>
                    </a:lnTo>
                    <a:lnTo>
                      <a:pt x="16" y="131"/>
                    </a:lnTo>
                    <a:lnTo>
                      <a:pt x="19" y="128"/>
                    </a:lnTo>
                    <a:lnTo>
                      <a:pt x="19" y="125"/>
                    </a:lnTo>
                    <a:lnTo>
                      <a:pt x="19" y="122"/>
                    </a:lnTo>
                    <a:lnTo>
                      <a:pt x="19" y="120"/>
                    </a:lnTo>
                    <a:lnTo>
                      <a:pt x="14" y="100"/>
                    </a:lnTo>
                    <a:lnTo>
                      <a:pt x="14" y="92"/>
                    </a:lnTo>
                    <a:lnTo>
                      <a:pt x="11" y="86"/>
                    </a:lnTo>
                    <a:lnTo>
                      <a:pt x="19" y="69"/>
                    </a:lnTo>
                    <a:lnTo>
                      <a:pt x="19" y="6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6" name="Freeform 740"/>
              <p:cNvSpPr>
                <a:spLocks noChangeAspect="1"/>
              </p:cNvSpPr>
              <p:nvPr>
                <p:custDataLst>
                  <p:tags r:id="rId804"/>
                </p:custDataLst>
              </p:nvPr>
            </p:nvSpPr>
            <p:spPr bwMode="gray">
              <a:xfrm>
                <a:off x="5431665" y="3428937"/>
                <a:ext cx="4557" cy="4731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0 h 3"/>
                  <a:gd name="T4" fmla="*/ 3 w 3"/>
                  <a:gd name="T5" fmla="*/ 3 h 3"/>
                  <a:gd name="T6" fmla="*/ 3 w 3"/>
                  <a:gd name="T7" fmla="*/ 3 h 3"/>
                  <a:gd name="T8" fmla="*/ 0 w 3"/>
                  <a:gd name="T9" fmla="*/ 3 h 3"/>
                  <a:gd name="T10" fmla="*/ 0 w 3"/>
                  <a:gd name="T11" fmla="*/ 3 h 3"/>
                  <a:gd name="T12" fmla="*/ 3 w 3"/>
                  <a:gd name="T13" fmla="*/ 0 h 3"/>
                  <a:gd name="T14" fmla="*/ 3 w 3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7" name="Freeform 741"/>
              <p:cNvSpPr>
                <a:spLocks noChangeAspect="1"/>
              </p:cNvSpPr>
              <p:nvPr>
                <p:custDataLst>
                  <p:tags r:id="rId805"/>
                </p:custDataLst>
              </p:nvPr>
            </p:nvSpPr>
            <p:spPr bwMode="gray">
              <a:xfrm>
                <a:off x="5431665" y="3428937"/>
                <a:ext cx="4557" cy="4731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0 h 3"/>
                  <a:gd name="T4" fmla="*/ 3 w 3"/>
                  <a:gd name="T5" fmla="*/ 3 h 3"/>
                  <a:gd name="T6" fmla="*/ 3 w 3"/>
                  <a:gd name="T7" fmla="*/ 3 h 3"/>
                  <a:gd name="T8" fmla="*/ 0 w 3"/>
                  <a:gd name="T9" fmla="*/ 3 h 3"/>
                  <a:gd name="T10" fmla="*/ 0 w 3"/>
                  <a:gd name="T11" fmla="*/ 3 h 3"/>
                  <a:gd name="T12" fmla="*/ 3 w 3"/>
                  <a:gd name="T13" fmla="*/ 0 h 3"/>
                  <a:gd name="T14" fmla="*/ 3 w 3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8" name="Freeform 742"/>
              <p:cNvSpPr>
                <a:spLocks noChangeAspect="1"/>
              </p:cNvSpPr>
              <p:nvPr>
                <p:custDataLst>
                  <p:tags r:id="rId806"/>
                </p:custDataLst>
              </p:nvPr>
            </p:nvSpPr>
            <p:spPr bwMode="gray">
              <a:xfrm>
                <a:off x="8716088" y="2895997"/>
                <a:ext cx="18222" cy="9460"/>
              </a:xfrm>
              <a:custGeom>
                <a:avLst/>
                <a:gdLst>
                  <a:gd name="T0" fmla="*/ 0 w 14"/>
                  <a:gd name="T1" fmla="*/ 2147483647 h 8"/>
                  <a:gd name="T2" fmla="*/ 0 w 14"/>
                  <a:gd name="T3" fmla="*/ 2147483647 h 8"/>
                  <a:gd name="T4" fmla="*/ 2147483647 w 14"/>
                  <a:gd name="T5" fmla="*/ 2147483647 h 8"/>
                  <a:gd name="T6" fmla="*/ 2147483647 w 14"/>
                  <a:gd name="T7" fmla="*/ 0 h 8"/>
                  <a:gd name="T8" fmla="*/ 2147483647 w 14"/>
                  <a:gd name="T9" fmla="*/ 0 h 8"/>
                  <a:gd name="T10" fmla="*/ 2147483647 w 14"/>
                  <a:gd name="T11" fmla="*/ 0 h 8"/>
                  <a:gd name="T12" fmla="*/ 2147483647 w 14"/>
                  <a:gd name="T13" fmla="*/ 2147483647 h 8"/>
                  <a:gd name="T14" fmla="*/ 2147483647 w 14"/>
                  <a:gd name="T15" fmla="*/ 2147483647 h 8"/>
                  <a:gd name="T16" fmla="*/ 2147483647 w 14"/>
                  <a:gd name="T17" fmla="*/ 2147483647 h 8"/>
                  <a:gd name="T18" fmla="*/ 2147483647 w 14"/>
                  <a:gd name="T19" fmla="*/ 2147483647 h 8"/>
                  <a:gd name="T20" fmla="*/ 2147483647 w 14"/>
                  <a:gd name="T21" fmla="*/ 2147483647 h 8"/>
                  <a:gd name="T22" fmla="*/ 2147483647 w 14"/>
                  <a:gd name="T23" fmla="*/ 2147483647 h 8"/>
                  <a:gd name="T24" fmla="*/ 2147483647 w 14"/>
                  <a:gd name="T25" fmla="*/ 2147483647 h 8"/>
                  <a:gd name="T26" fmla="*/ 2147483647 w 14"/>
                  <a:gd name="T27" fmla="*/ 2147483647 h 8"/>
                  <a:gd name="T28" fmla="*/ 2147483647 w 14"/>
                  <a:gd name="T29" fmla="*/ 2147483647 h 8"/>
                  <a:gd name="T30" fmla="*/ 2147483647 w 14"/>
                  <a:gd name="T31" fmla="*/ 2147483647 h 8"/>
                  <a:gd name="T32" fmla="*/ 2147483647 w 14"/>
                  <a:gd name="T33" fmla="*/ 2147483647 h 8"/>
                  <a:gd name="T34" fmla="*/ 0 w 14"/>
                  <a:gd name="T35" fmla="*/ 2147483647 h 8"/>
                  <a:gd name="T36" fmla="*/ 0 w 14"/>
                  <a:gd name="T37" fmla="*/ 2147483647 h 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8"/>
                  <a:gd name="T59" fmla="*/ 14 w 14"/>
                  <a:gd name="T60" fmla="*/ 8 h 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8">
                    <a:moveTo>
                      <a:pt x="0" y="3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9" name="Freeform 743"/>
              <p:cNvSpPr>
                <a:spLocks noChangeAspect="1"/>
              </p:cNvSpPr>
              <p:nvPr>
                <p:custDataLst>
                  <p:tags r:id="rId807"/>
                </p:custDataLst>
              </p:nvPr>
            </p:nvSpPr>
            <p:spPr bwMode="gray">
              <a:xfrm>
                <a:off x="8716088" y="2895997"/>
                <a:ext cx="18222" cy="9460"/>
              </a:xfrm>
              <a:custGeom>
                <a:avLst/>
                <a:gdLst>
                  <a:gd name="T0" fmla="*/ 0 w 14"/>
                  <a:gd name="T1" fmla="*/ 2147483647 h 8"/>
                  <a:gd name="T2" fmla="*/ 0 w 14"/>
                  <a:gd name="T3" fmla="*/ 2147483647 h 8"/>
                  <a:gd name="T4" fmla="*/ 2147483647 w 14"/>
                  <a:gd name="T5" fmla="*/ 2147483647 h 8"/>
                  <a:gd name="T6" fmla="*/ 2147483647 w 14"/>
                  <a:gd name="T7" fmla="*/ 0 h 8"/>
                  <a:gd name="T8" fmla="*/ 2147483647 w 14"/>
                  <a:gd name="T9" fmla="*/ 0 h 8"/>
                  <a:gd name="T10" fmla="*/ 2147483647 w 14"/>
                  <a:gd name="T11" fmla="*/ 0 h 8"/>
                  <a:gd name="T12" fmla="*/ 2147483647 w 14"/>
                  <a:gd name="T13" fmla="*/ 2147483647 h 8"/>
                  <a:gd name="T14" fmla="*/ 2147483647 w 14"/>
                  <a:gd name="T15" fmla="*/ 2147483647 h 8"/>
                  <a:gd name="T16" fmla="*/ 2147483647 w 14"/>
                  <a:gd name="T17" fmla="*/ 2147483647 h 8"/>
                  <a:gd name="T18" fmla="*/ 2147483647 w 14"/>
                  <a:gd name="T19" fmla="*/ 2147483647 h 8"/>
                  <a:gd name="T20" fmla="*/ 2147483647 w 14"/>
                  <a:gd name="T21" fmla="*/ 2147483647 h 8"/>
                  <a:gd name="T22" fmla="*/ 2147483647 w 14"/>
                  <a:gd name="T23" fmla="*/ 2147483647 h 8"/>
                  <a:gd name="T24" fmla="*/ 2147483647 w 14"/>
                  <a:gd name="T25" fmla="*/ 2147483647 h 8"/>
                  <a:gd name="T26" fmla="*/ 2147483647 w 14"/>
                  <a:gd name="T27" fmla="*/ 2147483647 h 8"/>
                  <a:gd name="T28" fmla="*/ 2147483647 w 14"/>
                  <a:gd name="T29" fmla="*/ 2147483647 h 8"/>
                  <a:gd name="T30" fmla="*/ 2147483647 w 14"/>
                  <a:gd name="T31" fmla="*/ 2147483647 h 8"/>
                  <a:gd name="T32" fmla="*/ 2147483647 w 14"/>
                  <a:gd name="T33" fmla="*/ 2147483647 h 8"/>
                  <a:gd name="T34" fmla="*/ 0 w 14"/>
                  <a:gd name="T35" fmla="*/ 2147483647 h 8"/>
                  <a:gd name="T36" fmla="*/ 0 w 14"/>
                  <a:gd name="T37" fmla="*/ 2147483647 h 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8"/>
                  <a:gd name="T59" fmla="*/ 14 w 14"/>
                  <a:gd name="T60" fmla="*/ 8 h 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8">
                    <a:moveTo>
                      <a:pt x="0" y="3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0" name="Freeform 744"/>
              <p:cNvSpPr>
                <a:spLocks noChangeAspect="1"/>
              </p:cNvSpPr>
              <p:nvPr>
                <p:custDataLst>
                  <p:tags r:id="rId808"/>
                </p:custDataLst>
              </p:nvPr>
            </p:nvSpPr>
            <p:spPr bwMode="gray">
              <a:xfrm>
                <a:off x="8814788" y="2922803"/>
                <a:ext cx="4557" cy="12614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0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2147483647 w 5"/>
                  <a:gd name="T9" fmla="*/ 2147483647 h 9"/>
                  <a:gd name="T10" fmla="*/ 2147483647 w 5"/>
                  <a:gd name="T11" fmla="*/ 2147483647 h 9"/>
                  <a:gd name="T12" fmla="*/ 0 w 5"/>
                  <a:gd name="T13" fmla="*/ 2147483647 h 9"/>
                  <a:gd name="T14" fmla="*/ 0 w 5"/>
                  <a:gd name="T15" fmla="*/ 2147483647 h 9"/>
                  <a:gd name="T16" fmla="*/ 2147483647 w 5"/>
                  <a:gd name="T17" fmla="*/ 2147483647 h 9"/>
                  <a:gd name="T18" fmla="*/ 2147483647 w 5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9"/>
                  <a:gd name="T32" fmla="*/ 5 w 5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5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1" name="Freeform 745"/>
              <p:cNvSpPr>
                <a:spLocks noChangeAspect="1"/>
              </p:cNvSpPr>
              <p:nvPr>
                <p:custDataLst>
                  <p:tags r:id="rId809"/>
                </p:custDataLst>
              </p:nvPr>
            </p:nvSpPr>
            <p:spPr bwMode="gray">
              <a:xfrm>
                <a:off x="8814788" y="2922803"/>
                <a:ext cx="4557" cy="12614"/>
              </a:xfrm>
              <a:custGeom>
                <a:avLst/>
                <a:gdLst>
                  <a:gd name="T0" fmla="*/ 2147483647 w 5"/>
                  <a:gd name="T1" fmla="*/ 0 h 9"/>
                  <a:gd name="T2" fmla="*/ 2147483647 w 5"/>
                  <a:gd name="T3" fmla="*/ 0 h 9"/>
                  <a:gd name="T4" fmla="*/ 2147483647 w 5"/>
                  <a:gd name="T5" fmla="*/ 2147483647 h 9"/>
                  <a:gd name="T6" fmla="*/ 2147483647 w 5"/>
                  <a:gd name="T7" fmla="*/ 2147483647 h 9"/>
                  <a:gd name="T8" fmla="*/ 2147483647 w 5"/>
                  <a:gd name="T9" fmla="*/ 2147483647 h 9"/>
                  <a:gd name="T10" fmla="*/ 2147483647 w 5"/>
                  <a:gd name="T11" fmla="*/ 2147483647 h 9"/>
                  <a:gd name="T12" fmla="*/ 0 w 5"/>
                  <a:gd name="T13" fmla="*/ 2147483647 h 9"/>
                  <a:gd name="T14" fmla="*/ 0 w 5"/>
                  <a:gd name="T15" fmla="*/ 2147483647 h 9"/>
                  <a:gd name="T16" fmla="*/ 2147483647 w 5"/>
                  <a:gd name="T17" fmla="*/ 2147483647 h 9"/>
                  <a:gd name="T18" fmla="*/ 2147483647 w 5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9"/>
                  <a:gd name="T32" fmla="*/ 5 w 5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5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2" name="Freeform 746"/>
              <p:cNvSpPr>
                <a:spLocks noChangeAspect="1"/>
              </p:cNvSpPr>
              <p:nvPr>
                <p:custDataLst>
                  <p:tags r:id="rId810"/>
                </p:custDataLst>
              </p:nvPr>
            </p:nvSpPr>
            <p:spPr bwMode="gray">
              <a:xfrm>
                <a:off x="8842119" y="2936995"/>
                <a:ext cx="15185" cy="12614"/>
              </a:xfrm>
              <a:custGeom>
                <a:avLst/>
                <a:gdLst>
                  <a:gd name="T0" fmla="*/ 0 w 11"/>
                  <a:gd name="T1" fmla="*/ 2147483647 h 9"/>
                  <a:gd name="T2" fmla="*/ 0 w 11"/>
                  <a:gd name="T3" fmla="*/ 0 h 9"/>
                  <a:gd name="T4" fmla="*/ 2147483647 w 11"/>
                  <a:gd name="T5" fmla="*/ 0 h 9"/>
                  <a:gd name="T6" fmla="*/ 2147483647 w 11"/>
                  <a:gd name="T7" fmla="*/ 2147483647 h 9"/>
                  <a:gd name="T8" fmla="*/ 2147483647 w 11"/>
                  <a:gd name="T9" fmla="*/ 2147483647 h 9"/>
                  <a:gd name="T10" fmla="*/ 2147483647 w 11"/>
                  <a:gd name="T11" fmla="*/ 2147483647 h 9"/>
                  <a:gd name="T12" fmla="*/ 2147483647 w 11"/>
                  <a:gd name="T13" fmla="*/ 2147483647 h 9"/>
                  <a:gd name="T14" fmla="*/ 2147483647 w 11"/>
                  <a:gd name="T15" fmla="*/ 2147483647 h 9"/>
                  <a:gd name="T16" fmla="*/ 0 w 11"/>
                  <a:gd name="T17" fmla="*/ 2147483647 h 9"/>
                  <a:gd name="T18" fmla="*/ 0 w 11"/>
                  <a:gd name="T19" fmla="*/ 2147483647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9"/>
                  <a:gd name="T32" fmla="*/ 11 w 11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9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9" y="6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3" name="Freeform 747"/>
              <p:cNvSpPr>
                <a:spLocks noChangeAspect="1"/>
              </p:cNvSpPr>
              <p:nvPr>
                <p:custDataLst>
                  <p:tags r:id="rId811"/>
                </p:custDataLst>
              </p:nvPr>
            </p:nvSpPr>
            <p:spPr bwMode="gray">
              <a:xfrm>
                <a:off x="8842119" y="2936995"/>
                <a:ext cx="15185" cy="12614"/>
              </a:xfrm>
              <a:custGeom>
                <a:avLst/>
                <a:gdLst>
                  <a:gd name="T0" fmla="*/ 0 w 11"/>
                  <a:gd name="T1" fmla="*/ 2147483647 h 9"/>
                  <a:gd name="T2" fmla="*/ 0 w 11"/>
                  <a:gd name="T3" fmla="*/ 0 h 9"/>
                  <a:gd name="T4" fmla="*/ 2147483647 w 11"/>
                  <a:gd name="T5" fmla="*/ 0 h 9"/>
                  <a:gd name="T6" fmla="*/ 2147483647 w 11"/>
                  <a:gd name="T7" fmla="*/ 2147483647 h 9"/>
                  <a:gd name="T8" fmla="*/ 2147483647 w 11"/>
                  <a:gd name="T9" fmla="*/ 2147483647 h 9"/>
                  <a:gd name="T10" fmla="*/ 2147483647 w 11"/>
                  <a:gd name="T11" fmla="*/ 2147483647 h 9"/>
                  <a:gd name="T12" fmla="*/ 2147483647 w 11"/>
                  <a:gd name="T13" fmla="*/ 2147483647 h 9"/>
                  <a:gd name="T14" fmla="*/ 2147483647 w 11"/>
                  <a:gd name="T15" fmla="*/ 2147483647 h 9"/>
                  <a:gd name="T16" fmla="*/ 0 w 11"/>
                  <a:gd name="T17" fmla="*/ 2147483647 h 9"/>
                  <a:gd name="T18" fmla="*/ 0 w 11"/>
                  <a:gd name="T19" fmla="*/ 2147483647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9"/>
                  <a:gd name="T32" fmla="*/ 11 w 11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9">
                    <a:moveTo>
                      <a:pt x="0" y="3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9" y="6"/>
                    </a:lnTo>
                    <a:lnTo>
                      <a:pt x="11" y="9"/>
                    </a:lnTo>
                    <a:lnTo>
                      <a:pt x="9" y="9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4" name="Freeform 748"/>
              <p:cNvSpPr>
                <a:spLocks noChangeAspect="1"/>
              </p:cNvSpPr>
              <p:nvPr>
                <p:custDataLst>
                  <p:tags r:id="rId812"/>
                </p:custDataLst>
              </p:nvPr>
            </p:nvSpPr>
            <p:spPr bwMode="gray">
              <a:xfrm>
                <a:off x="8860343" y="2927534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2147483647 w 3"/>
                  <a:gd name="T3" fmla="*/ 2147483647 h 3"/>
                  <a:gd name="T4" fmla="*/ 2147483647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2147483647 h 3"/>
                  <a:gd name="T10" fmla="*/ 0 w 3"/>
                  <a:gd name="T11" fmla="*/ 2147483647 h 3"/>
                  <a:gd name="T12" fmla="*/ 0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5" name="Freeform 749"/>
              <p:cNvSpPr>
                <a:spLocks noChangeAspect="1"/>
              </p:cNvSpPr>
              <p:nvPr>
                <p:custDataLst>
                  <p:tags r:id="rId813"/>
                </p:custDataLst>
              </p:nvPr>
            </p:nvSpPr>
            <p:spPr bwMode="gray">
              <a:xfrm>
                <a:off x="8860342" y="2927534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2147483647 w 3"/>
                  <a:gd name="T3" fmla="*/ 2147483647 h 3"/>
                  <a:gd name="T4" fmla="*/ 2147483647 w 3"/>
                  <a:gd name="T5" fmla="*/ 2147483647 h 3"/>
                  <a:gd name="T6" fmla="*/ 2147483647 w 3"/>
                  <a:gd name="T7" fmla="*/ 2147483647 h 3"/>
                  <a:gd name="T8" fmla="*/ 0 w 3"/>
                  <a:gd name="T9" fmla="*/ 2147483647 h 3"/>
                  <a:gd name="T10" fmla="*/ 0 w 3"/>
                  <a:gd name="T11" fmla="*/ 2147483647 h 3"/>
                  <a:gd name="T12" fmla="*/ 0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6" name="Freeform 759"/>
              <p:cNvSpPr>
                <a:spLocks noChangeAspect="1"/>
              </p:cNvSpPr>
              <p:nvPr>
                <p:custDataLst>
                  <p:tags r:id="rId814"/>
                </p:custDataLst>
              </p:nvPr>
            </p:nvSpPr>
            <p:spPr bwMode="gray">
              <a:xfrm>
                <a:off x="5053570" y="2817160"/>
                <a:ext cx="51628" cy="45726"/>
              </a:xfrm>
              <a:custGeom>
                <a:avLst/>
                <a:gdLst>
                  <a:gd name="T0" fmla="*/ 9 w 39"/>
                  <a:gd name="T1" fmla="*/ 11 h 36"/>
                  <a:gd name="T2" fmla="*/ 9 w 39"/>
                  <a:gd name="T3" fmla="*/ 14 h 36"/>
                  <a:gd name="T4" fmla="*/ 6 w 39"/>
                  <a:gd name="T5" fmla="*/ 16 h 36"/>
                  <a:gd name="T6" fmla="*/ 3 w 39"/>
                  <a:gd name="T7" fmla="*/ 16 h 36"/>
                  <a:gd name="T8" fmla="*/ 3 w 39"/>
                  <a:gd name="T9" fmla="*/ 22 h 36"/>
                  <a:gd name="T10" fmla="*/ 0 w 39"/>
                  <a:gd name="T11" fmla="*/ 22 h 36"/>
                  <a:gd name="T12" fmla="*/ 6 w 39"/>
                  <a:gd name="T13" fmla="*/ 27 h 36"/>
                  <a:gd name="T14" fmla="*/ 6 w 39"/>
                  <a:gd name="T15" fmla="*/ 30 h 36"/>
                  <a:gd name="T16" fmla="*/ 9 w 39"/>
                  <a:gd name="T17" fmla="*/ 33 h 36"/>
                  <a:gd name="T18" fmla="*/ 14 w 39"/>
                  <a:gd name="T19" fmla="*/ 30 h 36"/>
                  <a:gd name="T20" fmla="*/ 14 w 39"/>
                  <a:gd name="T21" fmla="*/ 27 h 36"/>
                  <a:gd name="T22" fmla="*/ 23 w 39"/>
                  <a:gd name="T23" fmla="*/ 25 h 36"/>
                  <a:gd name="T24" fmla="*/ 28 w 39"/>
                  <a:gd name="T25" fmla="*/ 27 h 36"/>
                  <a:gd name="T26" fmla="*/ 28 w 39"/>
                  <a:gd name="T27" fmla="*/ 36 h 36"/>
                  <a:gd name="T28" fmla="*/ 28 w 39"/>
                  <a:gd name="T29" fmla="*/ 36 h 36"/>
                  <a:gd name="T30" fmla="*/ 28 w 39"/>
                  <a:gd name="T31" fmla="*/ 36 h 36"/>
                  <a:gd name="T32" fmla="*/ 34 w 39"/>
                  <a:gd name="T33" fmla="*/ 33 h 36"/>
                  <a:gd name="T34" fmla="*/ 34 w 39"/>
                  <a:gd name="T35" fmla="*/ 30 h 36"/>
                  <a:gd name="T36" fmla="*/ 37 w 39"/>
                  <a:gd name="T37" fmla="*/ 30 h 36"/>
                  <a:gd name="T38" fmla="*/ 39 w 39"/>
                  <a:gd name="T39" fmla="*/ 27 h 36"/>
                  <a:gd name="T40" fmla="*/ 37 w 39"/>
                  <a:gd name="T41" fmla="*/ 22 h 36"/>
                  <a:gd name="T42" fmla="*/ 39 w 39"/>
                  <a:gd name="T43" fmla="*/ 25 h 36"/>
                  <a:gd name="T44" fmla="*/ 39 w 39"/>
                  <a:gd name="T45" fmla="*/ 22 h 36"/>
                  <a:gd name="T46" fmla="*/ 39 w 39"/>
                  <a:gd name="T47" fmla="*/ 19 h 36"/>
                  <a:gd name="T48" fmla="*/ 37 w 39"/>
                  <a:gd name="T49" fmla="*/ 19 h 36"/>
                  <a:gd name="T50" fmla="*/ 34 w 39"/>
                  <a:gd name="T51" fmla="*/ 19 h 36"/>
                  <a:gd name="T52" fmla="*/ 34 w 39"/>
                  <a:gd name="T53" fmla="*/ 16 h 36"/>
                  <a:gd name="T54" fmla="*/ 34 w 39"/>
                  <a:gd name="T55" fmla="*/ 11 h 36"/>
                  <a:gd name="T56" fmla="*/ 31 w 39"/>
                  <a:gd name="T57" fmla="*/ 5 h 36"/>
                  <a:gd name="T58" fmla="*/ 26 w 39"/>
                  <a:gd name="T59" fmla="*/ 2 h 36"/>
                  <a:gd name="T60" fmla="*/ 17 w 39"/>
                  <a:gd name="T61" fmla="*/ 5 h 36"/>
                  <a:gd name="T62" fmla="*/ 17 w 39"/>
                  <a:gd name="T63" fmla="*/ 8 h 36"/>
                  <a:gd name="T64" fmla="*/ 14 w 39"/>
                  <a:gd name="T65" fmla="*/ 8 h 36"/>
                  <a:gd name="T66" fmla="*/ 14 w 39"/>
                  <a:gd name="T67" fmla="*/ 8 h 36"/>
                  <a:gd name="T68" fmla="*/ 17 w 39"/>
                  <a:gd name="T69" fmla="*/ 2 h 36"/>
                  <a:gd name="T70" fmla="*/ 17 w 39"/>
                  <a:gd name="T71" fmla="*/ 2 h 36"/>
                  <a:gd name="T72" fmla="*/ 14 w 39"/>
                  <a:gd name="T73" fmla="*/ 0 h 36"/>
                  <a:gd name="T74" fmla="*/ 12 w 39"/>
                  <a:gd name="T75" fmla="*/ 0 h 36"/>
                  <a:gd name="T76" fmla="*/ 12 w 39"/>
                  <a:gd name="T77" fmla="*/ 2 h 36"/>
                  <a:gd name="T78" fmla="*/ 12 w 39"/>
                  <a:gd name="T79" fmla="*/ 2 h 36"/>
                  <a:gd name="T80" fmla="*/ 9 w 39"/>
                  <a:gd name="T81" fmla="*/ 5 h 36"/>
                  <a:gd name="T82" fmla="*/ 9 w 39"/>
                  <a:gd name="T83" fmla="*/ 8 h 36"/>
                  <a:gd name="T84" fmla="*/ 9 w 39"/>
                  <a:gd name="T85" fmla="*/ 11 h 36"/>
                  <a:gd name="T86" fmla="*/ 9 w 39"/>
                  <a:gd name="T87" fmla="*/ 1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9" h="36">
                    <a:moveTo>
                      <a:pt x="9" y="11"/>
                    </a:moveTo>
                    <a:lnTo>
                      <a:pt x="9" y="14"/>
                    </a:lnTo>
                    <a:lnTo>
                      <a:pt x="6" y="16"/>
                    </a:lnTo>
                    <a:lnTo>
                      <a:pt x="3" y="16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6" y="27"/>
                    </a:lnTo>
                    <a:lnTo>
                      <a:pt x="6" y="30"/>
                    </a:lnTo>
                    <a:lnTo>
                      <a:pt x="9" y="33"/>
                    </a:lnTo>
                    <a:lnTo>
                      <a:pt x="14" y="30"/>
                    </a:lnTo>
                    <a:lnTo>
                      <a:pt x="14" y="27"/>
                    </a:lnTo>
                    <a:lnTo>
                      <a:pt x="23" y="25"/>
                    </a:lnTo>
                    <a:lnTo>
                      <a:pt x="28" y="27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34" y="33"/>
                    </a:lnTo>
                    <a:lnTo>
                      <a:pt x="34" y="30"/>
                    </a:lnTo>
                    <a:lnTo>
                      <a:pt x="37" y="30"/>
                    </a:lnTo>
                    <a:lnTo>
                      <a:pt x="39" y="27"/>
                    </a:lnTo>
                    <a:lnTo>
                      <a:pt x="37" y="22"/>
                    </a:lnTo>
                    <a:lnTo>
                      <a:pt x="39" y="25"/>
                    </a:lnTo>
                    <a:lnTo>
                      <a:pt x="39" y="22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4" y="19"/>
                    </a:lnTo>
                    <a:lnTo>
                      <a:pt x="34" y="16"/>
                    </a:lnTo>
                    <a:lnTo>
                      <a:pt x="34" y="11"/>
                    </a:lnTo>
                    <a:lnTo>
                      <a:pt x="31" y="5"/>
                    </a:lnTo>
                    <a:lnTo>
                      <a:pt x="26" y="2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7" name="Freeform 760"/>
              <p:cNvSpPr>
                <a:spLocks noChangeAspect="1"/>
              </p:cNvSpPr>
              <p:nvPr>
                <p:custDataLst>
                  <p:tags r:id="rId815"/>
                </p:custDataLst>
              </p:nvPr>
            </p:nvSpPr>
            <p:spPr bwMode="gray">
              <a:xfrm>
                <a:off x="5319301" y="2095015"/>
                <a:ext cx="525386" cy="624389"/>
              </a:xfrm>
              <a:custGeom>
                <a:avLst/>
                <a:gdLst>
                  <a:gd name="T0" fmla="*/ 381 w 403"/>
                  <a:gd name="T1" fmla="*/ 64 h 484"/>
                  <a:gd name="T2" fmla="*/ 367 w 403"/>
                  <a:gd name="T3" fmla="*/ 45 h 484"/>
                  <a:gd name="T4" fmla="*/ 387 w 403"/>
                  <a:gd name="T5" fmla="*/ 17 h 484"/>
                  <a:gd name="T6" fmla="*/ 370 w 403"/>
                  <a:gd name="T7" fmla="*/ 11 h 484"/>
                  <a:gd name="T8" fmla="*/ 356 w 403"/>
                  <a:gd name="T9" fmla="*/ 19 h 484"/>
                  <a:gd name="T10" fmla="*/ 345 w 403"/>
                  <a:gd name="T11" fmla="*/ 22 h 484"/>
                  <a:gd name="T12" fmla="*/ 317 w 403"/>
                  <a:gd name="T13" fmla="*/ 36 h 484"/>
                  <a:gd name="T14" fmla="*/ 312 w 403"/>
                  <a:gd name="T15" fmla="*/ 11 h 484"/>
                  <a:gd name="T16" fmla="*/ 298 w 403"/>
                  <a:gd name="T17" fmla="*/ 25 h 484"/>
                  <a:gd name="T18" fmla="*/ 275 w 403"/>
                  <a:gd name="T19" fmla="*/ 47 h 484"/>
                  <a:gd name="T20" fmla="*/ 261 w 403"/>
                  <a:gd name="T21" fmla="*/ 39 h 484"/>
                  <a:gd name="T22" fmla="*/ 250 w 403"/>
                  <a:gd name="T23" fmla="*/ 58 h 484"/>
                  <a:gd name="T24" fmla="*/ 234 w 403"/>
                  <a:gd name="T25" fmla="*/ 81 h 484"/>
                  <a:gd name="T26" fmla="*/ 225 w 403"/>
                  <a:gd name="T27" fmla="*/ 86 h 484"/>
                  <a:gd name="T28" fmla="*/ 206 w 403"/>
                  <a:gd name="T29" fmla="*/ 81 h 484"/>
                  <a:gd name="T30" fmla="*/ 197 w 403"/>
                  <a:gd name="T31" fmla="*/ 106 h 484"/>
                  <a:gd name="T32" fmla="*/ 183 w 403"/>
                  <a:gd name="T33" fmla="*/ 117 h 484"/>
                  <a:gd name="T34" fmla="*/ 175 w 403"/>
                  <a:gd name="T35" fmla="*/ 122 h 484"/>
                  <a:gd name="T36" fmla="*/ 164 w 403"/>
                  <a:gd name="T37" fmla="*/ 134 h 484"/>
                  <a:gd name="T38" fmla="*/ 158 w 403"/>
                  <a:gd name="T39" fmla="*/ 153 h 484"/>
                  <a:gd name="T40" fmla="*/ 145 w 403"/>
                  <a:gd name="T41" fmla="*/ 167 h 484"/>
                  <a:gd name="T42" fmla="*/ 128 w 403"/>
                  <a:gd name="T43" fmla="*/ 189 h 484"/>
                  <a:gd name="T44" fmla="*/ 122 w 403"/>
                  <a:gd name="T45" fmla="*/ 206 h 484"/>
                  <a:gd name="T46" fmla="*/ 119 w 403"/>
                  <a:gd name="T47" fmla="*/ 223 h 484"/>
                  <a:gd name="T48" fmla="*/ 111 w 403"/>
                  <a:gd name="T49" fmla="*/ 239 h 484"/>
                  <a:gd name="T50" fmla="*/ 106 w 403"/>
                  <a:gd name="T51" fmla="*/ 248 h 484"/>
                  <a:gd name="T52" fmla="*/ 94 w 403"/>
                  <a:gd name="T53" fmla="*/ 273 h 484"/>
                  <a:gd name="T54" fmla="*/ 75 w 403"/>
                  <a:gd name="T55" fmla="*/ 303 h 484"/>
                  <a:gd name="T56" fmla="*/ 80 w 403"/>
                  <a:gd name="T57" fmla="*/ 309 h 484"/>
                  <a:gd name="T58" fmla="*/ 67 w 403"/>
                  <a:gd name="T59" fmla="*/ 312 h 484"/>
                  <a:gd name="T60" fmla="*/ 47 w 403"/>
                  <a:gd name="T61" fmla="*/ 317 h 484"/>
                  <a:gd name="T62" fmla="*/ 30 w 403"/>
                  <a:gd name="T63" fmla="*/ 334 h 484"/>
                  <a:gd name="T64" fmla="*/ 19 w 403"/>
                  <a:gd name="T65" fmla="*/ 342 h 484"/>
                  <a:gd name="T66" fmla="*/ 16 w 403"/>
                  <a:gd name="T67" fmla="*/ 356 h 484"/>
                  <a:gd name="T68" fmla="*/ 16 w 403"/>
                  <a:gd name="T69" fmla="*/ 359 h 484"/>
                  <a:gd name="T70" fmla="*/ 0 w 403"/>
                  <a:gd name="T71" fmla="*/ 370 h 484"/>
                  <a:gd name="T72" fmla="*/ 19 w 403"/>
                  <a:gd name="T73" fmla="*/ 387 h 484"/>
                  <a:gd name="T74" fmla="*/ 36 w 403"/>
                  <a:gd name="T75" fmla="*/ 384 h 484"/>
                  <a:gd name="T76" fmla="*/ 16 w 403"/>
                  <a:gd name="T77" fmla="*/ 390 h 484"/>
                  <a:gd name="T78" fmla="*/ 0 w 403"/>
                  <a:gd name="T79" fmla="*/ 398 h 484"/>
                  <a:gd name="T80" fmla="*/ 3 w 403"/>
                  <a:gd name="T81" fmla="*/ 418 h 484"/>
                  <a:gd name="T82" fmla="*/ 19 w 403"/>
                  <a:gd name="T83" fmla="*/ 407 h 484"/>
                  <a:gd name="T84" fmla="*/ 16 w 403"/>
                  <a:gd name="T85" fmla="*/ 420 h 484"/>
                  <a:gd name="T86" fmla="*/ 3 w 403"/>
                  <a:gd name="T87" fmla="*/ 443 h 484"/>
                  <a:gd name="T88" fmla="*/ 14 w 403"/>
                  <a:gd name="T89" fmla="*/ 443 h 484"/>
                  <a:gd name="T90" fmla="*/ 25 w 403"/>
                  <a:gd name="T91" fmla="*/ 473 h 484"/>
                  <a:gd name="T92" fmla="*/ 58 w 403"/>
                  <a:gd name="T93" fmla="*/ 468 h 484"/>
                  <a:gd name="T94" fmla="*/ 80 w 403"/>
                  <a:gd name="T95" fmla="*/ 440 h 484"/>
                  <a:gd name="T96" fmla="*/ 83 w 403"/>
                  <a:gd name="T97" fmla="*/ 429 h 484"/>
                  <a:gd name="T98" fmla="*/ 100 w 403"/>
                  <a:gd name="T99" fmla="*/ 457 h 484"/>
                  <a:gd name="T100" fmla="*/ 114 w 403"/>
                  <a:gd name="T101" fmla="*/ 390 h 484"/>
                  <a:gd name="T102" fmla="*/ 108 w 403"/>
                  <a:gd name="T103" fmla="*/ 312 h 484"/>
                  <a:gd name="T104" fmla="*/ 153 w 403"/>
                  <a:gd name="T105" fmla="*/ 214 h 484"/>
                  <a:gd name="T106" fmla="*/ 197 w 403"/>
                  <a:gd name="T107" fmla="*/ 139 h 484"/>
                  <a:gd name="T108" fmla="*/ 234 w 403"/>
                  <a:gd name="T109" fmla="*/ 103 h 484"/>
                  <a:gd name="T110" fmla="*/ 256 w 403"/>
                  <a:gd name="T111" fmla="*/ 83 h 484"/>
                  <a:gd name="T112" fmla="*/ 314 w 403"/>
                  <a:gd name="T113" fmla="*/ 100 h 484"/>
                  <a:gd name="T114" fmla="*/ 370 w 403"/>
                  <a:gd name="T115" fmla="*/ 86 h 484"/>
                  <a:gd name="T116" fmla="*/ 403 w 403"/>
                  <a:gd name="T117" fmla="*/ 67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3" h="484">
                    <a:moveTo>
                      <a:pt x="403" y="61"/>
                    </a:moveTo>
                    <a:lnTo>
                      <a:pt x="395" y="61"/>
                    </a:lnTo>
                    <a:lnTo>
                      <a:pt x="395" y="67"/>
                    </a:lnTo>
                    <a:lnTo>
                      <a:pt x="392" y="67"/>
                    </a:lnTo>
                    <a:lnTo>
                      <a:pt x="392" y="64"/>
                    </a:lnTo>
                    <a:lnTo>
                      <a:pt x="390" y="64"/>
                    </a:lnTo>
                    <a:lnTo>
                      <a:pt x="390" y="61"/>
                    </a:lnTo>
                    <a:lnTo>
                      <a:pt x="390" y="67"/>
                    </a:lnTo>
                    <a:lnTo>
                      <a:pt x="390" y="67"/>
                    </a:lnTo>
                    <a:lnTo>
                      <a:pt x="387" y="64"/>
                    </a:lnTo>
                    <a:lnTo>
                      <a:pt x="384" y="64"/>
                    </a:lnTo>
                    <a:lnTo>
                      <a:pt x="381" y="67"/>
                    </a:lnTo>
                    <a:lnTo>
                      <a:pt x="381" y="64"/>
                    </a:lnTo>
                    <a:lnTo>
                      <a:pt x="384" y="61"/>
                    </a:lnTo>
                    <a:lnTo>
                      <a:pt x="387" y="61"/>
                    </a:lnTo>
                    <a:lnTo>
                      <a:pt x="387" y="58"/>
                    </a:lnTo>
                    <a:lnTo>
                      <a:pt x="387" y="56"/>
                    </a:lnTo>
                    <a:lnTo>
                      <a:pt x="387" y="56"/>
                    </a:lnTo>
                    <a:lnTo>
                      <a:pt x="378" y="56"/>
                    </a:lnTo>
                    <a:lnTo>
                      <a:pt x="381" y="53"/>
                    </a:lnTo>
                    <a:lnTo>
                      <a:pt x="378" y="53"/>
                    </a:lnTo>
                    <a:lnTo>
                      <a:pt x="376" y="50"/>
                    </a:lnTo>
                    <a:lnTo>
                      <a:pt x="373" y="47"/>
                    </a:lnTo>
                    <a:lnTo>
                      <a:pt x="367" y="47"/>
                    </a:lnTo>
                    <a:lnTo>
                      <a:pt x="367" y="45"/>
                    </a:lnTo>
                    <a:lnTo>
                      <a:pt x="367" y="45"/>
                    </a:lnTo>
                    <a:lnTo>
                      <a:pt x="367" y="42"/>
                    </a:lnTo>
                    <a:lnTo>
                      <a:pt x="390" y="47"/>
                    </a:lnTo>
                    <a:lnTo>
                      <a:pt x="398" y="39"/>
                    </a:lnTo>
                    <a:lnTo>
                      <a:pt x="401" y="39"/>
                    </a:lnTo>
                    <a:lnTo>
                      <a:pt x="403" y="36"/>
                    </a:lnTo>
                    <a:lnTo>
                      <a:pt x="403" y="31"/>
                    </a:lnTo>
                    <a:lnTo>
                      <a:pt x="401" y="31"/>
                    </a:lnTo>
                    <a:lnTo>
                      <a:pt x="398" y="25"/>
                    </a:lnTo>
                    <a:lnTo>
                      <a:pt x="392" y="25"/>
                    </a:lnTo>
                    <a:lnTo>
                      <a:pt x="390" y="25"/>
                    </a:lnTo>
                    <a:lnTo>
                      <a:pt x="392" y="22"/>
                    </a:lnTo>
                    <a:lnTo>
                      <a:pt x="390" y="19"/>
                    </a:lnTo>
                    <a:lnTo>
                      <a:pt x="387" y="17"/>
                    </a:lnTo>
                    <a:lnTo>
                      <a:pt x="387" y="19"/>
                    </a:lnTo>
                    <a:lnTo>
                      <a:pt x="384" y="22"/>
                    </a:lnTo>
                    <a:lnTo>
                      <a:pt x="384" y="19"/>
                    </a:lnTo>
                    <a:lnTo>
                      <a:pt x="384" y="17"/>
                    </a:lnTo>
                    <a:lnTo>
                      <a:pt x="378" y="19"/>
                    </a:lnTo>
                    <a:lnTo>
                      <a:pt x="378" y="19"/>
                    </a:lnTo>
                    <a:lnTo>
                      <a:pt x="376" y="19"/>
                    </a:lnTo>
                    <a:lnTo>
                      <a:pt x="378" y="17"/>
                    </a:lnTo>
                    <a:lnTo>
                      <a:pt x="378" y="14"/>
                    </a:lnTo>
                    <a:lnTo>
                      <a:pt x="376" y="14"/>
                    </a:lnTo>
                    <a:lnTo>
                      <a:pt x="376" y="11"/>
                    </a:lnTo>
                    <a:lnTo>
                      <a:pt x="373" y="11"/>
                    </a:lnTo>
                    <a:lnTo>
                      <a:pt x="370" y="11"/>
                    </a:lnTo>
                    <a:lnTo>
                      <a:pt x="367" y="11"/>
                    </a:lnTo>
                    <a:lnTo>
                      <a:pt x="367" y="17"/>
                    </a:lnTo>
                    <a:lnTo>
                      <a:pt x="367" y="31"/>
                    </a:lnTo>
                    <a:lnTo>
                      <a:pt x="362" y="31"/>
                    </a:lnTo>
                    <a:lnTo>
                      <a:pt x="359" y="28"/>
                    </a:lnTo>
                    <a:lnTo>
                      <a:pt x="356" y="31"/>
                    </a:lnTo>
                    <a:lnTo>
                      <a:pt x="356" y="28"/>
                    </a:lnTo>
                    <a:lnTo>
                      <a:pt x="359" y="25"/>
                    </a:lnTo>
                    <a:lnTo>
                      <a:pt x="362" y="22"/>
                    </a:lnTo>
                    <a:lnTo>
                      <a:pt x="359" y="19"/>
                    </a:lnTo>
                    <a:lnTo>
                      <a:pt x="356" y="22"/>
                    </a:lnTo>
                    <a:lnTo>
                      <a:pt x="353" y="22"/>
                    </a:lnTo>
                    <a:lnTo>
                      <a:pt x="356" y="19"/>
                    </a:lnTo>
                    <a:lnTo>
                      <a:pt x="356" y="17"/>
                    </a:lnTo>
                    <a:lnTo>
                      <a:pt x="356" y="14"/>
                    </a:lnTo>
                    <a:lnTo>
                      <a:pt x="362" y="14"/>
                    </a:lnTo>
                    <a:lnTo>
                      <a:pt x="364" y="11"/>
                    </a:lnTo>
                    <a:lnTo>
                      <a:pt x="364" y="6"/>
                    </a:lnTo>
                    <a:lnTo>
                      <a:pt x="362" y="6"/>
                    </a:lnTo>
                    <a:lnTo>
                      <a:pt x="362" y="3"/>
                    </a:lnTo>
                    <a:lnTo>
                      <a:pt x="359" y="0"/>
                    </a:lnTo>
                    <a:lnTo>
                      <a:pt x="356" y="0"/>
                    </a:lnTo>
                    <a:lnTo>
                      <a:pt x="353" y="3"/>
                    </a:lnTo>
                    <a:lnTo>
                      <a:pt x="351" y="0"/>
                    </a:lnTo>
                    <a:lnTo>
                      <a:pt x="345" y="19"/>
                    </a:lnTo>
                    <a:lnTo>
                      <a:pt x="345" y="22"/>
                    </a:lnTo>
                    <a:lnTo>
                      <a:pt x="342" y="22"/>
                    </a:lnTo>
                    <a:lnTo>
                      <a:pt x="342" y="25"/>
                    </a:lnTo>
                    <a:lnTo>
                      <a:pt x="342" y="31"/>
                    </a:lnTo>
                    <a:lnTo>
                      <a:pt x="339" y="31"/>
                    </a:lnTo>
                    <a:lnTo>
                      <a:pt x="334" y="33"/>
                    </a:lnTo>
                    <a:lnTo>
                      <a:pt x="337" y="25"/>
                    </a:lnTo>
                    <a:lnTo>
                      <a:pt x="334" y="19"/>
                    </a:lnTo>
                    <a:lnTo>
                      <a:pt x="337" y="17"/>
                    </a:lnTo>
                    <a:lnTo>
                      <a:pt x="337" y="8"/>
                    </a:lnTo>
                    <a:lnTo>
                      <a:pt x="334" y="8"/>
                    </a:lnTo>
                    <a:lnTo>
                      <a:pt x="334" y="8"/>
                    </a:lnTo>
                    <a:lnTo>
                      <a:pt x="314" y="39"/>
                    </a:lnTo>
                    <a:lnTo>
                      <a:pt x="317" y="36"/>
                    </a:lnTo>
                    <a:lnTo>
                      <a:pt x="312" y="47"/>
                    </a:lnTo>
                    <a:lnTo>
                      <a:pt x="309" y="50"/>
                    </a:lnTo>
                    <a:lnTo>
                      <a:pt x="309" y="42"/>
                    </a:lnTo>
                    <a:lnTo>
                      <a:pt x="312" y="39"/>
                    </a:lnTo>
                    <a:lnTo>
                      <a:pt x="312" y="39"/>
                    </a:lnTo>
                    <a:lnTo>
                      <a:pt x="312" y="36"/>
                    </a:lnTo>
                    <a:lnTo>
                      <a:pt x="312" y="31"/>
                    </a:lnTo>
                    <a:lnTo>
                      <a:pt x="312" y="31"/>
                    </a:lnTo>
                    <a:lnTo>
                      <a:pt x="323" y="11"/>
                    </a:lnTo>
                    <a:lnTo>
                      <a:pt x="320" y="11"/>
                    </a:lnTo>
                    <a:lnTo>
                      <a:pt x="317" y="14"/>
                    </a:lnTo>
                    <a:lnTo>
                      <a:pt x="314" y="14"/>
                    </a:lnTo>
                    <a:lnTo>
                      <a:pt x="312" y="11"/>
                    </a:lnTo>
                    <a:lnTo>
                      <a:pt x="312" y="8"/>
                    </a:lnTo>
                    <a:lnTo>
                      <a:pt x="309" y="8"/>
                    </a:lnTo>
                    <a:lnTo>
                      <a:pt x="309" y="6"/>
                    </a:lnTo>
                    <a:lnTo>
                      <a:pt x="306" y="8"/>
                    </a:lnTo>
                    <a:lnTo>
                      <a:pt x="306" y="8"/>
                    </a:lnTo>
                    <a:lnTo>
                      <a:pt x="303" y="8"/>
                    </a:lnTo>
                    <a:lnTo>
                      <a:pt x="303" y="14"/>
                    </a:lnTo>
                    <a:lnTo>
                      <a:pt x="300" y="14"/>
                    </a:lnTo>
                    <a:lnTo>
                      <a:pt x="300" y="17"/>
                    </a:lnTo>
                    <a:lnTo>
                      <a:pt x="303" y="19"/>
                    </a:lnTo>
                    <a:lnTo>
                      <a:pt x="303" y="19"/>
                    </a:lnTo>
                    <a:lnTo>
                      <a:pt x="300" y="22"/>
                    </a:lnTo>
                    <a:lnTo>
                      <a:pt x="298" y="25"/>
                    </a:lnTo>
                    <a:lnTo>
                      <a:pt x="298" y="31"/>
                    </a:lnTo>
                    <a:lnTo>
                      <a:pt x="292" y="31"/>
                    </a:lnTo>
                    <a:lnTo>
                      <a:pt x="289" y="33"/>
                    </a:lnTo>
                    <a:lnTo>
                      <a:pt x="287" y="36"/>
                    </a:lnTo>
                    <a:lnTo>
                      <a:pt x="284" y="42"/>
                    </a:lnTo>
                    <a:lnTo>
                      <a:pt x="284" y="42"/>
                    </a:lnTo>
                    <a:lnTo>
                      <a:pt x="284" y="45"/>
                    </a:lnTo>
                    <a:lnTo>
                      <a:pt x="284" y="53"/>
                    </a:lnTo>
                    <a:lnTo>
                      <a:pt x="281" y="53"/>
                    </a:lnTo>
                    <a:lnTo>
                      <a:pt x="278" y="50"/>
                    </a:lnTo>
                    <a:lnTo>
                      <a:pt x="278" y="47"/>
                    </a:lnTo>
                    <a:lnTo>
                      <a:pt x="281" y="47"/>
                    </a:lnTo>
                    <a:lnTo>
                      <a:pt x="275" y="47"/>
                    </a:lnTo>
                    <a:lnTo>
                      <a:pt x="278" y="42"/>
                    </a:lnTo>
                    <a:lnTo>
                      <a:pt x="278" y="42"/>
                    </a:lnTo>
                    <a:lnTo>
                      <a:pt x="270" y="42"/>
                    </a:lnTo>
                    <a:lnTo>
                      <a:pt x="270" y="45"/>
                    </a:lnTo>
                    <a:lnTo>
                      <a:pt x="270" y="45"/>
                    </a:lnTo>
                    <a:lnTo>
                      <a:pt x="267" y="45"/>
                    </a:lnTo>
                    <a:lnTo>
                      <a:pt x="267" y="42"/>
                    </a:lnTo>
                    <a:lnTo>
                      <a:pt x="267" y="39"/>
                    </a:lnTo>
                    <a:lnTo>
                      <a:pt x="264" y="42"/>
                    </a:lnTo>
                    <a:lnTo>
                      <a:pt x="264" y="39"/>
                    </a:lnTo>
                    <a:lnTo>
                      <a:pt x="261" y="39"/>
                    </a:lnTo>
                    <a:lnTo>
                      <a:pt x="261" y="39"/>
                    </a:lnTo>
                    <a:lnTo>
                      <a:pt x="261" y="39"/>
                    </a:lnTo>
                    <a:lnTo>
                      <a:pt x="261" y="45"/>
                    </a:lnTo>
                    <a:lnTo>
                      <a:pt x="259" y="39"/>
                    </a:lnTo>
                    <a:lnTo>
                      <a:pt x="256" y="36"/>
                    </a:lnTo>
                    <a:lnTo>
                      <a:pt x="256" y="45"/>
                    </a:lnTo>
                    <a:lnTo>
                      <a:pt x="261" y="47"/>
                    </a:lnTo>
                    <a:lnTo>
                      <a:pt x="264" y="47"/>
                    </a:lnTo>
                    <a:lnTo>
                      <a:pt x="261" y="56"/>
                    </a:lnTo>
                    <a:lnTo>
                      <a:pt x="264" y="61"/>
                    </a:lnTo>
                    <a:lnTo>
                      <a:pt x="264" y="64"/>
                    </a:lnTo>
                    <a:lnTo>
                      <a:pt x="253" y="50"/>
                    </a:lnTo>
                    <a:lnTo>
                      <a:pt x="253" y="56"/>
                    </a:lnTo>
                    <a:lnTo>
                      <a:pt x="250" y="56"/>
                    </a:lnTo>
                    <a:lnTo>
                      <a:pt x="250" y="58"/>
                    </a:lnTo>
                    <a:lnTo>
                      <a:pt x="250" y="58"/>
                    </a:lnTo>
                    <a:lnTo>
                      <a:pt x="248" y="61"/>
                    </a:lnTo>
                    <a:lnTo>
                      <a:pt x="248" y="58"/>
                    </a:lnTo>
                    <a:lnTo>
                      <a:pt x="248" y="58"/>
                    </a:lnTo>
                    <a:lnTo>
                      <a:pt x="248" y="53"/>
                    </a:lnTo>
                    <a:lnTo>
                      <a:pt x="245" y="56"/>
                    </a:lnTo>
                    <a:lnTo>
                      <a:pt x="245" y="58"/>
                    </a:lnTo>
                    <a:lnTo>
                      <a:pt x="242" y="61"/>
                    </a:lnTo>
                    <a:lnTo>
                      <a:pt x="242" y="61"/>
                    </a:lnTo>
                    <a:lnTo>
                      <a:pt x="242" y="70"/>
                    </a:lnTo>
                    <a:lnTo>
                      <a:pt x="236" y="72"/>
                    </a:lnTo>
                    <a:lnTo>
                      <a:pt x="236" y="78"/>
                    </a:lnTo>
                    <a:lnTo>
                      <a:pt x="234" y="81"/>
                    </a:lnTo>
                    <a:lnTo>
                      <a:pt x="236" y="75"/>
                    </a:lnTo>
                    <a:lnTo>
                      <a:pt x="236" y="53"/>
                    </a:lnTo>
                    <a:lnTo>
                      <a:pt x="234" y="56"/>
                    </a:lnTo>
                    <a:lnTo>
                      <a:pt x="228" y="64"/>
                    </a:lnTo>
                    <a:lnTo>
                      <a:pt x="228" y="75"/>
                    </a:lnTo>
                    <a:lnTo>
                      <a:pt x="225" y="61"/>
                    </a:lnTo>
                    <a:lnTo>
                      <a:pt x="220" y="61"/>
                    </a:lnTo>
                    <a:lnTo>
                      <a:pt x="217" y="67"/>
                    </a:lnTo>
                    <a:lnTo>
                      <a:pt x="217" y="75"/>
                    </a:lnTo>
                    <a:lnTo>
                      <a:pt x="220" y="78"/>
                    </a:lnTo>
                    <a:lnTo>
                      <a:pt x="222" y="78"/>
                    </a:lnTo>
                    <a:lnTo>
                      <a:pt x="225" y="83"/>
                    </a:lnTo>
                    <a:lnTo>
                      <a:pt x="225" y="86"/>
                    </a:lnTo>
                    <a:lnTo>
                      <a:pt x="222" y="86"/>
                    </a:lnTo>
                    <a:lnTo>
                      <a:pt x="220" y="81"/>
                    </a:lnTo>
                    <a:lnTo>
                      <a:pt x="217" y="78"/>
                    </a:lnTo>
                    <a:lnTo>
                      <a:pt x="211" y="72"/>
                    </a:lnTo>
                    <a:lnTo>
                      <a:pt x="209" y="72"/>
                    </a:lnTo>
                    <a:lnTo>
                      <a:pt x="211" y="78"/>
                    </a:lnTo>
                    <a:lnTo>
                      <a:pt x="214" y="81"/>
                    </a:lnTo>
                    <a:lnTo>
                      <a:pt x="211" y="83"/>
                    </a:lnTo>
                    <a:lnTo>
                      <a:pt x="209" y="81"/>
                    </a:lnTo>
                    <a:lnTo>
                      <a:pt x="209" y="83"/>
                    </a:lnTo>
                    <a:lnTo>
                      <a:pt x="209" y="81"/>
                    </a:lnTo>
                    <a:lnTo>
                      <a:pt x="206" y="81"/>
                    </a:lnTo>
                    <a:lnTo>
                      <a:pt x="206" y="81"/>
                    </a:lnTo>
                    <a:lnTo>
                      <a:pt x="206" y="75"/>
                    </a:lnTo>
                    <a:lnTo>
                      <a:pt x="203" y="75"/>
                    </a:lnTo>
                    <a:lnTo>
                      <a:pt x="200" y="83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195" y="92"/>
                    </a:lnTo>
                    <a:lnTo>
                      <a:pt x="195" y="97"/>
                    </a:lnTo>
                    <a:lnTo>
                      <a:pt x="195" y="100"/>
                    </a:lnTo>
                    <a:lnTo>
                      <a:pt x="197" y="97"/>
                    </a:lnTo>
                    <a:lnTo>
                      <a:pt x="197" y="100"/>
                    </a:lnTo>
                    <a:lnTo>
                      <a:pt x="195" y="100"/>
                    </a:lnTo>
                    <a:lnTo>
                      <a:pt x="197" y="103"/>
                    </a:lnTo>
                    <a:lnTo>
                      <a:pt x="197" y="106"/>
                    </a:lnTo>
                    <a:lnTo>
                      <a:pt x="192" y="106"/>
                    </a:lnTo>
                    <a:lnTo>
                      <a:pt x="192" y="106"/>
                    </a:lnTo>
                    <a:lnTo>
                      <a:pt x="195" y="109"/>
                    </a:lnTo>
                    <a:lnTo>
                      <a:pt x="192" y="109"/>
                    </a:lnTo>
                    <a:lnTo>
                      <a:pt x="189" y="109"/>
                    </a:lnTo>
                    <a:lnTo>
                      <a:pt x="189" y="109"/>
                    </a:lnTo>
                    <a:lnTo>
                      <a:pt x="186" y="109"/>
                    </a:lnTo>
                    <a:lnTo>
                      <a:pt x="181" y="111"/>
                    </a:lnTo>
                    <a:lnTo>
                      <a:pt x="181" y="114"/>
                    </a:lnTo>
                    <a:lnTo>
                      <a:pt x="178" y="114"/>
                    </a:lnTo>
                    <a:lnTo>
                      <a:pt x="178" y="117"/>
                    </a:lnTo>
                    <a:lnTo>
                      <a:pt x="181" y="117"/>
                    </a:lnTo>
                    <a:lnTo>
                      <a:pt x="183" y="117"/>
                    </a:lnTo>
                    <a:lnTo>
                      <a:pt x="186" y="114"/>
                    </a:lnTo>
                    <a:lnTo>
                      <a:pt x="189" y="117"/>
                    </a:lnTo>
                    <a:lnTo>
                      <a:pt x="192" y="114"/>
                    </a:lnTo>
                    <a:lnTo>
                      <a:pt x="195" y="117"/>
                    </a:lnTo>
                    <a:lnTo>
                      <a:pt x="195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89" y="125"/>
                    </a:lnTo>
                    <a:lnTo>
                      <a:pt x="186" y="122"/>
                    </a:lnTo>
                    <a:lnTo>
                      <a:pt x="183" y="122"/>
                    </a:lnTo>
                    <a:lnTo>
                      <a:pt x="181" y="120"/>
                    </a:lnTo>
                    <a:lnTo>
                      <a:pt x="178" y="120"/>
                    </a:lnTo>
                    <a:lnTo>
                      <a:pt x="175" y="122"/>
                    </a:lnTo>
                    <a:lnTo>
                      <a:pt x="172" y="125"/>
                    </a:lnTo>
                    <a:lnTo>
                      <a:pt x="175" y="128"/>
                    </a:lnTo>
                    <a:lnTo>
                      <a:pt x="175" y="131"/>
                    </a:lnTo>
                    <a:lnTo>
                      <a:pt x="175" y="131"/>
                    </a:lnTo>
                    <a:lnTo>
                      <a:pt x="175" y="136"/>
                    </a:lnTo>
                    <a:lnTo>
                      <a:pt x="175" y="139"/>
                    </a:lnTo>
                    <a:lnTo>
                      <a:pt x="175" y="136"/>
                    </a:lnTo>
                    <a:lnTo>
                      <a:pt x="175" y="139"/>
                    </a:lnTo>
                    <a:lnTo>
                      <a:pt x="172" y="142"/>
                    </a:lnTo>
                    <a:lnTo>
                      <a:pt x="170" y="131"/>
                    </a:lnTo>
                    <a:lnTo>
                      <a:pt x="167" y="131"/>
                    </a:lnTo>
                    <a:lnTo>
                      <a:pt x="167" y="134"/>
                    </a:lnTo>
                    <a:lnTo>
                      <a:pt x="164" y="134"/>
                    </a:lnTo>
                    <a:lnTo>
                      <a:pt x="164" y="136"/>
                    </a:lnTo>
                    <a:lnTo>
                      <a:pt x="167" y="136"/>
                    </a:lnTo>
                    <a:lnTo>
                      <a:pt x="167" y="136"/>
                    </a:lnTo>
                    <a:lnTo>
                      <a:pt x="164" y="139"/>
                    </a:lnTo>
                    <a:lnTo>
                      <a:pt x="161" y="139"/>
                    </a:lnTo>
                    <a:lnTo>
                      <a:pt x="161" y="142"/>
                    </a:lnTo>
                    <a:lnTo>
                      <a:pt x="161" y="145"/>
                    </a:lnTo>
                    <a:lnTo>
                      <a:pt x="164" y="148"/>
                    </a:lnTo>
                    <a:lnTo>
                      <a:pt x="161" y="148"/>
                    </a:lnTo>
                    <a:lnTo>
                      <a:pt x="164" y="150"/>
                    </a:lnTo>
                    <a:lnTo>
                      <a:pt x="161" y="150"/>
                    </a:lnTo>
                    <a:lnTo>
                      <a:pt x="161" y="153"/>
                    </a:lnTo>
                    <a:lnTo>
                      <a:pt x="158" y="153"/>
                    </a:lnTo>
                    <a:lnTo>
                      <a:pt x="158" y="153"/>
                    </a:lnTo>
                    <a:lnTo>
                      <a:pt x="158" y="156"/>
                    </a:lnTo>
                    <a:lnTo>
                      <a:pt x="161" y="156"/>
                    </a:lnTo>
                    <a:lnTo>
                      <a:pt x="167" y="153"/>
                    </a:lnTo>
                    <a:lnTo>
                      <a:pt x="161" y="159"/>
                    </a:lnTo>
                    <a:lnTo>
                      <a:pt x="156" y="159"/>
                    </a:lnTo>
                    <a:lnTo>
                      <a:pt x="156" y="159"/>
                    </a:lnTo>
                    <a:lnTo>
                      <a:pt x="153" y="156"/>
                    </a:lnTo>
                    <a:lnTo>
                      <a:pt x="153" y="156"/>
                    </a:lnTo>
                    <a:lnTo>
                      <a:pt x="147" y="159"/>
                    </a:lnTo>
                    <a:lnTo>
                      <a:pt x="147" y="164"/>
                    </a:lnTo>
                    <a:lnTo>
                      <a:pt x="145" y="164"/>
                    </a:lnTo>
                    <a:lnTo>
                      <a:pt x="145" y="167"/>
                    </a:lnTo>
                    <a:lnTo>
                      <a:pt x="147" y="167"/>
                    </a:lnTo>
                    <a:lnTo>
                      <a:pt x="145" y="173"/>
                    </a:lnTo>
                    <a:lnTo>
                      <a:pt x="142" y="173"/>
                    </a:lnTo>
                    <a:lnTo>
                      <a:pt x="142" y="178"/>
                    </a:lnTo>
                    <a:lnTo>
                      <a:pt x="139" y="178"/>
                    </a:lnTo>
                    <a:lnTo>
                      <a:pt x="139" y="178"/>
                    </a:lnTo>
                    <a:lnTo>
                      <a:pt x="136" y="178"/>
                    </a:lnTo>
                    <a:lnTo>
                      <a:pt x="133" y="181"/>
                    </a:lnTo>
                    <a:lnTo>
                      <a:pt x="136" y="184"/>
                    </a:lnTo>
                    <a:lnTo>
                      <a:pt x="133" y="187"/>
                    </a:lnTo>
                    <a:lnTo>
                      <a:pt x="131" y="187"/>
                    </a:lnTo>
                    <a:lnTo>
                      <a:pt x="131" y="189"/>
                    </a:lnTo>
                    <a:lnTo>
                      <a:pt x="128" y="189"/>
                    </a:lnTo>
                    <a:lnTo>
                      <a:pt x="128" y="192"/>
                    </a:lnTo>
                    <a:lnTo>
                      <a:pt x="128" y="192"/>
                    </a:lnTo>
                    <a:lnTo>
                      <a:pt x="128" y="195"/>
                    </a:lnTo>
                    <a:lnTo>
                      <a:pt x="131" y="195"/>
                    </a:lnTo>
                    <a:lnTo>
                      <a:pt x="131" y="198"/>
                    </a:lnTo>
                    <a:lnTo>
                      <a:pt x="128" y="198"/>
                    </a:lnTo>
                    <a:lnTo>
                      <a:pt x="125" y="198"/>
                    </a:lnTo>
                    <a:lnTo>
                      <a:pt x="125" y="203"/>
                    </a:lnTo>
                    <a:lnTo>
                      <a:pt x="128" y="203"/>
                    </a:lnTo>
                    <a:lnTo>
                      <a:pt x="128" y="203"/>
                    </a:lnTo>
                    <a:lnTo>
                      <a:pt x="131" y="203"/>
                    </a:lnTo>
                    <a:lnTo>
                      <a:pt x="131" y="206"/>
                    </a:lnTo>
                    <a:lnTo>
                      <a:pt x="122" y="206"/>
                    </a:lnTo>
                    <a:lnTo>
                      <a:pt x="122" y="209"/>
                    </a:lnTo>
                    <a:lnTo>
                      <a:pt x="122" y="212"/>
                    </a:lnTo>
                    <a:lnTo>
                      <a:pt x="119" y="214"/>
                    </a:lnTo>
                    <a:lnTo>
                      <a:pt x="117" y="214"/>
                    </a:lnTo>
                    <a:lnTo>
                      <a:pt x="117" y="220"/>
                    </a:lnTo>
                    <a:lnTo>
                      <a:pt x="119" y="220"/>
                    </a:lnTo>
                    <a:lnTo>
                      <a:pt x="119" y="217"/>
                    </a:lnTo>
                    <a:lnTo>
                      <a:pt x="122" y="214"/>
                    </a:lnTo>
                    <a:lnTo>
                      <a:pt x="122" y="217"/>
                    </a:lnTo>
                    <a:lnTo>
                      <a:pt x="125" y="223"/>
                    </a:lnTo>
                    <a:lnTo>
                      <a:pt x="119" y="220"/>
                    </a:lnTo>
                    <a:lnTo>
                      <a:pt x="119" y="223"/>
                    </a:lnTo>
                    <a:lnTo>
                      <a:pt x="119" y="223"/>
                    </a:lnTo>
                    <a:lnTo>
                      <a:pt x="119" y="226"/>
                    </a:lnTo>
                    <a:lnTo>
                      <a:pt x="117" y="226"/>
                    </a:lnTo>
                    <a:lnTo>
                      <a:pt x="119" y="228"/>
                    </a:lnTo>
                    <a:lnTo>
                      <a:pt x="117" y="231"/>
                    </a:lnTo>
                    <a:lnTo>
                      <a:pt x="117" y="228"/>
                    </a:lnTo>
                    <a:lnTo>
                      <a:pt x="114" y="231"/>
                    </a:lnTo>
                    <a:lnTo>
                      <a:pt x="117" y="234"/>
                    </a:lnTo>
                    <a:lnTo>
                      <a:pt x="117" y="234"/>
                    </a:lnTo>
                    <a:lnTo>
                      <a:pt x="117" y="239"/>
                    </a:lnTo>
                    <a:lnTo>
                      <a:pt x="117" y="237"/>
                    </a:lnTo>
                    <a:lnTo>
                      <a:pt x="114" y="237"/>
                    </a:lnTo>
                    <a:lnTo>
                      <a:pt x="111" y="234"/>
                    </a:lnTo>
                    <a:lnTo>
                      <a:pt x="111" y="239"/>
                    </a:lnTo>
                    <a:lnTo>
                      <a:pt x="111" y="239"/>
                    </a:lnTo>
                    <a:lnTo>
                      <a:pt x="108" y="239"/>
                    </a:lnTo>
                    <a:lnTo>
                      <a:pt x="108" y="242"/>
                    </a:lnTo>
                    <a:lnTo>
                      <a:pt x="111" y="245"/>
                    </a:lnTo>
                    <a:lnTo>
                      <a:pt x="111" y="242"/>
                    </a:lnTo>
                    <a:lnTo>
                      <a:pt x="114" y="242"/>
                    </a:lnTo>
                    <a:lnTo>
                      <a:pt x="114" y="242"/>
                    </a:lnTo>
                    <a:lnTo>
                      <a:pt x="114" y="245"/>
                    </a:lnTo>
                    <a:lnTo>
                      <a:pt x="114" y="248"/>
                    </a:lnTo>
                    <a:lnTo>
                      <a:pt x="111" y="251"/>
                    </a:lnTo>
                    <a:lnTo>
                      <a:pt x="108" y="248"/>
                    </a:lnTo>
                    <a:lnTo>
                      <a:pt x="108" y="251"/>
                    </a:lnTo>
                    <a:lnTo>
                      <a:pt x="106" y="248"/>
                    </a:lnTo>
                    <a:lnTo>
                      <a:pt x="103" y="253"/>
                    </a:lnTo>
                    <a:lnTo>
                      <a:pt x="103" y="253"/>
                    </a:lnTo>
                    <a:lnTo>
                      <a:pt x="100" y="256"/>
                    </a:lnTo>
                    <a:lnTo>
                      <a:pt x="97" y="256"/>
                    </a:lnTo>
                    <a:lnTo>
                      <a:pt x="97" y="262"/>
                    </a:lnTo>
                    <a:lnTo>
                      <a:pt x="100" y="262"/>
                    </a:lnTo>
                    <a:lnTo>
                      <a:pt x="103" y="262"/>
                    </a:lnTo>
                    <a:lnTo>
                      <a:pt x="103" y="262"/>
                    </a:lnTo>
                    <a:lnTo>
                      <a:pt x="100" y="264"/>
                    </a:lnTo>
                    <a:lnTo>
                      <a:pt x="100" y="267"/>
                    </a:lnTo>
                    <a:lnTo>
                      <a:pt x="100" y="270"/>
                    </a:lnTo>
                    <a:lnTo>
                      <a:pt x="97" y="273"/>
                    </a:lnTo>
                    <a:lnTo>
                      <a:pt x="94" y="273"/>
                    </a:lnTo>
                    <a:lnTo>
                      <a:pt x="92" y="270"/>
                    </a:lnTo>
                    <a:lnTo>
                      <a:pt x="92" y="270"/>
                    </a:lnTo>
                    <a:lnTo>
                      <a:pt x="89" y="273"/>
                    </a:lnTo>
                    <a:lnTo>
                      <a:pt x="86" y="276"/>
                    </a:lnTo>
                    <a:lnTo>
                      <a:pt x="86" y="278"/>
                    </a:lnTo>
                    <a:lnTo>
                      <a:pt x="78" y="287"/>
                    </a:lnTo>
                    <a:lnTo>
                      <a:pt x="78" y="290"/>
                    </a:lnTo>
                    <a:lnTo>
                      <a:pt x="78" y="292"/>
                    </a:lnTo>
                    <a:lnTo>
                      <a:pt x="72" y="295"/>
                    </a:lnTo>
                    <a:lnTo>
                      <a:pt x="72" y="298"/>
                    </a:lnTo>
                    <a:lnTo>
                      <a:pt x="72" y="301"/>
                    </a:lnTo>
                    <a:lnTo>
                      <a:pt x="78" y="298"/>
                    </a:lnTo>
                    <a:lnTo>
                      <a:pt x="75" y="303"/>
                    </a:lnTo>
                    <a:lnTo>
                      <a:pt x="78" y="306"/>
                    </a:lnTo>
                    <a:lnTo>
                      <a:pt x="78" y="306"/>
                    </a:lnTo>
                    <a:lnTo>
                      <a:pt x="94" y="295"/>
                    </a:lnTo>
                    <a:lnTo>
                      <a:pt x="97" y="295"/>
                    </a:lnTo>
                    <a:lnTo>
                      <a:pt x="97" y="295"/>
                    </a:lnTo>
                    <a:lnTo>
                      <a:pt x="97" y="298"/>
                    </a:lnTo>
                    <a:lnTo>
                      <a:pt x="94" y="298"/>
                    </a:lnTo>
                    <a:lnTo>
                      <a:pt x="92" y="298"/>
                    </a:lnTo>
                    <a:lnTo>
                      <a:pt x="86" y="303"/>
                    </a:lnTo>
                    <a:lnTo>
                      <a:pt x="89" y="306"/>
                    </a:lnTo>
                    <a:lnTo>
                      <a:pt x="86" y="306"/>
                    </a:lnTo>
                    <a:lnTo>
                      <a:pt x="83" y="309"/>
                    </a:lnTo>
                    <a:lnTo>
                      <a:pt x="80" y="309"/>
                    </a:lnTo>
                    <a:lnTo>
                      <a:pt x="78" y="309"/>
                    </a:lnTo>
                    <a:lnTo>
                      <a:pt x="80" y="312"/>
                    </a:lnTo>
                    <a:lnTo>
                      <a:pt x="78" y="312"/>
                    </a:lnTo>
                    <a:lnTo>
                      <a:pt x="75" y="312"/>
                    </a:lnTo>
                    <a:lnTo>
                      <a:pt x="75" y="309"/>
                    </a:lnTo>
                    <a:lnTo>
                      <a:pt x="72" y="303"/>
                    </a:lnTo>
                    <a:lnTo>
                      <a:pt x="72" y="303"/>
                    </a:lnTo>
                    <a:lnTo>
                      <a:pt x="69" y="303"/>
                    </a:lnTo>
                    <a:lnTo>
                      <a:pt x="69" y="306"/>
                    </a:lnTo>
                    <a:lnTo>
                      <a:pt x="67" y="306"/>
                    </a:lnTo>
                    <a:lnTo>
                      <a:pt x="67" y="306"/>
                    </a:lnTo>
                    <a:lnTo>
                      <a:pt x="67" y="309"/>
                    </a:lnTo>
                    <a:lnTo>
                      <a:pt x="67" y="312"/>
                    </a:lnTo>
                    <a:lnTo>
                      <a:pt x="67" y="312"/>
                    </a:lnTo>
                    <a:lnTo>
                      <a:pt x="64" y="315"/>
                    </a:lnTo>
                    <a:lnTo>
                      <a:pt x="64" y="312"/>
                    </a:lnTo>
                    <a:lnTo>
                      <a:pt x="64" y="309"/>
                    </a:lnTo>
                    <a:lnTo>
                      <a:pt x="64" y="309"/>
                    </a:lnTo>
                    <a:lnTo>
                      <a:pt x="55" y="312"/>
                    </a:lnTo>
                    <a:lnTo>
                      <a:pt x="53" y="312"/>
                    </a:lnTo>
                    <a:lnTo>
                      <a:pt x="53" y="315"/>
                    </a:lnTo>
                    <a:lnTo>
                      <a:pt x="50" y="315"/>
                    </a:lnTo>
                    <a:lnTo>
                      <a:pt x="50" y="317"/>
                    </a:lnTo>
                    <a:lnTo>
                      <a:pt x="50" y="317"/>
                    </a:lnTo>
                    <a:lnTo>
                      <a:pt x="47" y="317"/>
                    </a:lnTo>
                    <a:lnTo>
                      <a:pt x="47" y="317"/>
                    </a:lnTo>
                    <a:lnTo>
                      <a:pt x="47" y="317"/>
                    </a:lnTo>
                    <a:lnTo>
                      <a:pt x="47" y="317"/>
                    </a:lnTo>
                    <a:lnTo>
                      <a:pt x="47" y="317"/>
                    </a:lnTo>
                    <a:lnTo>
                      <a:pt x="47" y="320"/>
                    </a:lnTo>
                    <a:lnTo>
                      <a:pt x="44" y="320"/>
                    </a:lnTo>
                    <a:lnTo>
                      <a:pt x="44" y="320"/>
                    </a:lnTo>
                    <a:lnTo>
                      <a:pt x="39" y="323"/>
                    </a:lnTo>
                    <a:lnTo>
                      <a:pt x="36" y="329"/>
                    </a:lnTo>
                    <a:lnTo>
                      <a:pt x="36" y="329"/>
                    </a:lnTo>
                    <a:lnTo>
                      <a:pt x="33" y="326"/>
                    </a:lnTo>
                    <a:lnTo>
                      <a:pt x="30" y="329"/>
                    </a:lnTo>
                    <a:lnTo>
                      <a:pt x="28" y="331"/>
                    </a:lnTo>
                    <a:lnTo>
                      <a:pt x="30" y="334"/>
                    </a:lnTo>
                    <a:lnTo>
                      <a:pt x="30" y="334"/>
                    </a:lnTo>
                    <a:lnTo>
                      <a:pt x="33" y="334"/>
                    </a:lnTo>
                    <a:lnTo>
                      <a:pt x="36" y="334"/>
                    </a:lnTo>
                    <a:lnTo>
                      <a:pt x="36" y="337"/>
                    </a:lnTo>
                    <a:lnTo>
                      <a:pt x="39" y="337"/>
                    </a:lnTo>
                    <a:lnTo>
                      <a:pt x="36" y="340"/>
                    </a:lnTo>
                    <a:lnTo>
                      <a:pt x="39" y="342"/>
                    </a:lnTo>
                    <a:lnTo>
                      <a:pt x="36" y="340"/>
                    </a:lnTo>
                    <a:lnTo>
                      <a:pt x="25" y="340"/>
                    </a:lnTo>
                    <a:lnTo>
                      <a:pt x="22" y="340"/>
                    </a:lnTo>
                    <a:lnTo>
                      <a:pt x="22" y="340"/>
                    </a:lnTo>
                    <a:lnTo>
                      <a:pt x="19" y="342"/>
                    </a:lnTo>
                    <a:lnTo>
                      <a:pt x="19" y="342"/>
                    </a:lnTo>
                    <a:lnTo>
                      <a:pt x="22" y="342"/>
                    </a:lnTo>
                    <a:lnTo>
                      <a:pt x="19" y="342"/>
                    </a:lnTo>
                    <a:lnTo>
                      <a:pt x="19" y="345"/>
                    </a:lnTo>
                    <a:lnTo>
                      <a:pt x="22" y="345"/>
                    </a:lnTo>
                    <a:lnTo>
                      <a:pt x="25" y="345"/>
                    </a:lnTo>
                    <a:lnTo>
                      <a:pt x="22" y="348"/>
                    </a:lnTo>
                    <a:lnTo>
                      <a:pt x="22" y="354"/>
                    </a:lnTo>
                    <a:lnTo>
                      <a:pt x="22" y="354"/>
                    </a:lnTo>
                    <a:lnTo>
                      <a:pt x="19" y="351"/>
                    </a:lnTo>
                    <a:lnTo>
                      <a:pt x="19" y="348"/>
                    </a:lnTo>
                    <a:lnTo>
                      <a:pt x="16" y="351"/>
                    </a:lnTo>
                    <a:lnTo>
                      <a:pt x="14" y="354"/>
                    </a:lnTo>
                    <a:lnTo>
                      <a:pt x="16" y="356"/>
                    </a:lnTo>
                    <a:lnTo>
                      <a:pt x="16" y="359"/>
                    </a:lnTo>
                    <a:lnTo>
                      <a:pt x="14" y="356"/>
                    </a:lnTo>
                    <a:lnTo>
                      <a:pt x="14" y="354"/>
                    </a:lnTo>
                    <a:lnTo>
                      <a:pt x="11" y="356"/>
                    </a:lnTo>
                    <a:lnTo>
                      <a:pt x="5" y="354"/>
                    </a:lnTo>
                    <a:lnTo>
                      <a:pt x="5" y="356"/>
                    </a:lnTo>
                    <a:lnTo>
                      <a:pt x="5" y="359"/>
                    </a:lnTo>
                    <a:lnTo>
                      <a:pt x="3" y="354"/>
                    </a:lnTo>
                    <a:lnTo>
                      <a:pt x="0" y="356"/>
                    </a:lnTo>
                    <a:lnTo>
                      <a:pt x="3" y="359"/>
                    </a:lnTo>
                    <a:lnTo>
                      <a:pt x="3" y="362"/>
                    </a:lnTo>
                    <a:lnTo>
                      <a:pt x="3" y="362"/>
                    </a:lnTo>
                    <a:lnTo>
                      <a:pt x="16" y="359"/>
                    </a:lnTo>
                    <a:lnTo>
                      <a:pt x="14" y="362"/>
                    </a:lnTo>
                    <a:lnTo>
                      <a:pt x="14" y="365"/>
                    </a:lnTo>
                    <a:lnTo>
                      <a:pt x="19" y="362"/>
                    </a:lnTo>
                    <a:lnTo>
                      <a:pt x="19" y="365"/>
                    </a:lnTo>
                    <a:lnTo>
                      <a:pt x="16" y="365"/>
                    </a:lnTo>
                    <a:lnTo>
                      <a:pt x="8" y="365"/>
                    </a:lnTo>
                    <a:lnTo>
                      <a:pt x="8" y="365"/>
                    </a:lnTo>
                    <a:lnTo>
                      <a:pt x="5" y="365"/>
                    </a:lnTo>
                    <a:lnTo>
                      <a:pt x="3" y="368"/>
                    </a:lnTo>
                    <a:lnTo>
                      <a:pt x="3" y="368"/>
                    </a:lnTo>
                    <a:lnTo>
                      <a:pt x="0" y="368"/>
                    </a:lnTo>
                    <a:lnTo>
                      <a:pt x="0" y="370"/>
                    </a:lnTo>
                    <a:lnTo>
                      <a:pt x="0" y="370"/>
                    </a:lnTo>
                    <a:lnTo>
                      <a:pt x="3" y="373"/>
                    </a:lnTo>
                    <a:lnTo>
                      <a:pt x="3" y="373"/>
                    </a:lnTo>
                    <a:lnTo>
                      <a:pt x="3" y="376"/>
                    </a:lnTo>
                    <a:lnTo>
                      <a:pt x="0" y="379"/>
                    </a:lnTo>
                    <a:lnTo>
                      <a:pt x="0" y="381"/>
                    </a:lnTo>
                    <a:lnTo>
                      <a:pt x="0" y="384"/>
                    </a:lnTo>
                    <a:lnTo>
                      <a:pt x="0" y="384"/>
                    </a:lnTo>
                    <a:lnTo>
                      <a:pt x="0" y="387"/>
                    </a:lnTo>
                    <a:lnTo>
                      <a:pt x="0" y="387"/>
                    </a:lnTo>
                    <a:lnTo>
                      <a:pt x="5" y="390"/>
                    </a:lnTo>
                    <a:lnTo>
                      <a:pt x="14" y="384"/>
                    </a:lnTo>
                    <a:lnTo>
                      <a:pt x="16" y="387"/>
                    </a:lnTo>
                    <a:lnTo>
                      <a:pt x="19" y="387"/>
                    </a:lnTo>
                    <a:lnTo>
                      <a:pt x="22" y="379"/>
                    </a:lnTo>
                    <a:lnTo>
                      <a:pt x="22" y="381"/>
                    </a:lnTo>
                    <a:lnTo>
                      <a:pt x="22" y="387"/>
                    </a:lnTo>
                    <a:lnTo>
                      <a:pt x="22" y="387"/>
                    </a:lnTo>
                    <a:lnTo>
                      <a:pt x="28" y="387"/>
                    </a:lnTo>
                    <a:lnTo>
                      <a:pt x="28" y="387"/>
                    </a:lnTo>
                    <a:lnTo>
                      <a:pt x="30" y="387"/>
                    </a:lnTo>
                    <a:lnTo>
                      <a:pt x="33" y="384"/>
                    </a:lnTo>
                    <a:lnTo>
                      <a:pt x="33" y="376"/>
                    </a:lnTo>
                    <a:lnTo>
                      <a:pt x="39" y="376"/>
                    </a:lnTo>
                    <a:lnTo>
                      <a:pt x="39" y="376"/>
                    </a:lnTo>
                    <a:lnTo>
                      <a:pt x="36" y="381"/>
                    </a:lnTo>
                    <a:lnTo>
                      <a:pt x="36" y="384"/>
                    </a:lnTo>
                    <a:lnTo>
                      <a:pt x="36" y="384"/>
                    </a:lnTo>
                    <a:lnTo>
                      <a:pt x="39" y="384"/>
                    </a:lnTo>
                    <a:lnTo>
                      <a:pt x="39" y="384"/>
                    </a:lnTo>
                    <a:lnTo>
                      <a:pt x="36" y="387"/>
                    </a:lnTo>
                    <a:lnTo>
                      <a:pt x="30" y="390"/>
                    </a:lnTo>
                    <a:lnTo>
                      <a:pt x="30" y="393"/>
                    </a:lnTo>
                    <a:lnTo>
                      <a:pt x="33" y="393"/>
                    </a:lnTo>
                    <a:lnTo>
                      <a:pt x="28" y="395"/>
                    </a:lnTo>
                    <a:lnTo>
                      <a:pt x="28" y="393"/>
                    </a:lnTo>
                    <a:lnTo>
                      <a:pt x="28" y="390"/>
                    </a:lnTo>
                    <a:lnTo>
                      <a:pt x="25" y="390"/>
                    </a:lnTo>
                    <a:lnTo>
                      <a:pt x="22" y="390"/>
                    </a:lnTo>
                    <a:lnTo>
                      <a:pt x="16" y="390"/>
                    </a:lnTo>
                    <a:lnTo>
                      <a:pt x="14" y="390"/>
                    </a:lnTo>
                    <a:lnTo>
                      <a:pt x="11" y="390"/>
                    </a:lnTo>
                    <a:lnTo>
                      <a:pt x="8" y="390"/>
                    </a:lnTo>
                    <a:lnTo>
                      <a:pt x="8" y="393"/>
                    </a:lnTo>
                    <a:lnTo>
                      <a:pt x="3" y="390"/>
                    </a:lnTo>
                    <a:lnTo>
                      <a:pt x="0" y="395"/>
                    </a:lnTo>
                    <a:lnTo>
                      <a:pt x="0" y="398"/>
                    </a:lnTo>
                    <a:lnTo>
                      <a:pt x="3" y="398"/>
                    </a:lnTo>
                    <a:lnTo>
                      <a:pt x="3" y="398"/>
                    </a:lnTo>
                    <a:lnTo>
                      <a:pt x="3" y="401"/>
                    </a:lnTo>
                    <a:lnTo>
                      <a:pt x="0" y="401"/>
                    </a:lnTo>
                    <a:lnTo>
                      <a:pt x="0" y="398"/>
                    </a:lnTo>
                    <a:lnTo>
                      <a:pt x="0" y="398"/>
                    </a:lnTo>
                    <a:lnTo>
                      <a:pt x="0" y="398"/>
                    </a:lnTo>
                    <a:lnTo>
                      <a:pt x="0" y="401"/>
                    </a:lnTo>
                    <a:lnTo>
                      <a:pt x="3" y="407"/>
                    </a:lnTo>
                    <a:lnTo>
                      <a:pt x="3" y="407"/>
                    </a:lnTo>
                    <a:lnTo>
                      <a:pt x="8" y="404"/>
                    </a:lnTo>
                    <a:lnTo>
                      <a:pt x="8" y="404"/>
                    </a:lnTo>
                    <a:lnTo>
                      <a:pt x="5" y="409"/>
                    </a:lnTo>
                    <a:lnTo>
                      <a:pt x="5" y="409"/>
                    </a:lnTo>
                    <a:lnTo>
                      <a:pt x="3" y="412"/>
                    </a:lnTo>
                    <a:lnTo>
                      <a:pt x="0" y="412"/>
                    </a:lnTo>
                    <a:lnTo>
                      <a:pt x="3" y="415"/>
                    </a:lnTo>
                    <a:lnTo>
                      <a:pt x="3" y="418"/>
                    </a:lnTo>
                    <a:lnTo>
                      <a:pt x="3" y="418"/>
                    </a:lnTo>
                    <a:lnTo>
                      <a:pt x="5" y="418"/>
                    </a:lnTo>
                    <a:lnTo>
                      <a:pt x="8" y="415"/>
                    </a:lnTo>
                    <a:lnTo>
                      <a:pt x="8" y="418"/>
                    </a:lnTo>
                    <a:lnTo>
                      <a:pt x="11" y="420"/>
                    </a:lnTo>
                    <a:lnTo>
                      <a:pt x="8" y="423"/>
                    </a:lnTo>
                    <a:lnTo>
                      <a:pt x="5" y="423"/>
                    </a:lnTo>
                    <a:lnTo>
                      <a:pt x="5" y="426"/>
                    </a:lnTo>
                    <a:lnTo>
                      <a:pt x="5" y="426"/>
                    </a:lnTo>
                    <a:lnTo>
                      <a:pt x="8" y="423"/>
                    </a:lnTo>
                    <a:lnTo>
                      <a:pt x="11" y="420"/>
                    </a:lnTo>
                    <a:lnTo>
                      <a:pt x="11" y="418"/>
                    </a:lnTo>
                    <a:lnTo>
                      <a:pt x="14" y="415"/>
                    </a:lnTo>
                    <a:lnTo>
                      <a:pt x="19" y="407"/>
                    </a:lnTo>
                    <a:lnTo>
                      <a:pt x="22" y="404"/>
                    </a:lnTo>
                    <a:lnTo>
                      <a:pt x="22" y="407"/>
                    </a:lnTo>
                    <a:lnTo>
                      <a:pt x="22" y="407"/>
                    </a:lnTo>
                    <a:lnTo>
                      <a:pt x="28" y="407"/>
                    </a:lnTo>
                    <a:lnTo>
                      <a:pt x="30" y="407"/>
                    </a:lnTo>
                    <a:lnTo>
                      <a:pt x="25" y="409"/>
                    </a:lnTo>
                    <a:lnTo>
                      <a:pt x="25" y="415"/>
                    </a:lnTo>
                    <a:lnTo>
                      <a:pt x="22" y="409"/>
                    </a:lnTo>
                    <a:lnTo>
                      <a:pt x="22" y="409"/>
                    </a:lnTo>
                    <a:lnTo>
                      <a:pt x="16" y="418"/>
                    </a:lnTo>
                    <a:lnTo>
                      <a:pt x="19" y="418"/>
                    </a:lnTo>
                    <a:lnTo>
                      <a:pt x="19" y="420"/>
                    </a:lnTo>
                    <a:lnTo>
                      <a:pt x="16" y="420"/>
                    </a:lnTo>
                    <a:lnTo>
                      <a:pt x="11" y="429"/>
                    </a:lnTo>
                    <a:lnTo>
                      <a:pt x="11" y="429"/>
                    </a:lnTo>
                    <a:lnTo>
                      <a:pt x="16" y="429"/>
                    </a:lnTo>
                    <a:lnTo>
                      <a:pt x="19" y="429"/>
                    </a:lnTo>
                    <a:lnTo>
                      <a:pt x="19" y="429"/>
                    </a:lnTo>
                    <a:lnTo>
                      <a:pt x="14" y="432"/>
                    </a:lnTo>
                    <a:lnTo>
                      <a:pt x="11" y="434"/>
                    </a:lnTo>
                    <a:lnTo>
                      <a:pt x="11" y="434"/>
                    </a:lnTo>
                    <a:lnTo>
                      <a:pt x="8" y="434"/>
                    </a:lnTo>
                    <a:lnTo>
                      <a:pt x="8" y="434"/>
                    </a:lnTo>
                    <a:lnTo>
                      <a:pt x="5" y="434"/>
                    </a:lnTo>
                    <a:lnTo>
                      <a:pt x="3" y="440"/>
                    </a:lnTo>
                    <a:lnTo>
                      <a:pt x="3" y="443"/>
                    </a:lnTo>
                    <a:lnTo>
                      <a:pt x="3" y="443"/>
                    </a:lnTo>
                    <a:lnTo>
                      <a:pt x="3" y="445"/>
                    </a:lnTo>
                    <a:lnTo>
                      <a:pt x="5" y="445"/>
                    </a:lnTo>
                    <a:lnTo>
                      <a:pt x="8" y="443"/>
                    </a:lnTo>
                    <a:lnTo>
                      <a:pt x="8" y="445"/>
                    </a:lnTo>
                    <a:lnTo>
                      <a:pt x="11" y="445"/>
                    </a:lnTo>
                    <a:lnTo>
                      <a:pt x="11" y="443"/>
                    </a:lnTo>
                    <a:lnTo>
                      <a:pt x="11" y="440"/>
                    </a:lnTo>
                    <a:lnTo>
                      <a:pt x="11" y="443"/>
                    </a:lnTo>
                    <a:lnTo>
                      <a:pt x="16" y="440"/>
                    </a:lnTo>
                    <a:lnTo>
                      <a:pt x="16" y="437"/>
                    </a:lnTo>
                    <a:lnTo>
                      <a:pt x="19" y="440"/>
                    </a:lnTo>
                    <a:lnTo>
                      <a:pt x="14" y="443"/>
                    </a:lnTo>
                    <a:lnTo>
                      <a:pt x="16" y="443"/>
                    </a:lnTo>
                    <a:lnTo>
                      <a:pt x="16" y="445"/>
                    </a:lnTo>
                    <a:lnTo>
                      <a:pt x="14" y="451"/>
                    </a:lnTo>
                    <a:lnTo>
                      <a:pt x="14" y="454"/>
                    </a:lnTo>
                    <a:lnTo>
                      <a:pt x="14" y="457"/>
                    </a:lnTo>
                    <a:lnTo>
                      <a:pt x="11" y="457"/>
                    </a:lnTo>
                    <a:lnTo>
                      <a:pt x="11" y="457"/>
                    </a:lnTo>
                    <a:lnTo>
                      <a:pt x="8" y="454"/>
                    </a:lnTo>
                    <a:lnTo>
                      <a:pt x="8" y="454"/>
                    </a:lnTo>
                    <a:lnTo>
                      <a:pt x="5" y="465"/>
                    </a:lnTo>
                    <a:lnTo>
                      <a:pt x="19" y="476"/>
                    </a:lnTo>
                    <a:lnTo>
                      <a:pt x="22" y="476"/>
                    </a:lnTo>
                    <a:lnTo>
                      <a:pt x="25" y="473"/>
                    </a:lnTo>
                    <a:lnTo>
                      <a:pt x="25" y="482"/>
                    </a:lnTo>
                    <a:lnTo>
                      <a:pt x="25" y="482"/>
                    </a:lnTo>
                    <a:lnTo>
                      <a:pt x="28" y="482"/>
                    </a:lnTo>
                    <a:lnTo>
                      <a:pt x="30" y="479"/>
                    </a:lnTo>
                    <a:lnTo>
                      <a:pt x="33" y="479"/>
                    </a:lnTo>
                    <a:lnTo>
                      <a:pt x="33" y="482"/>
                    </a:lnTo>
                    <a:lnTo>
                      <a:pt x="36" y="484"/>
                    </a:lnTo>
                    <a:lnTo>
                      <a:pt x="39" y="482"/>
                    </a:lnTo>
                    <a:lnTo>
                      <a:pt x="44" y="479"/>
                    </a:lnTo>
                    <a:lnTo>
                      <a:pt x="44" y="476"/>
                    </a:lnTo>
                    <a:lnTo>
                      <a:pt x="47" y="479"/>
                    </a:lnTo>
                    <a:lnTo>
                      <a:pt x="53" y="476"/>
                    </a:lnTo>
                    <a:lnTo>
                      <a:pt x="58" y="468"/>
                    </a:lnTo>
                    <a:lnTo>
                      <a:pt x="61" y="465"/>
                    </a:lnTo>
                    <a:lnTo>
                      <a:pt x="64" y="462"/>
                    </a:lnTo>
                    <a:lnTo>
                      <a:pt x="64" y="462"/>
                    </a:lnTo>
                    <a:lnTo>
                      <a:pt x="64" y="459"/>
                    </a:lnTo>
                    <a:lnTo>
                      <a:pt x="69" y="454"/>
                    </a:lnTo>
                    <a:lnTo>
                      <a:pt x="69" y="451"/>
                    </a:lnTo>
                    <a:lnTo>
                      <a:pt x="72" y="454"/>
                    </a:lnTo>
                    <a:lnTo>
                      <a:pt x="78" y="454"/>
                    </a:lnTo>
                    <a:lnTo>
                      <a:pt x="78" y="454"/>
                    </a:lnTo>
                    <a:lnTo>
                      <a:pt x="80" y="448"/>
                    </a:lnTo>
                    <a:lnTo>
                      <a:pt x="83" y="445"/>
                    </a:lnTo>
                    <a:lnTo>
                      <a:pt x="80" y="443"/>
                    </a:lnTo>
                    <a:lnTo>
                      <a:pt x="80" y="440"/>
                    </a:lnTo>
                    <a:lnTo>
                      <a:pt x="78" y="437"/>
                    </a:lnTo>
                    <a:lnTo>
                      <a:pt x="80" y="437"/>
                    </a:lnTo>
                    <a:lnTo>
                      <a:pt x="80" y="437"/>
                    </a:lnTo>
                    <a:lnTo>
                      <a:pt x="80" y="432"/>
                    </a:lnTo>
                    <a:lnTo>
                      <a:pt x="80" y="434"/>
                    </a:lnTo>
                    <a:lnTo>
                      <a:pt x="80" y="437"/>
                    </a:lnTo>
                    <a:lnTo>
                      <a:pt x="80" y="437"/>
                    </a:lnTo>
                    <a:lnTo>
                      <a:pt x="83" y="437"/>
                    </a:lnTo>
                    <a:lnTo>
                      <a:pt x="83" y="437"/>
                    </a:lnTo>
                    <a:lnTo>
                      <a:pt x="83" y="434"/>
                    </a:lnTo>
                    <a:lnTo>
                      <a:pt x="83" y="429"/>
                    </a:lnTo>
                    <a:lnTo>
                      <a:pt x="83" y="429"/>
                    </a:lnTo>
                    <a:lnTo>
                      <a:pt x="83" y="429"/>
                    </a:lnTo>
                    <a:lnTo>
                      <a:pt x="86" y="426"/>
                    </a:lnTo>
                    <a:lnTo>
                      <a:pt x="86" y="429"/>
                    </a:lnTo>
                    <a:lnTo>
                      <a:pt x="86" y="432"/>
                    </a:lnTo>
                    <a:lnTo>
                      <a:pt x="83" y="432"/>
                    </a:lnTo>
                    <a:lnTo>
                      <a:pt x="86" y="448"/>
                    </a:lnTo>
                    <a:lnTo>
                      <a:pt x="89" y="448"/>
                    </a:lnTo>
                    <a:lnTo>
                      <a:pt x="92" y="448"/>
                    </a:lnTo>
                    <a:lnTo>
                      <a:pt x="94" y="448"/>
                    </a:lnTo>
                    <a:lnTo>
                      <a:pt x="94" y="454"/>
                    </a:lnTo>
                    <a:lnTo>
                      <a:pt x="94" y="459"/>
                    </a:lnTo>
                    <a:lnTo>
                      <a:pt x="97" y="457"/>
                    </a:lnTo>
                    <a:lnTo>
                      <a:pt x="97" y="457"/>
                    </a:lnTo>
                    <a:lnTo>
                      <a:pt x="100" y="457"/>
                    </a:lnTo>
                    <a:lnTo>
                      <a:pt x="103" y="445"/>
                    </a:lnTo>
                    <a:lnTo>
                      <a:pt x="100" y="437"/>
                    </a:lnTo>
                    <a:lnTo>
                      <a:pt x="103" y="432"/>
                    </a:lnTo>
                    <a:lnTo>
                      <a:pt x="103" y="426"/>
                    </a:lnTo>
                    <a:lnTo>
                      <a:pt x="111" y="423"/>
                    </a:lnTo>
                    <a:lnTo>
                      <a:pt x="114" y="420"/>
                    </a:lnTo>
                    <a:lnTo>
                      <a:pt x="114" y="418"/>
                    </a:lnTo>
                    <a:lnTo>
                      <a:pt x="111" y="415"/>
                    </a:lnTo>
                    <a:lnTo>
                      <a:pt x="114" y="407"/>
                    </a:lnTo>
                    <a:lnTo>
                      <a:pt x="111" y="395"/>
                    </a:lnTo>
                    <a:lnTo>
                      <a:pt x="108" y="393"/>
                    </a:lnTo>
                    <a:lnTo>
                      <a:pt x="111" y="390"/>
                    </a:lnTo>
                    <a:lnTo>
                      <a:pt x="114" y="390"/>
                    </a:lnTo>
                    <a:lnTo>
                      <a:pt x="117" y="387"/>
                    </a:lnTo>
                    <a:lnTo>
                      <a:pt x="119" y="381"/>
                    </a:lnTo>
                    <a:lnTo>
                      <a:pt x="117" y="376"/>
                    </a:lnTo>
                    <a:lnTo>
                      <a:pt x="111" y="370"/>
                    </a:lnTo>
                    <a:lnTo>
                      <a:pt x="108" y="368"/>
                    </a:lnTo>
                    <a:lnTo>
                      <a:pt x="108" y="348"/>
                    </a:lnTo>
                    <a:lnTo>
                      <a:pt x="108" y="345"/>
                    </a:lnTo>
                    <a:lnTo>
                      <a:pt x="108" y="342"/>
                    </a:lnTo>
                    <a:lnTo>
                      <a:pt x="108" y="326"/>
                    </a:lnTo>
                    <a:lnTo>
                      <a:pt x="111" y="323"/>
                    </a:lnTo>
                    <a:lnTo>
                      <a:pt x="111" y="320"/>
                    </a:lnTo>
                    <a:lnTo>
                      <a:pt x="108" y="317"/>
                    </a:lnTo>
                    <a:lnTo>
                      <a:pt x="108" y="312"/>
                    </a:lnTo>
                    <a:lnTo>
                      <a:pt x="111" y="303"/>
                    </a:lnTo>
                    <a:lnTo>
                      <a:pt x="117" y="292"/>
                    </a:lnTo>
                    <a:lnTo>
                      <a:pt x="122" y="290"/>
                    </a:lnTo>
                    <a:lnTo>
                      <a:pt x="128" y="290"/>
                    </a:lnTo>
                    <a:lnTo>
                      <a:pt x="136" y="290"/>
                    </a:lnTo>
                    <a:lnTo>
                      <a:pt x="139" y="287"/>
                    </a:lnTo>
                    <a:lnTo>
                      <a:pt x="142" y="278"/>
                    </a:lnTo>
                    <a:lnTo>
                      <a:pt x="133" y="270"/>
                    </a:lnTo>
                    <a:lnTo>
                      <a:pt x="133" y="267"/>
                    </a:lnTo>
                    <a:lnTo>
                      <a:pt x="145" y="248"/>
                    </a:lnTo>
                    <a:lnTo>
                      <a:pt x="147" y="214"/>
                    </a:lnTo>
                    <a:lnTo>
                      <a:pt x="150" y="214"/>
                    </a:lnTo>
                    <a:lnTo>
                      <a:pt x="153" y="214"/>
                    </a:lnTo>
                    <a:lnTo>
                      <a:pt x="158" y="209"/>
                    </a:lnTo>
                    <a:lnTo>
                      <a:pt x="161" y="195"/>
                    </a:lnTo>
                    <a:lnTo>
                      <a:pt x="175" y="173"/>
                    </a:lnTo>
                    <a:lnTo>
                      <a:pt x="175" y="170"/>
                    </a:lnTo>
                    <a:lnTo>
                      <a:pt x="172" y="164"/>
                    </a:lnTo>
                    <a:lnTo>
                      <a:pt x="172" y="159"/>
                    </a:lnTo>
                    <a:lnTo>
                      <a:pt x="178" y="150"/>
                    </a:lnTo>
                    <a:lnTo>
                      <a:pt x="181" y="142"/>
                    </a:lnTo>
                    <a:lnTo>
                      <a:pt x="189" y="134"/>
                    </a:lnTo>
                    <a:lnTo>
                      <a:pt x="192" y="134"/>
                    </a:lnTo>
                    <a:lnTo>
                      <a:pt x="195" y="136"/>
                    </a:lnTo>
                    <a:lnTo>
                      <a:pt x="197" y="139"/>
                    </a:lnTo>
                    <a:lnTo>
                      <a:pt x="197" y="139"/>
                    </a:lnTo>
                    <a:lnTo>
                      <a:pt x="203" y="125"/>
                    </a:lnTo>
                    <a:lnTo>
                      <a:pt x="203" y="120"/>
                    </a:lnTo>
                    <a:lnTo>
                      <a:pt x="203" y="117"/>
                    </a:lnTo>
                    <a:lnTo>
                      <a:pt x="206" y="114"/>
                    </a:lnTo>
                    <a:lnTo>
                      <a:pt x="209" y="114"/>
                    </a:lnTo>
                    <a:lnTo>
                      <a:pt x="231" y="120"/>
                    </a:lnTo>
                    <a:lnTo>
                      <a:pt x="231" y="120"/>
                    </a:lnTo>
                    <a:lnTo>
                      <a:pt x="234" y="117"/>
                    </a:lnTo>
                    <a:lnTo>
                      <a:pt x="231" y="114"/>
                    </a:lnTo>
                    <a:lnTo>
                      <a:pt x="231" y="111"/>
                    </a:lnTo>
                    <a:lnTo>
                      <a:pt x="234" y="109"/>
                    </a:lnTo>
                    <a:lnTo>
                      <a:pt x="234" y="103"/>
                    </a:lnTo>
                    <a:lnTo>
                      <a:pt x="234" y="103"/>
                    </a:lnTo>
                    <a:lnTo>
                      <a:pt x="236" y="100"/>
                    </a:lnTo>
                    <a:lnTo>
                      <a:pt x="234" y="97"/>
                    </a:lnTo>
                    <a:lnTo>
                      <a:pt x="234" y="95"/>
                    </a:lnTo>
                    <a:lnTo>
                      <a:pt x="234" y="92"/>
                    </a:lnTo>
                    <a:lnTo>
                      <a:pt x="234" y="92"/>
                    </a:lnTo>
                    <a:lnTo>
                      <a:pt x="242" y="92"/>
                    </a:lnTo>
                    <a:lnTo>
                      <a:pt x="242" y="89"/>
                    </a:lnTo>
                    <a:lnTo>
                      <a:pt x="245" y="89"/>
                    </a:lnTo>
                    <a:lnTo>
                      <a:pt x="248" y="89"/>
                    </a:lnTo>
                    <a:lnTo>
                      <a:pt x="250" y="89"/>
                    </a:lnTo>
                    <a:lnTo>
                      <a:pt x="248" y="83"/>
                    </a:lnTo>
                    <a:lnTo>
                      <a:pt x="253" y="81"/>
                    </a:lnTo>
                    <a:lnTo>
                      <a:pt x="256" y="83"/>
                    </a:lnTo>
                    <a:lnTo>
                      <a:pt x="267" y="97"/>
                    </a:lnTo>
                    <a:lnTo>
                      <a:pt x="270" y="103"/>
                    </a:lnTo>
                    <a:lnTo>
                      <a:pt x="270" y="106"/>
                    </a:lnTo>
                    <a:lnTo>
                      <a:pt x="278" y="106"/>
                    </a:lnTo>
                    <a:lnTo>
                      <a:pt x="281" y="109"/>
                    </a:lnTo>
                    <a:lnTo>
                      <a:pt x="287" y="109"/>
                    </a:lnTo>
                    <a:lnTo>
                      <a:pt x="289" y="106"/>
                    </a:lnTo>
                    <a:lnTo>
                      <a:pt x="295" y="100"/>
                    </a:lnTo>
                    <a:lnTo>
                      <a:pt x="298" y="103"/>
                    </a:lnTo>
                    <a:lnTo>
                      <a:pt x="300" y="109"/>
                    </a:lnTo>
                    <a:lnTo>
                      <a:pt x="303" y="109"/>
                    </a:lnTo>
                    <a:lnTo>
                      <a:pt x="312" y="106"/>
                    </a:lnTo>
                    <a:lnTo>
                      <a:pt x="314" y="100"/>
                    </a:lnTo>
                    <a:lnTo>
                      <a:pt x="323" y="95"/>
                    </a:lnTo>
                    <a:lnTo>
                      <a:pt x="323" y="70"/>
                    </a:lnTo>
                    <a:lnTo>
                      <a:pt x="325" y="61"/>
                    </a:lnTo>
                    <a:lnTo>
                      <a:pt x="328" y="56"/>
                    </a:lnTo>
                    <a:lnTo>
                      <a:pt x="359" y="47"/>
                    </a:lnTo>
                    <a:lnTo>
                      <a:pt x="359" y="50"/>
                    </a:lnTo>
                    <a:lnTo>
                      <a:pt x="362" y="56"/>
                    </a:lnTo>
                    <a:lnTo>
                      <a:pt x="364" y="58"/>
                    </a:lnTo>
                    <a:lnTo>
                      <a:pt x="370" y="58"/>
                    </a:lnTo>
                    <a:lnTo>
                      <a:pt x="376" y="64"/>
                    </a:lnTo>
                    <a:lnTo>
                      <a:pt x="378" y="78"/>
                    </a:lnTo>
                    <a:lnTo>
                      <a:pt x="373" y="83"/>
                    </a:lnTo>
                    <a:lnTo>
                      <a:pt x="370" y="86"/>
                    </a:lnTo>
                    <a:lnTo>
                      <a:pt x="370" y="89"/>
                    </a:lnTo>
                    <a:lnTo>
                      <a:pt x="373" y="92"/>
                    </a:lnTo>
                    <a:lnTo>
                      <a:pt x="376" y="92"/>
                    </a:lnTo>
                    <a:lnTo>
                      <a:pt x="378" y="89"/>
                    </a:lnTo>
                    <a:lnTo>
                      <a:pt x="378" y="89"/>
                    </a:lnTo>
                    <a:lnTo>
                      <a:pt x="378" y="86"/>
                    </a:lnTo>
                    <a:lnTo>
                      <a:pt x="378" y="83"/>
                    </a:lnTo>
                    <a:lnTo>
                      <a:pt x="387" y="78"/>
                    </a:lnTo>
                    <a:lnTo>
                      <a:pt x="390" y="75"/>
                    </a:lnTo>
                    <a:lnTo>
                      <a:pt x="392" y="67"/>
                    </a:lnTo>
                    <a:lnTo>
                      <a:pt x="398" y="72"/>
                    </a:lnTo>
                    <a:lnTo>
                      <a:pt x="401" y="70"/>
                    </a:lnTo>
                    <a:lnTo>
                      <a:pt x="403" y="67"/>
                    </a:lnTo>
                    <a:lnTo>
                      <a:pt x="403" y="64"/>
                    </a:lnTo>
                    <a:lnTo>
                      <a:pt x="403" y="6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8" name="Freeform 761"/>
              <p:cNvSpPr>
                <a:spLocks noChangeAspect="1"/>
              </p:cNvSpPr>
              <p:nvPr>
                <p:custDataLst>
                  <p:tags r:id="rId816"/>
                </p:custDataLst>
              </p:nvPr>
            </p:nvSpPr>
            <p:spPr bwMode="gray">
              <a:xfrm>
                <a:off x="5663991" y="2916496"/>
                <a:ext cx="368984" cy="241240"/>
              </a:xfrm>
              <a:custGeom>
                <a:avLst/>
                <a:gdLst>
                  <a:gd name="T0" fmla="*/ 39 w 284"/>
                  <a:gd name="T1" fmla="*/ 105 h 186"/>
                  <a:gd name="T2" fmla="*/ 6 w 284"/>
                  <a:gd name="T3" fmla="*/ 80 h 186"/>
                  <a:gd name="T4" fmla="*/ 31 w 284"/>
                  <a:gd name="T5" fmla="*/ 44 h 186"/>
                  <a:gd name="T6" fmla="*/ 25 w 284"/>
                  <a:gd name="T7" fmla="*/ 16 h 186"/>
                  <a:gd name="T8" fmla="*/ 50 w 284"/>
                  <a:gd name="T9" fmla="*/ 11 h 186"/>
                  <a:gd name="T10" fmla="*/ 78 w 284"/>
                  <a:gd name="T11" fmla="*/ 19 h 186"/>
                  <a:gd name="T12" fmla="*/ 92 w 284"/>
                  <a:gd name="T13" fmla="*/ 22 h 186"/>
                  <a:gd name="T14" fmla="*/ 103 w 284"/>
                  <a:gd name="T15" fmla="*/ 22 h 186"/>
                  <a:gd name="T16" fmla="*/ 117 w 284"/>
                  <a:gd name="T17" fmla="*/ 25 h 186"/>
                  <a:gd name="T18" fmla="*/ 134 w 284"/>
                  <a:gd name="T19" fmla="*/ 19 h 186"/>
                  <a:gd name="T20" fmla="*/ 145 w 284"/>
                  <a:gd name="T21" fmla="*/ 5 h 186"/>
                  <a:gd name="T22" fmla="*/ 159 w 284"/>
                  <a:gd name="T23" fmla="*/ 5 h 186"/>
                  <a:gd name="T24" fmla="*/ 178 w 284"/>
                  <a:gd name="T25" fmla="*/ 0 h 186"/>
                  <a:gd name="T26" fmla="*/ 192 w 284"/>
                  <a:gd name="T27" fmla="*/ 14 h 186"/>
                  <a:gd name="T28" fmla="*/ 203 w 284"/>
                  <a:gd name="T29" fmla="*/ 27 h 186"/>
                  <a:gd name="T30" fmla="*/ 215 w 284"/>
                  <a:gd name="T31" fmla="*/ 47 h 186"/>
                  <a:gd name="T32" fmla="*/ 229 w 284"/>
                  <a:gd name="T33" fmla="*/ 50 h 186"/>
                  <a:gd name="T34" fmla="*/ 254 w 284"/>
                  <a:gd name="T35" fmla="*/ 55 h 186"/>
                  <a:gd name="T36" fmla="*/ 273 w 284"/>
                  <a:gd name="T37" fmla="*/ 64 h 186"/>
                  <a:gd name="T38" fmla="*/ 281 w 284"/>
                  <a:gd name="T39" fmla="*/ 80 h 186"/>
                  <a:gd name="T40" fmla="*/ 276 w 284"/>
                  <a:gd name="T41" fmla="*/ 89 h 186"/>
                  <a:gd name="T42" fmla="*/ 276 w 284"/>
                  <a:gd name="T43" fmla="*/ 108 h 186"/>
                  <a:gd name="T44" fmla="*/ 259 w 284"/>
                  <a:gd name="T45" fmla="*/ 114 h 186"/>
                  <a:gd name="T46" fmla="*/ 237 w 284"/>
                  <a:gd name="T47" fmla="*/ 130 h 186"/>
                  <a:gd name="T48" fmla="*/ 220 w 284"/>
                  <a:gd name="T49" fmla="*/ 136 h 186"/>
                  <a:gd name="T50" fmla="*/ 203 w 284"/>
                  <a:gd name="T51" fmla="*/ 150 h 186"/>
                  <a:gd name="T52" fmla="*/ 203 w 284"/>
                  <a:gd name="T53" fmla="*/ 144 h 186"/>
                  <a:gd name="T54" fmla="*/ 198 w 284"/>
                  <a:gd name="T55" fmla="*/ 150 h 186"/>
                  <a:gd name="T56" fmla="*/ 195 w 284"/>
                  <a:gd name="T57" fmla="*/ 147 h 186"/>
                  <a:gd name="T58" fmla="*/ 190 w 284"/>
                  <a:gd name="T59" fmla="*/ 147 h 186"/>
                  <a:gd name="T60" fmla="*/ 190 w 284"/>
                  <a:gd name="T61" fmla="*/ 153 h 186"/>
                  <a:gd name="T62" fmla="*/ 195 w 284"/>
                  <a:gd name="T63" fmla="*/ 153 h 186"/>
                  <a:gd name="T64" fmla="*/ 201 w 284"/>
                  <a:gd name="T65" fmla="*/ 158 h 186"/>
                  <a:gd name="T66" fmla="*/ 215 w 284"/>
                  <a:gd name="T67" fmla="*/ 167 h 186"/>
                  <a:gd name="T68" fmla="*/ 229 w 284"/>
                  <a:gd name="T69" fmla="*/ 164 h 186"/>
                  <a:gd name="T70" fmla="*/ 212 w 284"/>
                  <a:gd name="T71" fmla="*/ 169 h 186"/>
                  <a:gd name="T72" fmla="*/ 195 w 284"/>
                  <a:gd name="T73" fmla="*/ 181 h 186"/>
                  <a:gd name="T74" fmla="*/ 181 w 284"/>
                  <a:gd name="T75" fmla="*/ 186 h 186"/>
                  <a:gd name="T76" fmla="*/ 176 w 284"/>
                  <a:gd name="T77" fmla="*/ 169 h 186"/>
                  <a:gd name="T78" fmla="*/ 176 w 284"/>
                  <a:gd name="T79" fmla="*/ 156 h 186"/>
                  <a:gd name="T80" fmla="*/ 178 w 284"/>
                  <a:gd name="T81" fmla="*/ 150 h 186"/>
                  <a:gd name="T82" fmla="*/ 159 w 284"/>
                  <a:gd name="T83" fmla="*/ 147 h 186"/>
                  <a:gd name="T84" fmla="*/ 156 w 284"/>
                  <a:gd name="T85" fmla="*/ 142 h 186"/>
                  <a:gd name="T86" fmla="*/ 159 w 284"/>
                  <a:gd name="T87" fmla="*/ 139 h 186"/>
                  <a:gd name="T88" fmla="*/ 145 w 284"/>
                  <a:gd name="T89" fmla="*/ 136 h 186"/>
                  <a:gd name="T90" fmla="*/ 128 w 284"/>
                  <a:gd name="T91" fmla="*/ 144 h 186"/>
                  <a:gd name="T92" fmla="*/ 123 w 284"/>
                  <a:gd name="T93" fmla="*/ 156 h 186"/>
                  <a:gd name="T94" fmla="*/ 120 w 284"/>
                  <a:gd name="T95" fmla="*/ 156 h 186"/>
                  <a:gd name="T96" fmla="*/ 106 w 284"/>
                  <a:gd name="T97" fmla="*/ 167 h 186"/>
                  <a:gd name="T98" fmla="*/ 100 w 284"/>
                  <a:gd name="T99" fmla="*/ 161 h 186"/>
                  <a:gd name="T100" fmla="*/ 106 w 284"/>
                  <a:gd name="T101" fmla="*/ 150 h 186"/>
                  <a:gd name="T102" fmla="*/ 120 w 284"/>
                  <a:gd name="T103" fmla="*/ 142 h 186"/>
                  <a:gd name="T104" fmla="*/ 123 w 284"/>
                  <a:gd name="T105" fmla="*/ 130 h 186"/>
                  <a:gd name="T106" fmla="*/ 112 w 284"/>
                  <a:gd name="T107" fmla="*/ 117 h 186"/>
                  <a:gd name="T108" fmla="*/ 103 w 284"/>
                  <a:gd name="T109" fmla="*/ 100 h 186"/>
                  <a:gd name="T110" fmla="*/ 75 w 284"/>
                  <a:gd name="T111" fmla="*/ 9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4" h="186">
                    <a:moveTo>
                      <a:pt x="70" y="100"/>
                    </a:moveTo>
                    <a:lnTo>
                      <a:pt x="70" y="100"/>
                    </a:lnTo>
                    <a:lnTo>
                      <a:pt x="59" y="105"/>
                    </a:lnTo>
                    <a:lnTo>
                      <a:pt x="50" y="108"/>
                    </a:lnTo>
                    <a:lnTo>
                      <a:pt x="45" y="111"/>
                    </a:lnTo>
                    <a:lnTo>
                      <a:pt x="39" y="105"/>
                    </a:lnTo>
                    <a:lnTo>
                      <a:pt x="14" y="105"/>
                    </a:lnTo>
                    <a:lnTo>
                      <a:pt x="11" y="105"/>
                    </a:lnTo>
                    <a:lnTo>
                      <a:pt x="11" y="103"/>
                    </a:lnTo>
                    <a:lnTo>
                      <a:pt x="0" y="97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9" y="80"/>
                    </a:lnTo>
                    <a:lnTo>
                      <a:pt x="9" y="75"/>
                    </a:lnTo>
                    <a:lnTo>
                      <a:pt x="9" y="72"/>
                    </a:lnTo>
                    <a:lnTo>
                      <a:pt x="20" y="55"/>
                    </a:lnTo>
                    <a:lnTo>
                      <a:pt x="31" y="47"/>
                    </a:lnTo>
                    <a:lnTo>
                      <a:pt x="31" y="44"/>
                    </a:lnTo>
                    <a:lnTo>
                      <a:pt x="28" y="39"/>
                    </a:lnTo>
                    <a:lnTo>
                      <a:pt x="31" y="36"/>
                    </a:lnTo>
                    <a:lnTo>
                      <a:pt x="25" y="30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5" y="16"/>
                    </a:lnTo>
                    <a:lnTo>
                      <a:pt x="28" y="16"/>
                    </a:lnTo>
                    <a:lnTo>
                      <a:pt x="34" y="16"/>
                    </a:lnTo>
                    <a:lnTo>
                      <a:pt x="34" y="14"/>
                    </a:lnTo>
                    <a:lnTo>
                      <a:pt x="36" y="11"/>
                    </a:lnTo>
                    <a:lnTo>
                      <a:pt x="50" y="8"/>
                    </a:lnTo>
                    <a:lnTo>
                      <a:pt x="50" y="11"/>
                    </a:lnTo>
                    <a:lnTo>
                      <a:pt x="59" y="11"/>
                    </a:lnTo>
                    <a:lnTo>
                      <a:pt x="67" y="14"/>
                    </a:lnTo>
                    <a:lnTo>
                      <a:pt x="70" y="14"/>
                    </a:lnTo>
                    <a:lnTo>
                      <a:pt x="73" y="14"/>
                    </a:lnTo>
                    <a:lnTo>
                      <a:pt x="78" y="16"/>
                    </a:lnTo>
                    <a:lnTo>
                      <a:pt x="78" y="19"/>
                    </a:lnTo>
                    <a:lnTo>
                      <a:pt x="81" y="19"/>
                    </a:lnTo>
                    <a:lnTo>
                      <a:pt x="84" y="19"/>
                    </a:lnTo>
                    <a:lnTo>
                      <a:pt x="87" y="22"/>
                    </a:lnTo>
                    <a:lnTo>
                      <a:pt x="87" y="25"/>
                    </a:lnTo>
                    <a:lnTo>
                      <a:pt x="89" y="22"/>
                    </a:lnTo>
                    <a:lnTo>
                      <a:pt x="92" y="22"/>
                    </a:lnTo>
                    <a:lnTo>
                      <a:pt x="95" y="22"/>
                    </a:lnTo>
                    <a:lnTo>
                      <a:pt x="95" y="19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3" y="22"/>
                    </a:lnTo>
                    <a:lnTo>
                      <a:pt x="106" y="25"/>
                    </a:lnTo>
                    <a:lnTo>
                      <a:pt x="109" y="19"/>
                    </a:lnTo>
                    <a:lnTo>
                      <a:pt x="114" y="22"/>
                    </a:lnTo>
                    <a:lnTo>
                      <a:pt x="114" y="25"/>
                    </a:lnTo>
                    <a:lnTo>
                      <a:pt x="117" y="25"/>
                    </a:lnTo>
                    <a:lnTo>
                      <a:pt x="117" y="25"/>
                    </a:lnTo>
                    <a:lnTo>
                      <a:pt x="128" y="25"/>
                    </a:lnTo>
                    <a:lnTo>
                      <a:pt x="131" y="25"/>
                    </a:lnTo>
                    <a:lnTo>
                      <a:pt x="131" y="27"/>
                    </a:lnTo>
                    <a:lnTo>
                      <a:pt x="134" y="25"/>
                    </a:lnTo>
                    <a:lnTo>
                      <a:pt x="134" y="25"/>
                    </a:lnTo>
                    <a:lnTo>
                      <a:pt x="134" y="19"/>
                    </a:lnTo>
                    <a:lnTo>
                      <a:pt x="134" y="16"/>
                    </a:lnTo>
                    <a:lnTo>
                      <a:pt x="134" y="14"/>
                    </a:lnTo>
                    <a:lnTo>
                      <a:pt x="137" y="11"/>
                    </a:lnTo>
                    <a:lnTo>
                      <a:pt x="139" y="8"/>
                    </a:lnTo>
                    <a:lnTo>
                      <a:pt x="142" y="5"/>
                    </a:lnTo>
                    <a:lnTo>
                      <a:pt x="145" y="5"/>
                    </a:lnTo>
                    <a:lnTo>
                      <a:pt x="148" y="5"/>
                    </a:lnTo>
                    <a:lnTo>
                      <a:pt x="153" y="5"/>
                    </a:lnTo>
                    <a:lnTo>
                      <a:pt x="153" y="5"/>
                    </a:lnTo>
                    <a:lnTo>
                      <a:pt x="156" y="5"/>
                    </a:lnTo>
                    <a:lnTo>
                      <a:pt x="156" y="5"/>
                    </a:lnTo>
                    <a:lnTo>
                      <a:pt x="159" y="5"/>
                    </a:lnTo>
                    <a:lnTo>
                      <a:pt x="162" y="2"/>
                    </a:lnTo>
                    <a:lnTo>
                      <a:pt x="162" y="2"/>
                    </a:lnTo>
                    <a:lnTo>
                      <a:pt x="162" y="0"/>
                    </a:lnTo>
                    <a:lnTo>
                      <a:pt x="170" y="0"/>
                    </a:lnTo>
                    <a:lnTo>
                      <a:pt x="176" y="0"/>
                    </a:lnTo>
                    <a:lnTo>
                      <a:pt x="178" y="0"/>
                    </a:lnTo>
                    <a:lnTo>
                      <a:pt x="184" y="0"/>
                    </a:lnTo>
                    <a:lnTo>
                      <a:pt x="187" y="2"/>
                    </a:lnTo>
                    <a:lnTo>
                      <a:pt x="190" y="5"/>
                    </a:lnTo>
                    <a:lnTo>
                      <a:pt x="190" y="5"/>
                    </a:lnTo>
                    <a:lnTo>
                      <a:pt x="192" y="11"/>
                    </a:lnTo>
                    <a:lnTo>
                      <a:pt x="192" y="14"/>
                    </a:lnTo>
                    <a:lnTo>
                      <a:pt x="192" y="16"/>
                    </a:lnTo>
                    <a:lnTo>
                      <a:pt x="190" y="16"/>
                    </a:lnTo>
                    <a:lnTo>
                      <a:pt x="192" y="25"/>
                    </a:lnTo>
                    <a:lnTo>
                      <a:pt x="201" y="27"/>
                    </a:lnTo>
                    <a:lnTo>
                      <a:pt x="201" y="27"/>
                    </a:lnTo>
                    <a:lnTo>
                      <a:pt x="203" y="27"/>
                    </a:lnTo>
                    <a:lnTo>
                      <a:pt x="206" y="30"/>
                    </a:lnTo>
                    <a:lnTo>
                      <a:pt x="209" y="33"/>
                    </a:lnTo>
                    <a:lnTo>
                      <a:pt x="209" y="41"/>
                    </a:lnTo>
                    <a:lnTo>
                      <a:pt x="209" y="41"/>
                    </a:lnTo>
                    <a:lnTo>
                      <a:pt x="209" y="44"/>
                    </a:lnTo>
                    <a:lnTo>
                      <a:pt x="215" y="47"/>
                    </a:lnTo>
                    <a:lnTo>
                      <a:pt x="217" y="47"/>
                    </a:lnTo>
                    <a:lnTo>
                      <a:pt x="217" y="47"/>
                    </a:lnTo>
                    <a:lnTo>
                      <a:pt x="220" y="47"/>
                    </a:lnTo>
                    <a:lnTo>
                      <a:pt x="223" y="50"/>
                    </a:lnTo>
                    <a:lnTo>
                      <a:pt x="226" y="50"/>
                    </a:lnTo>
                    <a:lnTo>
                      <a:pt x="229" y="50"/>
                    </a:lnTo>
                    <a:lnTo>
                      <a:pt x="240" y="47"/>
                    </a:lnTo>
                    <a:lnTo>
                      <a:pt x="242" y="47"/>
                    </a:lnTo>
                    <a:lnTo>
                      <a:pt x="248" y="58"/>
                    </a:lnTo>
                    <a:lnTo>
                      <a:pt x="251" y="58"/>
                    </a:lnTo>
                    <a:lnTo>
                      <a:pt x="254" y="55"/>
                    </a:lnTo>
                    <a:lnTo>
                      <a:pt x="254" y="55"/>
                    </a:lnTo>
                    <a:lnTo>
                      <a:pt x="256" y="58"/>
                    </a:lnTo>
                    <a:lnTo>
                      <a:pt x="262" y="58"/>
                    </a:lnTo>
                    <a:lnTo>
                      <a:pt x="262" y="61"/>
                    </a:lnTo>
                    <a:lnTo>
                      <a:pt x="268" y="61"/>
                    </a:lnTo>
                    <a:lnTo>
                      <a:pt x="270" y="64"/>
                    </a:lnTo>
                    <a:lnTo>
                      <a:pt x="273" y="64"/>
                    </a:lnTo>
                    <a:lnTo>
                      <a:pt x="276" y="66"/>
                    </a:lnTo>
                    <a:lnTo>
                      <a:pt x="281" y="66"/>
                    </a:lnTo>
                    <a:lnTo>
                      <a:pt x="284" y="66"/>
                    </a:lnTo>
                    <a:lnTo>
                      <a:pt x="281" y="69"/>
                    </a:lnTo>
                    <a:lnTo>
                      <a:pt x="284" y="75"/>
                    </a:lnTo>
                    <a:lnTo>
                      <a:pt x="281" y="80"/>
                    </a:lnTo>
                    <a:lnTo>
                      <a:pt x="276" y="80"/>
                    </a:lnTo>
                    <a:lnTo>
                      <a:pt x="279" y="83"/>
                    </a:lnTo>
                    <a:lnTo>
                      <a:pt x="279" y="83"/>
                    </a:lnTo>
                    <a:lnTo>
                      <a:pt x="281" y="86"/>
                    </a:lnTo>
                    <a:lnTo>
                      <a:pt x="276" y="86"/>
                    </a:lnTo>
                    <a:lnTo>
                      <a:pt x="276" y="89"/>
                    </a:lnTo>
                    <a:lnTo>
                      <a:pt x="276" y="92"/>
                    </a:lnTo>
                    <a:lnTo>
                      <a:pt x="276" y="92"/>
                    </a:lnTo>
                    <a:lnTo>
                      <a:pt x="279" y="94"/>
                    </a:lnTo>
                    <a:lnTo>
                      <a:pt x="276" y="97"/>
                    </a:lnTo>
                    <a:lnTo>
                      <a:pt x="279" y="97"/>
                    </a:lnTo>
                    <a:lnTo>
                      <a:pt x="276" y="108"/>
                    </a:lnTo>
                    <a:lnTo>
                      <a:pt x="273" y="111"/>
                    </a:lnTo>
                    <a:lnTo>
                      <a:pt x="270" y="108"/>
                    </a:lnTo>
                    <a:lnTo>
                      <a:pt x="268" y="108"/>
                    </a:lnTo>
                    <a:lnTo>
                      <a:pt x="265" y="108"/>
                    </a:lnTo>
                    <a:lnTo>
                      <a:pt x="262" y="108"/>
                    </a:lnTo>
                    <a:lnTo>
                      <a:pt x="259" y="114"/>
                    </a:lnTo>
                    <a:lnTo>
                      <a:pt x="254" y="114"/>
                    </a:lnTo>
                    <a:lnTo>
                      <a:pt x="254" y="119"/>
                    </a:lnTo>
                    <a:lnTo>
                      <a:pt x="254" y="125"/>
                    </a:lnTo>
                    <a:lnTo>
                      <a:pt x="242" y="128"/>
                    </a:lnTo>
                    <a:lnTo>
                      <a:pt x="240" y="130"/>
                    </a:lnTo>
                    <a:lnTo>
                      <a:pt x="237" y="130"/>
                    </a:lnTo>
                    <a:lnTo>
                      <a:pt x="231" y="130"/>
                    </a:lnTo>
                    <a:lnTo>
                      <a:pt x="231" y="136"/>
                    </a:lnTo>
                    <a:lnTo>
                      <a:pt x="229" y="133"/>
                    </a:lnTo>
                    <a:lnTo>
                      <a:pt x="223" y="136"/>
                    </a:lnTo>
                    <a:lnTo>
                      <a:pt x="220" y="136"/>
                    </a:lnTo>
                    <a:lnTo>
                      <a:pt x="220" y="136"/>
                    </a:lnTo>
                    <a:lnTo>
                      <a:pt x="217" y="136"/>
                    </a:lnTo>
                    <a:lnTo>
                      <a:pt x="215" y="136"/>
                    </a:lnTo>
                    <a:lnTo>
                      <a:pt x="212" y="142"/>
                    </a:lnTo>
                    <a:lnTo>
                      <a:pt x="209" y="142"/>
                    </a:lnTo>
                    <a:lnTo>
                      <a:pt x="206" y="147"/>
                    </a:lnTo>
                    <a:lnTo>
                      <a:pt x="203" y="150"/>
                    </a:lnTo>
                    <a:lnTo>
                      <a:pt x="203" y="147"/>
                    </a:lnTo>
                    <a:lnTo>
                      <a:pt x="206" y="147"/>
                    </a:lnTo>
                    <a:lnTo>
                      <a:pt x="209" y="144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3" y="144"/>
                    </a:lnTo>
                    <a:lnTo>
                      <a:pt x="201" y="147"/>
                    </a:lnTo>
                    <a:lnTo>
                      <a:pt x="201" y="156"/>
                    </a:lnTo>
                    <a:lnTo>
                      <a:pt x="201" y="156"/>
                    </a:lnTo>
                    <a:lnTo>
                      <a:pt x="201" y="153"/>
                    </a:lnTo>
                    <a:lnTo>
                      <a:pt x="198" y="150"/>
                    </a:lnTo>
                    <a:lnTo>
                      <a:pt x="198" y="150"/>
                    </a:lnTo>
                    <a:lnTo>
                      <a:pt x="198" y="147"/>
                    </a:lnTo>
                    <a:lnTo>
                      <a:pt x="198" y="150"/>
                    </a:lnTo>
                    <a:lnTo>
                      <a:pt x="195" y="150"/>
                    </a:lnTo>
                    <a:lnTo>
                      <a:pt x="195" y="150"/>
                    </a:lnTo>
                    <a:lnTo>
                      <a:pt x="195" y="150"/>
                    </a:lnTo>
                    <a:lnTo>
                      <a:pt x="195" y="147"/>
                    </a:lnTo>
                    <a:lnTo>
                      <a:pt x="192" y="147"/>
                    </a:lnTo>
                    <a:lnTo>
                      <a:pt x="190" y="147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0" y="147"/>
                    </a:lnTo>
                    <a:lnTo>
                      <a:pt x="190" y="147"/>
                    </a:lnTo>
                    <a:lnTo>
                      <a:pt x="184" y="147"/>
                    </a:lnTo>
                    <a:lnTo>
                      <a:pt x="187" y="150"/>
                    </a:lnTo>
                    <a:lnTo>
                      <a:pt x="187" y="150"/>
                    </a:lnTo>
                    <a:lnTo>
                      <a:pt x="187" y="150"/>
                    </a:lnTo>
                    <a:lnTo>
                      <a:pt x="190" y="150"/>
                    </a:lnTo>
                    <a:lnTo>
                      <a:pt x="190" y="153"/>
                    </a:lnTo>
                    <a:lnTo>
                      <a:pt x="190" y="153"/>
                    </a:lnTo>
                    <a:lnTo>
                      <a:pt x="190" y="153"/>
                    </a:lnTo>
                    <a:lnTo>
                      <a:pt x="190" y="150"/>
                    </a:lnTo>
                    <a:lnTo>
                      <a:pt x="192" y="153"/>
                    </a:lnTo>
                    <a:lnTo>
                      <a:pt x="195" y="153"/>
                    </a:lnTo>
                    <a:lnTo>
                      <a:pt x="195" y="153"/>
                    </a:lnTo>
                    <a:lnTo>
                      <a:pt x="195" y="156"/>
                    </a:lnTo>
                    <a:lnTo>
                      <a:pt x="195" y="156"/>
                    </a:lnTo>
                    <a:lnTo>
                      <a:pt x="198" y="156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1" y="158"/>
                    </a:lnTo>
                    <a:lnTo>
                      <a:pt x="203" y="161"/>
                    </a:lnTo>
                    <a:lnTo>
                      <a:pt x="203" y="167"/>
                    </a:lnTo>
                    <a:lnTo>
                      <a:pt x="206" y="164"/>
                    </a:lnTo>
                    <a:lnTo>
                      <a:pt x="209" y="167"/>
                    </a:lnTo>
                    <a:lnTo>
                      <a:pt x="209" y="164"/>
                    </a:lnTo>
                    <a:lnTo>
                      <a:pt x="215" y="167"/>
                    </a:lnTo>
                    <a:lnTo>
                      <a:pt x="217" y="164"/>
                    </a:lnTo>
                    <a:lnTo>
                      <a:pt x="217" y="164"/>
                    </a:lnTo>
                    <a:lnTo>
                      <a:pt x="217" y="164"/>
                    </a:lnTo>
                    <a:lnTo>
                      <a:pt x="220" y="164"/>
                    </a:lnTo>
                    <a:lnTo>
                      <a:pt x="226" y="164"/>
                    </a:lnTo>
                    <a:lnTo>
                      <a:pt x="229" y="164"/>
                    </a:lnTo>
                    <a:lnTo>
                      <a:pt x="229" y="167"/>
                    </a:lnTo>
                    <a:lnTo>
                      <a:pt x="226" y="167"/>
                    </a:lnTo>
                    <a:lnTo>
                      <a:pt x="226" y="172"/>
                    </a:lnTo>
                    <a:lnTo>
                      <a:pt x="220" y="172"/>
                    </a:lnTo>
                    <a:lnTo>
                      <a:pt x="220" y="172"/>
                    </a:lnTo>
                    <a:lnTo>
                      <a:pt x="212" y="169"/>
                    </a:lnTo>
                    <a:lnTo>
                      <a:pt x="203" y="178"/>
                    </a:lnTo>
                    <a:lnTo>
                      <a:pt x="201" y="178"/>
                    </a:lnTo>
                    <a:lnTo>
                      <a:pt x="195" y="178"/>
                    </a:lnTo>
                    <a:lnTo>
                      <a:pt x="198" y="181"/>
                    </a:lnTo>
                    <a:lnTo>
                      <a:pt x="195" y="181"/>
                    </a:lnTo>
                    <a:lnTo>
                      <a:pt x="195" y="181"/>
                    </a:lnTo>
                    <a:lnTo>
                      <a:pt x="192" y="183"/>
                    </a:lnTo>
                    <a:lnTo>
                      <a:pt x="192" y="183"/>
                    </a:lnTo>
                    <a:lnTo>
                      <a:pt x="190" y="183"/>
                    </a:lnTo>
                    <a:lnTo>
                      <a:pt x="187" y="186"/>
                    </a:lnTo>
                    <a:lnTo>
                      <a:pt x="184" y="186"/>
                    </a:lnTo>
                    <a:lnTo>
                      <a:pt x="181" y="186"/>
                    </a:lnTo>
                    <a:lnTo>
                      <a:pt x="178" y="183"/>
                    </a:lnTo>
                    <a:lnTo>
                      <a:pt x="181" y="181"/>
                    </a:lnTo>
                    <a:lnTo>
                      <a:pt x="181" y="172"/>
                    </a:lnTo>
                    <a:lnTo>
                      <a:pt x="178" y="169"/>
                    </a:lnTo>
                    <a:lnTo>
                      <a:pt x="176" y="169"/>
                    </a:lnTo>
                    <a:lnTo>
                      <a:pt x="176" y="169"/>
                    </a:lnTo>
                    <a:lnTo>
                      <a:pt x="170" y="164"/>
                    </a:lnTo>
                    <a:lnTo>
                      <a:pt x="165" y="164"/>
                    </a:lnTo>
                    <a:lnTo>
                      <a:pt x="165" y="164"/>
                    </a:lnTo>
                    <a:lnTo>
                      <a:pt x="165" y="164"/>
                    </a:lnTo>
                    <a:lnTo>
                      <a:pt x="167" y="161"/>
                    </a:lnTo>
                    <a:lnTo>
                      <a:pt x="176" y="156"/>
                    </a:lnTo>
                    <a:lnTo>
                      <a:pt x="181" y="153"/>
                    </a:lnTo>
                    <a:lnTo>
                      <a:pt x="184" y="153"/>
                    </a:lnTo>
                    <a:lnTo>
                      <a:pt x="181" y="153"/>
                    </a:lnTo>
                    <a:lnTo>
                      <a:pt x="181" y="150"/>
                    </a:lnTo>
                    <a:lnTo>
                      <a:pt x="181" y="147"/>
                    </a:lnTo>
                    <a:lnTo>
                      <a:pt x="178" y="150"/>
                    </a:lnTo>
                    <a:lnTo>
                      <a:pt x="176" y="147"/>
                    </a:lnTo>
                    <a:lnTo>
                      <a:pt x="176" y="147"/>
                    </a:lnTo>
                    <a:lnTo>
                      <a:pt x="173" y="147"/>
                    </a:lnTo>
                    <a:lnTo>
                      <a:pt x="173" y="150"/>
                    </a:lnTo>
                    <a:lnTo>
                      <a:pt x="165" y="150"/>
                    </a:lnTo>
                    <a:lnTo>
                      <a:pt x="159" y="147"/>
                    </a:lnTo>
                    <a:lnTo>
                      <a:pt x="159" y="147"/>
                    </a:lnTo>
                    <a:lnTo>
                      <a:pt x="156" y="147"/>
                    </a:lnTo>
                    <a:lnTo>
                      <a:pt x="153" y="147"/>
                    </a:lnTo>
                    <a:lnTo>
                      <a:pt x="153" y="144"/>
                    </a:lnTo>
                    <a:lnTo>
                      <a:pt x="156" y="142"/>
                    </a:lnTo>
                    <a:lnTo>
                      <a:pt x="156" y="142"/>
                    </a:lnTo>
                    <a:lnTo>
                      <a:pt x="151" y="142"/>
                    </a:lnTo>
                    <a:lnTo>
                      <a:pt x="151" y="142"/>
                    </a:lnTo>
                    <a:lnTo>
                      <a:pt x="153" y="139"/>
                    </a:lnTo>
                    <a:lnTo>
                      <a:pt x="159" y="142"/>
                    </a:lnTo>
                    <a:lnTo>
                      <a:pt x="162" y="139"/>
                    </a:lnTo>
                    <a:lnTo>
                      <a:pt x="159" y="139"/>
                    </a:lnTo>
                    <a:lnTo>
                      <a:pt x="159" y="139"/>
                    </a:lnTo>
                    <a:lnTo>
                      <a:pt x="153" y="133"/>
                    </a:lnTo>
                    <a:lnTo>
                      <a:pt x="153" y="136"/>
                    </a:lnTo>
                    <a:lnTo>
                      <a:pt x="151" y="136"/>
                    </a:lnTo>
                    <a:lnTo>
                      <a:pt x="151" y="133"/>
                    </a:lnTo>
                    <a:lnTo>
                      <a:pt x="145" y="136"/>
                    </a:lnTo>
                    <a:lnTo>
                      <a:pt x="137" y="139"/>
                    </a:lnTo>
                    <a:lnTo>
                      <a:pt x="137" y="142"/>
                    </a:lnTo>
                    <a:lnTo>
                      <a:pt x="134" y="147"/>
                    </a:lnTo>
                    <a:lnTo>
                      <a:pt x="131" y="147"/>
                    </a:lnTo>
                    <a:lnTo>
                      <a:pt x="131" y="144"/>
                    </a:lnTo>
                    <a:lnTo>
                      <a:pt x="128" y="144"/>
                    </a:lnTo>
                    <a:lnTo>
                      <a:pt x="128" y="142"/>
                    </a:lnTo>
                    <a:lnTo>
                      <a:pt x="128" y="144"/>
                    </a:lnTo>
                    <a:lnTo>
                      <a:pt x="131" y="147"/>
                    </a:lnTo>
                    <a:lnTo>
                      <a:pt x="131" y="150"/>
                    </a:lnTo>
                    <a:lnTo>
                      <a:pt x="128" y="156"/>
                    </a:lnTo>
                    <a:lnTo>
                      <a:pt x="123" y="156"/>
                    </a:lnTo>
                    <a:lnTo>
                      <a:pt x="123" y="156"/>
                    </a:lnTo>
                    <a:lnTo>
                      <a:pt x="123" y="158"/>
                    </a:lnTo>
                    <a:lnTo>
                      <a:pt x="120" y="158"/>
                    </a:lnTo>
                    <a:lnTo>
                      <a:pt x="120" y="158"/>
                    </a:lnTo>
                    <a:lnTo>
                      <a:pt x="120" y="156"/>
                    </a:lnTo>
                    <a:lnTo>
                      <a:pt x="120" y="156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17" y="164"/>
                    </a:lnTo>
                    <a:lnTo>
                      <a:pt x="114" y="164"/>
                    </a:lnTo>
                    <a:lnTo>
                      <a:pt x="109" y="167"/>
                    </a:lnTo>
                    <a:lnTo>
                      <a:pt x="106" y="167"/>
                    </a:lnTo>
                    <a:lnTo>
                      <a:pt x="100" y="167"/>
                    </a:lnTo>
                    <a:lnTo>
                      <a:pt x="98" y="164"/>
                    </a:lnTo>
                    <a:lnTo>
                      <a:pt x="95" y="164"/>
                    </a:lnTo>
                    <a:lnTo>
                      <a:pt x="95" y="161"/>
                    </a:lnTo>
                    <a:lnTo>
                      <a:pt x="98" y="161"/>
                    </a:lnTo>
                    <a:lnTo>
                      <a:pt x="100" y="161"/>
                    </a:lnTo>
                    <a:lnTo>
                      <a:pt x="100" y="158"/>
                    </a:lnTo>
                    <a:lnTo>
                      <a:pt x="100" y="156"/>
                    </a:lnTo>
                    <a:lnTo>
                      <a:pt x="103" y="156"/>
                    </a:lnTo>
                    <a:lnTo>
                      <a:pt x="103" y="153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9" y="144"/>
                    </a:lnTo>
                    <a:lnTo>
                      <a:pt x="109" y="142"/>
                    </a:lnTo>
                    <a:lnTo>
                      <a:pt x="112" y="139"/>
                    </a:lnTo>
                    <a:lnTo>
                      <a:pt x="112" y="142"/>
                    </a:lnTo>
                    <a:lnTo>
                      <a:pt x="114" y="142"/>
                    </a:lnTo>
                    <a:lnTo>
                      <a:pt x="120" y="142"/>
                    </a:lnTo>
                    <a:lnTo>
                      <a:pt x="123" y="142"/>
                    </a:lnTo>
                    <a:lnTo>
                      <a:pt x="123" y="139"/>
                    </a:lnTo>
                    <a:lnTo>
                      <a:pt x="123" y="136"/>
                    </a:lnTo>
                    <a:lnTo>
                      <a:pt x="123" y="133"/>
                    </a:lnTo>
                    <a:lnTo>
                      <a:pt x="123" y="133"/>
                    </a:lnTo>
                    <a:lnTo>
                      <a:pt x="123" y="130"/>
                    </a:lnTo>
                    <a:lnTo>
                      <a:pt x="117" y="128"/>
                    </a:lnTo>
                    <a:lnTo>
                      <a:pt x="117" y="125"/>
                    </a:lnTo>
                    <a:lnTo>
                      <a:pt x="117" y="122"/>
                    </a:lnTo>
                    <a:lnTo>
                      <a:pt x="114" y="119"/>
                    </a:lnTo>
                    <a:lnTo>
                      <a:pt x="114" y="119"/>
                    </a:lnTo>
                    <a:lnTo>
                      <a:pt x="112" y="117"/>
                    </a:lnTo>
                    <a:lnTo>
                      <a:pt x="112" y="117"/>
                    </a:lnTo>
                    <a:lnTo>
                      <a:pt x="112" y="105"/>
                    </a:lnTo>
                    <a:lnTo>
                      <a:pt x="112" y="105"/>
                    </a:lnTo>
                    <a:lnTo>
                      <a:pt x="109" y="105"/>
                    </a:lnTo>
                    <a:lnTo>
                      <a:pt x="106" y="103"/>
                    </a:lnTo>
                    <a:lnTo>
                      <a:pt x="103" y="100"/>
                    </a:lnTo>
                    <a:lnTo>
                      <a:pt x="98" y="103"/>
                    </a:lnTo>
                    <a:lnTo>
                      <a:pt x="95" y="100"/>
                    </a:lnTo>
                    <a:lnTo>
                      <a:pt x="89" y="94"/>
                    </a:lnTo>
                    <a:lnTo>
                      <a:pt x="84" y="94"/>
                    </a:lnTo>
                    <a:lnTo>
                      <a:pt x="78" y="97"/>
                    </a:lnTo>
                    <a:lnTo>
                      <a:pt x="75" y="94"/>
                    </a:lnTo>
                    <a:lnTo>
                      <a:pt x="73" y="97"/>
                    </a:lnTo>
                    <a:lnTo>
                      <a:pt x="70" y="10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9" name="Freeform 762"/>
              <p:cNvSpPr>
                <a:spLocks noChangeAspect="1"/>
              </p:cNvSpPr>
              <p:nvPr>
                <p:custDataLst>
                  <p:tags r:id="rId817"/>
                </p:custDataLst>
              </p:nvPr>
            </p:nvSpPr>
            <p:spPr bwMode="gray">
              <a:xfrm>
                <a:off x="5457480" y="2955913"/>
                <a:ext cx="141216" cy="83567"/>
              </a:xfrm>
              <a:custGeom>
                <a:avLst/>
                <a:gdLst>
                  <a:gd name="T0" fmla="*/ 105 w 108"/>
                  <a:gd name="T1" fmla="*/ 42 h 64"/>
                  <a:gd name="T2" fmla="*/ 100 w 108"/>
                  <a:gd name="T3" fmla="*/ 45 h 64"/>
                  <a:gd name="T4" fmla="*/ 97 w 108"/>
                  <a:gd name="T5" fmla="*/ 48 h 64"/>
                  <a:gd name="T6" fmla="*/ 94 w 108"/>
                  <a:gd name="T7" fmla="*/ 53 h 64"/>
                  <a:gd name="T8" fmla="*/ 91 w 108"/>
                  <a:gd name="T9" fmla="*/ 56 h 64"/>
                  <a:gd name="T10" fmla="*/ 83 w 108"/>
                  <a:gd name="T11" fmla="*/ 59 h 64"/>
                  <a:gd name="T12" fmla="*/ 80 w 108"/>
                  <a:gd name="T13" fmla="*/ 59 h 64"/>
                  <a:gd name="T14" fmla="*/ 77 w 108"/>
                  <a:gd name="T15" fmla="*/ 59 h 64"/>
                  <a:gd name="T16" fmla="*/ 64 w 108"/>
                  <a:gd name="T17" fmla="*/ 59 h 64"/>
                  <a:gd name="T18" fmla="*/ 50 w 108"/>
                  <a:gd name="T19" fmla="*/ 53 h 64"/>
                  <a:gd name="T20" fmla="*/ 44 w 108"/>
                  <a:gd name="T21" fmla="*/ 62 h 64"/>
                  <a:gd name="T22" fmla="*/ 36 w 108"/>
                  <a:gd name="T23" fmla="*/ 62 h 64"/>
                  <a:gd name="T24" fmla="*/ 30 w 108"/>
                  <a:gd name="T25" fmla="*/ 59 h 64"/>
                  <a:gd name="T26" fmla="*/ 5 w 108"/>
                  <a:gd name="T27" fmla="*/ 28 h 64"/>
                  <a:gd name="T28" fmla="*/ 0 w 108"/>
                  <a:gd name="T29" fmla="*/ 25 h 64"/>
                  <a:gd name="T30" fmla="*/ 0 w 108"/>
                  <a:gd name="T31" fmla="*/ 20 h 64"/>
                  <a:gd name="T32" fmla="*/ 5 w 108"/>
                  <a:gd name="T33" fmla="*/ 25 h 64"/>
                  <a:gd name="T34" fmla="*/ 22 w 108"/>
                  <a:gd name="T35" fmla="*/ 14 h 64"/>
                  <a:gd name="T36" fmla="*/ 33 w 108"/>
                  <a:gd name="T37" fmla="*/ 9 h 64"/>
                  <a:gd name="T38" fmla="*/ 39 w 108"/>
                  <a:gd name="T39" fmla="*/ 0 h 64"/>
                  <a:gd name="T40" fmla="*/ 44 w 108"/>
                  <a:gd name="T41" fmla="*/ 9 h 64"/>
                  <a:gd name="T42" fmla="*/ 50 w 108"/>
                  <a:gd name="T43" fmla="*/ 3 h 64"/>
                  <a:gd name="T44" fmla="*/ 55 w 108"/>
                  <a:gd name="T45" fmla="*/ 9 h 64"/>
                  <a:gd name="T46" fmla="*/ 64 w 108"/>
                  <a:gd name="T47" fmla="*/ 9 h 64"/>
                  <a:gd name="T48" fmla="*/ 69 w 108"/>
                  <a:gd name="T49" fmla="*/ 14 h 64"/>
                  <a:gd name="T50" fmla="*/ 69 w 108"/>
                  <a:gd name="T51" fmla="*/ 14 h 64"/>
                  <a:gd name="T52" fmla="*/ 72 w 108"/>
                  <a:gd name="T53" fmla="*/ 23 h 64"/>
                  <a:gd name="T54" fmla="*/ 77 w 108"/>
                  <a:gd name="T55" fmla="*/ 23 h 64"/>
                  <a:gd name="T56" fmla="*/ 77 w 108"/>
                  <a:gd name="T57" fmla="*/ 20 h 64"/>
                  <a:gd name="T58" fmla="*/ 91 w 108"/>
                  <a:gd name="T59" fmla="*/ 25 h 64"/>
                  <a:gd name="T60" fmla="*/ 94 w 108"/>
                  <a:gd name="T61" fmla="*/ 28 h 64"/>
                  <a:gd name="T62" fmla="*/ 103 w 108"/>
                  <a:gd name="T63" fmla="*/ 36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8" h="64">
                    <a:moveTo>
                      <a:pt x="108" y="39"/>
                    </a:moveTo>
                    <a:lnTo>
                      <a:pt x="105" y="42"/>
                    </a:lnTo>
                    <a:lnTo>
                      <a:pt x="103" y="42"/>
                    </a:lnTo>
                    <a:lnTo>
                      <a:pt x="100" y="45"/>
                    </a:lnTo>
                    <a:lnTo>
                      <a:pt x="97" y="45"/>
                    </a:lnTo>
                    <a:lnTo>
                      <a:pt x="97" y="48"/>
                    </a:lnTo>
                    <a:lnTo>
                      <a:pt x="97" y="50"/>
                    </a:lnTo>
                    <a:lnTo>
                      <a:pt x="94" y="53"/>
                    </a:lnTo>
                    <a:lnTo>
                      <a:pt x="91" y="53"/>
                    </a:lnTo>
                    <a:lnTo>
                      <a:pt x="91" y="56"/>
                    </a:lnTo>
                    <a:lnTo>
                      <a:pt x="89" y="59"/>
                    </a:lnTo>
                    <a:lnTo>
                      <a:pt x="83" y="59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7" y="64"/>
                    </a:lnTo>
                    <a:lnTo>
                      <a:pt x="77" y="59"/>
                    </a:lnTo>
                    <a:lnTo>
                      <a:pt x="75" y="56"/>
                    </a:lnTo>
                    <a:lnTo>
                      <a:pt x="64" y="59"/>
                    </a:lnTo>
                    <a:lnTo>
                      <a:pt x="58" y="53"/>
                    </a:lnTo>
                    <a:lnTo>
                      <a:pt x="50" y="53"/>
                    </a:lnTo>
                    <a:lnTo>
                      <a:pt x="47" y="59"/>
                    </a:lnTo>
                    <a:lnTo>
                      <a:pt x="44" y="62"/>
                    </a:lnTo>
                    <a:lnTo>
                      <a:pt x="41" y="62"/>
                    </a:lnTo>
                    <a:lnTo>
                      <a:pt x="36" y="62"/>
                    </a:lnTo>
                    <a:lnTo>
                      <a:pt x="33" y="59"/>
                    </a:lnTo>
                    <a:lnTo>
                      <a:pt x="30" y="59"/>
                    </a:lnTo>
                    <a:lnTo>
                      <a:pt x="8" y="36"/>
                    </a:lnTo>
                    <a:lnTo>
                      <a:pt x="5" y="28"/>
                    </a:lnTo>
                    <a:lnTo>
                      <a:pt x="2" y="28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8" y="20"/>
                    </a:lnTo>
                    <a:lnTo>
                      <a:pt x="22" y="14"/>
                    </a:lnTo>
                    <a:lnTo>
                      <a:pt x="25" y="11"/>
                    </a:lnTo>
                    <a:lnTo>
                      <a:pt x="33" y="9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41" y="9"/>
                    </a:lnTo>
                    <a:lnTo>
                      <a:pt x="44" y="9"/>
                    </a:lnTo>
                    <a:lnTo>
                      <a:pt x="47" y="9"/>
                    </a:lnTo>
                    <a:lnTo>
                      <a:pt x="50" y="3"/>
                    </a:lnTo>
                    <a:lnTo>
                      <a:pt x="52" y="6"/>
                    </a:lnTo>
                    <a:lnTo>
                      <a:pt x="55" y="9"/>
                    </a:lnTo>
                    <a:lnTo>
                      <a:pt x="55" y="9"/>
                    </a:lnTo>
                    <a:lnTo>
                      <a:pt x="64" y="9"/>
                    </a:lnTo>
                    <a:lnTo>
                      <a:pt x="66" y="14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66" y="17"/>
                    </a:lnTo>
                    <a:lnTo>
                      <a:pt x="72" y="23"/>
                    </a:lnTo>
                    <a:lnTo>
                      <a:pt x="75" y="25"/>
                    </a:lnTo>
                    <a:lnTo>
                      <a:pt x="77" y="23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91" y="23"/>
                    </a:lnTo>
                    <a:lnTo>
                      <a:pt x="91" y="25"/>
                    </a:lnTo>
                    <a:lnTo>
                      <a:pt x="94" y="28"/>
                    </a:lnTo>
                    <a:lnTo>
                      <a:pt x="94" y="28"/>
                    </a:lnTo>
                    <a:lnTo>
                      <a:pt x="97" y="28"/>
                    </a:lnTo>
                    <a:lnTo>
                      <a:pt x="103" y="36"/>
                    </a:lnTo>
                    <a:lnTo>
                      <a:pt x="108" y="3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0" name="Freeform 763"/>
              <p:cNvSpPr>
                <a:spLocks noChangeAspect="1"/>
              </p:cNvSpPr>
              <p:nvPr>
                <p:custDataLst>
                  <p:tags r:id="rId818"/>
                </p:custDataLst>
              </p:nvPr>
            </p:nvSpPr>
            <p:spPr bwMode="gray">
              <a:xfrm>
                <a:off x="5339041" y="3063132"/>
                <a:ext cx="88071" cy="55186"/>
              </a:xfrm>
              <a:custGeom>
                <a:avLst/>
                <a:gdLst>
                  <a:gd name="T0" fmla="*/ 16 w 69"/>
                  <a:gd name="T1" fmla="*/ 42 h 42"/>
                  <a:gd name="T2" fmla="*/ 14 w 69"/>
                  <a:gd name="T3" fmla="*/ 36 h 42"/>
                  <a:gd name="T4" fmla="*/ 14 w 69"/>
                  <a:gd name="T5" fmla="*/ 36 h 42"/>
                  <a:gd name="T6" fmla="*/ 11 w 69"/>
                  <a:gd name="T7" fmla="*/ 28 h 42"/>
                  <a:gd name="T8" fmla="*/ 11 w 69"/>
                  <a:gd name="T9" fmla="*/ 28 h 42"/>
                  <a:gd name="T10" fmla="*/ 5 w 69"/>
                  <a:gd name="T11" fmla="*/ 28 h 42"/>
                  <a:gd name="T12" fmla="*/ 2 w 69"/>
                  <a:gd name="T13" fmla="*/ 33 h 42"/>
                  <a:gd name="T14" fmla="*/ 0 w 69"/>
                  <a:gd name="T15" fmla="*/ 33 h 42"/>
                  <a:gd name="T16" fmla="*/ 0 w 69"/>
                  <a:gd name="T17" fmla="*/ 33 h 42"/>
                  <a:gd name="T18" fmla="*/ 2 w 69"/>
                  <a:gd name="T19" fmla="*/ 25 h 42"/>
                  <a:gd name="T20" fmla="*/ 2 w 69"/>
                  <a:gd name="T21" fmla="*/ 22 h 42"/>
                  <a:gd name="T22" fmla="*/ 2 w 69"/>
                  <a:gd name="T23" fmla="*/ 22 h 42"/>
                  <a:gd name="T24" fmla="*/ 5 w 69"/>
                  <a:gd name="T25" fmla="*/ 19 h 42"/>
                  <a:gd name="T26" fmla="*/ 5 w 69"/>
                  <a:gd name="T27" fmla="*/ 19 h 42"/>
                  <a:gd name="T28" fmla="*/ 5 w 69"/>
                  <a:gd name="T29" fmla="*/ 16 h 42"/>
                  <a:gd name="T30" fmla="*/ 14 w 69"/>
                  <a:gd name="T31" fmla="*/ 5 h 42"/>
                  <a:gd name="T32" fmla="*/ 14 w 69"/>
                  <a:gd name="T33" fmla="*/ 5 h 42"/>
                  <a:gd name="T34" fmla="*/ 14 w 69"/>
                  <a:gd name="T35" fmla="*/ 3 h 42"/>
                  <a:gd name="T36" fmla="*/ 19 w 69"/>
                  <a:gd name="T37" fmla="*/ 3 h 42"/>
                  <a:gd name="T38" fmla="*/ 22 w 69"/>
                  <a:gd name="T39" fmla="*/ 3 h 42"/>
                  <a:gd name="T40" fmla="*/ 25 w 69"/>
                  <a:gd name="T41" fmla="*/ 0 h 42"/>
                  <a:gd name="T42" fmla="*/ 25 w 69"/>
                  <a:gd name="T43" fmla="*/ 3 h 42"/>
                  <a:gd name="T44" fmla="*/ 44 w 69"/>
                  <a:gd name="T45" fmla="*/ 0 h 42"/>
                  <a:gd name="T46" fmla="*/ 53 w 69"/>
                  <a:gd name="T47" fmla="*/ 3 h 42"/>
                  <a:gd name="T48" fmla="*/ 55 w 69"/>
                  <a:gd name="T49" fmla="*/ 5 h 42"/>
                  <a:gd name="T50" fmla="*/ 55 w 69"/>
                  <a:gd name="T51" fmla="*/ 11 h 42"/>
                  <a:gd name="T52" fmla="*/ 58 w 69"/>
                  <a:gd name="T53" fmla="*/ 14 h 42"/>
                  <a:gd name="T54" fmla="*/ 61 w 69"/>
                  <a:gd name="T55" fmla="*/ 16 h 42"/>
                  <a:gd name="T56" fmla="*/ 64 w 69"/>
                  <a:gd name="T57" fmla="*/ 16 h 42"/>
                  <a:gd name="T58" fmla="*/ 66 w 69"/>
                  <a:gd name="T59" fmla="*/ 16 h 42"/>
                  <a:gd name="T60" fmla="*/ 69 w 69"/>
                  <a:gd name="T61" fmla="*/ 19 h 42"/>
                  <a:gd name="T62" fmla="*/ 66 w 69"/>
                  <a:gd name="T63" fmla="*/ 22 h 42"/>
                  <a:gd name="T64" fmla="*/ 66 w 69"/>
                  <a:gd name="T65" fmla="*/ 22 h 42"/>
                  <a:gd name="T66" fmla="*/ 66 w 69"/>
                  <a:gd name="T67" fmla="*/ 25 h 42"/>
                  <a:gd name="T68" fmla="*/ 64 w 69"/>
                  <a:gd name="T69" fmla="*/ 25 h 42"/>
                  <a:gd name="T70" fmla="*/ 64 w 69"/>
                  <a:gd name="T71" fmla="*/ 25 h 42"/>
                  <a:gd name="T72" fmla="*/ 64 w 69"/>
                  <a:gd name="T73" fmla="*/ 28 h 42"/>
                  <a:gd name="T74" fmla="*/ 64 w 69"/>
                  <a:gd name="T75" fmla="*/ 30 h 42"/>
                  <a:gd name="T76" fmla="*/ 64 w 69"/>
                  <a:gd name="T77" fmla="*/ 30 h 42"/>
                  <a:gd name="T78" fmla="*/ 55 w 69"/>
                  <a:gd name="T79" fmla="*/ 30 h 42"/>
                  <a:gd name="T80" fmla="*/ 53 w 69"/>
                  <a:gd name="T81" fmla="*/ 28 h 42"/>
                  <a:gd name="T82" fmla="*/ 50 w 69"/>
                  <a:gd name="T83" fmla="*/ 28 h 42"/>
                  <a:gd name="T84" fmla="*/ 50 w 69"/>
                  <a:gd name="T85" fmla="*/ 30 h 42"/>
                  <a:gd name="T86" fmla="*/ 47 w 69"/>
                  <a:gd name="T87" fmla="*/ 36 h 42"/>
                  <a:gd name="T88" fmla="*/ 47 w 69"/>
                  <a:gd name="T89" fmla="*/ 39 h 42"/>
                  <a:gd name="T90" fmla="*/ 47 w 69"/>
                  <a:gd name="T91" fmla="*/ 39 h 42"/>
                  <a:gd name="T92" fmla="*/ 44 w 69"/>
                  <a:gd name="T93" fmla="*/ 39 h 42"/>
                  <a:gd name="T94" fmla="*/ 41 w 69"/>
                  <a:gd name="T95" fmla="*/ 36 h 42"/>
                  <a:gd name="T96" fmla="*/ 39 w 69"/>
                  <a:gd name="T97" fmla="*/ 33 h 42"/>
                  <a:gd name="T98" fmla="*/ 36 w 69"/>
                  <a:gd name="T99" fmla="*/ 28 h 42"/>
                  <a:gd name="T100" fmla="*/ 33 w 69"/>
                  <a:gd name="T101" fmla="*/ 30 h 42"/>
                  <a:gd name="T102" fmla="*/ 33 w 69"/>
                  <a:gd name="T103" fmla="*/ 33 h 42"/>
                  <a:gd name="T104" fmla="*/ 33 w 69"/>
                  <a:gd name="T105" fmla="*/ 36 h 42"/>
                  <a:gd name="T106" fmla="*/ 28 w 69"/>
                  <a:gd name="T107" fmla="*/ 39 h 42"/>
                  <a:gd name="T108" fmla="*/ 16 w 69"/>
                  <a:gd name="T10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9" h="42">
                    <a:moveTo>
                      <a:pt x="16" y="42"/>
                    </a:moveTo>
                    <a:lnTo>
                      <a:pt x="14" y="36"/>
                    </a:lnTo>
                    <a:lnTo>
                      <a:pt x="14" y="36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5" y="28"/>
                    </a:lnTo>
                    <a:lnTo>
                      <a:pt x="2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2" y="25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6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25" y="0"/>
                    </a:lnTo>
                    <a:lnTo>
                      <a:pt x="25" y="3"/>
                    </a:lnTo>
                    <a:lnTo>
                      <a:pt x="44" y="0"/>
                    </a:lnTo>
                    <a:lnTo>
                      <a:pt x="53" y="3"/>
                    </a:lnTo>
                    <a:lnTo>
                      <a:pt x="55" y="5"/>
                    </a:lnTo>
                    <a:lnTo>
                      <a:pt x="55" y="11"/>
                    </a:lnTo>
                    <a:lnTo>
                      <a:pt x="58" y="14"/>
                    </a:lnTo>
                    <a:lnTo>
                      <a:pt x="61" y="16"/>
                    </a:lnTo>
                    <a:lnTo>
                      <a:pt x="64" y="16"/>
                    </a:lnTo>
                    <a:lnTo>
                      <a:pt x="66" y="16"/>
                    </a:lnTo>
                    <a:lnTo>
                      <a:pt x="69" y="19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5"/>
                    </a:lnTo>
                    <a:lnTo>
                      <a:pt x="64" y="25"/>
                    </a:lnTo>
                    <a:lnTo>
                      <a:pt x="64" y="25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55" y="30"/>
                    </a:lnTo>
                    <a:lnTo>
                      <a:pt x="53" y="28"/>
                    </a:lnTo>
                    <a:lnTo>
                      <a:pt x="50" y="28"/>
                    </a:lnTo>
                    <a:lnTo>
                      <a:pt x="50" y="30"/>
                    </a:lnTo>
                    <a:lnTo>
                      <a:pt x="47" y="36"/>
                    </a:lnTo>
                    <a:lnTo>
                      <a:pt x="47" y="39"/>
                    </a:lnTo>
                    <a:lnTo>
                      <a:pt x="47" y="39"/>
                    </a:lnTo>
                    <a:lnTo>
                      <a:pt x="44" y="39"/>
                    </a:lnTo>
                    <a:lnTo>
                      <a:pt x="41" y="36"/>
                    </a:lnTo>
                    <a:lnTo>
                      <a:pt x="39" y="33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3" y="33"/>
                    </a:lnTo>
                    <a:lnTo>
                      <a:pt x="33" y="36"/>
                    </a:lnTo>
                    <a:lnTo>
                      <a:pt x="28" y="39"/>
                    </a:lnTo>
                    <a:lnTo>
                      <a:pt x="16" y="4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1" name="Freeform 764"/>
              <p:cNvSpPr>
                <a:spLocks noChangeAspect="1"/>
              </p:cNvSpPr>
              <p:nvPr>
                <p:custDataLst>
                  <p:tags r:id="rId819"/>
                </p:custDataLst>
              </p:nvPr>
            </p:nvSpPr>
            <p:spPr bwMode="gray">
              <a:xfrm>
                <a:off x="5273747" y="2944877"/>
                <a:ext cx="66813" cy="61492"/>
              </a:xfrm>
              <a:custGeom>
                <a:avLst/>
                <a:gdLst>
                  <a:gd name="T0" fmla="*/ 47 w 52"/>
                  <a:gd name="T1" fmla="*/ 47 h 47"/>
                  <a:gd name="T2" fmla="*/ 44 w 52"/>
                  <a:gd name="T3" fmla="*/ 47 h 47"/>
                  <a:gd name="T4" fmla="*/ 41 w 52"/>
                  <a:gd name="T5" fmla="*/ 47 h 47"/>
                  <a:gd name="T6" fmla="*/ 36 w 52"/>
                  <a:gd name="T7" fmla="*/ 42 h 47"/>
                  <a:gd name="T8" fmla="*/ 36 w 52"/>
                  <a:gd name="T9" fmla="*/ 42 h 47"/>
                  <a:gd name="T10" fmla="*/ 33 w 52"/>
                  <a:gd name="T11" fmla="*/ 39 h 47"/>
                  <a:gd name="T12" fmla="*/ 33 w 52"/>
                  <a:gd name="T13" fmla="*/ 33 h 47"/>
                  <a:gd name="T14" fmla="*/ 33 w 52"/>
                  <a:gd name="T15" fmla="*/ 33 h 47"/>
                  <a:gd name="T16" fmla="*/ 30 w 52"/>
                  <a:gd name="T17" fmla="*/ 39 h 47"/>
                  <a:gd name="T18" fmla="*/ 27 w 52"/>
                  <a:gd name="T19" fmla="*/ 39 h 47"/>
                  <a:gd name="T20" fmla="*/ 25 w 52"/>
                  <a:gd name="T21" fmla="*/ 36 h 47"/>
                  <a:gd name="T22" fmla="*/ 22 w 52"/>
                  <a:gd name="T23" fmla="*/ 31 h 47"/>
                  <a:gd name="T24" fmla="*/ 19 w 52"/>
                  <a:gd name="T25" fmla="*/ 28 h 47"/>
                  <a:gd name="T26" fmla="*/ 11 w 52"/>
                  <a:gd name="T27" fmla="*/ 25 h 47"/>
                  <a:gd name="T28" fmla="*/ 8 w 52"/>
                  <a:gd name="T29" fmla="*/ 19 h 47"/>
                  <a:gd name="T30" fmla="*/ 5 w 52"/>
                  <a:gd name="T31" fmla="*/ 19 h 47"/>
                  <a:gd name="T32" fmla="*/ 0 w 52"/>
                  <a:gd name="T33" fmla="*/ 17 h 47"/>
                  <a:gd name="T34" fmla="*/ 0 w 52"/>
                  <a:gd name="T35" fmla="*/ 14 h 47"/>
                  <a:gd name="T36" fmla="*/ 0 w 52"/>
                  <a:gd name="T37" fmla="*/ 8 h 47"/>
                  <a:gd name="T38" fmla="*/ 11 w 52"/>
                  <a:gd name="T39" fmla="*/ 3 h 47"/>
                  <a:gd name="T40" fmla="*/ 11 w 52"/>
                  <a:gd name="T41" fmla="*/ 3 h 47"/>
                  <a:gd name="T42" fmla="*/ 11 w 52"/>
                  <a:gd name="T43" fmla="*/ 3 h 47"/>
                  <a:gd name="T44" fmla="*/ 16 w 52"/>
                  <a:gd name="T45" fmla="*/ 5 h 47"/>
                  <a:gd name="T46" fmla="*/ 27 w 52"/>
                  <a:gd name="T47" fmla="*/ 3 h 47"/>
                  <a:gd name="T48" fmla="*/ 33 w 52"/>
                  <a:gd name="T49" fmla="*/ 0 h 47"/>
                  <a:gd name="T50" fmla="*/ 36 w 52"/>
                  <a:gd name="T51" fmla="*/ 3 h 47"/>
                  <a:gd name="T52" fmla="*/ 36 w 52"/>
                  <a:gd name="T53" fmla="*/ 3 h 47"/>
                  <a:gd name="T54" fmla="*/ 36 w 52"/>
                  <a:gd name="T55" fmla="*/ 5 h 47"/>
                  <a:gd name="T56" fmla="*/ 39 w 52"/>
                  <a:gd name="T57" fmla="*/ 5 h 47"/>
                  <a:gd name="T58" fmla="*/ 41 w 52"/>
                  <a:gd name="T59" fmla="*/ 5 h 47"/>
                  <a:gd name="T60" fmla="*/ 44 w 52"/>
                  <a:gd name="T61" fmla="*/ 8 h 47"/>
                  <a:gd name="T62" fmla="*/ 44 w 52"/>
                  <a:gd name="T63" fmla="*/ 17 h 47"/>
                  <a:gd name="T64" fmla="*/ 47 w 52"/>
                  <a:gd name="T65" fmla="*/ 19 h 47"/>
                  <a:gd name="T66" fmla="*/ 50 w 52"/>
                  <a:gd name="T67" fmla="*/ 19 h 47"/>
                  <a:gd name="T68" fmla="*/ 52 w 52"/>
                  <a:gd name="T69" fmla="*/ 19 h 47"/>
                  <a:gd name="T70" fmla="*/ 52 w 52"/>
                  <a:gd name="T71" fmla="*/ 22 h 47"/>
                  <a:gd name="T72" fmla="*/ 52 w 52"/>
                  <a:gd name="T73" fmla="*/ 25 h 47"/>
                  <a:gd name="T74" fmla="*/ 52 w 52"/>
                  <a:gd name="T75" fmla="*/ 28 h 47"/>
                  <a:gd name="T76" fmla="*/ 50 w 52"/>
                  <a:gd name="T77" fmla="*/ 33 h 47"/>
                  <a:gd name="T78" fmla="*/ 50 w 52"/>
                  <a:gd name="T79" fmla="*/ 33 h 47"/>
                  <a:gd name="T80" fmla="*/ 47 w 52"/>
                  <a:gd name="T81" fmla="*/ 36 h 47"/>
                  <a:gd name="T82" fmla="*/ 44 w 52"/>
                  <a:gd name="T83" fmla="*/ 39 h 47"/>
                  <a:gd name="T84" fmla="*/ 47 w 52"/>
                  <a:gd name="T85" fmla="*/ 42 h 47"/>
                  <a:gd name="T86" fmla="*/ 47 w 52"/>
                  <a:gd name="T8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2" h="47">
                    <a:moveTo>
                      <a:pt x="47" y="47"/>
                    </a:moveTo>
                    <a:lnTo>
                      <a:pt x="44" y="47"/>
                    </a:lnTo>
                    <a:lnTo>
                      <a:pt x="41" y="47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39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0" y="39"/>
                    </a:lnTo>
                    <a:lnTo>
                      <a:pt x="27" y="39"/>
                    </a:lnTo>
                    <a:lnTo>
                      <a:pt x="25" y="36"/>
                    </a:lnTo>
                    <a:lnTo>
                      <a:pt x="22" y="31"/>
                    </a:lnTo>
                    <a:lnTo>
                      <a:pt x="19" y="28"/>
                    </a:lnTo>
                    <a:lnTo>
                      <a:pt x="11" y="25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6" y="5"/>
                    </a:lnTo>
                    <a:lnTo>
                      <a:pt x="27" y="3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41" y="5"/>
                    </a:lnTo>
                    <a:lnTo>
                      <a:pt x="44" y="8"/>
                    </a:lnTo>
                    <a:lnTo>
                      <a:pt x="44" y="17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22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3"/>
                    </a:lnTo>
                    <a:lnTo>
                      <a:pt x="50" y="33"/>
                    </a:lnTo>
                    <a:lnTo>
                      <a:pt x="47" y="36"/>
                    </a:lnTo>
                    <a:lnTo>
                      <a:pt x="44" y="39"/>
                    </a:lnTo>
                    <a:lnTo>
                      <a:pt x="47" y="42"/>
                    </a:lnTo>
                    <a:lnTo>
                      <a:pt x="47" y="4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2" name="Freeform 765"/>
              <p:cNvSpPr>
                <a:spLocks noChangeAspect="1"/>
              </p:cNvSpPr>
              <p:nvPr>
                <p:custDataLst>
                  <p:tags r:id="rId820"/>
                </p:custDataLst>
              </p:nvPr>
            </p:nvSpPr>
            <p:spPr bwMode="gray">
              <a:xfrm>
                <a:off x="5273747" y="2944877"/>
                <a:ext cx="66813" cy="61492"/>
              </a:xfrm>
              <a:custGeom>
                <a:avLst/>
                <a:gdLst>
                  <a:gd name="T0" fmla="*/ 47 w 52"/>
                  <a:gd name="T1" fmla="*/ 47 h 47"/>
                  <a:gd name="T2" fmla="*/ 44 w 52"/>
                  <a:gd name="T3" fmla="*/ 47 h 47"/>
                  <a:gd name="T4" fmla="*/ 41 w 52"/>
                  <a:gd name="T5" fmla="*/ 47 h 47"/>
                  <a:gd name="T6" fmla="*/ 36 w 52"/>
                  <a:gd name="T7" fmla="*/ 42 h 47"/>
                  <a:gd name="T8" fmla="*/ 36 w 52"/>
                  <a:gd name="T9" fmla="*/ 42 h 47"/>
                  <a:gd name="T10" fmla="*/ 33 w 52"/>
                  <a:gd name="T11" fmla="*/ 39 h 47"/>
                  <a:gd name="T12" fmla="*/ 33 w 52"/>
                  <a:gd name="T13" fmla="*/ 33 h 47"/>
                  <a:gd name="T14" fmla="*/ 33 w 52"/>
                  <a:gd name="T15" fmla="*/ 33 h 47"/>
                  <a:gd name="T16" fmla="*/ 30 w 52"/>
                  <a:gd name="T17" fmla="*/ 39 h 47"/>
                  <a:gd name="T18" fmla="*/ 27 w 52"/>
                  <a:gd name="T19" fmla="*/ 39 h 47"/>
                  <a:gd name="T20" fmla="*/ 25 w 52"/>
                  <a:gd name="T21" fmla="*/ 36 h 47"/>
                  <a:gd name="T22" fmla="*/ 22 w 52"/>
                  <a:gd name="T23" fmla="*/ 31 h 47"/>
                  <a:gd name="T24" fmla="*/ 19 w 52"/>
                  <a:gd name="T25" fmla="*/ 28 h 47"/>
                  <a:gd name="T26" fmla="*/ 11 w 52"/>
                  <a:gd name="T27" fmla="*/ 25 h 47"/>
                  <a:gd name="T28" fmla="*/ 8 w 52"/>
                  <a:gd name="T29" fmla="*/ 19 h 47"/>
                  <a:gd name="T30" fmla="*/ 5 w 52"/>
                  <a:gd name="T31" fmla="*/ 19 h 47"/>
                  <a:gd name="T32" fmla="*/ 0 w 52"/>
                  <a:gd name="T33" fmla="*/ 17 h 47"/>
                  <a:gd name="T34" fmla="*/ 0 w 52"/>
                  <a:gd name="T35" fmla="*/ 14 h 47"/>
                  <a:gd name="T36" fmla="*/ 0 w 52"/>
                  <a:gd name="T37" fmla="*/ 8 h 47"/>
                  <a:gd name="T38" fmla="*/ 11 w 52"/>
                  <a:gd name="T39" fmla="*/ 3 h 47"/>
                  <a:gd name="T40" fmla="*/ 11 w 52"/>
                  <a:gd name="T41" fmla="*/ 3 h 47"/>
                  <a:gd name="T42" fmla="*/ 11 w 52"/>
                  <a:gd name="T43" fmla="*/ 3 h 47"/>
                  <a:gd name="T44" fmla="*/ 16 w 52"/>
                  <a:gd name="T45" fmla="*/ 5 h 47"/>
                  <a:gd name="T46" fmla="*/ 27 w 52"/>
                  <a:gd name="T47" fmla="*/ 3 h 47"/>
                  <a:gd name="T48" fmla="*/ 33 w 52"/>
                  <a:gd name="T49" fmla="*/ 0 h 47"/>
                  <a:gd name="T50" fmla="*/ 36 w 52"/>
                  <a:gd name="T51" fmla="*/ 3 h 47"/>
                  <a:gd name="T52" fmla="*/ 36 w 52"/>
                  <a:gd name="T53" fmla="*/ 3 h 47"/>
                  <a:gd name="T54" fmla="*/ 36 w 52"/>
                  <a:gd name="T55" fmla="*/ 5 h 47"/>
                  <a:gd name="T56" fmla="*/ 39 w 52"/>
                  <a:gd name="T57" fmla="*/ 5 h 47"/>
                  <a:gd name="T58" fmla="*/ 41 w 52"/>
                  <a:gd name="T59" fmla="*/ 5 h 47"/>
                  <a:gd name="T60" fmla="*/ 44 w 52"/>
                  <a:gd name="T61" fmla="*/ 8 h 47"/>
                  <a:gd name="T62" fmla="*/ 44 w 52"/>
                  <a:gd name="T63" fmla="*/ 17 h 47"/>
                  <a:gd name="T64" fmla="*/ 47 w 52"/>
                  <a:gd name="T65" fmla="*/ 19 h 47"/>
                  <a:gd name="T66" fmla="*/ 50 w 52"/>
                  <a:gd name="T67" fmla="*/ 19 h 47"/>
                  <a:gd name="T68" fmla="*/ 52 w 52"/>
                  <a:gd name="T69" fmla="*/ 19 h 47"/>
                  <a:gd name="T70" fmla="*/ 52 w 52"/>
                  <a:gd name="T71" fmla="*/ 22 h 47"/>
                  <a:gd name="T72" fmla="*/ 52 w 52"/>
                  <a:gd name="T73" fmla="*/ 25 h 47"/>
                  <a:gd name="T74" fmla="*/ 52 w 52"/>
                  <a:gd name="T75" fmla="*/ 28 h 47"/>
                  <a:gd name="T76" fmla="*/ 50 w 52"/>
                  <a:gd name="T77" fmla="*/ 33 h 47"/>
                  <a:gd name="T78" fmla="*/ 50 w 52"/>
                  <a:gd name="T79" fmla="*/ 33 h 47"/>
                  <a:gd name="T80" fmla="*/ 47 w 52"/>
                  <a:gd name="T81" fmla="*/ 36 h 47"/>
                  <a:gd name="T82" fmla="*/ 44 w 52"/>
                  <a:gd name="T83" fmla="*/ 39 h 47"/>
                  <a:gd name="T84" fmla="*/ 47 w 52"/>
                  <a:gd name="T85" fmla="*/ 42 h 47"/>
                  <a:gd name="T86" fmla="*/ 47 w 52"/>
                  <a:gd name="T8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2" h="47">
                    <a:moveTo>
                      <a:pt x="47" y="47"/>
                    </a:moveTo>
                    <a:lnTo>
                      <a:pt x="44" y="47"/>
                    </a:lnTo>
                    <a:lnTo>
                      <a:pt x="41" y="47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3" y="39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0" y="39"/>
                    </a:lnTo>
                    <a:lnTo>
                      <a:pt x="27" y="39"/>
                    </a:lnTo>
                    <a:lnTo>
                      <a:pt x="25" y="36"/>
                    </a:lnTo>
                    <a:lnTo>
                      <a:pt x="22" y="31"/>
                    </a:lnTo>
                    <a:lnTo>
                      <a:pt x="19" y="28"/>
                    </a:lnTo>
                    <a:lnTo>
                      <a:pt x="11" y="25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6" y="5"/>
                    </a:lnTo>
                    <a:lnTo>
                      <a:pt x="27" y="3"/>
                    </a:lnTo>
                    <a:lnTo>
                      <a:pt x="33" y="0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9" y="5"/>
                    </a:lnTo>
                    <a:lnTo>
                      <a:pt x="41" y="5"/>
                    </a:lnTo>
                    <a:lnTo>
                      <a:pt x="44" y="8"/>
                    </a:lnTo>
                    <a:lnTo>
                      <a:pt x="44" y="17"/>
                    </a:lnTo>
                    <a:lnTo>
                      <a:pt x="47" y="19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22"/>
                    </a:lnTo>
                    <a:lnTo>
                      <a:pt x="52" y="25"/>
                    </a:lnTo>
                    <a:lnTo>
                      <a:pt x="52" y="28"/>
                    </a:lnTo>
                    <a:lnTo>
                      <a:pt x="50" y="33"/>
                    </a:lnTo>
                    <a:lnTo>
                      <a:pt x="50" y="33"/>
                    </a:lnTo>
                    <a:lnTo>
                      <a:pt x="47" y="36"/>
                    </a:lnTo>
                    <a:lnTo>
                      <a:pt x="44" y="39"/>
                    </a:lnTo>
                    <a:lnTo>
                      <a:pt x="47" y="42"/>
                    </a:lnTo>
                    <a:lnTo>
                      <a:pt x="47" y="4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3" name="Freeform 766"/>
              <p:cNvSpPr>
                <a:spLocks noChangeAspect="1"/>
              </p:cNvSpPr>
              <p:nvPr>
                <p:custDataLst>
                  <p:tags r:id="rId821"/>
                </p:custDataLst>
              </p:nvPr>
            </p:nvSpPr>
            <p:spPr bwMode="gray">
              <a:xfrm>
                <a:off x="5241859" y="3206616"/>
                <a:ext cx="12148" cy="7884"/>
              </a:xfrm>
              <a:custGeom>
                <a:avLst/>
                <a:gdLst>
                  <a:gd name="T0" fmla="*/ 6 w 9"/>
                  <a:gd name="T1" fmla="*/ 3 h 6"/>
                  <a:gd name="T2" fmla="*/ 9 w 9"/>
                  <a:gd name="T3" fmla="*/ 3 h 6"/>
                  <a:gd name="T4" fmla="*/ 6 w 9"/>
                  <a:gd name="T5" fmla="*/ 6 h 6"/>
                  <a:gd name="T6" fmla="*/ 3 w 9"/>
                  <a:gd name="T7" fmla="*/ 6 h 6"/>
                  <a:gd name="T8" fmla="*/ 3 w 9"/>
                  <a:gd name="T9" fmla="*/ 3 h 6"/>
                  <a:gd name="T10" fmla="*/ 0 w 9"/>
                  <a:gd name="T11" fmla="*/ 0 h 6"/>
                  <a:gd name="T12" fmla="*/ 6 w 9"/>
                  <a:gd name="T13" fmla="*/ 0 h 6"/>
                  <a:gd name="T14" fmla="*/ 6 w 9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6">
                    <a:moveTo>
                      <a:pt x="6" y="3"/>
                    </a:moveTo>
                    <a:lnTo>
                      <a:pt x="9" y="3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4" name="Freeform 767"/>
              <p:cNvSpPr>
                <a:spLocks noChangeAspect="1"/>
              </p:cNvSpPr>
              <p:nvPr>
                <p:custDataLst>
                  <p:tags r:id="rId822"/>
                </p:custDataLst>
              </p:nvPr>
            </p:nvSpPr>
            <p:spPr bwMode="gray">
              <a:xfrm>
                <a:off x="5241859" y="3206616"/>
                <a:ext cx="12148" cy="7884"/>
              </a:xfrm>
              <a:custGeom>
                <a:avLst/>
                <a:gdLst>
                  <a:gd name="T0" fmla="*/ 6 w 9"/>
                  <a:gd name="T1" fmla="*/ 3 h 6"/>
                  <a:gd name="T2" fmla="*/ 9 w 9"/>
                  <a:gd name="T3" fmla="*/ 3 h 6"/>
                  <a:gd name="T4" fmla="*/ 6 w 9"/>
                  <a:gd name="T5" fmla="*/ 6 h 6"/>
                  <a:gd name="T6" fmla="*/ 3 w 9"/>
                  <a:gd name="T7" fmla="*/ 6 h 6"/>
                  <a:gd name="T8" fmla="*/ 3 w 9"/>
                  <a:gd name="T9" fmla="*/ 3 h 6"/>
                  <a:gd name="T10" fmla="*/ 0 w 9"/>
                  <a:gd name="T11" fmla="*/ 0 h 6"/>
                  <a:gd name="T12" fmla="*/ 6 w 9"/>
                  <a:gd name="T13" fmla="*/ 0 h 6"/>
                  <a:gd name="T14" fmla="*/ 6 w 9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6">
                    <a:moveTo>
                      <a:pt x="6" y="3"/>
                    </a:moveTo>
                    <a:lnTo>
                      <a:pt x="9" y="3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5" name="Freeform 768"/>
              <p:cNvSpPr>
                <a:spLocks noChangeAspect="1"/>
              </p:cNvSpPr>
              <p:nvPr>
                <p:custDataLst>
                  <p:tags r:id="rId823"/>
                </p:custDataLst>
              </p:nvPr>
            </p:nvSpPr>
            <p:spPr bwMode="gray">
              <a:xfrm>
                <a:off x="5029276" y="3178237"/>
                <a:ext cx="258138" cy="197092"/>
              </a:xfrm>
              <a:custGeom>
                <a:avLst/>
                <a:gdLst>
                  <a:gd name="T0" fmla="*/ 31 w 198"/>
                  <a:gd name="T1" fmla="*/ 125 h 153"/>
                  <a:gd name="T2" fmla="*/ 36 w 198"/>
                  <a:gd name="T3" fmla="*/ 111 h 153"/>
                  <a:gd name="T4" fmla="*/ 33 w 198"/>
                  <a:gd name="T5" fmla="*/ 106 h 153"/>
                  <a:gd name="T6" fmla="*/ 36 w 198"/>
                  <a:gd name="T7" fmla="*/ 95 h 153"/>
                  <a:gd name="T8" fmla="*/ 31 w 198"/>
                  <a:gd name="T9" fmla="*/ 83 h 153"/>
                  <a:gd name="T10" fmla="*/ 36 w 198"/>
                  <a:gd name="T11" fmla="*/ 81 h 153"/>
                  <a:gd name="T12" fmla="*/ 39 w 198"/>
                  <a:gd name="T13" fmla="*/ 75 h 153"/>
                  <a:gd name="T14" fmla="*/ 42 w 198"/>
                  <a:gd name="T15" fmla="*/ 56 h 153"/>
                  <a:gd name="T16" fmla="*/ 50 w 198"/>
                  <a:gd name="T17" fmla="*/ 44 h 153"/>
                  <a:gd name="T18" fmla="*/ 36 w 198"/>
                  <a:gd name="T19" fmla="*/ 36 h 153"/>
                  <a:gd name="T20" fmla="*/ 22 w 198"/>
                  <a:gd name="T21" fmla="*/ 39 h 153"/>
                  <a:gd name="T22" fmla="*/ 19 w 198"/>
                  <a:gd name="T23" fmla="*/ 33 h 153"/>
                  <a:gd name="T24" fmla="*/ 8 w 198"/>
                  <a:gd name="T25" fmla="*/ 39 h 153"/>
                  <a:gd name="T26" fmla="*/ 8 w 198"/>
                  <a:gd name="T27" fmla="*/ 36 h 153"/>
                  <a:gd name="T28" fmla="*/ 11 w 198"/>
                  <a:gd name="T29" fmla="*/ 28 h 153"/>
                  <a:gd name="T30" fmla="*/ 8 w 198"/>
                  <a:gd name="T31" fmla="*/ 28 h 153"/>
                  <a:gd name="T32" fmla="*/ 8 w 198"/>
                  <a:gd name="T33" fmla="*/ 22 h 153"/>
                  <a:gd name="T34" fmla="*/ 6 w 198"/>
                  <a:gd name="T35" fmla="*/ 22 h 153"/>
                  <a:gd name="T36" fmla="*/ 0 w 198"/>
                  <a:gd name="T37" fmla="*/ 14 h 153"/>
                  <a:gd name="T38" fmla="*/ 6 w 198"/>
                  <a:gd name="T39" fmla="*/ 8 h 153"/>
                  <a:gd name="T40" fmla="*/ 14 w 198"/>
                  <a:gd name="T41" fmla="*/ 8 h 153"/>
                  <a:gd name="T42" fmla="*/ 17 w 198"/>
                  <a:gd name="T43" fmla="*/ 3 h 153"/>
                  <a:gd name="T44" fmla="*/ 25 w 198"/>
                  <a:gd name="T45" fmla="*/ 0 h 153"/>
                  <a:gd name="T46" fmla="*/ 50 w 198"/>
                  <a:gd name="T47" fmla="*/ 3 h 153"/>
                  <a:gd name="T48" fmla="*/ 117 w 198"/>
                  <a:gd name="T49" fmla="*/ 5 h 153"/>
                  <a:gd name="T50" fmla="*/ 125 w 198"/>
                  <a:gd name="T51" fmla="*/ 14 h 153"/>
                  <a:gd name="T52" fmla="*/ 134 w 198"/>
                  <a:gd name="T53" fmla="*/ 19 h 153"/>
                  <a:gd name="T54" fmla="*/ 153 w 198"/>
                  <a:gd name="T55" fmla="*/ 22 h 153"/>
                  <a:gd name="T56" fmla="*/ 159 w 198"/>
                  <a:gd name="T57" fmla="*/ 19 h 153"/>
                  <a:gd name="T58" fmla="*/ 167 w 198"/>
                  <a:gd name="T59" fmla="*/ 28 h 153"/>
                  <a:gd name="T60" fmla="*/ 173 w 198"/>
                  <a:gd name="T61" fmla="*/ 25 h 153"/>
                  <a:gd name="T62" fmla="*/ 175 w 198"/>
                  <a:gd name="T63" fmla="*/ 28 h 153"/>
                  <a:gd name="T64" fmla="*/ 195 w 198"/>
                  <a:gd name="T65" fmla="*/ 28 h 153"/>
                  <a:gd name="T66" fmla="*/ 198 w 198"/>
                  <a:gd name="T67" fmla="*/ 31 h 153"/>
                  <a:gd name="T68" fmla="*/ 195 w 198"/>
                  <a:gd name="T69" fmla="*/ 33 h 153"/>
                  <a:gd name="T70" fmla="*/ 192 w 198"/>
                  <a:gd name="T71" fmla="*/ 39 h 153"/>
                  <a:gd name="T72" fmla="*/ 161 w 198"/>
                  <a:gd name="T73" fmla="*/ 56 h 153"/>
                  <a:gd name="T74" fmla="*/ 159 w 198"/>
                  <a:gd name="T75" fmla="*/ 61 h 153"/>
                  <a:gd name="T76" fmla="*/ 139 w 198"/>
                  <a:gd name="T77" fmla="*/ 89 h 153"/>
                  <a:gd name="T78" fmla="*/ 142 w 198"/>
                  <a:gd name="T79" fmla="*/ 92 h 153"/>
                  <a:gd name="T80" fmla="*/ 145 w 198"/>
                  <a:gd name="T81" fmla="*/ 97 h 153"/>
                  <a:gd name="T82" fmla="*/ 148 w 198"/>
                  <a:gd name="T83" fmla="*/ 100 h 153"/>
                  <a:gd name="T84" fmla="*/ 148 w 198"/>
                  <a:gd name="T85" fmla="*/ 103 h 153"/>
                  <a:gd name="T86" fmla="*/ 134 w 198"/>
                  <a:gd name="T87" fmla="*/ 122 h 153"/>
                  <a:gd name="T88" fmla="*/ 125 w 198"/>
                  <a:gd name="T89" fmla="*/ 125 h 153"/>
                  <a:gd name="T90" fmla="*/ 117 w 198"/>
                  <a:gd name="T91" fmla="*/ 139 h 153"/>
                  <a:gd name="T92" fmla="*/ 111 w 198"/>
                  <a:gd name="T93" fmla="*/ 139 h 153"/>
                  <a:gd name="T94" fmla="*/ 106 w 198"/>
                  <a:gd name="T95" fmla="*/ 142 h 153"/>
                  <a:gd name="T96" fmla="*/ 92 w 198"/>
                  <a:gd name="T97" fmla="*/ 142 h 153"/>
                  <a:gd name="T98" fmla="*/ 78 w 198"/>
                  <a:gd name="T99" fmla="*/ 142 h 153"/>
                  <a:gd name="T100" fmla="*/ 70 w 198"/>
                  <a:gd name="T101" fmla="*/ 145 h 153"/>
                  <a:gd name="T102" fmla="*/ 64 w 198"/>
                  <a:gd name="T103" fmla="*/ 150 h 153"/>
                  <a:gd name="T104" fmla="*/ 64 w 198"/>
                  <a:gd name="T105" fmla="*/ 153 h 153"/>
                  <a:gd name="T106" fmla="*/ 56 w 198"/>
                  <a:gd name="T107" fmla="*/ 153 h 153"/>
                  <a:gd name="T108" fmla="*/ 50 w 198"/>
                  <a:gd name="T109" fmla="*/ 145 h 153"/>
                  <a:gd name="T110" fmla="*/ 47 w 198"/>
                  <a:gd name="T111" fmla="*/ 142 h 153"/>
                  <a:gd name="T112" fmla="*/ 45 w 198"/>
                  <a:gd name="T113" fmla="*/ 134 h 153"/>
                  <a:gd name="T114" fmla="*/ 36 w 198"/>
                  <a:gd name="T115" fmla="*/ 13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8" h="153">
                    <a:moveTo>
                      <a:pt x="31" y="131"/>
                    </a:moveTo>
                    <a:lnTo>
                      <a:pt x="31" y="125"/>
                    </a:lnTo>
                    <a:lnTo>
                      <a:pt x="36" y="114"/>
                    </a:lnTo>
                    <a:lnTo>
                      <a:pt x="36" y="111"/>
                    </a:lnTo>
                    <a:lnTo>
                      <a:pt x="33" y="108"/>
                    </a:lnTo>
                    <a:lnTo>
                      <a:pt x="33" y="106"/>
                    </a:lnTo>
                    <a:lnTo>
                      <a:pt x="33" y="103"/>
                    </a:lnTo>
                    <a:lnTo>
                      <a:pt x="36" y="95"/>
                    </a:lnTo>
                    <a:lnTo>
                      <a:pt x="33" y="89"/>
                    </a:lnTo>
                    <a:lnTo>
                      <a:pt x="31" y="83"/>
                    </a:lnTo>
                    <a:lnTo>
                      <a:pt x="33" y="83"/>
                    </a:lnTo>
                    <a:lnTo>
                      <a:pt x="36" y="81"/>
                    </a:lnTo>
                    <a:lnTo>
                      <a:pt x="39" y="78"/>
                    </a:lnTo>
                    <a:lnTo>
                      <a:pt x="39" y="75"/>
                    </a:lnTo>
                    <a:lnTo>
                      <a:pt x="39" y="72"/>
                    </a:lnTo>
                    <a:lnTo>
                      <a:pt x="42" y="56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5" y="39"/>
                    </a:lnTo>
                    <a:lnTo>
                      <a:pt x="36" y="36"/>
                    </a:lnTo>
                    <a:lnTo>
                      <a:pt x="33" y="39"/>
                    </a:lnTo>
                    <a:lnTo>
                      <a:pt x="22" y="39"/>
                    </a:lnTo>
                    <a:lnTo>
                      <a:pt x="19" y="36"/>
                    </a:lnTo>
                    <a:lnTo>
                      <a:pt x="19" y="33"/>
                    </a:lnTo>
                    <a:lnTo>
                      <a:pt x="11" y="36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36"/>
                    </a:lnTo>
                    <a:lnTo>
                      <a:pt x="8" y="31"/>
                    </a:lnTo>
                    <a:lnTo>
                      <a:pt x="11" y="28"/>
                    </a:lnTo>
                    <a:lnTo>
                      <a:pt x="8" y="31"/>
                    </a:lnTo>
                    <a:lnTo>
                      <a:pt x="8" y="28"/>
                    </a:lnTo>
                    <a:lnTo>
                      <a:pt x="6" y="25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19"/>
                    </a:lnTo>
                    <a:lnTo>
                      <a:pt x="0" y="14"/>
                    </a:lnTo>
                    <a:lnTo>
                      <a:pt x="3" y="11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4" y="8"/>
                    </a:lnTo>
                    <a:lnTo>
                      <a:pt x="17" y="5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25" y="0"/>
                    </a:lnTo>
                    <a:lnTo>
                      <a:pt x="33" y="3"/>
                    </a:lnTo>
                    <a:lnTo>
                      <a:pt x="50" y="3"/>
                    </a:lnTo>
                    <a:lnTo>
                      <a:pt x="53" y="0"/>
                    </a:lnTo>
                    <a:lnTo>
                      <a:pt x="117" y="5"/>
                    </a:lnTo>
                    <a:lnTo>
                      <a:pt x="117" y="8"/>
                    </a:lnTo>
                    <a:lnTo>
                      <a:pt x="125" y="14"/>
                    </a:lnTo>
                    <a:lnTo>
                      <a:pt x="128" y="14"/>
                    </a:lnTo>
                    <a:lnTo>
                      <a:pt x="134" y="19"/>
                    </a:lnTo>
                    <a:lnTo>
                      <a:pt x="153" y="22"/>
                    </a:lnTo>
                    <a:lnTo>
                      <a:pt x="153" y="22"/>
                    </a:lnTo>
                    <a:lnTo>
                      <a:pt x="156" y="19"/>
                    </a:lnTo>
                    <a:lnTo>
                      <a:pt x="159" y="19"/>
                    </a:lnTo>
                    <a:lnTo>
                      <a:pt x="167" y="25"/>
                    </a:lnTo>
                    <a:lnTo>
                      <a:pt x="167" y="28"/>
                    </a:lnTo>
                    <a:lnTo>
                      <a:pt x="170" y="28"/>
                    </a:lnTo>
                    <a:lnTo>
                      <a:pt x="173" y="25"/>
                    </a:lnTo>
                    <a:lnTo>
                      <a:pt x="170" y="25"/>
                    </a:lnTo>
                    <a:lnTo>
                      <a:pt x="175" y="28"/>
                    </a:lnTo>
                    <a:lnTo>
                      <a:pt x="175" y="28"/>
                    </a:lnTo>
                    <a:lnTo>
                      <a:pt x="195" y="28"/>
                    </a:lnTo>
                    <a:lnTo>
                      <a:pt x="195" y="28"/>
                    </a:lnTo>
                    <a:lnTo>
                      <a:pt x="198" y="31"/>
                    </a:lnTo>
                    <a:lnTo>
                      <a:pt x="195" y="31"/>
                    </a:lnTo>
                    <a:lnTo>
                      <a:pt x="195" y="33"/>
                    </a:lnTo>
                    <a:lnTo>
                      <a:pt x="195" y="36"/>
                    </a:lnTo>
                    <a:lnTo>
                      <a:pt x="192" y="39"/>
                    </a:lnTo>
                    <a:lnTo>
                      <a:pt x="178" y="50"/>
                    </a:lnTo>
                    <a:lnTo>
                      <a:pt x="161" y="56"/>
                    </a:lnTo>
                    <a:lnTo>
                      <a:pt x="159" y="61"/>
                    </a:lnTo>
                    <a:lnTo>
                      <a:pt x="159" y="61"/>
                    </a:lnTo>
                    <a:lnTo>
                      <a:pt x="142" y="83"/>
                    </a:lnTo>
                    <a:lnTo>
                      <a:pt x="139" y="89"/>
                    </a:lnTo>
                    <a:lnTo>
                      <a:pt x="139" y="89"/>
                    </a:lnTo>
                    <a:lnTo>
                      <a:pt x="142" y="92"/>
                    </a:lnTo>
                    <a:lnTo>
                      <a:pt x="142" y="97"/>
                    </a:lnTo>
                    <a:lnTo>
                      <a:pt x="145" y="97"/>
                    </a:lnTo>
                    <a:lnTo>
                      <a:pt x="145" y="100"/>
                    </a:lnTo>
                    <a:lnTo>
                      <a:pt x="148" y="100"/>
                    </a:lnTo>
                    <a:lnTo>
                      <a:pt x="148" y="100"/>
                    </a:lnTo>
                    <a:lnTo>
                      <a:pt x="148" y="103"/>
                    </a:lnTo>
                    <a:lnTo>
                      <a:pt x="139" y="111"/>
                    </a:lnTo>
                    <a:lnTo>
                      <a:pt x="134" y="122"/>
                    </a:lnTo>
                    <a:lnTo>
                      <a:pt x="134" y="125"/>
                    </a:lnTo>
                    <a:lnTo>
                      <a:pt x="125" y="125"/>
                    </a:lnTo>
                    <a:lnTo>
                      <a:pt x="120" y="131"/>
                    </a:lnTo>
                    <a:lnTo>
                      <a:pt x="117" y="139"/>
                    </a:lnTo>
                    <a:lnTo>
                      <a:pt x="114" y="139"/>
                    </a:lnTo>
                    <a:lnTo>
                      <a:pt x="111" y="139"/>
                    </a:lnTo>
                    <a:lnTo>
                      <a:pt x="109" y="139"/>
                    </a:lnTo>
                    <a:lnTo>
                      <a:pt x="106" y="142"/>
                    </a:lnTo>
                    <a:lnTo>
                      <a:pt x="97" y="139"/>
                    </a:lnTo>
                    <a:lnTo>
                      <a:pt x="92" y="142"/>
                    </a:lnTo>
                    <a:lnTo>
                      <a:pt x="89" y="139"/>
                    </a:lnTo>
                    <a:lnTo>
                      <a:pt x="78" y="142"/>
                    </a:lnTo>
                    <a:lnTo>
                      <a:pt x="75" y="145"/>
                    </a:lnTo>
                    <a:lnTo>
                      <a:pt x="70" y="145"/>
                    </a:lnTo>
                    <a:lnTo>
                      <a:pt x="67" y="147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3"/>
                    </a:lnTo>
                    <a:lnTo>
                      <a:pt x="61" y="153"/>
                    </a:lnTo>
                    <a:lnTo>
                      <a:pt x="56" y="153"/>
                    </a:lnTo>
                    <a:lnTo>
                      <a:pt x="53" y="150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7" y="142"/>
                    </a:lnTo>
                    <a:lnTo>
                      <a:pt x="47" y="136"/>
                    </a:lnTo>
                    <a:lnTo>
                      <a:pt x="45" y="134"/>
                    </a:lnTo>
                    <a:lnTo>
                      <a:pt x="39" y="131"/>
                    </a:lnTo>
                    <a:lnTo>
                      <a:pt x="36" y="131"/>
                    </a:lnTo>
                    <a:lnTo>
                      <a:pt x="31" y="1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6" name="Freeform 769"/>
              <p:cNvSpPr>
                <a:spLocks noChangeAspect="1"/>
              </p:cNvSpPr>
              <p:nvPr>
                <p:custDataLst>
                  <p:tags r:id="rId824"/>
                </p:custDataLst>
              </p:nvPr>
            </p:nvSpPr>
            <p:spPr bwMode="gray">
              <a:xfrm>
                <a:off x="5906943" y="3444703"/>
                <a:ext cx="33406" cy="91451"/>
              </a:xfrm>
              <a:custGeom>
                <a:avLst/>
                <a:gdLst>
                  <a:gd name="T0" fmla="*/ 14 w 25"/>
                  <a:gd name="T1" fmla="*/ 70 h 72"/>
                  <a:gd name="T2" fmla="*/ 19 w 25"/>
                  <a:gd name="T3" fmla="*/ 44 h 72"/>
                  <a:gd name="T4" fmla="*/ 22 w 25"/>
                  <a:gd name="T5" fmla="*/ 39 h 72"/>
                  <a:gd name="T6" fmla="*/ 19 w 25"/>
                  <a:gd name="T7" fmla="*/ 39 h 72"/>
                  <a:gd name="T8" fmla="*/ 22 w 25"/>
                  <a:gd name="T9" fmla="*/ 33 h 72"/>
                  <a:gd name="T10" fmla="*/ 19 w 25"/>
                  <a:gd name="T11" fmla="*/ 33 h 72"/>
                  <a:gd name="T12" fmla="*/ 19 w 25"/>
                  <a:gd name="T13" fmla="*/ 33 h 72"/>
                  <a:gd name="T14" fmla="*/ 16 w 25"/>
                  <a:gd name="T15" fmla="*/ 36 h 72"/>
                  <a:gd name="T16" fmla="*/ 14 w 25"/>
                  <a:gd name="T17" fmla="*/ 36 h 72"/>
                  <a:gd name="T18" fmla="*/ 14 w 25"/>
                  <a:gd name="T19" fmla="*/ 36 h 72"/>
                  <a:gd name="T20" fmla="*/ 11 w 25"/>
                  <a:gd name="T21" fmla="*/ 36 h 72"/>
                  <a:gd name="T22" fmla="*/ 11 w 25"/>
                  <a:gd name="T23" fmla="*/ 33 h 72"/>
                  <a:gd name="T24" fmla="*/ 14 w 25"/>
                  <a:gd name="T25" fmla="*/ 33 h 72"/>
                  <a:gd name="T26" fmla="*/ 14 w 25"/>
                  <a:gd name="T27" fmla="*/ 31 h 72"/>
                  <a:gd name="T28" fmla="*/ 16 w 25"/>
                  <a:gd name="T29" fmla="*/ 28 h 72"/>
                  <a:gd name="T30" fmla="*/ 16 w 25"/>
                  <a:gd name="T31" fmla="*/ 28 h 72"/>
                  <a:gd name="T32" fmla="*/ 16 w 25"/>
                  <a:gd name="T33" fmla="*/ 28 h 72"/>
                  <a:gd name="T34" fmla="*/ 16 w 25"/>
                  <a:gd name="T35" fmla="*/ 28 h 72"/>
                  <a:gd name="T36" fmla="*/ 16 w 25"/>
                  <a:gd name="T37" fmla="*/ 28 h 72"/>
                  <a:gd name="T38" fmla="*/ 14 w 25"/>
                  <a:gd name="T39" fmla="*/ 28 h 72"/>
                  <a:gd name="T40" fmla="*/ 14 w 25"/>
                  <a:gd name="T41" fmla="*/ 25 h 72"/>
                  <a:gd name="T42" fmla="*/ 14 w 25"/>
                  <a:gd name="T43" fmla="*/ 25 h 72"/>
                  <a:gd name="T44" fmla="*/ 14 w 25"/>
                  <a:gd name="T45" fmla="*/ 19 h 72"/>
                  <a:gd name="T46" fmla="*/ 14 w 25"/>
                  <a:gd name="T47" fmla="*/ 19 h 72"/>
                  <a:gd name="T48" fmla="*/ 14 w 25"/>
                  <a:gd name="T49" fmla="*/ 17 h 72"/>
                  <a:gd name="T50" fmla="*/ 16 w 25"/>
                  <a:gd name="T51" fmla="*/ 14 h 72"/>
                  <a:gd name="T52" fmla="*/ 16 w 25"/>
                  <a:gd name="T53" fmla="*/ 14 h 72"/>
                  <a:gd name="T54" fmla="*/ 19 w 25"/>
                  <a:gd name="T55" fmla="*/ 14 h 72"/>
                  <a:gd name="T56" fmla="*/ 19 w 25"/>
                  <a:gd name="T57" fmla="*/ 14 h 72"/>
                  <a:gd name="T58" fmla="*/ 19 w 25"/>
                  <a:gd name="T59" fmla="*/ 17 h 72"/>
                  <a:gd name="T60" fmla="*/ 22 w 25"/>
                  <a:gd name="T61" fmla="*/ 17 h 72"/>
                  <a:gd name="T62" fmla="*/ 22 w 25"/>
                  <a:gd name="T63" fmla="*/ 17 h 72"/>
                  <a:gd name="T64" fmla="*/ 22 w 25"/>
                  <a:gd name="T65" fmla="*/ 11 h 72"/>
                  <a:gd name="T66" fmla="*/ 25 w 25"/>
                  <a:gd name="T67" fmla="*/ 8 h 72"/>
                  <a:gd name="T68" fmla="*/ 22 w 25"/>
                  <a:gd name="T69" fmla="*/ 8 h 72"/>
                  <a:gd name="T70" fmla="*/ 25 w 25"/>
                  <a:gd name="T71" fmla="*/ 6 h 72"/>
                  <a:gd name="T72" fmla="*/ 22 w 25"/>
                  <a:gd name="T73" fmla="*/ 6 h 72"/>
                  <a:gd name="T74" fmla="*/ 25 w 25"/>
                  <a:gd name="T75" fmla="*/ 6 h 72"/>
                  <a:gd name="T76" fmla="*/ 25 w 25"/>
                  <a:gd name="T77" fmla="*/ 0 h 72"/>
                  <a:gd name="T78" fmla="*/ 22 w 25"/>
                  <a:gd name="T79" fmla="*/ 0 h 72"/>
                  <a:gd name="T80" fmla="*/ 22 w 25"/>
                  <a:gd name="T81" fmla="*/ 0 h 72"/>
                  <a:gd name="T82" fmla="*/ 22 w 25"/>
                  <a:gd name="T83" fmla="*/ 6 h 72"/>
                  <a:gd name="T84" fmla="*/ 22 w 25"/>
                  <a:gd name="T85" fmla="*/ 6 h 72"/>
                  <a:gd name="T86" fmla="*/ 19 w 25"/>
                  <a:gd name="T87" fmla="*/ 6 h 72"/>
                  <a:gd name="T88" fmla="*/ 19 w 25"/>
                  <a:gd name="T89" fmla="*/ 6 h 72"/>
                  <a:gd name="T90" fmla="*/ 19 w 25"/>
                  <a:gd name="T91" fmla="*/ 6 h 72"/>
                  <a:gd name="T92" fmla="*/ 16 w 25"/>
                  <a:gd name="T93" fmla="*/ 6 h 72"/>
                  <a:gd name="T94" fmla="*/ 14 w 25"/>
                  <a:gd name="T95" fmla="*/ 3 h 72"/>
                  <a:gd name="T96" fmla="*/ 8 w 25"/>
                  <a:gd name="T97" fmla="*/ 31 h 72"/>
                  <a:gd name="T98" fmla="*/ 5 w 25"/>
                  <a:gd name="T99" fmla="*/ 33 h 72"/>
                  <a:gd name="T100" fmla="*/ 5 w 25"/>
                  <a:gd name="T101" fmla="*/ 33 h 72"/>
                  <a:gd name="T102" fmla="*/ 3 w 25"/>
                  <a:gd name="T103" fmla="*/ 36 h 72"/>
                  <a:gd name="T104" fmla="*/ 3 w 25"/>
                  <a:gd name="T105" fmla="*/ 39 h 72"/>
                  <a:gd name="T106" fmla="*/ 0 w 25"/>
                  <a:gd name="T107" fmla="*/ 39 h 72"/>
                  <a:gd name="T108" fmla="*/ 11 w 25"/>
                  <a:gd name="T109" fmla="*/ 72 h 72"/>
                  <a:gd name="T110" fmla="*/ 14 w 25"/>
                  <a:gd name="T111" fmla="*/ 7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" h="72">
                    <a:moveTo>
                      <a:pt x="14" y="70"/>
                    </a:moveTo>
                    <a:lnTo>
                      <a:pt x="19" y="44"/>
                    </a:lnTo>
                    <a:lnTo>
                      <a:pt x="22" y="39"/>
                    </a:lnTo>
                    <a:lnTo>
                      <a:pt x="19" y="39"/>
                    </a:lnTo>
                    <a:lnTo>
                      <a:pt x="22" y="33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1" y="36"/>
                    </a:lnTo>
                    <a:lnTo>
                      <a:pt x="11" y="33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1"/>
                    </a:lnTo>
                    <a:lnTo>
                      <a:pt x="25" y="8"/>
                    </a:lnTo>
                    <a:lnTo>
                      <a:pt x="22" y="8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8" y="31"/>
                    </a:lnTo>
                    <a:lnTo>
                      <a:pt x="5" y="33"/>
                    </a:lnTo>
                    <a:lnTo>
                      <a:pt x="5" y="33"/>
                    </a:lnTo>
                    <a:lnTo>
                      <a:pt x="3" y="36"/>
                    </a:lnTo>
                    <a:lnTo>
                      <a:pt x="3" y="39"/>
                    </a:lnTo>
                    <a:lnTo>
                      <a:pt x="0" y="39"/>
                    </a:lnTo>
                    <a:lnTo>
                      <a:pt x="11" y="72"/>
                    </a:lnTo>
                    <a:lnTo>
                      <a:pt x="14" y="7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7" name="Freeform 770"/>
              <p:cNvSpPr>
                <a:spLocks noChangeAspect="1"/>
              </p:cNvSpPr>
              <p:nvPr>
                <p:custDataLst>
                  <p:tags r:id="rId825"/>
                </p:custDataLst>
              </p:nvPr>
            </p:nvSpPr>
            <p:spPr bwMode="gray">
              <a:xfrm>
                <a:off x="6005642" y="3339062"/>
                <a:ext cx="195882" cy="201823"/>
              </a:xfrm>
              <a:custGeom>
                <a:avLst/>
                <a:gdLst>
                  <a:gd name="T0" fmla="*/ 150 w 150"/>
                  <a:gd name="T1" fmla="*/ 139 h 156"/>
                  <a:gd name="T2" fmla="*/ 150 w 150"/>
                  <a:gd name="T3" fmla="*/ 142 h 156"/>
                  <a:gd name="T4" fmla="*/ 145 w 150"/>
                  <a:gd name="T5" fmla="*/ 139 h 156"/>
                  <a:gd name="T6" fmla="*/ 145 w 150"/>
                  <a:gd name="T7" fmla="*/ 139 h 156"/>
                  <a:gd name="T8" fmla="*/ 142 w 150"/>
                  <a:gd name="T9" fmla="*/ 142 h 156"/>
                  <a:gd name="T10" fmla="*/ 136 w 150"/>
                  <a:gd name="T11" fmla="*/ 139 h 156"/>
                  <a:gd name="T12" fmla="*/ 131 w 150"/>
                  <a:gd name="T13" fmla="*/ 142 h 156"/>
                  <a:gd name="T14" fmla="*/ 125 w 150"/>
                  <a:gd name="T15" fmla="*/ 153 h 156"/>
                  <a:gd name="T16" fmla="*/ 120 w 150"/>
                  <a:gd name="T17" fmla="*/ 156 h 156"/>
                  <a:gd name="T18" fmla="*/ 92 w 150"/>
                  <a:gd name="T19" fmla="*/ 156 h 156"/>
                  <a:gd name="T20" fmla="*/ 75 w 150"/>
                  <a:gd name="T21" fmla="*/ 148 h 156"/>
                  <a:gd name="T22" fmla="*/ 75 w 150"/>
                  <a:gd name="T23" fmla="*/ 145 h 156"/>
                  <a:gd name="T24" fmla="*/ 75 w 150"/>
                  <a:gd name="T25" fmla="*/ 134 h 156"/>
                  <a:gd name="T26" fmla="*/ 72 w 150"/>
                  <a:gd name="T27" fmla="*/ 134 h 156"/>
                  <a:gd name="T28" fmla="*/ 67 w 150"/>
                  <a:gd name="T29" fmla="*/ 134 h 156"/>
                  <a:gd name="T30" fmla="*/ 64 w 150"/>
                  <a:gd name="T31" fmla="*/ 128 h 156"/>
                  <a:gd name="T32" fmla="*/ 6 w 150"/>
                  <a:gd name="T33" fmla="*/ 100 h 156"/>
                  <a:gd name="T34" fmla="*/ 0 w 150"/>
                  <a:gd name="T35" fmla="*/ 81 h 156"/>
                  <a:gd name="T36" fmla="*/ 33 w 150"/>
                  <a:gd name="T37" fmla="*/ 59 h 156"/>
                  <a:gd name="T38" fmla="*/ 36 w 150"/>
                  <a:gd name="T39" fmla="*/ 53 h 156"/>
                  <a:gd name="T40" fmla="*/ 39 w 150"/>
                  <a:gd name="T41" fmla="*/ 22 h 156"/>
                  <a:gd name="T42" fmla="*/ 47 w 150"/>
                  <a:gd name="T43" fmla="*/ 17 h 156"/>
                  <a:gd name="T44" fmla="*/ 53 w 150"/>
                  <a:gd name="T45" fmla="*/ 9 h 156"/>
                  <a:gd name="T46" fmla="*/ 64 w 150"/>
                  <a:gd name="T47" fmla="*/ 0 h 156"/>
                  <a:gd name="T48" fmla="*/ 70 w 150"/>
                  <a:gd name="T49" fmla="*/ 3 h 156"/>
                  <a:gd name="T50" fmla="*/ 83 w 150"/>
                  <a:gd name="T51" fmla="*/ 3 h 156"/>
                  <a:gd name="T52" fmla="*/ 86 w 150"/>
                  <a:gd name="T53" fmla="*/ 6 h 156"/>
                  <a:gd name="T54" fmla="*/ 92 w 150"/>
                  <a:gd name="T55" fmla="*/ 6 h 156"/>
                  <a:gd name="T56" fmla="*/ 95 w 150"/>
                  <a:gd name="T57" fmla="*/ 6 h 156"/>
                  <a:gd name="T58" fmla="*/ 95 w 150"/>
                  <a:gd name="T59" fmla="*/ 14 h 156"/>
                  <a:gd name="T60" fmla="*/ 97 w 150"/>
                  <a:gd name="T61" fmla="*/ 20 h 156"/>
                  <a:gd name="T62" fmla="*/ 100 w 150"/>
                  <a:gd name="T63" fmla="*/ 22 h 156"/>
                  <a:gd name="T64" fmla="*/ 103 w 150"/>
                  <a:gd name="T65" fmla="*/ 28 h 156"/>
                  <a:gd name="T66" fmla="*/ 106 w 150"/>
                  <a:gd name="T67" fmla="*/ 31 h 156"/>
                  <a:gd name="T68" fmla="*/ 117 w 150"/>
                  <a:gd name="T69" fmla="*/ 34 h 156"/>
                  <a:gd name="T70" fmla="*/ 114 w 150"/>
                  <a:gd name="T71" fmla="*/ 34 h 156"/>
                  <a:gd name="T72" fmla="*/ 114 w 150"/>
                  <a:gd name="T73" fmla="*/ 39 h 156"/>
                  <a:gd name="T74" fmla="*/ 114 w 150"/>
                  <a:gd name="T75" fmla="*/ 45 h 156"/>
                  <a:gd name="T76" fmla="*/ 109 w 150"/>
                  <a:gd name="T77" fmla="*/ 53 h 156"/>
                  <a:gd name="T78" fmla="*/ 109 w 150"/>
                  <a:gd name="T79" fmla="*/ 56 h 156"/>
                  <a:gd name="T80" fmla="*/ 106 w 150"/>
                  <a:gd name="T81" fmla="*/ 56 h 156"/>
                  <a:gd name="T82" fmla="*/ 106 w 150"/>
                  <a:gd name="T83" fmla="*/ 59 h 156"/>
                  <a:gd name="T84" fmla="*/ 103 w 150"/>
                  <a:gd name="T85" fmla="*/ 64 h 156"/>
                  <a:gd name="T86" fmla="*/ 103 w 150"/>
                  <a:gd name="T87" fmla="*/ 67 h 156"/>
                  <a:gd name="T88" fmla="*/ 103 w 150"/>
                  <a:gd name="T89" fmla="*/ 67 h 156"/>
                  <a:gd name="T90" fmla="*/ 103 w 150"/>
                  <a:gd name="T91" fmla="*/ 73 h 156"/>
                  <a:gd name="T92" fmla="*/ 103 w 150"/>
                  <a:gd name="T93" fmla="*/ 73 h 156"/>
                  <a:gd name="T94" fmla="*/ 106 w 150"/>
                  <a:gd name="T95" fmla="*/ 73 h 156"/>
                  <a:gd name="T96" fmla="*/ 109 w 150"/>
                  <a:gd name="T97" fmla="*/ 75 h 156"/>
                  <a:gd name="T98" fmla="*/ 109 w 150"/>
                  <a:gd name="T99" fmla="*/ 78 h 156"/>
                  <a:gd name="T100" fmla="*/ 111 w 150"/>
                  <a:gd name="T101" fmla="*/ 81 h 156"/>
                  <a:gd name="T102" fmla="*/ 111 w 150"/>
                  <a:gd name="T103" fmla="*/ 84 h 156"/>
                  <a:gd name="T104" fmla="*/ 125 w 150"/>
                  <a:gd name="T105" fmla="*/ 95 h 156"/>
                  <a:gd name="T106" fmla="*/ 131 w 150"/>
                  <a:gd name="T107" fmla="*/ 95 h 156"/>
                  <a:gd name="T108" fmla="*/ 139 w 150"/>
                  <a:gd name="T109" fmla="*/ 109 h 156"/>
                  <a:gd name="T110" fmla="*/ 136 w 150"/>
                  <a:gd name="T111" fmla="*/ 123 h 156"/>
                  <a:gd name="T112" fmla="*/ 139 w 150"/>
                  <a:gd name="T113" fmla="*/ 125 h 156"/>
                  <a:gd name="T114" fmla="*/ 142 w 150"/>
                  <a:gd name="T115" fmla="*/ 131 h 156"/>
                  <a:gd name="T116" fmla="*/ 150 w 150"/>
                  <a:gd name="T117" fmla="*/ 139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0" h="156">
                    <a:moveTo>
                      <a:pt x="150" y="139"/>
                    </a:moveTo>
                    <a:lnTo>
                      <a:pt x="150" y="142"/>
                    </a:lnTo>
                    <a:lnTo>
                      <a:pt x="145" y="139"/>
                    </a:lnTo>
                    <a:lnTo>
                      <a:pt x="145" y="139"/>
                    </a:lnTo>
                    <a:lnTo>
                      <a:pt x="142" y="142"/>
                    </a:lnTo>
                    <a:lnTo>
                      <a:pt x="136" y="139"/>
                    </a:lnTo>
                    <a:lnTo>
                      <a:pt x="131" y="142"/>
                    </a:lnTo>
                    <a:lnTo>
                      <a:pt x="125" y="153"/>
                    </a:lnTo>
                    <a:lnTo>
                      <a:pt x="120" y="156"/>
                    </a:lnTo>
                    <a:lnTo>
                      <a:pt x="92" y="156"/>
                    </a:lnTo>
                    <a:lnTo>
                      <a:pt x="75" y="148"/>
                    </a:lnTo>
                    <a:lnTo>
                      <a:pt x="75" y="145"/>
                    </a:lnTo>
                    <a:lnTo>
                      <a:pt x="75" y="134"/>
                    </a:lnTo>
                    <a:lnTo>
                      <a:pt x="72" y="134"/>
                    </a:lnTo>
                    <a:lnTo>
                      <a:pt x="67" y="134"/>
                    </a:lnTo>
                    <a:lnTo>
                      <a:pt x="64" y="128"/>
                    </a:lnTo>
                    <a:lnTo>
                      <a:pt x="6" y="100"/>
                    </a:lnTo>
                    <a:lnTo>
                      <a:pt x="0" y="81"/>
                    </a:lnTo>
                    <a:lnTo>
                      <a:pt x="33" y="59"/>
                    </a:lnTo>
                    <a:lnTo>
                      <a:pt x="36" y="53"/>
                    </a:lnTo>
                    <a:lnTo>
                      <a:pt x="39" y="22"/>
                    </a:lnTo>
                    <a:lnTo>
                      <a:pt x="47" y="17"/>
                    </a:lnTo>
                    <a:lnTo>
                      <a:pt x="53" y="9"/>
                    </a:lnTo>
                    <a:lnTo>
                      <a:pt x="64" y="0"/>
                    </a:lnTo>
                    <a:lnTo>
                      <a:pt x="70" y="3"/>
                    </a:lnTo>
                    <a:lnTo>
                      <a:pt x="83" y="3"/>
                    </a:lnTo>
                    <a:lnTo>
                      <a:pt x="86" y="6"/>
                    </a:lnTo>
                    <a:lnTo>
                      <a:pt x="92" y="6"/>
                    </a:lnTo>
                    <a:lnTo>
                      <a:pt x="95" y="6"/>
                    </a:lnTo>
                    <a:lnTo>
                      <a:pt x="95" y="14"/>
                    </a:lnTo>
                    <a:lnTo>
                      <a:pt x="97" y="20"/>
                    </a:lnTo>
                    <a:lnTo>
                      <a:pt x="100" y="22"/>
                    </a:lnTo>
                    <a:lnTo>
                      <a:pt x="103" y="28"/>
                    </a:lnTo>
                    <a:lnTo>
                      <a:pt x="106" y="31"/>
                    </a:lnTo>
                    <a:lnTo>
                      <a:pt x="117" y="34"/>
                    </a:lnTo>
                    <a:lnTo>
                      <a:pt x="114" y="34"/>
                    </a:lnTo>
                    <a:lnTo>
                      <a:pt x="114" y="39"/>
                    </a:lnTo>
                    <a:lnTo>
                      <a:pt x="114" y="45"/>
                    </a:lnTo>
                    <a:lnTo>
                      <a:pt x="109" y="53"/>
                    </a:lnTo>
                    <a:lnTo>
                      <a:pt x="109" y="56"/>
                    </a:lnTo>
                    <a:lnTo>
                      <a:pt x="106" y="56"/>
                    </a:lnTo>
                    <a:lnTo>
                      <a:pt x="106" y="59"/>
                    </a:lnTo>
                    <a:lnTo>
                      <a:pt x="103" y="64"/>
                    </a:lnTo>
                    <a:lnTo>
                      <a:pt x="103" y="67"/>
                    </a:lnTo>
                    <a:lnTo>
                      <a:pt x="103" y="67"/>
                    </a:lnTo>
                    <a:lnTo>
                      <a:pt x="103" y="73"/>
                    </a:lnTo>
                    <a:lnTo>
                      <a:pt x="103" y="73"/>
                    </a:lnTo>
                    <a:lnTo>
                      <a:pt x="106" y="73"/>
                    </a:lnTo>
                    <a:lnTo>
                      <a:pt x="109" y="75"/>
                    </a:lnTo>
                    <a:lnTo>
                      <a:pt x="109" y="78"/>
                    </a:lnTo>
                    <a:lnTo>
                      <a:pt x="111" y="81"/>
                    </a:lnTo>
                    <a:lnTo>
                      <a:pt x="111" y="84"/>
                    </a:lnTo>
                    <a:lnTo>
                      <a:pt x="125" y="95"/>
                    </a:lnTo>
                    <a:lnTo>
                      <a:pt x="131" y="95"/>
                    </a:lnTo>
                    <a:lnTo>
                      <a:pt x="139" y="109"/>
                    </a:lnTo>
                    <a:lnTo>
                      <a:pt x="136" y="123"/>
                    </a:lnTo>
                    <a:lnTo>
                      <a:pt x="139" y="125"/>
                    </a:lnTo>
                    <a:lnTo>
                      <a:pt x="142" y="131"/>
                    </a:lnTo>
                    <a:lnTo>
                      <a:pt x="150" y="13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8" name="Freeform 771"/>
              <p:cNvSpPr>
                <a:spLocks noChangeAspect="1"/>
              </p:cNvSpPr>
              <p:nvPr>
                <p:custDataLst>
                  <p:tags r:id="rId826"/>
                </p:custDataLst>
              </p:nvPr>
            </p:nvSpPr>
            <p:spPr bwMode="gray">
              <a:xfrm>
                <a:off x="6248595" y="3608684"/>
                <a:ext cx="15185" cy="36266"/>
              </a:xfrm>
              <a:custGeom>
                <a:avLst/>
                <a:gdLst>
                  <a:gd name="T0" fmla="*/ 3 w 12"/>
                  <a:gd name="T1" fmla="*/ 28 h 28"/>
                  <a:gd name="T2" fmla="*/ 9 w 12"/>
                  <a:gd name="T3" fmla="*/ 25 h 28"/>
                  <a:gd name="T4" fmla="*/ 12 w 12"/>
                  <a:gd name="T5" fmla="*/ 25 h 28"/>
                  <a:gd name="T6" fmla="*/ 12 w 12"/>
                  <a:gd name="T7" fmla="*/ 22 h 28"/>
                  <a:gd name="T8" fmla="*/ 12 w 12"/>
                  <a:gd name="T9" fmla="*/ 20 h 28"/>
                  <a:gd name="T10" fmla="*/ 12 w 12"/>
                  <a:gd name="T11" fmla="*/ 20 h 28"/>
                  <a:gd name="T12" fmla="*/ 12 w 12"/>
                  <a:gd name="T13" fmla="*/ 17 h 28"/>
                  <a:gd name="T14" fmla="*/ 12 w 12"/>
                  <a:gd name="T15" fmla="*/ 14 h 28"/>
                  <a:gd name="T16" fmla="*/ 12 w 12"/>
                  <a:gd name="T17" fmla="*/ 8 h 28"/>
                  <a:gd name="T18" fmla="*/ 12 w 12"/>
                  <a:gd name="T19" fmla="*/ 8 h 28"/>
                  <a:gd name="T20" fmla="*/ 12 w 12"/>
                  <a:gd name="T21" fmla="*/ 8 h 28"/>
                  <a:gd name="T22" fmla="*/ 12 w 12"/>
                  <a:gd name="T23" fmla="*/ 6 h 28"/>
                  <a:gd name="T24" fmla="*/ 12 w 12"/>
                  <a:gd name="T25" fmla="*/ 6 h 28"/>
                  <a:gd name="T26" fmla="*/ 12 w 12"/>
                  <a:gd name="T27" fmla="*/ 6 h 28"/>
                  <a:gd name="T28" fmla="*/ 12 w 12"/>
                  <a:gd name="T29" fmla="*/ 3 h 28"/>
                  <a:gd name="T30" fmla="*/ 9 w 12"/>
                  <a:gd name="T31" fmla="*/ 3 h 28"/>
                  <a:gd name="T32" fmla="*/ 9 w 12"/>
                  <a:gd name="T33" fmla="*/ 3 h 28"/>
                  <a:gd name="T34" fmla="*/ 9 w 12"/>
                  <a:gd name="T35" fmla="*/ 0 h 28"/>
                  <a:gd name="T36" fmla="*/ 6 w 12"/>
                  <a:gd name="T37" fmla="*/ 0 h 28"/>
                  <a:gd name="T38" fmla="*/ 6 w 12"/>
                  <a:gd name="T39" fmla="*/ 0 h 28"/>
                  <a:gd name="T40" fmla="*/ 0 w 12"/>
                  <a:gd name="T41" fmla="*/ 11 h 28"/>
                  <a:gd name="T42" fmla="*/ 0 w 12"/>
                  <a:gd name="T43" fmla="*/ 11 h 28"/>
                  <a:gd name="T44" fmla="*/ 0 w 12"/>
                  <a:gd name="T45" fmla="*/ 14 h 28"/>
                  <a:gd name="T46" fmla="*/ 0 w 12"/>
                  <a:gd name="T47" fmla="*/ 14 h 28"/>
                  <a:gd name="T48" fmla="*/ 0 w 12"/>
                  <a:gd name="T49" fmla="*/ 17 h 28"/>
                  <a:gd name="T50" fmla="*/ 0 w 12"/>
                  <a:gd name="T51" fmla="*/ 17 h 28"/>
                  <a:gd name="T52" fmla="*/ 0 w 12"/>
                  <a:gd name="T53" fmla="*/ 20 h 28"/>
                  <a:gd name="T54" fmla="*/ 0 w 12"/>
                  <a:gd name="T55" fmla="*/ 22 h 28"/>
                  <a:gd name="T56" fmla="*/ 0 w 12"/>
                  <a:gd name="T57" fmla="*/ 22 h 28"/>
                  <a:gd name="T58" fmla="*/ 0 w 12"/>
                  <a:gd name="T59" fmla="*/ 22 h 28"/>
                  <a:gd name="T60" fmla="*/ 0 w 12"/>
                  <a:gd name="T61" fmla="*/ 25 h 28"/>
                  <a:gd name="T62" fmla="*/ 3 w 12"/>
                  <a:gd name="T63" fmla="*/ 28 h 28"/>
                  <a:gd name="T64" fmla="*/ 3 w 12"/>
                  <a:gd name="T6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28">
                    <a:moveTo>
                      <a:pt x="3" y="28"/>
                    </a:moveTo>
                    <a:lnTo>
                      <a:pt x="9" y="25"/>
                    </a:lnTo>
                    <a:lnTo>
                      <a:pt x="12" y="25"/>
                    </a:lnTo>
                    <a:lnTo>
                      <a:pt x="12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7"/>
                    </a:lnTo>
                    <a:lnTo>
                      <a:pt x="12" y="14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3" y="28"/>
                    </a:lnTo>
                    <a:lnTo>
                      <a:pt x="3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99" name="Freeform 773"/>
              <p:cNvSpPr>
                <a:spLocks noChangeAspect="1"/>
              </p:cNvSpPr>
              <p:nvPr>
                <p:custDataLst>
                  <p:tags r:id="rId827"/>
                </p:custDataLst>
              </p:nvPr>
            </p:nvSpPr>
            <p:spPr bwMode="gray">
              <a:xfrm>
                <a:off x="5112790" y="3845197"/>
                <a:ext cx="151845" cy="115102"/>
              </a:xfrm>
              <a:custGeom>
                <a:avLst/>
                <a:gdLst>
                  <a:gd name="T0" fmla="*/ 72 w 117"/>
                  <a:gd name="T1" fmla="*/ 3 h 89"/>
                  <a:gd name="T2" fmla="*/ 47 w 117"/>
                  <a:gd name="T3" fmla="*/ 19 h 89"/>
                  <a:gd name="T4" fmla="*/ 22 w 117"/>
                  <a:gd name="T5" fmla="*/ 28 h 89"/>
                  <a:gd name="T6" fmla="*/ 11 w 117"/>
                  <a:gd name="T7" fmla="*/ 47 h 89"/>
                  <a:gd name="T8" fmla="*/ 0 w 117"/>
                  <a:gd name="T9" fmla="*/ 64 h 89"/>
                  <a:gd name="T10" fmla="*/ 0 w 117"/>
                  <a:gd name="T11" fmla="*/ 75 h 89"/>
                  <a:gd name="T12" fmla="*/ 0 w 117"/>
                  <a:gd name="T13" fmla="*/ 78 h 89"/>
                  <a:gd name="T14" fmla="*/ 0 w 117"/>
                  <a:gd name="T15" fmla="*/ 78 h 89"/>
                  <a:gd name="T16" fmla="*/ 3 w 117"/>
                  <a:gd name="T17" fmla="*/ 81 h 89"/>
                  <a:gd name="T18" fmla="*/ 3 w 117"/>
                  <a:gd name="T19" fmla="*/ 81 h 89"/>
                  <a:gd name="T20" fmla="*/ 6 w 117"/>
                  <a:gd name="T21" fmla="*/ 83 h 89"/>
                  <a:gd name="T22" fmla="*/ 6 w 117"/>
                  <a:gd name="T23" fmla="*/ 86 h 89"/>
                  <a:gd name="T24" fmla="*/ 8 w 117"/>
                  <a:gd name="T25" fmla="*/ 83 h 89"/>
                  <a:gd name="T26" fmla="*/ 8 w 117"/>
                  <a:gd name="T27" fmla="*/ 83 h 89"/>
                  <a:gd name="T28" fmla="*/ 11 w 117"/>
                  <a:gd name="T29" fmla="*/ 86 h 89"/>
                  <a:gd name="T30" fmla="*/ 14 w 117"/>
                  <a:gd name="T31" fmla="*/ 83 h 89"/>
                  <a:gd name="T32" fmla="*/ 28 w 117"/>
                  <a:gd name="T33" fmla="*/ 81 h 89"/>
                  <a:gd name="T34" fmla="*/ 31 w 117"/>
                  <a:gd name="T35" fmla="*/ 81 h 89"/>
                  <a:gd name="T36" fmla="*/ 33 w 117"/>
                  <a:gd name="T37" fmla="*/ 83 h 89"/>
                  <a:gd name="T38" fmla="*/ 36 w 117"/>
                  <a:gd name="T39" fmla="*/ 89 h 89"/>
                  <a:gd name="T40" fmla="*/ 39 w 117"/>
                  <a:gd name="T41" fmla="*/ 89 h 89"/>
                  <a:gd name="T42" fmla="*/ 36 w 117"/>
                  <a:gd name="T43" fmla="*/ 81 h 89"/>
                  <a:gd name="T44" fmla="*/ 36 w 117"/>
                  <a:gd name="T45" fmla="*/ 75 h 89"/>
                  <a:gd name="T46" fmla="*/ 36 w 117"/>
                  <a:gd name="T47" fmla="*/ 72 h 89"/>
                  <a:gd name="T48" fmla="*/ 33 w 117"/>
                  <a:gd name="T49" fmla="*/ 69 h 89"/>
                  <a:gd name="T50" fmla="*/ 36 w 117"/>
                  <a:gd name="T51" fmla="*/ 64 h 89"/>
                  <a:gd name="T52" fmla="*/ 67 w 117"/>
                  <a:gd name="T53" fmla="*/ 67 h 89"/>
                  <a:gd name="T54" fmla="*/ 75 w 117"/>
                  <a:gd name="T55" fmla="*/ 61 h 89"/>
                  <a:gd name="T56" fmla="*/ 86 w 117"/>
                  <a:gd name="T57" fmla="*/ 64 h 89"/>
                  <a:gd name="T58" fmla="*/ 89 w 117"/>
                  <a:gd name="T59" fmla="*/ 67 h 89"/>
                  <a:gd name="T60" fmla="*/ 92 w 117"/>
                  <a:gd name="T61" fmla="*/ 64 h 89"/>
                  <a:gd name="T62" fmla="*/ 95 w 117"/>
                  <a:gd name="T63" fmla="*/ 64 h 89"/>
                  <a:gd name="T64" fmla="*/ 97 w 117"/>
                  <a:gd name="T65" fmla="*/ 61 h 89"/>
                  <a:gd name="T66" fmla="*/ 97 w 117"/>
                  <a:gd name="T67" fmla="*/ 61 h 89"/>
                  <a:gd name="T68" fmla="*/ 100 w 117"/>
                  <a:gd name="T69" fmla="*/ 58 h 89"/>
                  <a:gd name="T70" fmla="*/ 103 w 117"/>
                  <a:gd name="T71" fmla="*/ 55 h 89"/>
                  <a:gd name="T72" fmla="*/ 109 w 117"/>
                  <a:gd name="T73" fmla="*/ 55 h 89"/>
                  <a:gd name="T74" fmla="*/ 111 w 117"/>
                  <a:gd name="T75" fmla="*/ 58 h 89"/>
                  <a:gd name="T76" fmla="*/ 114 w 117"/>
                  <a:gd name="T77" fmla="*/ 53 h 89"/>
                  <a:gd name="T78" fmla="*/ 117 w 117"/>
                  <a:gd name="T79" fmla="*/ 50 h 89"/>
                  <a:gd name="T80" fmla="*/ 117 w 117"/>
                  <a:gd name="T81" fmla="*/ 50 h 89"/>
                  <a:gd name="T82" fmla="*/ 111 w 117"/>
                  <a:gd name="T83" fmla="*/ 44 h 89"/>
                  <a:gd name="T84" fmla="*/ 111 w 117"/>
                  <a:gd name="T85" fmla="*/ 42 h 89"/>
                  <a:gd name="T86" fmla="*/ 114 w 117"/>
                  <a:gd name="T87" fmla="*/ 42 h 89"/>
                  <a:gd name="T88" fmla="*/ 111 w 117"/>
                  <a:gd name="T89" fmla="*/ 39 h 89"/>
                  <a:gd name="T90" fmla="*/ 109 w 117"/>
                  <a:gd name="T91" fmla="*/ 36 h 89"/>
                  <a:gd name="T92" fmla="*/ 106 w 117"/>
                  <a:gd name="T93" fmla="*/ 39 h 89"/>
                  <a:gd name="T94" fmla="*/ 100 w 117"/>
                  <a:gd name="T95" fmla="*/ 36 h 89"/>
                  <a:gd name="T96" fmla="*/ 84 w 117"/>
                  <a:gd name="T97" fmla="*/ 14 h 89"/>
                  <a:gd name="T98" fmla="*/ 84 w 117"/>
                  <a:gd name="T99" fmla="*/ 11 h 89"/>
                  <a:gd name="T100" fmla="*/ 81 w 117"/>
                  <a:gd name="T101" fmla="*/ 8 h 89"/>
                  <a:gd name="T102" fmla="*/ 81 w 117"/>
                  <a:gd name="T103" fmla="*/ 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17" h="89">
                    <a:moveTo>
                      <a:pt x="84" y="0"/>
                    </a:moveTo>
                    <a:lnTo>
                      <a:pt x="72" y="3"/>
                    </a:lnTo>
                    <a:lnTo>
                      <a:pt x="50" y="14"/>
                    </a:lnTo>
                    <a:lnTo>
                      <a:pt x="47" y="19"/>
                    </a:lnTo>
                    <a:lnTo>
                      <a:pt x="42" y="22"/>
                    </a:lnTo>
                    <a:lnTo>
                      <a:pt x="22" y="28"/>
                    </a:lnTo>
                    <a:lnTo>
                      <a:pt x="20" y="30"/>
                    </a:lnTo>
                    <a:lnTo>
                      <a:pt x="11" y="47"/>
                    </a:lnTo>
                    <a:lnTo>
                      <a:pt x="3" y="55"/>
                    </a:lnTo>
                    <a:lnTo>
                      <a:pt x="0" y="64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3" y="78"/>
                    </a:lnTo>
                    <a:lnTo>
                      <a:pt x="3" y="81"/>
                    </a:lnTo>
                    <a:lnTo>
                      <a:pt x="3" y="81"/>
                    </a:lnTo>
                    <a:lnTo>
                      <a:pt x="3" y="81"/>
                    </a:lnTo>
                    <a:lnTo>
                      <a:pt x="3" y="81"/>
                    </a:lnTo>
                    <a:lnTo>
                      <a:pt x="6" y="83"/>
                    </a:lnTo>
                    <a:lnTo>
                      <a:pt x="6" y="83"/>
                    </a:lnTo>
                    <a:lnTo>
                      <a:pt x="6" y="86"/>
                    </a:lnTo>
                    <a:lnTo>
                      <a:pt x="6" y="83"/>
                    </a:lnTo>
                    <a:lnTo>
                      <a:pt x="8" y="83"/>
                    </a:lnTo>
                    <a:lnTo>
                      <a:pt x="8" y="83"/>
                    </a:lnTo>
                    <a:lnTo>
                      <a:pt x="8" y="83"/>
                    </a:lnTo>
                    <a:lnTo>
                      <a:pt x="8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4" y="83"/>
                    </a:lnTo>
                    <a:lnTo>
                      <a:pt x="22" y="81"/>
                    </a:lnTo>
                    <a:lnTo>
                      <a:pt x="28" y="81"/>
                    </a:lnTo>
                    <a:lnTo>
                      <a:pt x="31" y="81"/>
                    </a:lnTo>
                    <a:lnTo>
                      <a:pt x="31" y="81"/>
                    </a:lnTo>
                    <a:lnTo>
                      <a:pt x="33" y="83"/>
                    </a:lnTo>
                    <a:lnTo>
                      <a:pt x="33" y="83"/>
                    </a:lnTo>
                    <a:lnTo>
                      <a:pt x="36" y="89"/>
                    </a:lnTo>
                    <a:lnTo>
                      <a:pt x="36" y="89"/>
                    </a:lnTo>
                    <a:lnTo>
                      <a:pt x="36" y="89"/>
                    </a:lnTo>
                    <a:lnTo>
                      <a:pt x="39" y="89"/>
                    </a:lnTo>
                    <a:lnTo>
                      <a:pt x="36" y="86"/>
                    </a:lnTo>
                    <a:lnTo>
                      <a:pt x="36" y="81"/>
                    </a:lnTo>
                    <a:lnTo>
                      <a:pt x="36" y="78"/>
                    </a:lnTo>
                    <a:lnTo>
                      <a:pt x="36" y="75"/>
                    </a:lnTo>
                    <a:lnTo>
                      <a:pt x="36" y="75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3" y="69"/>
                    </a:lnTo>
                    <a:lnTo>
                      <a:pt x="33" y="67"/>
                    </a:lnTo>
                    <a:lnTo>
                      <a:pt x="36" y="64"/>
                    </a:lnTo>
                    <a:lnTo>
                      <a:pt x="67" y="67"/>
                    </a:lnTo>
                    <a:lnTo>
                      <a:pt x="67" y="67"/>
                    </a:lnTo>
                    <a:lnTo>
                      <a:pt x="72" y="64"/>
                    </a:lnTo>
                    <a:lnTo>
                      <a:pt x="75" y="61"/>
                    </a:lnTo>
                    <a:lnTo>
                      <a:pt x="75" y="64"/>
                    </a:lnTo>
                    <a:lnTo>
                      <a:pt x="86" y="64"/>
                    </a:lnTo>
                    <a:lnTo>
                      <a:pt x="86" y="67"/>
                    </a:lnTo>
                    <a:lnTo>
                      <a:pt x="89" y="67"/>
                    </a:lnTo>
                    <a:lnTo>
                      <a:pt x="89" y="64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5" y="64"/>
                    </a:lnTo>
                    <a:lnTo>
                      <a:pt x="95" y="61"/>
                    </a:lnTo>
                    <a:lnTo>
                      <a:pt x="97" y="61"/>
                    </a:lnTo>
                    <a:lnTo>
                      <a:pt x="97" y="61"/>
                    </a:lnTo>
                    <a:lnTo>
                      <a:pt x="97" y="61"/>
                    </a:lnTo>
                    <a:lnTo>
                      <a:pt x="100" y="61"/>
                    </a:lnTo>
                    <a:lnTo>
                      <a:pt x="100" y="58"/>
                    </a:lnTo>
                    <a:lnTo>
                      <a:pt x="103" y="55"/>
                    </a:lnTo>
                    <a:lnTo>
                      <a:pt x="103" y="55"/>
                    </a:lnTo>
                    <a:lnTo>
                      <a:pt x="106" y="58"/>
                    </a:lnTo>
                    <a:lnTo>
                      <a:pt x="109" y="55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14" y="53"/>
                    </a:lnTo>
                    <a:lnTo>
                      <a:pt x="114" y="53"/>
                    </a:lnTo>
                    <a:lnTo>
                      <a:pt x="114" y="53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7" y="50"/>
                    </a:lnTo>
                    <a:lnTo>
                      <a:pt x="111" y="44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4" y="42"/>
                    </a:lnTo>
                    <a:lnTo>
                      <a:pt x="114" y="42"/>
                    </a:lnTo>
                    <a:lnTo>
                      <a:pt x="114" y="42"/>
                    </a:lnTo>
                    <a:lnTo>
                      <a:pt x="111" y="39"/>
                    </a:lnTo>
                    <a:lnTo>
                      <a:pt x="111" y="36"/>
                    </a:lnTo>
                    <a:lnTo>
                      <a:pt x="109" y="36"/>
                    </a:lnTo>
                    <a:lnTo>
                      <a:pt x="109" y="39"/>
                    </a:lnTo>
                    <a:lnTo>
                      <a:pt x="106" y="39"/>
                    </a:lnTo>
                    <a:lnTo>
                      <a:pt x="106" y="39"/>
                    </a:lnTo>
                    <a:lnTo>
                      <a:pt x="100" y="36"/>
                    </a:lnTo>
                    <a:lnTo>
                      <a:pt x="84" y="17"/>
                    </a:lnTo>
                    <a:lnTo>
                      <a:pt x="84" y="14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1" y="8"/>
                    </a:lnTo>
                    <a:lnTo>
                      <a:pt x="81" y="8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0" name="Freeform 774"/>
              <p:cNvSpPr>
                <a:spLocks noChangeAspect="1"/>
              </p:cNvSpPr>
              <p:nvPr>
                <p:custDataLst>
                  <p:tags r:id="rId828"/>
                </p:custDataLst>
              </p:nvPr>
            </p:nvSpPr>
            <p:spPr bwMode="gray">
              <a:xfrm>
                <a:off x="4910835" y="3890922"/>
                <a:ext cx="151845" cy="116678"/>
              </a:xfrm>
              <a:custGeom>
                <a:avLst/>
                <a:gdLst>
                  <a:gd name="T0" fmla="*/ 50 w 117"/>
                  <a:gd name="T1" fmla="*/ 6 h 89"/>
                  <a:gd name="T2" fmla="*/ 45 w 117"/>
                  <a:gd name="T3" fmla="*/ 8 h 89"/>
                  <a:gd name="T4" fmla="*/ 36 w 117"/>
                  <a:gd name="T5" fmla="*/ 6 h 89"/>
                  <a:gd name="T6" fmla="*/ 34 w 117"/>
                  <a:gd name="T7" fmla="*/ 6 h 89"/>
                  <a:gd name="T8" fmla="*/ 28 w 117"/>
                  <a:gd name="T9" fmla="*/ 3 h 89"/>
                  <a:gd name="T10" fmla="*/ 22 w 117"/>
                  <a:gd name="T11" fmla="*/ 6 h 89"/>
                  <a:gd name="T12" fmla="*/ 20 w 117"/>
                  <a:gd name="T13" fmla="*/ 8 h 89"/>
                  <a:gd name="T14" fmla="*/ 22 w 117"/>
                  <a:gd name="T15" fmla="*/ 11 h 89"/>
                  <a:gd name="T16" fmla="*/ 14 w 117"/>
                  <a:gd name="T17" fmla="*/ 17 h 89"/>
                  <a:gd name="T18" fmla="*/ 3 w 117"/>
                  <a:gd name="T19" fmla="*/ 28 h 89"/>
                  <a:gd name="T20" fmla="*/ 3 w 117"/>
                  <a:gd name="T21" fmla="*/ 33 h 89"/>
                  <a:gd name="T22" fmla="*/ 6 w 117"/>
                  <a:gd name="T23" fmla="*/ 31 h 89"/>
                  <a:gd name="T24" fmla="*/ 8 w 117"/>
                  <a:gd name="T25" fmla="*/ 39 h 89"/>
                  <a:gd name="T26" fmla="*/ 22 w 117"/>
                  <a:gd name="T27" fmla="*/ 53 h 89"/>
                  <a:gd name="T28" fmla="*/ 25 w 117"/>
                  <a:gd name="T29" fmla="*/ 56 h 89"/>
                  <a:gd name="T30" fmla="*/ 34 w 117"/>
                  <a:gd name="T31" fmla="*/ 58 h 89"/>
                  <a:gd name="T32" fmla="*/ 36 w 117"/>
                  <a:gd name="T33" fmla="*/ 56 h 89"/>
                  <a:gd name="T34" fmla="*/ 42 w 117"/>
                  <a:gd name="T35" fmla="*/ 47 h 89"/>
                  <a:gd name="T36" fmla="*/ 50 w 117"/>
                  <a:gd name="T37" fmla="*/ 45 h 89"/>
                  <a:gd name="T38" fmla="*/ 64 w 117"/>
                  <a:gd name="T39" fmla="*/ 47 h 89"/>
                  <a:gd name="T40" fmla="*/ 67 w 117"/>
                  <a:gd name="T41" fmla="*/ 53 h 89"/>
                  <a:gd name="T42" fmla="*/ 70 w 117"/>
                  <a:gd name="T43" fmla="*/ 56 h 89"/>
                  <a:gd name="T44" fmla="*/ 70 w 117"/>
                  <a:gd name="T45" fmla="*/ 58 h 89"/>
                  <a:gd name="T46" fmla="*/ 73 w 117"/>
                  <a:gd name="T47" fmla="*/ 61 h 89"/>
                  <a:gd name="T48" fmla="*/ 70 w 117"/>
                  <a:gd name="T49" fmla="*/ 70 h 89"/>
                  <a:gd name="T50" fmla="*/ 75 w 117"/>
                  <a:gd name="T51" fmla="*/ 67 h 89"/>
                  <a:gd name="T52" fmla="*/ 78 w 117"/>
                  <a:gd name="T53" fmla="*/ 67 h 89"/>
                  <a:gd name="T54" fmla="*/ 81 w 117"/>
                  <a:gd name="T55" fmla="*/ 67 h 89"/>
                  <a:gd name="T56" fmla="*/ 86 w 117"/>
                  <a:gd name="T57" fmla="*/ 70 h 89"/>
                  <a:gd name="T58" fmla="*/ 89 w 117"/>
                  <a:gd name="T59" fmla="*/ 78 h 89"/>
                  <a:gd name="T60" fmla="*/ 86 w 117"/>
                  <a:gd name="T61" fmla="*/ 84 h 89"/>
                  <a:gd name="T62" fmla="*/ 89 w 117"/>
                  <a:gd name="T63" fmla="*/ 84 h 89"/>
                  <a:gd name="T64" fmla="*/ 95 w 117"/>
                  <a:gd name="T65" fmla="*/ 86 h 89"/>
                  <a:gd name="T66" fmla="*/ 100 w 117"/>
                  <a:gd name="T67" fmla="*/ 81 h 89"/>
                  <a:gd name="T68" fmla="*/ 103 w 117"/>
                  <a:gd name="T69" fmla="*/ 84 h 89"/>
                  <a:gd name="T70" fmla="*/ 111 w 117"/>
                  <a:gd name="T71" fmla="*/ 75 h 89"/>
                  <a:gd name="T72" fmla="*/ 111 w 117"/>
                  <a:gd name="T73" fmla="*/ 72 h 89"/>
                  <a:gd name="T74" fmla="*/ 106 w 117"/>
                  <a:gd name="T75" fmla="*/ 72 h 89"/>
                  <a:gd name="T76" fmla="*/ 106 w 117"/>
                  <a:gd name="T77" fmla="*/ 70 h 89"/>
                  <a:gd name="T78" fmla="*/ 114 w 117"/>
                  <a:gd name="T79" fmla="*/ 70 h 89"/>
                  <a:gd name="T80" fmla="*/ 114 w 117"/>
                  <a:gd name="T81" fmla="*/ 67 h 89"/>
                  <a:gd name="T82" fmla="*/ 111 w 117"/>
                  <a:gd name="T83" fmla="*/ 64 h 89"/>
                  <a:gd name="T84" fmla="*/ 114 w 117"/>
                  <a:gd name="T85" fmla="*/ 58 h 89"/>
                  <a:gd name="T86" fmla="*/ 114 w 117"/>
                  <a:gd name="T87" fmla="*/ 53 h 89"/>
                  <a:gd name="T88" fmla="*/ 109 w 117"/>
                  <a:gd name="T89" fmla="*/ 45 h 89"/>
                  <a:gd name="T90" fmla="*/ 111 w 117"/>
                  <a:gd name="T91" fmla="*/ 39 h 89"/>
                  <a:gd name="T92" fmla="*/ 109 w 117"/>
                  <a:gd name="T93" fmla="*/ 36 h 89"/>
                  <a:gd name="T94" fmla="*/ 103 w 117"/>
                  <a:gd name="T95" fmla="*/ 28 h 89"/>
                  <a:gd name="T96" fmla="*/ 100 w 117"/>
                  <a:gd name="T97" fmla="*/ 28 h 89"/>
                  <a:gd name="T98" fmla="*/ 103 w 117"/>
                  <a:gd name="T99" fmla="*/ 22 h 89"/>
                  <a:gd name="T100" fmla="*/ 103 w 117"/>
                  <a:gd name="T101" fmla="*/ 22 h 89"/>
                  <a:gd name="T102" fmla="*/ 98 w 117"/>
                  <a:gd name="T103" fmla="*/ 17 h 89"/>
                  <a:gd name="T104" fmla="*/ 98 w 117"/>
                  <a:gd name="T105" fmla="*/ 11 h 89"/>
                  <a:gd name="T106" fmla="*/ 95 w 117"/>
                  <a:gd name="T107" fmla="*/ 8 h 89"/>
                  <a:gd name="T108" fmla="*/ 95 w 117"/>
                  <a:gd name="T109" fmla="*/ 6 h 89"/>
                  <a:gd name="T110" fmla="*/ 89 w 117"/>
                  <a:gd name="T111" fmla="*/ 6 h 89"/>
                  <a:gd name="T112" fmla="*/ 86 w 117"/>
                  <a:gd name="T113" fmla="*/ 8 h 89"/>
                  <a:gd name="T114" fmla="*/ 78 w 117"/>
                  <a:gd name="T115" fmla="*/ 8 h 89"/>
                  <a:gd name="T116" fmla="*/ 73 w 117"/>
                  <a:gd name="T117" fmla="*/ 11 h 89"/>
                  <a:gd name="T118" fmla="*/ 67 w 117"/>
                  <a:gd name="T119" fmla="*/ 8 h 89"/>
                  <a:gd name="T120" fmla="*/ 59 w 117"/>
                  <a:gd name="T121" fmla="*/ 11 h 89"/>
                  <a:gd name="T122" fmla="*/ 59 w 117"/>
                  <a:gd name="T123" fmla="*/ 8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7" h="89">
                    <a:moveTo>
                      <a:pt x="59" y="6"/>
                    </a:moveTo>
                    <a:lnTo>
                      <a:pt x="56" y="6"/>
                    </a:lnTo>
                    <a:lnTo>
                      <a:pt x="5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7" y="6"/>
                    </a:lnTo>
                    <a:lnTo>
                      <a:pt x="45" y="6"/>
                    </a:lnTo>
                    <a:lnTo>
                      <a:pt x="45" y="8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9" y="6"/>
                    </a:lnTo>
                    <a:lnTo>
                      <a:pt x="36" y="6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3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7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14" y="17"/>
                    </a:lnTo>
                    <a:lnTo>
                      <a:pt x="8" y="19"/>
                    </a:lnTo>
                    <a:lnTo>
                      <a:pt x="6" y="22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6" y="33"/>
                    </a:lnTo>
                    <a:lnTo>
                      <a:pt x="8" y="33"/>
                    </a:lnTo>
                    <a:lnTo>
                      <a:pt x="8" y="33"/>
                    </a:lnTo>
                    <a:lnTo>
                      <a:pt x="8" y="39"/>
                    </a:lnTo>
                    <a:lnTo>
                      <a:pt x="11" y="42"/>
                    </a:lnTo>
                    <a:lnTo>
                      <a:pt x="20" y="47"/>
                    </a:lnTo>
                    <a:lnTo>
                      <a:pt x="22" y="50"/>
                    </a:lnTo>
                    <a:lnTo>
                      <a:pt x="22" y="53"/>
                    </a:lnTo>
                    <a:lnTo>
                      <a:pt x="25" y="53"/>
                    </a:lnTo>
                    <a:lnTo>
                      <a:pt x="25" y="53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31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3"/>
                    </a:lnTo>
                    <a:lnTo>
                      <a:pt x="39" y="53"/>
                    </a:lnTo>
                    <a:lnTo>
                      <a:pt x="42" y="47"/>
                    </a:lnTo>
                    <a:lnTo>
                      <a:pt x="42" y="47"/>
                    </a:lnTo>
                    <a:lnTo>
                      <a:pt x="42" y="45"/>
                    </a:lnTo>
                    <a:lnTo>
                      <a:pt x="45" y="45"/>
                    </a:lnTo>
                    <a:lnTo>
                      <a:pt x="45" y="47"/>
                    </a:lnTo>
                    <a:lnTo>
                      <a:pt x="50" y="45"/>
                    </a:lnTo>
                    <a:lnTo>
                      <a:pt x="50" y="45"/>
                    </a:lnTo>
                    <a:lnTo>
                      <a:pt x="61" y="45"/>
                    </a:lnTo>
                    <a:lnTo>
                      <a:pt x="61" y="47"/>
                    </a:lnTo>
                    <a:lnTo>
                      <a:pt x="64" y="47"/>
                    </a:lnTo>
                    <a:lnTo>
                      <a:pt x="64" y="50"/>
                    </a:lnTo>
                    <a:lnTo>
                      <a:pt x="67" y="50"/>
                    </a:lnTo>
                    <a:lnTo>
                      <a:pt x="67" y="50"/>
                    </a:lnTo>
                    <a:lnTo>
                      <a:pt x="67" y="53"/>
                    </a:lnTo>
                    <a:lnTo>
                      <a:pt x="67" y="53"/>
                    </a:lnTo>
                    <a:lnTo>
                      <a:pt x="67" y="53"/>
                    </a:lnTo>
                    <a:lnTo>
                      <a:pt x="70" y="53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8"/>
                    </a:lnTo>
                    <a:lnTo>
                      <a:pt x="70" y="58"/>
                    </a:lnTo>
                    <a:lnTo>
                      <a:pt x="70" y="58"/>
                    </a:lnTo>
                    <a:lnTo>
                      <a:pt x="73" y="61"/>
                    </a:lnTo>
                    <a:lnTo>
                      <a:pt x="73" y="61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0" y="64"/>
                    </a:lnTo>
                    <a:lnTo>
                      <a:pt x="70" y="70"/>
                    </a:lnTo>
                    <a:lnTo>
                      <a:pt x="70" y="70"/>
                    </a:lnTo>
                    <a:lnTo>
                      <a:pt x="73" y="70"/>
                    </a:lnTo>
                    <a:lnTo>
                      <a:pt x="75" y="67"/>
                    </a:lnTo>
                    <a:lnTo>
                      <a:pt x="75" y="67"/>
                    </a:lnTo>
                    <a:lnTo>
                      <a:pt x="75" y="70"/>
                    </a:lnTo>
                    <a:lnTo>
                      <a:pt x="75" y="70"/>
                    </a:lnTo>
                    <a:lnTo>
                      <a:pt x="75" y="70"/>
                    </a:lnTo>
                    <a:lnTo>
                      <a:pt x="78" y="67"/>
                    </a:lnTo>
                    <a:lnTo>
                      <a:pt x="78" y="67"/>
                    </a:lnTo>
                    <a:lnTo>
                      <a:pt x="81" y="70"/>
                    </a:lnTo>
                    <a:lnTo>
                      <a:pt x="81" y="70"/>
                    </a:lnTo>
                    <a:lnTo>
                      <a:pt x="81" y="67"/>
                    </a:lnTo>
                    <a:lnTo>
                      <a:pt x="84" y="67"/>
                    </a:lnTo>
                    <a:lnTo>
                      <a:pt x="84" y="67"/>
                    </a:lnTo>
                    <a:lnTo>
                      <a:pt x="84" y="67"/>
                    </a:lnTo>
                    <a:lnTo>
                      <a:pt x="86" y="70"/>
                    </a:lnTo>
                    <a:lnTo>
                      <a:pt x="86" y="70"/>
                    </a:lnTo>
                    <a:lnTo>
                      <a:pt x="86" y="72"/>
                    </a:lnTo>
                    <a:lnTo>
                      <a:pt x="89" y="75"/>
                    </a:lnTo>
                    <a:lnTo>
                      <a:pt x="89" y="78"/>
                    </a:lnTo>
                    <a:lnTo>
                      <a:pt x="89" y="78"/>
                    </a:lnTo>
                    <a:lnTo>
                      <a:pt x="89" y="84"/>
                    </a:lnTo>
                    <a:lnTo>
                      <a:pt x="89" y="84"/>
                    </a:lnTo>
                    <a:lnTo>
                      <a:pt x="86" y="84"/>
                    </a:lnTo>
                    <a:lnTo>
                      <a:pt x="86" y="86"/>
                    </a:lnTo>
                    <a:lnTo>
                      <a:pt x="89" y="86"/>
                    </a:lnTo>
                    <a:lnTo>
                      <a:pt x="89" y="86"/>
                    </a:lnTo>
                    <a:lnTo>
                      <a:pt x="89" y="84"/>
                    </a:lnTo>
                    <a:lnTo>
                      <a:pt x="92" y="86"/>
                    </a:lnTo>
                    <a:lnTo>
                      <a:pt x="95" y="89"/>
                    </a:lnTo>
                    <a:lnTo>
                      <a:pt x="95" y="89"/>
                    </a:lnTo>
                    <a:lnTo>
                      <a:pt x="95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0" y="84"/>
                    </a:lnTo>
                    <a:lnTo>
                      <a:pt x="100" y="81"/>
                    </a:lnTo>
                    <a:lnTo>
                      <a:pt x="100" y="81"/>
                    </a:lnTo>
                    <a:lnTo>
                      <a:pt x="103" y="81"/>
                    </a:lnTo>
                    <a:lnTo>
                      <a:pt x="103" y="84"/>
                    </a:lnTo>
                    <a:lnTo>
                      <a:pt x="103" y="84"/>
                    </a:lnTo>
                    <a:lnTo>
                      <a:pt x="109" y="84"/>
                    </a:lnTo>
                    <a:lnTo>
                      <a:pt x="109" y="81"/>
                    </a:lnTo>
                    <a:lnTo>
                      <a:pt x="109" y="81"/>
                    </a:lnTo>
                    <a:lnTo>
                      <a:pt x="111" y="75"/>
                    </a:lnTo>
                    <a:lnTo>
                      <a:pt x="111" y="75"/>
                    </a:lnTo>
                    <a:lnTo>
                      <a:pt x="111" y="75"/>
                    </a:lnTo>
                    <a:lnTo>
                      <a:pt x="111" y="75"/>
                    </a:lnTo>
                    <a:lnTo>
                      <a:pt x="111" y="72"/>
                    </a:lnTo>
                    <a:lnTo>
                      <a:pt x="111" y="72"/>
                    </a:lnTo>
                    <a:lnTo>
                      <a:pt x="109" y="72"/>
                    </a:lnTo>
                    <a:lnTo>
                      <a:pt x="109" y="72"/>
                    </a:lnTo>
                    <a:lnTo>
                      <a:pt x="106" y="72"/>
                    </a:lnTo>
                    <a:lnTo>
                      <a:pt x="109" y="70"/>
                    </a:lnTo>
                    <a:lnTo>
                      <a:pt x="109" y="70"/>
                    </a:lnTo>
                    <a:lnTo>
                      <a:pt x="106" y="70"/>
                    </a:lnTo>
                    <a:lnTo>
                      <a:pt x="106" y="70"/>
                    </a:lnTo>
                    <a:lnTo>
                      <a:pt x="109" y="67"/>
                    </a:lnTo>
                    <a:lnTo>
                      <a:pt x="111" y="67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7" y="70"/>
                    </a:lnTo>
                    <a:lnTo>
                      <a:pt x="114" y="67"/>
                    </a:lnTo>
                    <a:lnTo>
                      <a:pt x="114" y="64"/>
                    </a:lnTo>
                    <a:lnTo>
                      <a:pt x="114" y="64"/>
                    </a:lnTo>
                    <a:lnTo>
                      <a:pt x="114" y="64"/>
                    </a:lnTo>
                    <a:lnTo>
                      <a:pt x="111" y="64"/>
                    </a:lnTo>
                    <a:lnTo>
                      <a:pt x="111" y="64"/>
                    </a:lnTo>
                    <a:lnTo>
                      <a:pt x="114" y="61"/>
                    </a:lnTo>
                    <a:lnTo>
                      <a:pt x="114" y="58"/>
                    </a:lnTo>
                    <a:lnTo>
                      <a:pt x="114" y="58"/>
                    </a:lnTo>
                    <a:lnTo>
                      <a:pt x="114" y="58"/>
                    </a:lnTo>
                    <a:lnTo>
                      <a:pt x="114" y="58"/>
                    </a:lnTo>
                    <a:lnTo>
                      <a:pt x="111" y="58"/>
                    </a:lnTo>
                    <a:lnTo>
                      <a:pt x="114" y="53"/>
                    </a:lnTo>
                    <a:lnTo>
                      <a:pt x="111" y="53"/>
                    </a:lnTo>
                    <a:lnTo>
                      <a:pt x="109" y="53"/>
                    </a:lnTo>
                    <a:lnTo>
                      <a:pt x="109" y="53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11" y="42"/>
                    </a:lnTo>
                    <a:lnTo>
                      <a:pt x="111" y="39"/>
                    </a:lnTo>
                    <a:lnTo>
                      <a:pt x="111" y="39"/>
                    </a:lnTo>
                    <a:lnTo>
                      <a:pt x="109" y="39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06" y="36"/>
                    </a:lnTo>
                    <a:lnTo>
                      <a:pt x="106" y="28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3" y="25"/>
                    </a:lnTo>
                    <a:lnTo>
                      <a:pt x="103" y="25"/>
                    </a:lnTo>
                    <a:lnTo>
                      <a:pt x="103" y="25"/>
                    </a:lnTo>
                    <a:lnTo>
                      <a:pt x="103" y="22"/>
                    </a:lnTo>
                    <a:lnTo>
                      <a:pt x="106" y="22"/>
                    </a:lnTo>
                    <a:lnTo>
                      <a:pt x="106" y="22"/>
                    </a:lnTo>
                    <a:lnTo>
                      <a:pt x="106" y="22"/>
                    </a:lnTo>
                    <a:lnTo>
                      <a:pt x="103" y="22"/>
                    </a:lnTo>
                    <a:lnTo>
                      <a:pt x="103" y="19"/>
                    </a:lnTo>
                    <a:lnTo>
                      <a:pt x="100" y="19"/>
                    </a:lnTo>
                    <a:lnTo>
                      <a:pt x="100" y="17"/>
                    </a:lnTo>
                    <a:lnTo>
                      <a:pt x="98" y="17"/>
                    </a:lnTo>
                    <a:lnTo>
                      <a:pt x="98" y="17"/>
                    </a:lnTo>
                    <a:lnTo>
                      <a:pt x="98" y="14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5" y="8"/>
                    </a:lnTo>
                    <a:lnTo>
                      <a:pt x="95" y="8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89" y="6"/>
                    </a:lnTo>
                    <a:lnTo>
                      <a:pt x="89" y="6"/>
                    </a:lnTo>
                    <a:lnTo>
                      <a:pt x="89" y="8"/>
                    </a:lnTo>
                    <a:lnTo>
                      <a:pt x="89" y="8"/>
                    </a:lnTo>
                    <a:lnTo>
                      <a:pt x="86" y="8"/>
                    </a:lnTo>
                    <a:lnTo>
                      <a:pt x="86" y="11"/>
                    </a:lnTo>
                    <a:lnTo>
                      <a:pt x="84" y="11"/>
                    </a:lnTo>
                    <a:lnTo>
                      <a:pt x="81" y="11"/>
                    </a:lnTo>
                    <a:lnTo>
                      <a:pt x="78" y="8"/>
                    </a:lnTo>
                    <a:lnTo>
                      <a:pt x="75" y="8"/>
                    </a:lnTo>
                    <a:lnTo>
                      <a:pt x="75" y="8"/>
                    </a:lnTo>
                    <a:lnTo>
                      <a:pt x="73" y="11"/>
                    </a:lnTo>
                    <a:lnTo>
                      <a:pt x="73" y="11"/>
                    </a:lnTo>
                    <a:lnTo>
                      <a:pt x="73" y="11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67" y="8"/>
                    </a:lnTo>
                    <a:lnTo>
                      <a:pt x="64" y="8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59" y="11"/>
                    </a:lnTo>
                    <a:lnTo>
                      <a:pt x="59" y="11"/>
                    </a:lnTo>
                    <a:lnTo>
                      <a:pt x="59" y="11"/>
                    </a:lnTo>
                    <a:lnTo>
                      <a:pt x="59" y="8"/>
                    </a:lnTo>
                    <a:lnTo>
                      <a:pt x="59" y="8"/>
                    </a:lnTo>
                    <a:lnTo>
                      <a:pt x="59" y="6"/>
                    </a:lnTo>
                    <a:lnTo>
                      <a:pt x="59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1" name="Freeform 775"/>
              <p:cNvSpPr>
                <a:spLocks noChangeAspect="1"/>
              </p:cNvSpPr>
              <p:nvPr>
                <p:custDataLst>
                  <p:tags r:id="rId829"/>
                </p:custDataLst>
              </p:nvPr>
            </p:nvSpPr>
            <p:spPr bwMode="gray">
              <a:xfrm>
                <a:off x="5366372" y="3346946"/>
                <a:ext cx="80478" cy="168711"/>
              </a:xfrm>
              <a:custGeom>
                <a:avLst/>
                <a:gdLst>
                  <a:gd name="T0" fmla="*/ 33 w 61"/>
                  <a:gd name="T1" fmla="*/ 131 h 131"/>
                  <a:gd name="T2" fmla="*/ 42 w 61"/>
                  <a:gd name="T3" fmla="*/ 122 h 131"/>
                  <a:gd name="T4" fmla="*/ 42 w 61"/>
                  <a:gd name="T5" fmla="*/ 111 h 131"/>
                  <a:gd name="T6" fmla="*/ 42 w 61"/>
                  <a:gd name="T7" fmla="*/ 106 h 131"/>
                  <a:gd name="T8" fmla="*/ 50 w 61"/>
                  <a:gd name="T9" fmla="*/ 100 h 131"/>
                  <a:gd name="T10" fmla="*/ 61 w 61"/>
                  <a:gd name="T11" fmla="*/ 89 h 131"/>
                  <a:gd name="T12" fmla="*/ 58 w 61"/>
                  <a:gd name="T13" fmla="*/ 78 h 131"/>
                  <a:gd name="T14" fmla="*/ 56 w 61"/>
                  <a:gd name="T15" fmla="*/ 78 h 131"/>
                  <a:gd name="T16" fmla="*/ 56 w 61"/>
                  <a:gd name="T17" fmla="*/ 75 h 131"/>
                  <a:gd name="T18" fmla="*/ 53 w 61"/>
                  <a:gd name="T19" fmla="*/ 69 h 131"/>
                  <a:gd name="T20" fmla="*/ 47 w 61"/>
                  <a:gd name="T21" fmla="*/ 69 h 131"/>
                  <a:gd name="T22" fmla="*/ 44 w 61"/>
                  <a:gd name="T23" fmla="*/ 69 h 131"/>
                  <a:gd name="T24" fmla="*/ 39 w 61"/>
                  <a:gd name="T25" fmla="*/ 67 h 131"/>
                  <a:gd name="T26" fmla="*/ 39 w 61"/>
                  <a:gd name="T27" fmla="*/ 61 h 131"/>
                  <a:gd name="T28" fmla="*/ 42 w 61"/>
                  <a:gd name="T29" fmla="*/ 55 h 131"/>
                  <a:gd name="T30" fmla="*/ 47 w 61"/>
                  <a:gd name="T31" fmla="*/ 53 h 131"/>
                  <a:gd name="T32" fmla="*/ 53 w 61"/>
                  <a:gd name="T33" fmla="*/ 47 h 131"/>
                  <a:gd name="T34" fmla="*/ 56 w 61"/>
                  <a:gd name="T35" fmla="*/ 30 h 131"/>
                  <a:gd name="T36" fmla="*/ 53 w 61"/>
                  <a:gd name="T37" fmla="*/ 28 h 131"/>
                  <a:gd name="T38" fmla="*/ 50 w 61"/>
                  <a:gd name="T39" fmla="*/ 25 h 131"/>
                  <a:gd name="T40" fmla="*/ 50 w 61"/>
                  <a:gd name="T41" fmla="*/ 16 h 131"/>
                  <a:gd name="T42" fmla="*/ 56 w 61"/>
                  <a:gd name="T43" fmla="*/ 14 h 131"/>
                  <a:gd name="T44" fmla="*/ 56 w 61"/>
                  <a:gd name="T45" fmla="*/ 3 h 131"/>
                  <a:gd name="T46" fmla="*/ 53 w 61"/>
                  <a:gd name="T47" fmla="*/ 5 h 131"/>
                  <a:gd name="T48" fmla="*/ 50 w 61"/>
                  <a:gd name="T49" fmla="*/ 8 h 131"/>
                  <a:gd name="T50" fmla="*/ 44 w 61"/>
                  <a:gd name="T51" fmla="*/ 8 h 131"/>
                  <a:gd name="T52" fmla="*/ 42 w 61"/>
                  <a:gd name="T53" fmla="*/ 0 h 131"/>
                  <a:gd name="T54" fmla="*/ 36 w 61"/>
                  <a:gd name="T55" fmla="*/ 0 h 131"/>
                  <a:gd name="T56" fmla="*/ 22 w 61"/>
                  <a:gd name="T57" fmla="*/ 3 h 131"/>
                  <a:gd name="T58" fmla="*/ 19 w 61"/>
                  <a:gd name="T59" fmla="*/ 5 h 131"/>
                  <a:gd name="T60" fmla="*/ 14 w 61"/>
                  <a:gd name="T61" fmla="*/ 14 h 131"/>
                  <a:gd name="T62" fmla="*/ 17 w 61"/>
                  <a:gd name="T63" fmla="*/ 14 h 131"/>
                  <a:gd name="T64" fmla="*/ 14 w 61"/>
                  <a:gd name="T65" fmla="*/ 36 h 131"/>
                  <a:gd name="T66" fmla="*/ 14 w 61"/>
                  <a:gd name="T67" fmla="*/ 50 h 131"/>
                  <a:gd name="T68" fmla="*/ 6 w 61"/>
                  <a:gd name="T69" fmla="*/ 58 h 131"/>
                  <a:gd name="T70" fmla="*/ 3 w 61"/>
                  <a:gd name="T71" fmla="*/ 61 h 131"/>
                  <a:gd name="T72" fmla="*/ 0 w 61"/>
                  <a:gd name="T73" fmla="*/ 64 h 131"/>
                  <a:gd name="T74" fmla="*/ 3 w 61"/>
                  <a:gd name="T75" fmla="*/ 75 h 131"/>
                  <a:gd name="T76" fmla="*/ 11 w 61"/>
                  <a:gd name="T77" fmla="*/ 81 h 131"/>
                  <a:gd name="T78" fmla="*/ 11 w 61"/>
                  <a:gd name="T79" fmla="*/ 92 h 131"/>
                  <a:gd name="T80" fmla="*/ 25 w 61"/>
                  <a:gd name="T81" fmla="*/ 9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1" h="131">
                    <a:moveTo>
                      <a:pt x="31" y="131"/>
                    </a:moveTo>
                    <a:lnTo>
                      <a:pt x="33" y="131"/>
                    </a:lnTo>
                    <a:lnTo>
                      <a:pt x="42" y="125"/>
                    </a:lnTo>
                    <a:lnTo>
                      <a:pt x="42" y="122"/>
                    </a:lnTo>
                    <a:lnTo>
                      <a:pt x="42" y="119"/>
                    </a:lnTo>
                    <a:lnTo>
                      <a:pt x="42" y="111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7" y="103"/>
                    </a:lnTo>
                    <a:lnTo>
                      <a:pt x="50" y="100"/>
                    </a:lnTo>
                    <a:lnTo>
                      <a:pt x="58" y="92"/>
                    </a:lnTo>
                    <a:lnTo>
                      <a:pt x="61" y="89"/>
                    </a:lnTo>
                    <a:lnTo>
                      <a:pt x="61" y="78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6" y="78"/>
                    </a:lnTo>
                    <a:lnTo>
                      <a:pt x="56" y="75"/>
                    </a:lnTo>
                    <a:lnTo>
                      <a:pt x="56" y="75"/>
                    </a:lnTo>
                    <a:lnTo>
                      <a:pt x="53" y="69"/>
                    </a:lnTo>
                    <a:lnTo>
                      <a:pt x="53" y="69"/>
                    </a:lnTo>
                    <a:lnTo>
                      <a:pt x="50" y="72"/>
                    </a:lnTo>
                    <a:lnTo>
                      <a:pt x="47" y="69"/>
                    </a:lnTo>
                    <a:lnTo>
                      <a:pt x="47" y="69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39" y="67"/>
                    </a:lnTo>
                    <a:lnTo>
                      <a:pt x="39" y="64"/>
                    </a:lnTo>
                    <a:lnTo>
                      <a:pt x="39" y="61"/>
                    </a:lnTo>
                    <a:lnTo>
                      <a:pt x="42" y="61"/>
                    </a:lnTo>
                    <a:lnTo>
                      <a:pt x="42" y="55"/>
                    </a:lnTo>
                    <a:lnTo>
                      <a:pt x="44" y="55"/>
                    </a:lnTo>
                    <a:lnTo>
                      <a:pt x="47" y="53"/>
                    </a:lnTo>
                    <a:lnTo>
                      <a:pt x="47" y="53"/>
                    </a:lnTo>
                    <a:lnTo>
                      <a:pt x="53" y="47"/>
                    </a:lnTo>
                    <a:lnTo>
                      <a:pt x="58" y="39"/>
                    </a:lnTo>
                    <a:lnTo>
                      <a:pt x="56" y="30"/>
                    </a:lnTo>
                    <a:lnTo>
                      <a:pt x="53" y="30"/>
                    </a:lnTo>
                    <a:lnTo>
                      <a:pt x="53" y="28"/>
                    </a:lnTo>
                    <a:lnTo>
                      <a:pt x="50" y="28"/>
                    </a:lnTo>
                    <a:lnTo>
                      <a:pt x="50" y="25"/>
                    </a:lnTo>
                    <a:lnTo>
                      <a:pt x="47" y="22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6" y="14"/>
                    </a:lnTo>
                    <a:lnTo>
                      <a:pt x="58" y="8"/>
                    </a:lnTo>
                    <a:lnTo>
                      <a:pt x="56" y="3"/>
                    </a:lnTo>
                    <a:lnTo>
                      <a:pt x="53" y="3"/>
                    </a:lnTo>
                    <a:lnTo>
                      <a:pt x="53" y="5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7" y="8"/>
                    </a:lnTo>
                    <a:lnTo>
                      <a:pt x="44" y="8"/>
                    </a:lnTo>
                    <a:lnTo>
                      <a:pt x="44" y="5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3"/>
                    </a:lnTo>
                    <a:lnTo>
                      <a:pt x="22" y="5"/>
                    </a:lnTo>
                    <a:lnTo>
                      <a:pt x="19" y="5"/>
                    </a:lnTo>
                    <a:lnTo>
                      <a:pt x="19" y="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4" y="36"/>
                    </a:lnTo>
                    <a:lnTo>
                      <a:pt x="17" y="39"/>
                    </a:lnTo>
                    <a:lnTo>
                      <a:pt x="14" y="50"/>
                    </a:lnTo>
                    <a:lnTo>
                      <a:pt x="8" y="55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3" y="61"/>
                    </a:lnTo>
                    <a:lnTo>
                      <a:pt x="3" y="61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3" y="75"/>
                    </a:lnTo>
                    <a:lnTo>
                      <a:pt x="8" y="78"/>
                    </a:lnTo>
                    <a:lnTo>
                      <a:pt x="11" y="81"/>
                    </a:lnTo>
                    <a:lnTo>
                      <a:pt x="11" y="86"/>
                    </a:lnTo>
                    <a:lnTo>
                      <a:pt x="11" y="92"/>
                    </a:lnTo>
                    <a:lnTo>
                      <a:pt x="25" y="97"/>
                    </a:lnTo>
                    <a:lnTo>
                      <a:pt x="25" y="97"/>
                    </a:lnTo>
                    <a:lnTo>
                      <a:pt x="31" y="1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2" name="Freeform 776"/>
              <p:cNvSpPr>
                <a:spLocks noChangeAspect="1"/>
              </p:cNvSpPr>
              <p:nvPr>
                <p:custDataLst>
                  <p:tags r:id="rId830"/>
                </p:custDataLst>
              </p:nvPr>
            </p:nvSpPr>
            <p:spPr bwMode="gray">
              <a:xfrm>
                <a:off x="5509107" y="3928763"/>
                <a:ext cx="268766" cy="163981"/>
              </a:xfrm>
              <a:custGeom>
                <a:avLst/>
                <a:gdLst>
                  <a:gd name="T0" fmla="*/ 116 w 206"/>
                  <a:gd name="T1" fmla="*/ 3 h 128"/>
                  <a:gd name="T2" fmla="*/ 114 w 206"/>
                  <a:gd name="T3" fmla="*/ 8 h 128"/>
                  <a:gd name="T4" fmla="*/ 114 w 206"/>
                  <a:gd name="T5" fmla="*/ 14 h 128"/>
                  <a:gd name="T6" fmla="*/ 111 w 206"/>
                  <a:gd name="T7" fmla="*/ 17 h 128"/>
                  <a:gd name="T8" fmla="*/ 105 w 206"/>
                  <a:gd name="T9" fmla="*/ 19 h 128"/>
                  <a:gd name="T10" fmla="*/ 103 w 206"/>
                  <a:gd name="T11" fmla="*/ 25 h 128"/>
                  <a:gd name="T12" fmla="*/ 94 w 206"/>
                  <a:gd name="T13" fmla="*/ 28 h 128"/>
                  <a:gd name="T14" fmla="*/ 91 w 206"/>
                  <a:gd name="T15" fmla="*/ 30 h 128"/>
                  <a:gd name="T16" fmla="*/ 83 w 206"/>
                  <a:gd name="T17" fmla="*/ 30 h 128"/>
                  <a:gd name="T18" fmla="*/ 72 w 206"/>
                  <a:gd name="T19" fmla="*/ 33 h 128"/>
                  <a:gd name="T20" fmla="*/ 72 w 206"/>
                  <a:gd name="T21" fmla="*/ 36 h 128"/>
                  <a:gd name="T22" fmla="*/ 75 w 206"/>
                  <a:gd name="T23" fmla="*/ 39 h 128"/>
                  <a:gd name="T24" fmla="*/ 72 w 206"/>
                  <a:gd name="T25" fmla="*/ 42 h 128"/>
                  <a:gd name="T26" fmla="*/ 69 w 206"/>
                  <a:gd name="T27" fmla="*/ 44 h 128"/>
                  <a:gd name="T28" fmla="*/ 66 w 206"/>
                  <a:gd name="T29" fmla="*/ 44 h 128"/>
                  <a:gd name="T30" fmla="*/ 66 w 206"/>
                  <a:gd name="T31" fmla="*/ 47 h 128"/>
                  <a:gd name="T32" fmla="*/ 58 w 206"/>
                  <a:gd name="T33" fmla="*/ 47 h 128"/>
                  <a:gd name="T34" fmla="*/ 47 w 206"/>
                  <a:gd name="T35" fmla="*/ 50 h 128"/>
                  <a:gd name="T36" fmla="*/ 41 w 206"/>
                  <a:gd name="T37" fmla="*/ 53 h 128"/>
                  <a:gd name="T38" fmla="*/ 38 w 206"/>
                  <a:gd name="T39" fmla="*/ 56 h 128"/>
                  <a:gd name="T40" fmla="*/ 36 w 206"/>
                  <a:gd name="T41" fmla="*/ 53 h 128"/>
                  <a:gd name="T42" fmla="*/ 33 w 206"/>
                  <a:gd name="T43" fmla="*/ 50 h 128"/>
                  <a:gd name="T44" fmla="*/ 33 w 206"/>
                  <a:gd name="T45" fmla="*/ 50 h 128"/>
                  <a:gd name="T46" fmla="*/ 30 w 206"/>
                  <a:gd name="T47" fmla="*/ 53 h 128"/>
                  <a:gd name="T48" fmla="*/ 25 w 206"/>
                  <a:gd name="T49" fmla="*/ 56 h 128"/>
                  <a:gd name="T50" fmla="*/ 22 w 206"/>
                  <a:gd name="T51" fmla="*/ 56 h 128"/>
                  <a:gd name="T52" fmla="*/ 13 w 206"/>
                  <a:gd name="T53" fmla="*/ 56 h 128"/>
                  <a:gd name="T54" fmla="*/ 0 w 206"/>
                  <a:gd name="T55" fmla="*/ 83 h 128"/>
                  <a:gd name="T56" fmla="*/ 2 w 206"/>
                  <a:gd name="T57" fmla="*/ 97 h 128"/>
                  <a:gd name="T58" fmla="*/ 25 w 206"/>
                  <a:gd name="T59" fmla="*/ 128 h 128"/>
                  <a:gd name="T60" fmla="*/ 27 w 206"/>
                  <a:gd name="T61" fmla="*/ 125 h 128"/>
                  <a:gd name="T62" fmla="*/ 47 w 206"/>
                  <a:gd name="T63" fmla="*/ 114 h 128"/>
                  <a:gd name="T64" fmla="*/ 64 w 206"/>
                  <a:gd name="T65" fmla="*/ 117 h 128"/>
                  <a:gd name="T66" fmla="*/ 69 w 206"/>
                  <a:gd name="T67" fmla="*/ 114 h 128"/>
                  <a:gd name="T68" fmla="*/ 69 w 206"/>
                  <a:gd name="T69" fmla="*/ 103 h 128"/>
                  <a:gd name="T70" fmla="*/ 75 w 206"/>
                  <a:gd name="T71" fmla="*/ 97 h 128"/>
                  <a:gd name="T72" fmla="*/ 89 w 206"/>
                  <a:gd name="T73" fmla="*/ 92 h 128"/>
                  <a:gd name="T74" fmla="*/ 91 w 206"/>
                  <a:gd name="T75" fmla="*/ 97 h 128"/>
                  <a:gd name="T76" fmla="*/ 100 w 206"/>
                  <a:gd name="T77" fmla="*/ 103 h 128"/>
                  <a:gd name="T78" fmla="*/ 105 w 206"/>
                  <a:gd name="T79" fmla="*/ 103 h 128"/>
                  <a:gd name="T80" fmla="*/ 125 w 206"/>
                  <a:gd name="T81" fmla="*/ 106 h 128"/>
                  <a:gd name="T82" fmla="*/ 128 w 206"/>
                  <a:gd name="T83" fmla="*/ 100 h 128"/>
                  <a:gd name="T84" fmla="*/ 139 w 206"/>
                  <a:gd name="T85" fmla="*/ 97 h 128"/>
                  <a:gd name="T86" fmla="*/ 158 w 206"/>
                  <a:gd name="T87" fmla="*/ 92 h 128"/>
                  <a:gd name="T88" fmla="*/ 161 w 206"/>
                  <a:gd name="T89" fmla="*/ 95 h 128"/>
                  <a:gd name="T90" fmla="*/ 164 w 206"/>
                  <a:gd name="T91" fmla="*/ 95 h 128"/>
                  <a:gd name="T92" fmla="*/ 169 w 206"/>
                  <a:gd name="T93" fmla="*/ 95 h 128"/>
                  <a:gd name="T94" fmla="*/ 175 w 206"/>
                  <a:gd name="T95" fmla="*/ 92 h 128"/>
                  <a:gd name="T96" fmla="*/ 189 w 206"/>
                  <a:gd name="T97" fmla="*/ 95 h 128"/>
                  <a:gd name="T98" fmla="*/ 194 w 206"/>
                  <a:gd name="T99" fmla="*/ 95 h 128"/>
                  <a:gd name="T100" fmla="*/ 206 w 206"/>
                  <a:gd name="T101" fmla="*/ 92 h 128"/>
                  <a:gd name="T102" fmla="*/ 203 w 206"/>
                  <a:gd name="T103" fmla="*/ 86 h 128"/>
                  <a:gd name="T104" fmla="*/ 194 w 206"/>
                  <a:gd name="T105" fmla="*/ 78 h 128"/>
                  <a:gd name="T106" fmla="*/ 189 w 206"/>
                  <a:gd name="T107" fmla="*/ 75 h 128"/>
                  <a:gd name="T108" fmla="*/ 186 w 206"/>
                  <a:gd name="T109" fmla="*/ 67 h 128"/>
                  <a:gd name="T110" fmla="*/ 180 w 206"/>
                  <a:gd name="T111" fmla="*/ 61 h 128"/>
                  <a:gd name="T112" fmla="*/ 167 w 206"/>
                  <a:gd name="T113" fmla="*/ 50 h 128"/>
                  <a:gd name="T114" fmla="*/ 167 w 206"/>
                  <a:gd name="T115" fmla="*/ 47 h 128"/>
                  <a:gd name="T116" fmla="*/ 155 w 206"/>
                  <a:gd name="T117" fmla="*/ 44 h 128"/>
                  <a:gd name="T118" fmla="*/ 153 w 206"/>
                  <a:gd name="T119" fmla="*/ 36 h 128"/>
                  <a:gd name="T120" fmla="*/ 142 w 206"/>
                  <a:gd name="T121" fmla="*/ 33 h 128"/>
                  <a:gd name="T122" fmla="*/ 144 w 206"/>
                  <a:gd name="T123" fmla="*/ 19 h 128"/>
                  <a:gd name="T124" fmla="*/ 130 w 206"/>
                  <a:gd name="T125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6" h="128">
                    <a:moveTo>
                      <a:pt x="130" y="0"/>
                    </a:moveTo>
                    <a:lnTo>
                      <a:pt x="116" y="3"/>
                    </a:lnTo>
                    <a:lnTo>
                      <a:pt x="116" y="5"/>
                    </a:lnTo>
                    <a:lnTo>
                      <a:pt x="114" y="8"/>
                    </a:lnTo>
                    <a:lnTo>
                      <a:pt x="114" y="11"/>
                    </a:lnTo>
                    <a:lnTo>
                      <a:pt x="114" y="14"/>
                    </a:lnTo>
                    <a:lnTo>
                      <a:pt x="111" y="14"/>
                    </a:lnTo>
                    <a:lnTo>
                      <a:pt x="111" y="17"/>
                    </a:lnTo>
                    <a:lnTo>
                      <a:pt x="108" y="17"/>
                    </a:lnTo>
                    <a:lnTo>
                      <a:pt x="105" y="19"/>
                    </a:lnTo>
                    <a:lnTo>
                      <a:pt x="103" y="25"/>
                    </a:lnTo>
                    <a:lnTo>
                      <a:pt x="103" y="25"/>
                    </a:lnTo>
                    <a:lnTo>
                      <a:pt x="97" y="28"/>
                    </a:lnTo>
                    <a:lnTo>
                      <a:pt x="94" y="28"/>
                    </a:lnTo>
                    <a:lnTo>
                      <a:pt x="91" y="30"/>
                    </a:lnTo>
                    <a:lnTo>
                      <a:pt x="91" y="30"/>
                    </a:lnTo>
                    <a:lnTo>
                      <a:pt x="83" y="30"/>
                    </a:lnTo>
                    <a:lnTo>
                      <a:pt x="83" y="30"/>
                    </a:lnTo>
                    <a:lnTo>
                      <a:pt x="75" y="33"/>
                    </a:lnTo>
                    <a:lnTo>
                      <a:pt x="72" y="33"/>
                    </a:lnTo>
                    <a:lnTo>
                      <a:pt x="72" y="33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5" y="39"/>
                    </a:lnTo>
                    <a:lnTo>
                      <a:pt x="72" y="39"/>
                    </a:lnTo>
                    <a:lnTo>
                      <a:pt x="72" y="42"/>
                    </a:lnTo>
                    <a:lnTo>
                      <a:pt x="69" y="42"/>
                    </a:lnTo>
                    <a:lnTo>
                      <a:pt x="69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7"/>
                    </a:lnTo>
                    <a:lnTo>
                      <a:pt x="66" y="47"/>
                    </a:lnTo>
                    <a:lnTo>
                      <a:pt x="58" y="47"/>
                    </a:lnTo>
                    <a:lnTo>
                      <a:pt x="58" y="47"/>
                    </a:lnTo>
                    <a:lnTo>
                      <a:pt x="52" y="47"/>
                    </a:lnTo>
                    <a:lnTo>
                      <a:pt x="47" y="50"/>
                    </a:lnTo>
                    <a:lnTo>
                      <a:pt x="44" y="53"/>
                    </a:lnTo>
                    <a:lnTo>
                      <a:pt x="41" y="53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6" y="53"/>
                    </a:lnTo>
                    <a:lnTo>
                      <a:pt x="36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50"/>
                    </a:lnTo>
                    <a:lnTo>
                      <a:pt x="33" y="50"/>
                    </a:lnTo>
                    <a:lnTo>
                      <a:pt x="33" y="50"/>
                    </a:lnTo>
                    <a:lnTo>
                      <a:pt x="30" y="53"/>
                    </a:lnTo>
                    <a:lnTo>
                      <a:pt x="27" y="53"/>
                    </a:lnTo>
                    <a:lnTo>
                      <a:pt x="25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6" y="56"/>
                    </a:lnTo>
                    <a:lnTo>
                      <a:pt x="13" y="56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2" y="89"/>
                    </a:lnTo>
                    <a:lnTo>
                      <a:pt x="2" y="97"/>
                    </a:lnTo>
                    <a:lnTo>
                      <a:pt x="16" y="122"/>
                    </a:lnTo>
                    <a:lnTo>
                      <a:pt x="25" y="128"/>
                    </a:lnTo>
                    <a:lnTo>
                      <a:pt x="27" y="128"/>
                    </a:lnTo>
                    <a:lnTo>
                      <a:pt x="27" y="125"/>
                    </a:lnTo>
                    <a:lnTo>
                      <a:pt x="41" y="117"/>
                    </a:lnTo>
                    <a:lnTo>
                      <a:pt x="47" y="114"/>
                    </a:lnTo>
                    <a:lnTo>
                      <a:pt x="55" y="120"/>
                    </a:lnTo>
                    <a:lnTo>
                      <a:pt x="64" y="117"/>
                    </a:lnTo>
                    <a:lnTo>
                      <a:pt x="66" y="114"/>
                    </a:lnTo>
                    <a:lnTo>
                      <a:pt x="69" y="114"/>
                    </a:lnTo>
                    <a:lnTo>
                      <a:pt x="69" y="111"/>
                    </a:lnTo>
                    <a:lnTo>
                      <a:pt x="69" y="103"/>
                    </a:lnTo>
                    <a:lnTo>
                      <a:pt x="72" y="100"/>
                    </a:lnTo>
                    <a:lnTo>
                      <a:pt x="75" y="97"/>
                    </a:lnTo>
                    <a:lnTo>
                      <a:pt x="80" y="92"/>
                    </a:lnTo>
                    <a:lnTo>
                      <a:pt x="89" y="92"/>
                    </a:lnTo>
                    <a:lnTo>
                      <a:pt x="89" y="95"/>
                    </a:lnTo>
                    <a:lnTo>
                      <a:pt x="91" y="97"/>
                    </a:lnTo>
                    <a:lnTo>
                      <a:pt x="97" y="103"/>
                    </a:lnTo>
                    <a:lnTo>
                      <a:pt x="100" y="103"/>
                    </a:lnTo>
                    <a:lnTo>
                      <a:pt x="100" y="100"/>
                    </a:lnTo>
                    <a:lnTo>
                      <a:pt x="105" y="103"/>
                    </a:lnTo>
                    <a:lnTo>
                      <a:pt x="111" y="106"/>
                    </a:lnTo>
                    <a:lnTo>
                      <a:pt x="125" y="106"/>
                    </a:lnTo>
                    <a:lnTo>
                      <a:pt x="128" y="106"/>
                    </a:lnTo>
                    <a:lnTo>
                      <a:pt x="128" y="100"/>
                    </a:lnTo>
                    <a:lnTo>
                      <a:pt x="133" y="97"/>
                    </a:lnTo>
                    <a:lnTo>
                      <a:pt x="139" y="97"/>
                    </a:lnTo>
                    <a:lnTo>
                      <a:pt x="139" y="100"/>
                    </a:lnTo>
                    <a:lnTo>
                      <a:pt x="158" y="92"/>
                    </a:lnTo>
                    <a:lnTo>
                      <a:pt x="161" y="92"/>
                    </a:lnTo>
                    <a:lnTo>
                      <a:pt x="161" y="95"/>
                    </a:lnTo>
                    <a:lnTo>
                      <a:pt x="161" y="95"/>
                    </a:lnTo>
                    <a:lnTo>
                      <a:pt x="164" y="95"/>
                    </a:lnTo>
                    <a:lnTo>
                      <a:pt x="164" y="95"/>
                    </a:lnTo>
                    <a:lnTo>
                      <a:pt x="169" y="95"/>
                    </a:lnTo>
                    <a:lnTo>
                      <a:pt x="169" y="92"/>
                    </a:lnTo>
                    <a:lnTo>
                      <a:pt x="175" y="92"/>
                    </a:lnTo>
                    <a:lnTo>
                      <a:pt x="186" y="92"/>
                    </a:lnTo>
                    <a:lnTo>
                      <a:pt x="189" y="95"/>
                    </a:lnTo>
                    <a:lnTo>
                      <a:pt x="192" y="92"/>
                    </a:lnTo>
                    <a:lnTo>
                      <a:pt x="194" y="95"/>
                    </a:lnTo>
                    <a:lnTo>
                      <a:pt x="197" y="92"/>
                    </a:lnTo>
                    <a:lnTo>
                      <a:pt x="206" y="92"/>
                    </a:lnTo>
                    <a:lnTo>
                      <a:pt x="203" y="89"/>
                    </a:lnTo>
                    <a:lnTo>
                      <a:pt x="203" y="86"/>
                    </a:lnTo>
                    <a:lnTo>
                      <a:pt x="203" y="83"/>
                    </a:lnTo>
                    <a:lnTo>
                      <a:pt x="194" y="78"/>
                    </a:lnTo>
                    <a:lnTo>
                      <a:pt x="192" y="78"/>
                    </a:lnTo>
                    <a:lnTo>
                      <a:pt x="189" y="75"/>
                    </a:lnTo>
                    <a:lnTo>
                      <a:pt x="189" y="72"/>
                    </a:lnTo>
                    <a:lnTo>
                      <a:pt x="186" y="67"/>
                    </a:lnTo>
                    <a:lnTo>
                      <a:pt x="183" y="64"/>
                    </a:lnTo>
                    <a:lnTo>
                      <a:pt x="180" y="61"/>
                    </a:lnTo>
                    <a:lnTo>
                      <a:pt x="169" y="56"/>
                    </a:lnTo>
                    <a:lnTo>
                      <a:pt x="167" y="50"/>
                    </a:lnTo>
                    <a:lnTo>
                      <a:pt x="169" y="47"/>
                    </a:lnTo>
                    <a:lnTo>
                      <a:pt x="167" y="47"/>
                    </a:lnTo>
                    <a:lnTo>
                      <a:pt x="164" y="44"/>
                    </a:lnTo>
                    <a:lnTo>
                      <a:pt x="155" y="44"/>
                    </a:lnTo>
                    <a:lnTo>
                      <a:pt x="153" y="42"/>
                    </a:lnTo>
                    <a:lnTo>
                      <a:pt x="153" y="36"/>
                    </a:lnTo>
                    <a:lnTo>
                      <a:pt x="144" y="36"/>
                    </a:lnTo>
                    <a:lnTo>
                      <a:pt x="142" y="33"/>
                    </a:lnTo>
                    <a:lnTo>
                      <a:pt x="142" y="30"/>
                    </a:lnTo>
                    <a:lnTo>
                      <a:pt x="144" y="19"/>
                    </a:lnTo>
                    <a:lnTo>
                      <a:pt x="142" y="17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3" name="Freeform 777"/>
              <p:cNvSpPr>
                <a:spLocks noChangeAspect="1"/>
              </p:cNvSpPr>
              <p:nvPr>
                <p:custDataLst>
                  <p:tags r:id="rId831"/>
                </p:custDataLst>
              </p:nvPr>
            </p:nvSpPr>
            <p:spPr bwMode="gray">
              <a:xfrm>
                <a:off x="6066380" y="3890922"/>
                <a:ext cx="30369" cy="40995"/>
              </a:xfrm>
              <a:custGeom>
                <a:avLst/>
                <a:gdLst>
                  <a:gd name="T0" fmla="*/ 20 w 23"/>
                  <a:gd name="T1" fmla="*/ 0 h 31"/>
                  <a:gd name="T2" fmla="*/ 6 w 23"/>
                  <a:gd name="T3" fmla="*/ 8 h 31"/>
                  <a:gd name="T4" fmla="*/ 3 w 23"/>
                  <a:gd name="T5" fmla="*/ 19 h 31"/>
                  <a:gd name="T6" fmla="*/ 0 w 23"/>
                  <a:gd name="T7" fmla="*/ 25 h 31"/>
                  <a:gd name="T8" fmla="*/ 0 w 23"/>
                  <a:gd name="T9" fmla="*/ 28 h 31"/>
                  <a:gd name="T10" fmla="*/ 3 w 23"/>
                  <a:gd name="T11" fmla="*/ 31 h 31"/>
                  <a:gd name="T12" fmla="*/ 6 w 23"/>
                  <a:gd name="T13" fmla="*/ 31 h 31"/>
                  <a:gd name="T14" fmla="*/ 6 w 23"/>
                  <a:gd name="T15" fmla="*/ 31 h 31"/>
                  <a:gd name="T16" fmla="*/ 9 w 23"/>
                  <a:gd name="T17" fmla="*/ 31 h 31"/>
                  <a:gd name="T18" fmla="*/ 9 w 23"/>
                  <a:gd name="T19" fmla="*/ 31 h 31"/>
                  <a:gd name="T20" fmla="*/ 9 w 23"/>
                  <a:gd name="T21" fmla="*/ 28 h 31"/>
                  <a:gd name="T22" fmla="*/ 14 w 23"/>
                  <a:gd name="T23" fmla="*/ 28 h 31"/>
                  <a:gd name="T24" fmla="*/ 14 w 23"/>
                  <a:gd name="T25" fmla="*/ 28 h 31"/>
                  <a:gd name="T26" fmla="*/ 17 w 23"/>
                  <a:gd name="T27" fmla="*/ 31 h 31"/>
                  <a:gd name="T28" fmla="*/ 17 w 23"/>
                  <a:gd name="T29" fmla="*/ 31 h 31"/>
                  <a:gd name="T30" fmla="*/ 17 w 23"/>
                  <a:gd name="T31" fmla="*/ 28 h 31"/>
                  <a:gd name="T32" fmla="*/ 20 w 23"/>
                  <a:gd name="T33" fmla="*/ 25 h 31"/>
                  <a:gd name="T34" fmla="*/ 23 w 23"/>
                  <a:gd name="T35" fmla="*/ 22 h 31"/>
                  <a:gd name="T36" fmla="*/ 23 w 23"/>
                  <a:gd name="T37" fmla="*/ 22 h 31"/>
                  <a:gd name="T38" fmla="*/ 23 w 23"/>
                  <a:gd name="T39" fmla="*/ 22 h 31"/>
                  <a:gd name="T40" fmla="*/ 20 w 23"/>
                  <a:gd name="T41" fmla="*/ 19 h 31"/>
                  <a:gd name="T42" fmla="*/ 20 w 23"/>
                  <a:gd name="T43" fmla="*/ 19 h 31"/>
                  <a:gd name="T44" fmla="*/ 17 w 23"/>
                  <a:gd name="T45" fmla="*/ 19 h 31"/>
                  <a:gd name="T46" fmla="*/ 17 w 23"/>
                  <a:gd name="T47" fmla="*/ 19 h 31"/>
                  <a:gd name="T48" fmla="*/ 14 w 23"/>
                  <a:gd name="T49" fmla="*/ 19 h 31"/>
                  <a:gd name="T50" fmla="*/ 14 w 23"/>
                  <a:gd name="T51" fmla="*/ 22 h 31"/>
                  <a:gd name="T52" fmla="*/ 11 w 23"/>
                  <a:gd name="T53" fmla="*/ 22 h 31"/>
                  <a:gd name="T54" fmla="*/ 11 w 23"/>
                  <a:gd name="T55" fmla="*/ 22 h 31"/>
                  <a:gd name="T56" fmla="*/ 11 w 23"/>
                  <a:gd name="T57" fmla="*/ 19 h 31"/>
                  <a:gd name="T58" fmla="*/ 11 w 23"/>
                  <a:gd name="T59" fmla="*/ 19 h 31"/>
                  <a:gd name="T60" fmla="*/ 11 w 23"/>
                  <a:gd name="T61" fmla="*/ 19 h 31"/>
                  <a:gd name="T62" fmla="*/ 14 w 23"/>
                  <a:gd name="T63" fmla="*/ 19 h 31"/>
                  <a:gd name="T64" fmla="*/ 14 w 23"/>
                  <a:gd name="T65" fmla="*/ 19 h 31"/>
                  <a:gd name="T66" fmla="*/ 14 w 23"/>
                  <a:gd name="T67" fmla="*/ 17 h 31"/>
                  <a:gd name="T68" fmla="*/ 17 w 23"/>
                  <a:gd name="T69" fmla="*/ 17 h 31"/>
                  <a:gd name="T70" fmla="*/ 17 w 23"/>
                  <a:gd name="T71" fmla="*/ 17 h 31"/>
                  <a:gd name="T72" fmla="*/ 20 w 23"/>
                  <a:gd name="T73" fmla="*/ 14 h 31"/>
                  <a:gd name="T74" fmla="*/ 23 w 23"/>
                  <a:gd name="T75" fmla="*/ 14 h 31"/>
                  <a:gd name="T76" fmla="*/ 23 w 23"/>
                  <a:gd name="T77" fmla="*/ 14 h 31"/>
                  <a:gd name="T78" fmla="*/ 23 w 23"/>
                  <a:gd name="T79" fmla="*/ 11 h 31"/>
                  <a:gd name="T80" fmla="*/ 23 w 23"/>
                  <a:gd name="T81" fmla="*/ 6 h 31"/>
                  <a:gd name="T82" fmla="*/ 23 w 23"/>
                  <a:gd name="T83" fmla="*/ 6 h 31"/>
                  <a:gd name="T84" fmla="*/ 20 w 23"/>
                  <a:gd name="T85" fmla="*/ 3 h 31"/>
                  <a:gd name="T86" fmla="*/ 20 w 23"/>
                  <a:gd name="T87" fmla="*/ 3 h 31"/>
                  <a:gd name="T88" fmla="*/ 20 w 23"/>
                  <a:gd name="T8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3" h="31">
                    <a:moveTo>
                      <a:pt x="20" y="0"/>
                    </a:moveTo>
                    <a:lnTo>
                      <a:pt x="6" y="8"/>
                    </a:lnTo>
                    <a:lnTo>
                      <a:pt x="3" y="19"/>
                    </a:lnTo>
                    <a:lnTo>
                      <a:pt x="0" y="25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7" y="28"/>
                    </a:lnTo>
                    <a:lnTo>
                      <a:pt x="20" y="25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4" y="19"/>
                    </a:lnTo>
                    <a:lnTo>
                      <a:pt x="14" y="22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20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20" y="3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4" name="Freeform 778"/>
              <p:cNvSpPr>
                <a:spLocks noChangeAspect="1"/>
              </p:cNvSpPr>
              <p:nvPr>
                <p:custDataLst>
                  <p:tags r:id="rId832"/>
                </p:custDataLst>
              </p:nvPr>
            </p:nvSpPr>
            <p:spPr bwMode="gray">
              <a:xfrm>
                <a:off x="6066380" y="3890922"/>
                <a:ext cx="30369" cy="40995"/>
              </a:xfrm>
              <a:custGeom>
                <a:avLst/>
                <a:gdLst>
                  <a:gd name="T0" fmla="*/ 20 w 23"/>
                  <a:gd name="T1" fmla="*/ 0 h 31"/>
                  <a:gd name="T2" fmla="*/ 6 w 23"/>
                  <a:gd name="T3" fmla="*/ 8 h 31"/>
                  <a:gd name="T4" fmla="*/ 3 w 23"/>
                  <a:gd name="T5" fmla="*/ 19 h 31"/>
                  <a:gd name="T6" fmla="*/ 0 w 23"/>
                  <a:gd name="T7" fmla="*/ 25 h 31"/>
                  <a:gd name="T8" fmla="*/ 0 w 23"/>
                  <a:gd name="T9" fmla="*/ 28 h 31"/>
                  <a:gd name="T10" fmla="*/ 3 w 23"/>
                  <a:gd name="T11" fmla="*/ 31 h 31"/>
                  <a:gd name="T12" fmla="*/ 6 w 23"/>
                  <a:gd name="T13" fmla="*/ 31 h 31"/>
                  <a:gd name="T14" fmla="*/ 6 w 23"/>
                  <a:gd name="T15" fmla="*/ 31 h 31"/>
                  <a:gd name="T16" fmla="*/ 9 w 23"/>
                  <a:gd name="T17" fmla="*/ 31 h 31"/>
                  <a:gd name="T18" fmla="*/ 9 w 23"/>
                  <a:gd name="T19" fmla="*/ 31 h 31"/>
                  <a:gd name="T20" fmla="*/ 9 w 23"/>
                  <a:gd name="T21" fmla="*/ 28 h 31"/>
                  <a:gd name="T22" fmla="*/ 14 w 23"/>
                  <a:gd name="T23" fmla="*/ 28 h 31"/>
                  <a:gd name="T24" fmla="*/ 14 w 23"/>
                  <a:gd name="T25" fmla="*/ 28 h 31"/>
                  <a:gd name="T26" fmla="*/ 17 w 23"/>
                  <a:gd name="T27" fmla="*/ 31 h 31"/>
                  <a:gd name="T28" fmla="*/ 17 w 23"/>
                  <a:gd name="T29" fmla="*/ 31 h 31"/>
                  <a:gd name="T30" fmla="*/ 17 w 23"/>
                  <a:gd name="T31" fmla="*/ 28 h 31"/>
                  <a:gd name="T32" fmla="*/ 20 w 23"/>
                  <a:gd name="T33" fmla="*/ 25 h 31"/>
                  <a:gd name="T34" fmla="*/ 23 w 23"/>
                  <a:gd name="T35" fmla="*/ 22 h 31"/>
                  <a:gd name="T36" fmla="*/ 23 w 23"/>
                  <a:gd name="T37" fmla="*/ 22 h 31"/>
                  <a:gd name="T38" fmla="*/ 23 w 23"/>
                  <a:gd name="T39" fmla="*/ 22 h 31"/>
                  <a:gd name="T40" fmla="*/ 20 w 23"/>
                  <a:gd name="T41" fmla="*/ 19 h 31"/>
                  <a:gd name="T42" fmla="*/ 20 w 23"/>
                  <a:gd name="T43" fmla="*/ 19 h 31"/>
                  <a:gd name="T44" fmla="*/ 17 w 23"/>
                  <a:gd name="T45" fmla="*/ 19 h 31"/>
                  <a:gd name="T46" fmla="*/ 17 w 23"/>
                  <a:gd name="T47" fmla="*/ 19 h 31"/>
                  <a:gd name="T48" fmla="*/ 14 w 23"/>
                  <a:gd name="T49" fmla="*/ 19 h 31"/>
                  <a:gd name="T50" fmla="*/ 14 w 23"/>
                  <a:gd name="T51" fmla="*/ 22 h 31"/>
                  <a:gd name="T52" fmla="*/ 11 w 23"/>
                  <a:gd name="T53" fmla="*/ 22 h 31"/>
                  <a:gd name="T54" fmla="*/ 11 w 23"/>
                  <a:gd name="T55" fmla="*/ 22 h 31"/>
                  <a:gd name="T56" fmla="*/ 11 w 23"/>
                  <a:gd name="T57" fmla="*/ 19 h 31"/>
                  <a:gd name="T58" fmla="*/ 11 w 23"/>
                  <a:gd name="T59" fmla="*/ 19 h 31"/>
                  <a:gd name="T60" fmla="*/ 11 w 23"/>
                  <a:gd name="T61" fmla="*/ 19 h 31"/>
                  <a:gd name="T62" fmla="*/ 14 w 23"/>
                  <a:gd name="T63" fmla="*/ 19 h 31"/>
                  <a:gd name="T64" fmla="*/ 14 w 23"/>
                  <a:gd name="T65" fmla="*/ 19 h 31"/>
                  <a:gd name="T66" fmla="*/ 14 w 23"/>
                  <a:gd name="T67" fmla="*/ 17 h 31"/>
                  <a:gd name="T68" fmla="*/ 17 w 23"/>
                  <a:gd name="T69" fmla="*/ 17 h 31"/>
                  <a:gd name="T70" fmla="*/ 17 w 23"/>
                  <a:gd name="T71" fmla="*/ 17 h 31"/>
                  <a:gd name="T72" fmla="*/ 20 w 23"/>
                  <a:gd name="T73" fmla="*/ 14 h 31"/>
                  <a:gd name="T74" fmla="*/ 23 w 23"/>
                  <a:gd name="T75" fmla="*/ 14 h 31"/>
                  <a:gd name="T76" fmla="*/ 23 w 23"/>
                  <a:gd name="T77" fmla="*/ 14 h 31"/>
                  <a:gd name="T78" fmla="*/ 23 w 23"/>
                  <a:gd name="T79" fmla="*/ 11 h 31"/>
                  <a:gd name="T80" fmla="*/ 23 w 23"/>
                  <a:gd name="T81" fmla="*/ 6 h 31"/>
                  <a:gd name="T82" fmla="*/ 23 w 23"/>
                  <a:gd name="T83" fmla="*/ 6 h 31"/>
                  <a:gd name="T84" fmla="*/ 20 w 23"/>
                  <a:gd name="T85" fmla="*/ 3 h 31"/>
                  <a:gd name="T86" fmla="*/ 20 w 23"/>
                  <a:gd name="T87" fmla="*/ 3 h 31"/>
                  <a:gd name="T88" fmla="*/ 20 w 23"/>
                  <a:gd name="T8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3" h="31">
                    <a:moveTo>
                      <a:pt x="20" y="0"/>
                    </a:moveTo>
                    <a:lnTo>
                      <a:pt x="6" y="8"/>
                    </a:lnTo>
                    <a:lnTo>
                      <a:pt x="3" y="19"/>
                    </a:lnTo>
                    <a:lnTo>
                      <a:pt x="0" y="25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9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7" y="28"/>
                    </a:lnTo>
                    <a:lnTo>
                      <a:pt x="20" y="25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4" y="19"/>
                    </a:lnTo>
                    <a:lnTo>
                      <a:pt x="14" y="22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20" y="14"/>
                    </a:lnTo>
                    <a:lnTo>
                      <a:pt x="23" y="14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20" y="3"/>
                    </a:lnTo>
                    <a:lnTo>
                      <a:pt x="2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5" name="Freeform 779"/>
              <p:cNvSpPr>
                <a:spLocks noChangeAspect="1"/>
              </p:cNvSpPr>
              <p:nvPr>
                <p:custDataLst>
                  <p:tags r:id="rId833"/>
                </p:custDataLst>
              </p:nvPr>
            </p:nvSpPr>
            <p:spPr bwMode="gray">
              <a:xfrm>
                <a:off x="5805205" y="4166851"/>
                <a:ext cx="39480" cy="37842"/>
              </a:xfrm>
              <a:custGeom>
                <a:avLst/>
                <a:gdLst>
                  <a:gd name="T0" fmla="*/ 3 w 30"/>
                  <a:gd name="T1" fmla="*/ 28 h 28"/>
                  <a:gd name="T2" fmla="*/ 3 w 30"/>
                  <a:gd name="T3" fmla="*/ 28 h 28"/>
                  <a:gd name="T4" fmla="*/ 3 w 30"/>
                  <a:gd name="T5" fmla="*/ 25 h 28"/>
                  <a:gd name="T6" fmla="*/ 3 w 30"/>
                  <a:gd name="T7" fmla="*/ 25 h 28"/>
                  <a:gd name="T8" fmla="*/ 5 w 30"/>
                  <a:gd name="T9" fmla="*/ 25 h 28"/>
                  <a:gd name="T10" fmla="*/ 5 w 30"/>
                  <a:gd name="T11" fmla="*/ 25 h 28"/>
                  <a:gd name="T12" fmla="*/ 8 w 30"/>
                  <a:gd name="T13" fmla="*/ 28 h 28"/>
                  <a:gd name="T14" fmla="*/ 8 w 30"/>
                  <a:gd name="T15" fmla="*/ 28 h 28"/>
                  <a:gd name="T16" fmla="*/ 11 w 30"/>
                  <a:gd name="T17" fmla="*/ 28 h 28"/>
                  <a:gd name="T18" fmla="*/ 11 w 30"/>
                  <a:gd name="T19" fmla="*/ 28 h 28"/>
                  <a:gd name="T20" fmla="*/ 14 w 30"/>
                  <a:gd name="T21" fmla="*/ 28 h 28"/>
                  <a:gd name="T22" fmla="*/ 14 w 30"/>
                  <a:gd name="T23" fmla="*/ 25 h 28"/>
                  <a:gd name="T24" fmla="*/ 14 w 30"/>
                  <a:gd name="T25" fmla="*/ 25 h 28"/>
                  <a:gd name="T26" fmla="*/ 17 w 30"/>
                  <a:gd name="T27" fmla="*/ 23 h 28"/>
                  <a:gd name="T28" fmla="*/ 17 w 30"/>
                  <a:gd name="T29" fmla="*/ 23 h 28"/>
                  <a:gd name="T30" fmla="*/ 19 w 30"/>
                  <a:gd name="T31" fmla="*/ 23 h 28"/>
                  <a:gd name="T32" fmla="*/ 22 w 30"/>
                  <a:gd name="T33" fmla="*/ 23 h 28"/>
                  <a:gd name="T34" fmla="*/ 25 w 30"/>
                  <a:gd name="T35" fmla="*/ 23 h 28"/>
                  <a:gd name="T36" fmla="*/ 25 w 30"/>
                  <a:gd name="T37" fmla="*/ 23 h 28"/>
                  <a:gd name="T38" fmla="*/ 25 w 30"/>
                  <a:gd name="T39" fmla="*/ 23 h 28"/>
                  <a:gd name="T40" fmla="*/ 25 w 30"/>
                  <a:gd name="T41" fmla="*/ 23 h 28"/>
                  <a:gd name="T42" fmla="*/ 28 w 30"/>
                  <a:gd name="T43" fmla="*/ 20 h 28"/>
                  <a:gd name="T44" fmla="*/ 30 w 30"/>
                  <a:gd name="T45" fmla="*/ 17 h 28"/>
                  <a:gd name="T46" fmla="*/ 22 w 30"/>
                  <a:gd name="T47" fmla="*/ 0 h 28"/>
                  <a:gd name="T48" fmla="*/ 22 w 30"/>
                  <a:gd name="T49" fmla="*/ 3 h 28"/>
                  <a:gd name="T50" fmla="*/ 19 w 30"/>
                  <a:gd name="T51" fmla="*/ 3 h 28"/>
                  <a:gd name="T52" fmla="*/ 19 w 30"/>
                  <a:gd name="T53" fmla="*/ 3 h 28"/>
                  <a:gd name="T54" fmla="*/ 17 w 30"/>
                  <a:gd name="T55" fmla="*/ 6 h 28"/>
                  <a:gd name="T56" fmla="*/ 14 w 30"/>
                  <a:gd name="T57" fmla="*/ 9 h 28"/>
                  <a:gd name="T58" fmla="*/ 14 w 30"/>
                  <a:gd name="T59" fmla="*/ 6 h 28"/>
                  <a:gd name="T60" fmla="*/ 11 w 30"/>
                  <a:gd name="T61" fmla="*/ 6 h 28"/>
                  <a:gd name="T62" fmla="*/ 11 w 30"/>
                  <a:gd name="T63" fmla="*/ 6 h 28"/>
                  <a:gd name="T64" fmla="*/ 0 w 30"/>
                  <a:gd name="T65" fmla="*/ 23 h 28"/>
                  <a:gd name="T66" fmla="*/ 0 w 30"/>
                  <a:gd name="T67" fmla="*/ 25 h 28"/>
                  <a:gd name="T68" fmla="*/ 3 w 30"/>
                  <a:gd name="T6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28">
                    <a:moveTo>
                      <a:pt x="3" y="28"/>
                    </a:moveTo>
                    <a:lnTo>
                      <a:pt x="3" y="28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8" y="20"/>
                    </a:lnTo>
                    <a:lnTo>
                      <a:pt x="30" y="17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7" y="6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3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6" name="Freeform 780"/>
              <p:cNvSpPr>
                <a:spLocks noChangeAspect="1"/>
              </p:cNvSpPr>
              <p:nvPr>
                <p:custDataLst>
                  <p:tags r:id="rId834"/>
                </p:custDataLst>
              </p:nvPr>
            </p:nvSpPr>
            <p:spPr bwMode="gray">
              <a:xfrm>
                <a:off x="5805205" y="4166851"/>
                <a:ext cx="39480" cy="37842"/>
              </a:xfrm>
              <a:custGeom>
                <a:avLst/>
                <a:gdLst>
                  <a:gd name="T0" fmla="*/ 3 w 30"/>
                  <a:gd name="T1" fmla="*/ 28 h 28"/>
                  <a:gd name="T2" fmla="*/ 3 w 30"/>
                  <a:gd name="T3" fmla="*/ 28 h 28"/>
                  <a:gd name="T4" fmla="*/ 3 w 30"/>
                  <a:gd name="T5" fmla="*/ 25 h 28"/>
                  <a:gd name="T6" fmla="*/ 3 w 30"/>
                  <a:gd name="T7" fmla="*/ 25 h 28"/>
                  <a:gd name="T8" fmla="*/ 5 w 30"/>
                  <a:gd name="T9" fmla="*/ 25 h 28"/>
                  <a:gd name="T10" fmla="*/ 5 w 30"/>
                  <a:gd name="T11" fmla="*/ 25 h 28"/>
                  <a:gd name="T12" fmla="*/ 8 w 30"/>
                  <a:gd name="T13" fmla="*/ 28 h 28"/>
                  <a:gd name="T14" fmla="*/ 8 w 30"/>
                  <a:gd name="T15" fmla="*/ 28 h 28"/>
                  <a:gd name="T16" fmla="*/ 11 w 30"/>
                  <a:gd name="T17" fmla="*/ 28 h 28"/>
                  <a:gd name="T18" fmla="*/ 11 w 30"/>
                  <a:gd name="T19" fmla="*/ 28 h 28"/>
                  <a:gd name="T20" fmla="*/ 14 w 30"/>
                  <a:gd name="T21" fmla="*/ 28 h 28"/>
                  <a:gd name="T22" fmla="*/ 14 w 30"/>
                  <a:gd name="T23" fmla="*/ 25 h 28"/>
                  <a:gd name="T24" fmla="*/ 14 w 30"/>
                  <a:gd name="T25" fmla="*/ 25 h 28"/>
                  <a:gd name="T26" fmla="*/ 17 w 30"/>
                  <a:gd name="T27" fmla="*/ 23 h 28"/>
                  <a:gd name="T28" fmla="*/ 17 w 30"/>
                  <a:gd name="T29" fmla="*/ 23 h 28"/>
                  <a:gd name="T30" fmla="*/ 19 w 30"/>
                  <a:gd name="T31" fmla="*/ 23 h 28"/>
                  <a:gd name="T32" fmla="*/ 22 w 30"/>
                  <a:gd name="T33" fmla="*/ 23 h 28"/>
                  <a:gd name="T34" fmla="*/ 25 w 30"/>
                  <a:gd name="T35" fmla="*/ 23 h 28"/>
                  <a:gd name="T36" fmla="*/ 25 w 30"/>
                  <a:gd name="T37" fmla="*/ 23 h 28"/>
                  <a:gd name="T38" fmla="*/ 25 w 30"/>
                  <a:gd name="T39" fmla="*/ 23 h 28"/>
                  <a:gd name="T40" fmla="*/ 25 w 30"/>
                  <a:gd name="T41" fmla="*/ 23 h 28"/>
                  <a:gd name="T42" fmla="*/ 28 w 30"/>
                  <a:gd name="T43" fmla="*/ 20 h 28"/>
                  <a:gd name="T44" fmla="*/ 30 w 30"/>
                  <a:gd name="T45" fmla="*/ 17 h 28"/>
                  <a:gd name="T46" fmla="*/ 22 w 30"/>
                  <a:gd name="T47" fmla="*/ 0 h 28"/>
                  <a:gd name="T48" fmla="*/ 22 w 30"/>
                  <a:gd name="T49" fmla="*/ 3 h 28"/>
                  <a:gd name="T50" fmla="*/ 19 w 30"/>
                  <a:gd name="T51" fmla="*/ 3 h 28"/>
                  <a:gd name="T52" fmla="*/ 19 w 30"/>
                  <a:gd name="T53" fmla="*/ 3 h 28"/>
                  <a:gd name="T54" fmla="*/ 17 w 30"/>
                  <a:gd name="T55" fmla="*/ 6 h 28"/>
                  <a:gd name="T56" fmla="*/ 14 w 30"/>
                  <a:gd name="T57" fmla="*/ 9 h 28"/>
                  <a:gd name="T58" fmla="*/ 14 w 30"/>
                  <a:gd name="T59" fmla="*/ 6 h 28"/>
                  <a:gd name="T60" fmla="*/ 11 w 30"/>
                  <a:gd name="T61" fmla="*/ 6 h 28"/>
                  <a:gd name="T62" fmla="*/ 11 w 30"/>
                  <a:gd name="T63" fmla="*/ 6 h 28"/>
                  <a:gd name="T64" fmla="*/ 0 w 30"/>
                  <a:gd name="T65" fmla="*/ 23 h 28"/>
                  <a:gd name="T66" fmla="*/ 0 w 30"/>
                  <a:gd name="T67" fmla="*/ 25 h 28"/>
                  <a:gd name="T68" fmla="*/ 3 w 30"/>
                  <a:gd name="T6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28">
                    <a:moveTo>
                      <a:pt x="3" y="28"/>
                    </a:moveTo>
                    <a:lnTo>
                      <a:pt x="3" y="28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4" y="28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9" y="23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8" y="20"/>
                    </a:lnTo>
                    <a:lnTo>
                      <a:pt x="30" y="17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7" y="6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0" y="23"/>
                    </a:lnTo>
                    <a:lnTo>
                      <a:pt x="0" y="25"/>
                    </a:lnTo>
                    <a:lnTo>
                      <a:pt x="3" y="2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7" name="Freeform 781"/>
              <p:cNvSpPr>
                <a:spLocks noChangeAspect="1"/>
              </p:cNvSpPr>
              <p:nvPr>
                <p:custDataLst>
                  <p:tags r:id="rId835"/>
                </p:custDataLst>
              </p:nvPr>
            </p:nvSpPr>
            <p:spPr bwMode="gray">
              <a:xfrm>
                <a:off x="6098269" y="3238152"/>
                <a:ext cx="65293" cy="64646"/>
              </a:xfrm>
              <a:custGeom>
                <a:avLst/>
                <a:gdLst>
                  <a:gd name="T0" fmla="*/ 20 w 48"/>
                  <a:gd name="T1" fmla="*/ 36 h 50"/>
                  <a:gd name="T2" fmla="*/ 17 w 48"/>
                  <a:gd name="T3" fmla="*/ 31 h 50"/>
                  <a:gd name="T4" fmla="*/ 14 w 48"/>
                  <a:gd name="T5" fmla="*/ 28 h 50"/>
                  <a:gd name="T6" fmla="*/ 11 w 48"/>
                  <a:gd name="T7" fmla="*/ 25 h 50"/>
                  <a:gd name="T8" fmla="*/ 6 w 48"/>
                  <a:gd name="T9" fmla="*/ 22 h 50"/>
                  <a:gd name="T10" fmla="*/ 3 w 48"/>
                  <a:gd name="T11" fmla="*/ 20 h 50"/>
                  <a:gd name="T12" fmla="*/ 3 w 48"/>
                  <a:gd name="T13" fmla="*/ 11 h 50"/>
                  <a:gd name="T14" fmla="*/ 0 w 48"/>
                  <a:gd name="T15" fmla="*/ 6 h 50"/>
                  <a:gd name="T16" fmla="*/ 0 w 48"/>
                  <a:gd name="T17" fmla="*/ 6 h 50"/>
                  <a:gd name="T18" fmla="*/ 6 w 48"/>
                  <a:gd name="T19" fmla="*/ 6 h 50"/>
                  <a:gd name="T20" fmla="*/ 6 w 48"/>
                  <a:gd name="T21" fmla="*/ 3 h 50"/>
                  <a:gd name="T22" fmla="*/ 11 w 48"/>
                  <a:gd name="T23" fmla="*/ 3 h 50"/>
                  <a:gd name="T24" fmla="*/ 14 w 48"/>
                  <a:gd name="T25" fmla="*/ 3 h 50"/>
                  <a:gd name="T26" fmla="*/ 17 w 48"/>
                  <a:gd name="T27" fmla="*/ 3 h 50"/>
                  <a:gd name="T28" fmla="*/ 23 w 48"/>
                  <a:gd name="T29" fmla="*/ 0 h 50"/>
                  <a:gd name="T30" fmla="*/ 28 w 48"/>
                  <a:gd name="T31" fmla="*/ 6 h 50"/>
                  <a:gd name="T32" fmla="*/ 28 w 48"/>
                  <a:gd name="T33" fmla="*/ 9 h 50"/>
                  <a:gd name="T34" fmla="*/ 31 w 48"/>
                  <a:gd name="T35" fmla="*/ 9 h 50"/>
                  <a:gd name="T36" fmla="*/ 31 w 48"/>
                  <a:gd name="T37" fmla="*/ 11 h 50"/>
                  <a:gd name="T38" fmla="*/ 31 w 48"/>
                  <a:gd name="T39" fmla="*/ 11 h 50"/>
                  <a:gd name="T40" fmla="*/ 31 w 48"/>
                  <a:gd name="T41" fmla="*/ 14 h 50"/>
                  <a:gd name="T42" fmla="*/ 31 w 48"/>
                  <a:gd name="T43" fmla="*/ 17 h 50"/>
                  <a:gd name="T44" fmla="*/ 34 w 48"/>
                  <a:gd name="T45" fmla="*/ 20 h 50"/>
                  <a:gd name="T46" fmla="*/ 37 w 48"/>
                  <a:gd name="T47" fmla="*/ 22 h 50"/>
                  <a:gd name="T48" fmla="*/ 39 w 48"/>
                  <a:gd name="T49" fmla="*/ 25 h 50"/>
                  <a:gd name="T50" fmla="*/ 37 w 48"/>
                  <a:gd name="T51" fmla="*/ 28 h 50"/>
                  <a:gd name="T52" fmla="*/ 34 w 48"/>
                  <a:gd name="T53" fmla="*/ 28 h 50"/>
                  <a:gd name="T54" fmla="*/ 37 w 48"/>
                  <a:gd name="T55" fmla="*/ 31 h 50"/>
                  <a:gd name="T56" fmla="*/ 39 w 48"/>
                  <a:gd name="T57" fmla="*/ 34 h 50"/>
                  <a:gd name="T58" fmla="*/ 42 w 48"/>
                  <a:gd name="T59" fmla="*/ 36 h 50"/>
                  <a:gd name="T60" fmla="*/ 45 w 48"/>
                  <a:gd name="T61" fmla="*/ 36 h 50"/>
                  <a:gd name="T62" fmla="*/ 48 w 48"/>
                  <a:gd name="T63" fmla="*/ 36 h 50"/>
                  <a:gd name="T64" fmla="*/ 45 w 48"/>
                  <a:gd name="T65" fmla="*/ 42 h 50"/>
                  <a:gd name="T66" fmla="*/ 48 w 48"/>
                  <a:gd name="T67" fmla="*/ 42 h 50"/>
                  <a:gd name="T68" fmla="*/ 48 w 48"/>
                  <a:gd name="T69" fmla="*/ 45 h 50"/>
                  <a:gd name="T70" fmla="*/ 45 w 48"/>
                  <a:gd name="T71" fmla="*/ 45 h 50"/>
                  <a:gd name="T72" fmla="*/ 48 w 48"/>
                  <a:gd name="T73" fmla="*/ 50 h 50"/>
                  <a:gd name="T74" fmla="*/ 48 w 48"/>
                  <a:gd name="T75" fmla="*/ 50 h 50"/>
                  <a:gd name="T76" fmla="*/ 39 w 48"/>
                  <a:gd name="T77" fmla="*/ 50 h 50"/>
                  <a:gd name="T78" fmla="*/ 39 w 48"/>
                  <a:gd name="T79" fmla="*/ 45 h 50"/>
                  <a:gd name="T80" fmla="*/ 37 w 48"/>
                  <a:gd name="T81" fmla="*/ 39 h 50"/>
                  <a:gd name="T82" fmla="*/ 34 w 48"/>
                  <a:gd name="T83" fmla="*/ 36 h 50"/>
                  <a:gd name="T84" fmla="*/ 31 w 48"/>
                  <a:gd name="T85" fmla="*/ 39 h 50"/>
                  <a:gd name="T86" fmla="*/ 28 w 48"/>
                  <a:gd name="T87" fmla="*/ 36 h 50"/>
                  <a:gd name="T88" fmla="*/ 28 w 48"/>
                  <a:gd name="T89" fmla="*/ 36 h 50"/>
                  <a:gd name="T90" fmla="*/ 25 w 48"/>
                  <a:gd name="T91" fmla="*/ 34 h 50"/>
                  <a:gd name="T92" fmla="*/ 23 w 48"/>
                  <a:gd name="T93" fmla="*/ 34 h 50"/>
                  <a:gd name="T94" fmla="*/ 20 w 48"/>
                  <a:gd name="T95" fmla="*/ 3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50">
                    <a:moveTo>
                      <a:pt x="20" y="36"/>
                    </a:moveTo>
                    <a:lnTo>
                      <a:pt x="17" y="31"/>
                    </a:lnTo>
                    <a:lnTo>
                      <a:pt x="14" y="28"/>
                    </a:lnTo>
                    <a:lnTo>
                      <a:pt x="11" y="25"/>
                    </a:lnTo>
                    <a:lnTo>
                      <a:pt x="6" y="22"/>
                    </a:lnTo>
                    <a:lnTo>
                      <a:pt x="3" y="20"/>
                    </a:lnTo>
                    <a:lnTo>
                      <a:pt x="3" y="1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3" y="0"/>
                    </a:lnTo>
                    <a:lnTo>
                      <a:pt x="28" y="6"/>
                    </a:lnTo>
                    <a:lnTo>
                      <a:pt x="28" y="9"/>
                    </a:lnTo>
                    <a:lnTo>
                      <a:pt x="31" y="9"/>
                    </a:lnTo>
                    <a:lnTo>
                      <a:pt x="31" y="11"/>
                    </a:lnTo>
                    <a:lnTo>
                      <a:pt x="31" y="11"/>
                    </a:lnTo>
                    <a:lnTo>
                      <a:pt x="31" y="14"/>
                    </a:lnTo>
                    <a:lnTo>
                      <a:pt x="31" y="17"/>
                    </a:lnTo>
                    <a:lnTo>
                      <a:pt x="34" y="20"/>
                    </a:lnTo>
                    <a:lnTo>
                      <a:pt x="37" y="22"/>
                    </a:lnTo>
                    <a:lnTo>
                      <a:pt x="39" y="25"/>
                    </a:lnTo>
                    <a:lnTo>
                      <a:pt x="37" y="28"/>
                    </a:lnTo>
                    <a:lnTo>
                      <a:pt x="34" y="28"/>
                    </a:lnTo>
                    <a:lnTo>
                      <a:pt x="37" y="31"/>
                    </a:lnTo>
                    <a:lnTo>
                      <a:pt x="39" y="34"/>
                    </a:lnTo>
                    <a:lnTo>
                      <a:pt x="42" y="36"/>
                    </a:lnTo>
                    <a:lnTo>
                      <a:pt x="45" y="36"/>
                    </a:lnTo>
                    <a:lnTo>
                      <a:pt x="48" y="36"/>
                    </a:lnTo>
                    <a:lnTo>
                      <a:pt x="45" y="42"/>
                    </a:lnTo>
                    <a:lnTo>
                      <a:pt x="48" y="42"/>
                    </a:lnTo>
                    <a:lnTo>
                      <a:pt x="48" y="45"/>
                    </a:lnTo>
                    <a:lnTo>
                      <a:pt x="45" y="45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39" y="50"/>
                    </a:lnTo>
                    <a:lnTo>
                      <a:pt x="39" y="45"/>
                    </a:lnTo>
                    <a:lnTo>
                      <a:pt x="37" y="39"/>
                    </a:lnTo>
                    <a:lnTo>
                      <a:pt x="34" y="36"/>
                    </a:lnTo>
                    <a:lnTo>
                      <a:pt x="31" y="39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0" y="3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8" name="Freeform 782"/>
              <p:cNvSpPr>
                <a:spLocks noChangeAspect="1"/>
              </p:cNvSpPr>
              <p:nvPr>
                <p:custDataLst>
                  <p:tags r:id="rId836"/>
                </p:custDataLst>
              </p:nvPr>
            </p:nvSpPr>
            <p:spPr bwMode="gray">
              <a:xfrm>
                <a:off x="6649467" y="3279146"/>
                <a:ext cx="1519" cy="3154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  <a:gd name="T10" fmla="*/ 3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9" name="Freeform 783"/>
              <p:cNvSpPr>
                <a:spLocks noChangeAspect="1"/>
              </p:cNvSpPr>
              <p:nvPr>
                <p:custDataLst>
                  <p:tags r:id="rId837"/>
                </p:custDataLst>
              </p:nvPr>
            </p:nvSpPr>
            <p:spPr bwMode="gray">
              <a:xfrm>
                <a:off x="6649467" y="3279146"/>
                <a:ext cx="1519" cy="3154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  <a:gd name="T10" fmla="*/ 3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0" name="Freeform 784"/>
              <p:cNvSpPr>
                <a:spLocks noChangeAspect="1"/>
              </p:cNvSpPr>
              <p:nvPr>
                <p:custDataLst>
                  <p:tags r:id="rId838"/>
                </p:custDataLst>
              </p:nvPr>
            </p:nvSpPr>
            <p:spPr bwMode="gray">
              <a:xfrm>
                <a:off x="4872873" y="3585034"/>
                <a:ext cx="244473" cy="266468"/>
              </a:xfrm>
              <a:custGeom>
                <a:avLst/>
                <a:gdLst>
                  <a:gd name="T0" fmla="*/ 3 w 187"/>
                  <a:gd name="T1" fmla="*/ 100 h 208"/>
                  <a:gd name="T2" fmla="*/ 0 w 187"/>
                  <a:gd name="T3" fmla="*/ 105 h 208"/>
                  <a:gd name="T4" fmla="*/ 0 w 187"/>
                  <a:gd name="T5" fmla="*/ 105 h 208"/>
                  <a:gd name="T6" fmla="*/ 0 w 187"/>
                  <a:gd name="T7" fmla="*/ 105 h 208"/>
                  <a:gd name="T8" fmla="*/ 6 w 187"/>
                  <a:gd name="T9" fmla="*/ 111 h 208"/>
                  <a:gd name="T10" fmla="*/ 9 w 187"/>
                  <a:gd name="T11" fmla="*/ 111 h 208"/>
                  <a:gd name="T12" fmla="*/ 11 w 187"/>
                  <a:gd name="T13" fmla="*/ 125 h 208"/>
                  <a:gd name="T14" fmla="*/ 9 w 187"/>
                  <a:gd name="T15" fmla="*/ 130 h 208"/>
                  <a:gd name="T16" fmla="*/ 6 w 187"/>
                  <a:gd name="T17" fmla="*/ 133 h 208"/>
                  <a:gd name="T18" fmla="*/ 14 w 187"/>
                  <a:gd name="T19" fmla="*/ 161 h 208"/>
                  <a:gd name="T20" fmla="*/ 6 w 187"/>
                  <a:gd name="T21" fmla="*/ 186 h 208"/>
                  <a:gd name="T22" fmla="*/ 9 w 187"/>
                  <a:gd name="T23" fmla="*/ 178 h 208"/>
                  <a:gd name="T24" fmla="*/ 11 w 187"/>
                  <a:gd name="T25" fmla="*/ 178 h 208"/>
                  <a:gd name="T26" fmla="*/ 20 w 187"/>
                  <a:gd name="T27" fmla="*/ 181 h 208"/>
                  <a:gd name="T28" fmla="*/ 23 w 187"/>
                  <a:gd name="T29" fmla="*/ 178 h 208"/>
                  <a:gd name="T30" fmla="*/ 28 w 187"/>
                  <a:gd name="T31" fmla="*/ 178 h 208"/>
                  <a:gd name="T32" fmla="*/ 28 w 187"/>
                  <a:gd name="T33" fmla="*/ 178 h 208"/>
                  <a:gd name="T34" fmla="*/ 31 w 187"/>
                  <a:gd name="T35" fmla="*/ 178 h 208"/>
                  <a:gd name="T36" fmla="*/ 36 w 187"/>
                  <a:gd name="T37" fmla="*/ 178 h 208"/>
                  <a:gd name="T38" fmla="*/ 39 w 187"/>
                  <a:gd name="T39" fmla="*/ 178 h 208"/>
                  <a:gd name="T40" fmla="*/ 42 w 187"/>
                  <a:gd name="T41" fmla="*/ 178 h 208"/>
                  <a:gd name="T42" fmla="*/ 45 w 187"/>
                  <a:gd name="T43" fmla="*/ 183 h 208"/>
                  <a:gd name="T44" fmla="*/ 50 w 187"/>
                  <a:gd name="T45" fmla="*/ 183 h 208"/>
                  <a:gd name="T46" fmla="*/ 50 w 187"/>
                  <a:gd name="T47" fmla="*/ 186 h 208"/>
                  <a:gd name="T48" fmla="*/ 53 w 187"/>
                  <a:gd name="T49" fmla="*/ 186 h 208"/>
                  <a:gd name="T50" fmla="*/ 59 w 187"/>
                  <a:gd name="T51" fmla="*/ 192 h 208"/>
                  <a:gd name="T52" fmla="*/ 59 w 187"/>
                  <a:gd name="T53" fmla="*/ 194 h 208"/>
                  <a:gd name="T54" fmla="*/ 62 w 187"/>
                  <a:gd name="T55" fmla="*/ 194 h 208"/>
                  <a:gd name="T56" fmla="*/ 62 w 187"/>
                  <a:gd name="T57" fmla="*/ 194 h 208"/>
                  <a:gd name="T58" fmla="*/ 64 w 187"/>
                  <a:gd name="T59" fmla="*/ 197 h 208"/>
                  <a:gd name="T60" fmla="*/ 64 w 187"/>
                  <a:gd name="T61" fmla="*/ 200 h 208"/>
                  <a:gd name="T62" fmla="*/ 64 w 187"/>
                  <a:gd name="T63" fmla="*/ 200 h 208"/>
                  <a:gd name="T64" fmla="*/ 67 w 187"/>
                  <a:gd name="T65" fmla="*/ 203 h 208"/>
                  <a:gd name="T66" fmla="*/ 70 w 187"/>
                  <a:gd name="T67" fmla="*/ 203 h 208"/>
                  <a:gd name="T68" fmla="*/ 70 w 187"/>
                  <a:gd name="T69" fmla="*/ 206 h 208"/>
                  <a:gd name="T70" fmla="*/ 73 w 187"/>
                  <a:gd name="T71" fmla="*/ 206 h 208"/>
                  <a:gd name="T72" fmla="*/ 81 w 187"/>
                  <a:gd name="T73" fmla="*/ 200 h 208"/>
                  <a:gd name="T74" fmla="*/ 87 w 187"/>
                  <a:gd name="T75" fmla="*/ 189 h 208"/>
                  <a:gd name="T76" fmla="*/ 87 w 187"/>
                  <a:gd name="T77" fmla="*/ 189 h 208"/>
                  <a:gd name="T78" fmla="*/ 89 w 187"/>
                  <a:gd name="T79" fmla="*/ 192 h 208"/>
                  <a:gd name="T80" fmla="*/ 98 w 187"/>
                  <a:gd name="T81" fmla="*/ 200 h 208"/>
                  <a:gd name="T82" fmla="*/ 178 w 187"/>
                  <a:gd name="T83" fmla="*/ 197 h 208"/>
                  <a:gd name="T84" fmla="*/ 176 w 187"/>
                  <a:gd name="T85" fmla="*/ 181 h 208"/>
                  <a:gd name="T86" fmla="*/ 187 w 187"/>
                  <a:gd name="T87" fmla="*/ 39 h 208"/>
                  <a:gd name="T88" fmla="*/ 131 w 187"/>
                  <a:gd name="T89" fmla="*/ 19 h 208"/>
                  <a:gd name="T90" fmla="*/ 81 w 187"/>
                  <a:gd name="T91" fmla="*/ 64 h 208"/>
                  <a:gd name="T92" fmla="*/ 64 w 187"/>
                  <a:gd name="T93" fmla="*/ 69 h 208"/>
                  <a:gd name="T94" fmla="*/ 62 w 187"/>
                  <a:gd name="T95" fmla="*/ 10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7" h="208">
                    <a:moveTo>
                      <a:pt x="56" y="100"/>
                    </a:moveTo>
                    <a:lnTo>
                      <a:pt x="3" y="100"/>
                    </a:lnTo>
                    <a:lnTo>
                      <a:pt x="3" y="100"/>
                    </a:lnTo>
                    <a:lnTo>
                      <a:pt x="0" y="105"/>
                    </a:lnTo>
                    <a:lnTo>
                      <a:pt x="0" y="105"/>
                    </a:lnTo>
                    <a:lnTo>
                      <a:pt x="0" y="105"/>
                    </a:lnTo>
                    <a:lnTo>
                      <a:pt x="0" y="105"/>
                    </a:lnTo>
                    <a:lnTo>
                      <a:pt x="0" y="105"/>
                    </a:lnTo>
                    <a:lnTo>
                      <a:pt x="3" y="105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9" y="111"/>
                    </a:lnTo>
                    <a:lnTo>
                      <a:pt x="11" y="119"/>
                    </a:lnTo>
                    <a:lnTo>
                      <a:pt x="11" y="125"/>
                    </a:lnTo>
                    <a:lnTo>
                      <a:pt x="9" y="130"/>
                    </a:lnTo>
                    <a:lnTo>
                      <a:pt x="9" y="130"/>
                    </a:lnTo>
                    <a:lnTo>
                      <a:pt x="9" y="130"/>
                    </a:lnTo>
                    <a:lnTo>
                      <a:pt x="6" y="133"/>
                    </a:lnTo>
                    <a:lnTo>
                      <a:pt x="11" y="139"/>
                    </a:lnTo>
                    <a:lnTo>
                      <a:pt x="14" y="161"/>
                    </a:lnTo>
                    <a:lnTo>
                      <a:pt x="6" y="186"/>
                    </a:lnTo>
                    <a:lnTo>
                      <a:pt x="6" y="186"/>
                    </a:lnTo>
                    <a:lnTo>
                      <a:pt x="9" y="183"/>
                    </a:lnTo>
                    <a:lnTo>
                      <a:pt x="9" y="178"/>
                    </a:lnTo>
                    <a:lnTo>
                      <a:pt x="11" y="178"/>
                    </a:lnTo>
                    <a:lnTo>
                      <a:pt x="11" y="178"/>
                    </a:lnTo>
                    <a:lnTo>
                      <a:pt x="17" y="178"/>
                    </a:lnTo>
                    <a:lnTo>
                      <a:pt x="20" y="181"/>
                    </a:lnTo>
                    <a:lnTo>
                      <a:pt x="23" y="178"/>
                    </a:lnTo>
                    <a:lnTo>
                      <a:pt x="23" y="178"/>
                    </a:lnTo>
                    <a:lnTo>
                      <a:pt x="25" y="178"/>
                    </a:lnTo>
                    <a:lnTo>
                      <a:pt x="28" y="178"/>
                    </a:lnTo>
                    <a:lnTo>
                      <a:pt x="28" y="178"/>
                    </a:lnTo>
                    <a:lnTo>
                      <a:pt x="28" y="178"/>
                    </a:lnTo>
                    <a:lnTo>
                      <a:pt x="28" y="178"/>
                    </a:lnTo>
                    <a:lnTo>
                      <a:pt x="31" y="178"/>
                    </a:lnTo>
                    <a:lnTo>
                      <a:pt x="31" y="178"/>
                    </a:lnTo>
                    <a:lnTo>
                      <a:pt x="36" y="178"/>
                    </a:lnTo>
                    <a:lnTo>
                      <a:pt x="39" y="178"/>
                    </a:lnTo>
                    <a:lnTo>
                      <a:pt x="39" y="178"/>
                    </a:lnTo>
                    <a:lnTo>
                      <a:pt x="39" y="178"/>
                    </a:lnTo>
                    <a:lnTo>
                      <a:pt x="42" y="178"/>
                    </a:lnTo>
                    <a:lnTo>
                      <a:pt x="45" y="181"/>
                    </a:lnTo>
                    <a:lnTo>
                      <a:pt x="45" y="183"/>
                    </a:lnTo>
                    <a:lnTo>
                      <a:pt x="48" y="186"/>
                    </a:lnTo>
                    <a:lnTo>
                      <a:pt x="50" y="183"/>
                    </a:lnTo>
                    <a:lnTo>
                      <a:pt x="50" y="186"/>
                    </a:lnTo>
                    <a:lnTo>
                      <a:pt x="50" y="186"/>
                    </a:lnTo>
                    <a:lnTo>
                      <a:pt x="53" y="186"/>
                    </a:lnTo>
                    <a:lnTo>
                      <a:pt x="53" y="186"/>
                    </a:lnTo>
                    <a:lnTo>
                      <a:pt x="59" y="192"/>
                    </a:lnTo>
                    <a:lnTo>
                      <a:pt x="59" y="192"/>
                    </a:lnTo>
                    <a:lnTo>
                      <a:pt x="59" y="194"/>
                    </a:lnTo>
                    <a:lnTo>
                      <a:pt x="59" y="194"/>
                    </a:lnTo>
                    <a:lnTo>
                      <a:pt x="59" y="194"/>
                    </a:lnTo>
                    <a:lnTo>
                      <a:pt x="62" y="194"/>
                    </a:lnTo>
                    <a:lnTo>
                      <a:pt x="62" y="194"/>
                    </a:lnTo>
                    <a:lnTo>
                      <a:pt x="62" y="194"/>
                    </a:lnTo>
                    <a:lnTo>
                      <a:pt x="62" y="197"/>
                    </a:lnTo>
                    <a:lnTo>
                      <a:pt x="64" y="197"/>
                    </a:lnTo>
                    <a:lnTo>
                      <a:pt x="64" y="200"/>
                    </a:lnTo>
                    <a:lnTo>
                      <a:pt x="64" y="200"/>
                    </a:lnTo>
                    <a:lnTo>
                      <a:pt x="64" y="200"/>
                    </a:lnTo>
                    <a:lnTo>
                      <a:pt x="64" y="200"/>
                    </a:lnTo>
                    <a:lnTo>
                      <a:pt x="64" y="200"/>
                    </a:lnTo>
                    <a:lnTo>
                      <a:pt x="67" y="203"/>
                    </a:lnTo>
                    <a:lnTo>
                      <a:pt x="67" y="203"/>
                    </a:lnTo>
                    <a:lnTo>
                      <a:pt x="70" y="203"/>
                    </a:lnTo>
                    <a:lnTo>
                      <a:pt x="70" y="203"/>
                    </a:lnTo>
                    <a:lnTo>
                      <a:pt x="70" y="206"/>
                    </a:lnTo>
                    <a:lnTo>
                      <a:pt x="70" y="206"/>
                    </a:lnTo>
                    <a:lnTo>
                      <a:pt x="73" y="206"/>
                    </a:lnTo>
                    <a:lnTo>
                      <a:pt x="75" y="208"/>
                    </a:lnTo>
                    <a:lnTo>
                      <a:pt x="81" y="200"/>
                    </a:lnTo>
                    <a:lnTo>
                      <a:pt x="87" y="189"/>
                    </a:lnTo>
                    <a:lnTo>
                      <a:pt x="87" y="189"/>
                    </a:lnTo>
                    <a:lnTo>
                      <a:pt x="87" y="189"/>
                    </a:lnTo>
                    <a:lnTo>
                      <a:pt x="87" y="189"/>
                    </a:lnTo>
                    <a:lnTo>
                      <a:pt x="89" y="189"/>
                    </a:lnTo>
                    <a:lnTo>
                      <a:pt x="89" y="192"/>
                    </a:lnTo>
                    <a:lnTo>
                      <a:pt x="95" y="200"/>
                    </a:lnTo>
                    <a:lnTo>
                      <a:pt x="98" y="200"/>
                    </a:lnTo>
                    <a:lnTo>
                      <a:pt x="106" y="194"/>
                    </a:lnTo>
                    <a:lnTo>
                      <a:pt x="178" y="197"/>
                    </a:lnTo>
                    <a:lnTo>
                      <a:pt x="181" y="183"/>
                    </a:lnTo>
                    <a:lnTo>
                      <a:pt x="176" y="181"/>
                    </a:lnTo>
                    <a:lnTo>
                      <a:pt x="159" y="39"/>
                    </a:lnTo>
                    <a:lnTo>
                      <a:pt x="187" y="39"/>
                    </a:lnTo>
                    <a:lnTo>
                      <a:pt x="131" y="0"/>
                    </a:lnTo>
                    <a:lnTo>
                      <a:pt x="131" y="19"/>
                    </a:lnTo>
                    <a:lnTo>
                      <a:pt x="81" y="19"/>
                    </a:lnTo>
                    <a:lnTo>
                      <a:pt x="81" y="64"/>
                    </a:lnTo>
                    <a:lnTo>
                      <a:pt x="64" y="66"/>
                    </a:lnTo>
                    <a:lnTo>
                      <a:pt x="64" y="69"/>
                    </a:lnTo>
                    <a:lnTo>
                      <a:pt x="62" y="72"/>
                    </a:lnTo>
                    <a:lnTo>
                      <a:pt x="62" y="100"/>
                    </a:lnTo>
                    <a:lnTo>
                      <a:pt x="56" y="10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1" name="Freeform 785"/>
              <p:cNvSpPr>
                <a:spLocks noChangeAspect="1"/>
              </p:cNvSpPr>
              <p:nvPr>
                <p:custDataLst>
                  <p:tags r:id="rId839"/>
                </p:custDataLst>
              </p:nvPr>
            </p:nvSpPr>
            <p:spPr bwMode="gray">
              <a:xfrm>
                <a:off x="5663991" y="4316641"/>
                <a:ext cx="235359" cy="200246"/>
              </a:xfrm>
              <a:custGeom>
                <a:avLst/>
                <a:gdLst>
                  <a:gd name="T0" fmla="*/ 34 w 181"/>
                  <a:gd name="T1" fmla="*/ 75 h 156"/>
                  <a:gd name="T2" fmla="*/ 31 w 181"/>
                  <a:gd name="T3" fmla="*/ 72 h 156"/>
                  <a:gd name="T4" fmla="*/ 31 w 181"/>
                  <a:gd name="T5" fmla="*/ 41 h 156"/>
                  <a:gd name="T6" fmla="*/ 31 w 181"/>
                  <a:gd name="T7" fmla="*/ 41 h 156"/>
                  <a:gd name="T8" fmla="*/ 36 w 181"/>
                  <a:gd name="T9" fmla="*/ 41 h 156"/>
                  <a:gd name="T10" fmla="*/ 39 w 181"/>
                  <a:gd name="T11" fmla="*/ 47 h 156"/>
                  <a:gd name="T12" fmla="*/ 50 w 181"/>
                  <a:gd name="T13" fmla="*/ 44 h 156"/>
                  <a:gd name="T14" fmla="*/ 53 w 181"/>
                  <a:gd name="T15" fmla="*/ 50 h 156"/>
                  <a:gd name="T16" fmla="*/ 78 w 181"/>
                  <a:gd name="T17" fmla="*/ 55 h 156"/>
                  <a:gd name="T18" fmla="*/ 92 w 181"/>
                  <a:gd name="T19" fmla="*/ 64 h 156"/>
                  <a:gd name="T20" fmla="*/ 100 w 181"/>
                  <a:gd name="T21" fmla="*/ 69 h 156"/>
                  <a:gd name="T22" fmla="*/ 114 w 181"/>
                  <a:gd name="T23" fmla="*/ 78 h 156"/>
                  <a:gd name="T24" fmla="*/ 117 w 181"/>
                  <a:gd name="T25" fmla="*/ 78 h 156"/>
                  <a:gd name="T26" fmla="*/ 120 w 181"/>
                  <a:gd name="T27" fmla="*/ 78 h 156"/>
                  <a:gd name="T28" fmla="*/ 117 w 181"/>
                  <a:gd name="T29" fmla="*/ 61 h 156"/>
                  <a:gd name="T30" fmla="*/ 106 w 181"/>
                  <a:gd name="T31" fmla="*/ 61 h 156"/>
                  <a:gd name="T32" fmla="*/ 109 w 181"/>
                  <a:gd name="T33" fmla="*/ 27 h 156"/>
                  <a:gd name="T34" fmla="*/ 112 w 181"/>
                  <a:gd name="T35" fmla="*/ 2 h 156"/>
                  <a:gd name="T36" fmla="*/ 134 w 181"/>
                  <a:gd name="T37" fmla="*/ 2 h 156"/>
                  <a:gd name="T38" fmla="*/ 137 w 181"/>
                  <a:gd name="T39" fmla="*/ 5 h 156"/>
                  <a:gd name="T40" fmla="*/ 145 w 181"/>
                  <a:gd name="T41" fmla="*/ 5 h 156"/>
                  <a:gd name="T42" fmla="*/ 170 w 181"/>
                  <a:gd name="T43" fmla="*/ 16 h 156"/>
                  <a:gd name="T44" fmla="*/ 170 w 181"/>
                  <a:gd name="T45" fmla="*/ 19 h 156"/>
                  <a:gd name="T46" fmla="*/ 173 w 181"/>
                  <a:gd name="T47" fmla="*/ 22 h 156"/>
                  <a:gd name="T48" fmla="*/ 178 w 181"/>
                  <a:gd name="T49" fmla="*/ 27 h 156"/>
                  <a:gd name="T50" fmla="*/ 181 w 181"/>
                  <a:gd name="T51" fmla="*/ 36 h 156"/>
                  <a:gd name="T52" fmla="*/ 178 w 181"/>
                  <a:gd name="T53" fmla="*/ 41 h 156"/>
                  <a:gd name="T54" fmla="*/ 178 w 181"/>
                  <a:gd name="T55" fmla="*/ 47 h 156"/>
                  <a:gd name="T56" fmla="*/ 176 w 181"/>
                  <a:gd name="T57" fmla="*/ 64 h 156"/>
                  <a:gd name="T58" fmla="*/ 178 w 181"/>
                  <a:gd name="T59" fmla="*/ 66 h 156"/>
                  <a:gd name="T60" fmla="*/ 173 w 181"/>
                  <a:gd name="T61" fmla="*/ 69 h 156"/>
                  <a:gd name="T62" fmla="*/ 167 w 181"/>
                  <a:gd name="T63" fmla="*/ 83 h 156"/>
                  <a:gd name="T64" fmla="*/ 170 w 181"/>
                  <a:gd name="T65" fmla="*/ 89 h 156"/>
                  <a:gd name="T66" fmla="*/ 173 w 181"/>
                  <a:gd name="T67" fmla="*/ 91 h 156"/>
                  <a:gd name="T68" fmla="*/ 128 w 181"/>
                  <a:gd name="T69" fmla="*/ 117 h 156"/>
                  <a:gd name="T70" fmla="*/ 126 w 181"/>
                  <a:gd name="T71" fmla="*/ 117 h 156"/>
                  <a:gd name="T72" fmla="*/ 120 w 181"/>
                  <a:gd name="T73" fmla="*/ 117 h 156"/>
                  <a:gd name="T74" fmla="*/ 112 w 181"/>
                  <a:gd name="T75" fmla="*/ 117 h 156"/>
                  <a:gd name="T76" fmla="*/ 103 w 181"/>
                  <a:gd name="T77" fmla="*/ 122 h 156"/>
                  <a:gd name="T78" fmla="*/ 95 w 181"/>
                  <a:gd name="T79" fmla="*/ 130 h 156"/>
                  <a:gd name="T80" fmla="*/ 92 w 181"/>
                  <a:gd name="T81" fmla="*/ 136 h 156"/>
                  <a:gd name="T82" fmla="*/ 87 w 181"/>
                  <a:gd name="T83" fmla="*/ 136 h 156"/>
                  <a:gd name="T84" fmla="*/ 84 w 181"/>
                  <a:gd name="T85" fmla="*/ 142 h 156"/>
                  <a:gd name="T86" fmla="*/ 81 w 181"/>
                  <a:gd name="T87" fmla="*/ 147 h 156"/>
                  <a:gd name="T88" fmla="*/ 70 w 181"/>
                  <a:gd name="T89" fmla="*/ 156 h 156"/>
                  <a:gd name="T90" fmla="*/ 67 w 181"/>
                  <a:gd name="T91" fmla="*/ 153 h 156"/>
                  <a:gd name="T92" fmla="*/ 59 w 181"/>
                  <a:gd name="T93" fmla="*/ 153 h 156"/>
                  <a:gd name="T94" fmla="*/ 50 w 181"/>
                  <a:gd name="T95" fmla="*/ 153 h 156"/>
                  <a:gd name="T96" fmla="*/ 45 w 181"/>
                  <a:gd name="T97" fmla="*/ 147 h 156"/>
                  <a:gd name="T98" fmla="*/ 34 w 181"/>
                  <a:gd name="T99" fmla="*/ 144 h 156"/>
                  <a:gd name="T100" fmla="*/ 14 w 181"/>
                  <a:gd name="T101" fmla="*/ 144 h 156"/>
                  <a:gd name="T102" fmla="*/ 0 w 181"/>
                  <a:gd name="T103" fmla="*/ 13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1" h="156">
                    <a:moveTo>
                      <a:pt x="0" y="130"/>
                    </a:moveTo>
                    <a:lnTo>
                      <a:pt x="0" y="75"/>
                    </a:lnTo>
                    <a:lnTo>
                      <a:pt x="34" y="75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72"/>
                    </a:lnTo>
                    <a:lnTo>
                      <a:pt x="31" y="47"/>
                    </a:lnTo>
                    <a:lnTo>
                      <a:pt x="31" y="44"/>
                    </a:lnTo>
                    <a:lnTo>
                      <a:pt x="31" y="41"/>
                    </a:lnTo>
                    <a:lnTo>
                      <a:pt x="34" y="41"/>
                    </a:lnTo>
                    <a:lnTo>
                      <a:pt x="31" y="41"/>
                    </a:lnTo>
                    <a:lnTo>
                      <a:pt x="31" y="41"/>
                    </a:lnTo>
                    <a:lnTo>
                      <a:pt x="34" y="39"/>
                    </a:lnTo>
                    <a:lnTo>
                      <a:pt x="36" y="39"/>
                    </a:lnTo>
                    <a:lnTo>
                      <a:pt x="36" y="41"/>
                    </a:lnTo>
                    <a:lnTo>
                      <a:pt x="36" y="47"/>
                    </a:lnTo>
                    <a:lnTo>
                      <a:pt x="36" y="47"/>
                    </a:lnTo>
                    <a:lnTo>
                      <a:pt x="39" y="47"/>
                    </a:lnTo>
                    <a:lnTo>
                      <a:pt x="45" y="44"/>
                    </a:lnTo>
                    <a:lnTo>
                      <a:pt x="45" y="44"/>
                    </a:lnTo>
                    <a:lnTo>
                      <a:pt x="50" y="44"/>
                    </a:lnTo>
                    <a:lnTo>
                      <a:pt x="50" y="47"/>
                    </a:lnTo>
                    <a:lnTo>
                      <a:pt x="50" y="50"/>
                    </a:lnTo>
                    <a:lnTo>
                      <a:pt x="53" y="50"/>
                    </a:lnTo>
                    <a:lnTo>
                      <a:pt x="64" y="55"/>
                    </a:lnTo>
                    <a:lnTo>
                      <a:pt x="70" y="58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84" y="61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8" y="64"/>
                    </a:lnTo>
                    <a:lnTo>
                      <a:pt x="100" y="69"/>
                    </a:lnTo>
                    <a:lnTo>
                      <a:pt x="106" y="75"/>
                    </a:lnTo>
                    <a:lnTo>
                      <a:pt x="112" y="78"/>
                    </a:lnTo>
                    <a:lnTo>
                      <a:pt x="114" y="78"/>
                    </a:lnTo>
                    <a:lnTo>
                      <a:pt x="114" y="78"/>
                    </a:lnTo>
                    <a:lnTo>
                      <a:pt x="117" y="78"/>
                    </a:lnTo>
                    <a:lnTo>
                      <a:pt x="117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64"/>
                    </a:lnTo>
                    <a:lnTo>
                      <a:pt x="120" y="61"/>
                    </a:lnTo>
                    <a:lnTo>
                      <a:pt x="117" y="61"/>
                    </a:lnTo>
                    <a:lnTo>
                      <a:pt x="114" y="64"/>
                    </a:lnTo>
                    <a:lnTo>
                      <a:pt x="109" y="61"/>
                    </a:lnTo>
                    <a:lnTo>
                      <a:pt x="106" y="61"/>
                    </a:lnTo>
                    <a:lnTo>
                      <a:pt x="100" y="55"/>
                    </a:lnTo>
                    <a:lnTo>
                      <a:pt x="100" y="52"/>
                    </a:lnTo>
                    <a:lnTo>
                      <a:pt x="109" y="27"/>
                    </a:lnTo>
                    <a:lnTo>
                      <a:pt x="106" y="13"/>
                    </a:lnTo>
                    <a:lnTo>
                      <a:pt x="109" y="5"/>
                    </a:lnTo>
                    <a:lnTo>
                      <a:pt x="112" y="2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34" y="2"/>
                    </a:lnTo>
                    <a:lnTo>
                      <a:pt x="134" y="5"/>
                    </a:lnTo>
                    <a:lnTo>
                      <a:pt x="134" y="5"/>
                    </a:lnTo>
                    <a:lnTo>
                      <a:pt x="137" y="5"/>
                    </a:lnTo>
                    <a:lnTo>
                      <a:pt x="139" y="8"/>
                    </a:lnTo>
                    <a:lnTo>
                      <a:pt x="142" y="5"/>
                    </a:lnTo>
                    <a:lnTo>
                      <a:pt x="145" y="5"/>
                    </a:lnTo>
                    <a:lnTo>
                      <a:pt x="145" y="5"/>
                    </a:lnTo>
                    <a:lnTo>
                      <a:pt x="153" y="11"/>
                    </a:lnTo>
                    <a:lnTo>
                      <a:pt x="170" y="16"/>
                    </a:lnTo>
                    <a:lnTo>
                      <a:pt x="170" y="16"/>
                    </a:lnTo>
                    <a:lnTo>
                      <a:pt x="170" y="16"/>
                    </a:lnTo>
                    <a:lnTo>
                      <a:pt x="170" y="19"/>
                    </a:lnTo>
                    <a:lnTo>
                      <a:pt x="170" y="19"/>
                    </a:lnTo>
                    <a:lnTo>
                      <a:pt x="170" y="19"/>
                    </a:lnTo>
                    <a:lnTo>
                      <a:pt x="173" y="22"/>
                    </a:lnTo>
                    <a:lnTo>
                      <a:pt x="176" y="22"/>
                    </a:lnTo>
                    <a:lnTo>
                      <a:pt x="176" y="25"/>
                    </a:lnTo>
                    <a:lnTo>
                      <a:pt x="178" y="27"/>
                    </a:lnTo>
                    <a:lnTo>
                      <a:pt x="178" y="30"/>
                    </a:lnTo>
                    <a:lnTo>
                      <a:pt x="181" y="36"/>
                    </a:lnTo>
                    <a:lnTo>
                      <a:pt x="181" y="36"/>
                    </a:lnTo>
                    <a:lnTo>
                      <a:pt x="181" y="39"/>
                    </a:lnTo>
                    <a:lnTo>
                      <a:pt x="181" y="39"/>
                    </a:lnTo>
                    <a:lnTo>
                      <a:pt x="178" y="41"/>
                    </a:lnTo>
                    <a:lnTo>
                      <a:pt x="178" y="41"/>
                    </a:lnTo>
                    <a:lnTo>
                      <a:pt x="178" y="41"/>
                    </a:lnTo>
                    <a:lnTo>
                      <a:pt x="178" y="47"/>
                    </a:lnTo>
                    <a:lnTo>
                      <a:pt x="176" y="52"/>
                    </a:lnTo>
                    <a:lnTo>
                      <a:pt x="176" y="64"/>
                    </a:lnTo>
                    <a:lnTo>
                      <a:pt x="176" y="64"/>
                    </a:lnTo>
                    <a:lnTo>
                      <a:pt x="178" y="64"/>
                    </a:lnTo>
                    <a:lnTo>
                      <a:pt x="178" y="66"/>
                    </a:lnTo>
                    <a:lnTo>
                      <a:pt x="178" y="66"/>
                    </a:lnTo>
                    <a:lnTo>
                      <a:pt x="176" y="66"/>
                    </a:lnTo>
                    <a:lnTo>
                      <a:pt x="173" y="69"/>
                    </a:lnTo>
                    <a:lnTo>
                      <a:pt x="173" y="69"/>
                    </a:lnTo>
                    <a:lnTo>
                      <a:pt x="173" y="69"/>
                    </a:lnTo>
                    <a:lnTo>
                      <a:pt x="170" y="83"/>
                    </a:lnTo>
                    <a:lnTo>
                      <a:pt x="167" y="83"/>
                    </a:lnTo>
                    <a:lnTo>
                      <a:pt x="167" y="86"/>
                    </a:lnTo>
                    <a:lnTo>
                      <a:pt x="167" y="89"/>
                    </a:lnTo>
                    <a:lnTo>
                      <a:pt x="170" y="89"/>
                    </a:lnTo>
                    <a:lnTo>
                      <a:pt x="170" y="89"/>
                    </a:lnTo>
                    <a:lnTo>
                      <a:pt x="173" y="89"/>
                    </a:lnTo>
                    <a:lnTo>
                      <a:pt x="173" y="91"/>
                    </a:lnTo>
                    <a:lnTo>
                      <a:pt x="173" y="91"/>
                    </a:lnTo>
                    <a:lnTo>
                      <a:pt x="126" y="108"/>
                    </a:lnTo>
                    <a:lnTo>
                      <a:pt x="128" y="117"/>
                    </a:lnTo>
                    <a:lnTo>
                      <a:pt x="128" y="117"/>
                    </a:lnTo>
                    <a:lnTo>
                      <a:pt x="128" y="117"/>
                    </a:lnTo>
                    <a:lnTo>
                      <a:pt x="126" y="117"/>
                    </a:lnTo>
                    <a:lnTo>
                      <a:pt x="123" y="117"/>
                    </a:lnTo>
                    <a:lnTo>
                      <a:pt x="123" y="117"/>
                    </a:lnTo>
                    <a:lnTo>
                      <a:pt x="120" y="117"/>
                    </a:lnTo>
                    <a:lnTo>
                      <a:pt x="120" y="117"/>
                    </a:lnTo>
                    <a:lnTo>
                      <a:pt x="114" y="117"/>
                    </a:lnTo>
                    <a:lnTo>
                      <a:pt x="112" y="117"/>
                    </a:lnTo>
                    <a:lnTo>
                      <a:pt x="106" y="122"/>
                    </a:lnTo>
                    <a:lnTo>
                      <a:pt x="106" y="122"/>
                    </a:lnTo>
                    <a:lnTo>
                      <a:pt x="103" y="122"/>
                    </a:lnTo>
                    <a:lnTo>
                      <a:pt x="103" y="130"/>
                    </a:lnTo>
                    <a:lnTo>
                      <a:pt x="98" y="130"/>
                    </a:lnTo>
                    <a:lnTo>
                      <a:pt x="95" y="130"/>
                    </a:lnTo>
                    <a:lnTo>
                      <a:pt x="95" y="133"/>
                    </a:lnTo>
                    <a:lnTo>
                      <a:pt x="95" y="133"/>
                    </a:lnTo>
                    <a:lnTo>
                      <a:pt x="92" y="136"/>
                    </a:lnTo>
                    <a:lnTo>
                      <a:pt x="89" y="136"/>
                    </a:lnTo>
                    <a:lnTo>
                      <a:pt x="89" y="136"/>
                    </a:lnTo>
                    <a:lnTo>
                      <a:pt x="87" y="136"/>
                    </a:lnTo>
                    <a:lnTo>
                      <a:pt x="87" y="136"/>
                    </a:lnTo>
                    <a:lnTo>
                      <a:pt x="87" y="139"/>
                    </a:lnTo>
                    <a:lnTo>
                      <a:pt x="84" y="142"/>
                    </a:lnTo>
                    <a:lnTo>
                      <a:pt x="81" y="144"/>
                    </a:lnTo>
                    <a:lnTo>
                      <a:pt x="81" y="144"/>
                    </a:lnTo>
                    <a:lnTo>
                      <a:pt x="81" y="147"/>
                    </a:lnTo>
                    <a:lnTo>
                      <a:pt x="75" y="156"/>
                    </a:lnTo>
                    <a:lnTo>
                      <a:pt x="73" y="156"/>
                    </a:lnTo>
                    <a:lnTo>
                      <a:pt x="70" y="156"/>
                    </a:lnTo>
                    <a:lnTo>
                      <a:pt x="70" y="156"/>
                    </a:lnTo>
                    <a:lnTo>
                      <a:pt x="70" y="153"/>
                    </a:lnTo>
                    <a:lnTo>
                      <a:pt x="67" y="153"/>
                    </a:lnTo>
                    <a:lnTo>
                      <a:pt x="67" y="153"/>
                    </a:lnTo>
                    <a:lnTo>
                      <a:pt x="64" y="153"/>
                    </a:lnTo>
                    <a:lnTo>
                      <a:pt x="59" y="153"/>
                    </a:lnTo>
                    <a:lnTo>
                      <a:pt x="56" y="153"/>
                    </a:lnTo>
                    <a:lnTo>
                      <a:pt x="50" y="153"/>
                    </a:lnTo>
                    <a:lnTo>
                      <a:pt x="50" y="153"/>
                    </a:lnTo>
                    <a:lnTo>
                      <a:pt x="48" y="153"/>
                    </a:lnTo>
                    <a:lnTo>
                      <a:pt x="48" y="150"/>
                    </a:lnTo>
                    <a:lnTo>
                      <a:pt x="45" y="147"/>
                    </a:lnTo>
                    <a:lnTo>
                      <a:pt x="42" y="147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17" y="147"/>
                    </a:lnTo>
                    <a:lnTo>
                      <a:pt x="17" y="147"/>
                    </a:lnTo>
                    <a:lnTo>
                      <a:pt x="14" y="144"/>
                    </a:lnTo>
                    <a:lnTo>
                      <a:pt x="3" y="136"/>
                    </a:lnTo>
                    <a:lnTo>
                      <a:pt x="3" y="133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2" name="Freeform 843"/>
              <p:cNvSpPr>
                <a:spLocks noChangeAspect="1"/>
              </p:cNvSpPr>
              <p:nvPr>
                <p:custDataLst>
                  <p:tags r:id="rId840"/>
                </p:custDataLst>
              </p:nvPr>
            </p:nvSpPr>
            <p:spPr bwMode="gray">
              <a:xfrm>
                <a:off x="5875055" y="3386365"/>
                <a:ext cx="47072" cy="25227"/>
              </a:xfrm>
              <a:custGeom>
                <a:avLst/>
                <a:gdLst>
                  <a:gd name="T0" fmla="*/ 25 w 36"/>
                  <a:gd name="T1" fmla="*/ 3 h 20"/>
                  <a:gd name="T2" fmla="*/ 33 w 36"/>
                  <a:gd name="T3" fmla="*/ 0 h 20"/>
                  <a:gd name="T4" fmla="*/ 36 w 36"/>
                  <a:gd name="T5" fmla="*/ 0 h 20"/>
                  <a:gd name="T6" fmla="*/ 33 w 36"/>
                  <a:gd name="T7" fmla="*/ 3 h 20"/>
                  <a:gd name="T8" fmla="*/ 30 w 36"/>
                  <a:gd name="T9" fmla="*/ 6 h 20"/>
                  <a:gd name="T10" fmla="*/ 30 w 36"/>
                  <a:gd name="T11" fmla="*/ 6 h 20"/>
                  <a:gd name="T12" fmla="*/ 28 w 36"/>
                  <a:gd name="T13" fmla="*/ 12 h 20"/>
                  <a:gd name="T14" fmla="*/ 28 w 36"/>
                  <a:gd name="T15" fmla="*/ 12 h 20"/>
                  <a:gd name="T16" fmla="*/ 25 w 36"/>
                  <a:gd name="T17" fmla="*/ 14 h 20"/>
                  <a:gd name="T18" fmla="*/ 22 w 36"/>
                  <a:gd name="T19" fmla="*/ 14 h 20"/>
                  <a:gd name="T20" fmla="*/ 19 w 36"/>
                  <a:gd name="T21" fmla="*/ 17 h 20"/>
                  <a:gd name="T22" fmla="*/ 14 w 36"/>
                  <a:gd name="T23" fmla="*/ 20 h 20"/>
                  <a:gd name="T24" fmla="*/ 11 w 36"/>
                  <a:gd name="T25" fmla="*/ 20 h 20"/>
                  <a:gd name="T26" fmla="*/ 5 w 36"/>
                  <a:gd name="T27" fmla="*/ 20 h 20"/>
                  <a:gd name="T28" fmla="*/ 3 w 36"/>
                  <a:gd name="T29" fmla="*/ 20 h 20"/>
                  <a:gd name="T30" fmla="*/ 0 w 36"/>
                  <a:gd name="T31" fmla="*/ 12 h 20"/>
                  <a:gd name="T32" fmla="*/ 11 w 36"/>
                  <a:gd name="T33" fmla="*/ 9 h 20"/>
                  <a:gd name="T34" fmla="*/ 11 w 36"/>
                  <a:gd name="T35" fmla="*/ 6 h 20"/>
                  <a:gd name="T36" fmla="*/ 11 w 36"/>
                  <a:gd name="T37" fmla="*/ 6 h 20"/>
                  <a:gd name="T38" fmla="*/ 25 w 36"/>
                  <a:gd name="T39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6" h="20">
                    <a:moveTo>
                      <a:pt x="25" y="3"/>
                    </a:moveTo>
                    <a:lnTo>
                      <a:pt x="33" y="0"/>
                    </a:lnTo>
                    <a:lnTo>
                      <a:pt x="36" y="0"/>
                    </a:lnTo>
                    <a:lnTo>
                      <a:pt x="33" y="3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19" y="17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5" y="20"/>
                    </a:lnTo>
                    <a:lnTo>
                      <a:pt x="3" y="20"/>
                    </a:lnTo>
                    <a:lnTo>
                      <a:pt x="0" y="12"/>
                    </a:lnTo>
                    <a:lnTo>
                      <a:pt x="11" y="9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2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3" name="Freeform 845"/>
              <p:cNvSpPr>
                <a:spLocks noChangeAspect="1"/>
              </p:cNvSpPr>
              <p:nvPr>
                <p:custDataLst>
                  <p:tags r:id="rId841"/>
                </p:custDataLst>
              </p:nvPr>
            </p:nvSpPr>
            <p:spPr bwMode="gray">
              <a:xfrm>
                <a:off x="4872873" y="3553499"/>
                <a:ext cx="13667" cy="12614"/>
              </a:xfrm>
              <a:custGeom>
                <a:avLst/>
                <a:gdLst>
                  <a:gd name="T0" fmla="*/ 11 w 11"/>
                  <a:gd name="T1" fmla="*/ 0 h 9"/>
                  <a:gd name="T2" fmla="*/ 11 w 11"/>
                  <a:gd name="T3" fmla="*/ 0 h 9"/>
                  <a:gd name="T4" fmla="*/ 6 w 11"/>
                  <a:gd name="T5" fmla="*/ 3 h 9"/>
                  <a:gd name="T6" fmla="*/ 0 w 11"/>
                  <a:gd name="T7" fmla="*/ 3 h 9"/>
                  <a:gd name="T8" fmla="*/ 3 w 11"/>
                  <a:gd name="T9" fmla="*/ 9 h 9"/>
                  <a:gd name="T10" fmla="*/ 6 w 11"/>
                  <a:gd name="T11" fmla="*/ 9 h 9"/>
                  <a:gd name="T12" fmla="*/ 9 w 11"/>
                  <a:gd name="T13" fmla="*/ 9 h 9"/>
                  <a:gd name="T14" fmla="*/ 9 w 11"/>
                  <a:gd name="T15" fmla="*/ 6 h 9"/>
                  <a:gd name="T16" fmla="*/ 11 w 11"/>
                  <a:gd name="T17" fmla="*/ 3 h 9"/>
                  <a:gd name="T18" fmla="*/ 11 w 11"/>
                  <a:gd name="T19" fmla="*/ 0 h 9"/>
                  <a:gd name="T20" fmla="*/ 11 w 11"/>
                  <a:gd name="T21" fmla="*/ 0 h 9"/>
                  <a:gd name="T22" fmla="*/ 11 w 11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11" y="0"/>
                    </a:moveTo>
                    <a:lnTo>
                      <a:pt x="11" y="0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4" name="Freeform 846"/>
              <p:cNvSpPr>
                <a:spLocks noChangeAspect="1"/>
              </p:cNvSpPr>
              <p:nvPr>
                <p:custDataLst>
                  <p:tags r:id="rId842"/>
                </p:custDataLst>
              </p:nvPr>
            </p:nvSpPr>
            <p:spPr bwMode="gray">
              <a:xfrm>
                <a:off x="4872873" y="3553499"/>
                <a:ext cx="13667" cy="12614"/>
              </a:xfrm>
              <a:custGeom>
                <a:avLst/>
                <a:gdLst>
                  <a:gd name="T0" fmla="*/ 11 w 11"/>
                  <a:gd name="T1" fmla="*/ 0 h 9"/>
                  <a:gd name="T2" fmla="*/ 11 w 11"/>
                  <a:gd name="T3" fmla="*/ 0 h 9"/>
                  <a:gd name="T4" fmla="*/ 6 w 11"/>
                  <a:gd name="T5" fmla="*/ 3 h 9"/>
                  <a:gd name="T6" fmla="*/ 0 w 11"/>
                  <a:gd name="T7" fmla="*/ 3 h 9"/>
                  <a:gd name="T8" fmla="*/ 3 w 11"/>
                  <a:gd name="T9" fmla="*/ 9 h 9"/>
                  <a:gd name="T10" fmla="*/ 6 w 11"/>
                  <a:gd name="T11" fmla="*/ 9 h 9"/>
                  <a:gd name="T12" fmla="*/ 9 w 11"/>
                  <a:gd name="T13" fmla="*/ 9 h 9"/>
                  <a:gd name="T14" fmla="*/ 9 w 11"/>
                  <a:gd name="T15" fmla="*/ 6 h 9"/>
                  <a:gd name="T16" fmla="*/ 11 w 11"/>
                  <a:gd name="T17" fmla="*/ 3 h 9"/>
                  <a:gd name="T18" fmla="*/ 11 w 11"/>
                  <a:gd name="T19" fmla="*/ 0 h 9"/>
                  <a:gd name="T20" fmla="*/ 11 w 11"/>
                  <a:gd name="T21" fmla="*/ 0 h 9"/>
                  <a:gd name="T22" fmla="*/ 11 w 11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11" y="0"/>
                    </a:moveTo>
                    <a:lnTo>
                      <a:pt x="11" y="0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5" name="Freeform 847"/>
              <p:cNvSpPr>
                <a:spLocks noChangeAspect="1"/>
              </p:cNvSpPr>
              <p:nvPr>
                <p:custDataLst>
                  <p:tags r:id="rId843"/>
                </p:custDataLst>
              </p:nvPr>
            </p:nvSpPr>
            <p:spPr bwMode="gray">
              <a:xfrm>
                <a:off x="4895650" y="3566113"/>
                <a:ext cx="10628" cy="6307"/>
              </a:xfrm>
              <a:custGeom>
                <a:avLst/>
                <a:gdLst>
                  <a:gd name="T0" fmla="*/ 3 w 8"/>
                  <a:gd name="T1" fmla="*/ 0 h 5"/>
                  <a:gd name="T2" fmla="*/ 0 w 8"/>
                  <a:gd name="T3" fmla="*/ 2 h 5"/>
                  <a:gd name="T4" fmla="*/ 0 w 8"/>
                  <a:gd name="T5" fmla="*/ 5 h 5"/>
                  <a:gd name="T6" fmla="*/ 3 w 8"/>
                  <a:gd name="T7" fmla="*/ 5 h 5"/>
                  <a:gd name="T8" fmla="*/ 6 w 8"/>
                  <a:gd name="T9" fmla="*/ 5 h 5"/>
                  <a:gd name="T10" fmla="*/ 6 w 8"/>
                  <a:gd name="T11" fmla="*/ 5 h 5"/>
                  <a:gd name="T12" fmla="*/ 8 w 8"/>
                  <a:gd name="T13" fmla="*/ 5 h 5"/>
                  <a:gd name="T14" fmla="*/ 8 w 8"/>
                  <a:gd name="T15" fmla="*/ 2 h 5"/>
                  <a:gd name="T16" fmla="*/ 8 w 8"/>
                  <a:gd name="T17" fmla="*/ 0 h 5"/>
                  <a:gd name="T18" fmla="*/ 6 w 8"/>
                  <a:gd name="T19" fmla="*/ 0 h 5"/>
                  <a:gd name="T20" fmla="*/ 3 w 8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5">
                    <a:moveTo>
                      <a:pt x="3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6" name="Freeform 848"/>
              <p:cNvSpPr>
                <a:spLocks noChangeAspect="1"/>
              </p:cNvSpPr>
              <p:nvPr>
                <p:custDataLst>
                  <p:tags r:id="rId844"/>
                </p:custDataLst>
              </p:nvPr>
            </p:nvSpPr>
            <p:spPr bwMode="gray">
              <a:xfrm>
                <a:off x="4895650" y="3566113"/>
                <a:ext cx="10628" cy="6307"/>
              </a:xfrm>
              <a:custGeom>
                <a:avLst/>
                <a:gdLst>
                  <a:gd name="T0" fmla="*/ 3 w 8"/>
                  <a:gd name="T1" fmla="*/ 0 h 5"/>
                  <a:gd name="T2" fmla="*/ 0 w 8"/>
                  <a:gd name="T3" fmla="*/ 2 h 5"/>
                  <a:gd name="T4" fmla="*/ 0 w 8"/>
                  <a:gd name="T5" fmla="*/ 5 h 5"/>
                  <a:gd name="T6" fmla="*/ 3 w 8"/>
                  <a:gd name="T7" fmla="*/ 5 h 5"/>
                  <a:gd name="T8" fmla="*/ 6 w 8"/>
                  <a:gd name="T9" fmla="*/ 5 h 5"/>
                  <a:gd name="T10" fmla="*/ 6 w 8"/>
                  <a:gd name="T11" fmla="*/ 5 h 5"/>
                  <a:gd name="T12" fmla="*/ 8 w 8"/>
                  <a:gd name="T13" fmla="*/ 5 h 5"/>
                  <a:gd name="T14" fmla="*/ 8 w 8"/>
                  <a:gd name="T15" fmla="*/ 2 h 5"/>
                  <a:gd name="T16" fmla="*/ 8 w 8"/>
                  <a:gd name="T17" fmla="*/ 0 h 5"/>
                  <a:gd name="T18" fmla="*/ 6 w 8"/>
                  <a:gd name="T19" fmla="*/ 0 h 5"/>
                  <a:gd name="T20" fmla="*/ 3 w 8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5">
                    <a:moveTo>
                      <a:pt x="3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7" name="Freeform 849"/>
              <p:cNvSpPr>
                <a:spLocks noChangeAspect="1"/>
              </p:cNvSpPr>
              <p:nvPr>
                <p:custDataLst>
                  <p:tags r:id="rId845"/>
                </p:custDataLst>
              </p:nvPr>
            </p:nvSpPr>
            <p:spPr bwMode="gray">
              <a:xfrm>
                <a:off x="4924501" y="3550345"/>
                <a:ext cx="12148" cy="15767"/>
              </a:xfrm>
              <a:custGeom>
                <a:avLst/>
                <a:gdLst>
                  <a:gd name="T0" fmla="*/ 9 w 9"/>
                  <a:gd name="T1" fmla="*/ 0 h 12"/>
                  <a:gd name="T2" fmla="*/ 9 w 9"/>
                  <a:gd name="T3" fmla="*/ 0 h 12"/>
                  <a:gd name="T4" fmla="*/ 9 w 9"/>
                  <a:gd name="T5" fmla="*/ 0 h 12"/>
                  <a:gd name="T6" fmla="*/ 3 w 9"/>
                  <a:gd name="T7" fmla="*/ 9 h 12"/>
                  <a:gd name="T8" fmla="*/ 3 w 9"/>
                  <a:gd name="T9" fmla="*/ 12 h 12"/>
                  <a:gd name="T10" fmla="*/ 0 w 9"/>
                  <a:gd name="T11" fmla="*/ 12 h 12"/>
                  <a:gd name="T12" fmla="*/ 6 w 9"/>
                  <a:gd name="T13" fmla="*/ 9 h 12"/>
                  <a:gd name="T14" fmla="*/ 9 w 9"/>
                  <a:gd name="T15" fmla="*/ 9 h 12"/>
                  <a:gd name="T16" fmla="*/ 9 w 9"/>
                  <a:gd name="T17" fmla="*/ 6 h 12"/>
                  <a:gd name="T18" fmla="*/ 9 w 9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3" y="9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8" name="Freeform 850"/>
              <p:cNvSpPr>
                <a:spLocks noChangeAspect="1"/>
              </p:cNvSpPr>
              <p:nvPr>
                <p:custDataLst>
                  <p:tags r:id="rId846"/>
                </p:custDataLst>
              </p:nvPr>
            </p:nvSpPr>
            <p:spPr bwMode="gray">
              <a:xfrm>
                <a:off x="4924501" y="3550345"/>
                <a:ext cx="12148" cy="15767"/>
              </a:xfrm>
              <a:custGeom>
                <a:avLst/>
                <a:gdLst>
                  <a:gd name="T0" fmla="*/ 9 w 9"/>
                  <a:gd name="T1" fmla="*/ 0 h 12"/>
                  <a:gd name="T2" fmla="*/ 9 w 9"/>
                  <a:gd name="T3" fmla="*/ 0 h 12"/>
                  <a:gd name="T4" fmla="*/ 9 w 9"/>
                  <a:gd name="T5" fmla="*/ 0 h 12"/>
                  <a:gd name="T6" fmla="*/ 3 w 9"/>
                  <a:gd name="T7" fmla="*/ 9 h 12"/>
                  <a:gd name="T8" fmla="*/ 3 w 9"/>
                  <a:gd name="T9" fmla="*/ 12 h 12"/>
                  <a:gd name="T10" fmla="*/ 0 w 9"/>
                  <a:gd name="T11" fmla="*/ 12 h 12"/>
                  <a:gd name="T12" fmla="*/ 6 w 9"/>
                  <a:gd name="T13" fmla="*/ 9 h 12"/>
                  <a:gd name="T14" fmla="*/ 9 w 9"/>
                  <a:gd name="T15" fmla="*/ 9 h 12"/>
                  <a:gd name="T16" fmla="*/ 9 w 9"/>
                  <a:gd name="T17" fmla="*/ 6 h 12"/>
                  <a:gd name="T18" fmla="*/ 9 w 9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2">
                    <a:moveTo>
                      <a:pt x="9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3" y="9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6" y="9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9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9" name="Freeform 851"/>
              <p:cNvSpPr>
                <a:spLocks noChangeAspect="1"/>
              </p:cNvSpPr>
              <p:nvPr>
                <p:custDataLst>
                  <p:tags r:id="rId847"/>
                </p:custDataLst>
              </p:nvPr>
            </p:nvSpPr>
            <p:spPr bwMode="gray">
              <a:xfrm>
                <a:off x="4936649" y="3540884"/>
                <a:ext cx="9110" cy="7884"/>
              </a:xfrm>
              <a:custGeom>
                <a:avLst/>
                <a:gdLst>
                  <a:gd name="T0" fmla="*/ 8 w 8"/>
                  <a:gd name="T1" fmla="*/ 0 h 6"/>
                  <a:gd name="T2" fmla="*/ 5 w 8"/>
                  <a:gd name="T3" fmla="*/ 0 h 6"/>
                  <a:gd name="T4" fmla="*/ 5 w 8"/>
                  <a:gd name="T5" fmla="*/ 0 h 6"/>
                  <a:gd name="T6" fmla="*/ 2 w 8"/>
                  <a:gd name="T7" fmla="*/ 3 h 6"/>
                  <a:gd name="T8" fmla="*/ 2 w 8"/>
                  <a:gd name="T9" fmla="*/ 3 h 6"/>
                  <a:gd name="T10" fmla="*/ 0 w 8"/>
                  <a:gd name="T11" fmla="*/ 6 h 6"/>
                  <a:gd name="T12" fmla="*/ 5 w 8"/>
                  <a:gd name="T13" fmla="*/ 6 h 6"/>
                  <a:gd name="T14" fmla="*/ 5 w 8"/>
                  <a:gd name="T15" fmla="*/ 3 h 6"/>
                  <a:gd name="T16" fmla="*/ 8 w 8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0" name="Freeform 852"/>
              <p:cNvSpPr>
                <a:spLocks noChangeAspect="1"/>
              </p:cNvSpPr>
              <p:nvPr>
                <p:custDataLst>
                  <p:tags r:id="rId848"/>
                </p:custDataLst>
              </p:nvPr>
            </p:nvSpPr>
            <p:spPr bwMode="gray">
              <a:xfrm>
                <a:off x="4936649" y="3540884"/>
                <a:ext cx="9110" cy="7884"/>
              </a:xfrm>
              <a:custGeom>
                <a:avLst/>
                <a:gdLst>
                  <a:gd name="T0" fmla="*/ 8 w 8"/>
                  <a:gd name="T1" fmla="*/ 0 h 6"/>
                  <a:gd name="T2" fmla="*/ 5 w 8"/>
                  <a:gd name="T3" fmla="*/ 0 h 6"/>
                  <a:gd name="T4" fmla="*/ 5 w 8"/>
                  <a:gd name="T5" fmla="*/ 0 h 6"/>
                  <a:gd name="T6" fmla="*/ 2 w 8"/>
                  <a:gd name="T7" fmla="*/ 3 h 6"/>
                  <a:gd name="T8" fmla="*/ 2 w 8"/>
                  <a:gd name="T9" fmla="*/ 3 h 6"/>
                  <a:gd name="T10" fmla="*/ 0 w 8"/>
                  <a:gd name="T11" fmla="*/ 6 h 6"/>
                  <a:gd name="T12" fmla="*/ 5 w 8"/>
                  <a:gd name="T13" fmla="*/ 6 h 6"/>
                  <a:gd name="T14" fmla="*/ 5 w 8"/>
                  <a:gd name="T15" fmla="*/ 3 h 6"/>
                  <a:gd name="T16" fmla="*/ 8 w 8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1" name="Freeform 853"/>
              <p:cNvSpPr>
                <a:spLocks noChangeAspect="1"/>
              </p:cNvSpPr>
              <p:nvPr>
                <p:custDataLst>
                  <p:tags r:id="rId849"/>
                </p:custDataLst>
              </p:nvPr>
            </p:nvSpPr>
            <p:spPr bwMode="gray">
              <a:xfrm>
                <a:off x="5363336" y="4114818"/>
                <a:ext cx="3037" cy="1577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0 h 2"/>
                  <a:gd name="T4" fmla="*/ 3 w 3"/>
                  <a:gd name="T5" fmla="*/ 2 h 2"/>
                  <a:gd name="T6" fmla="*/ 0 w 3"/>
                  <a:gd name="T7" fmla="*/ 2 h 2"/>
                  <a:gd name="T8" fmla="*/ 0 w 3"/>
                  <a:gd name="T9" fmla="*/ 2 h 2"/>
                  <a:gd name="T10" fmla="*/ 0 w 3"/>
                  <a:gd name="T11" fmla="*/ 0 h 2"/>
                  <a:gd name="T12" fmla="*/ 0 w 3"/>
                  <a:gd name="T13" fmla="*/ 0 h 2"/>
                  <a:gd name="T14" fmla="*/ 3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2" name="Freeform 854"/>
              <p:cNvSpPr>
                <a:spLocks noChangeAspect="1"/>
              </p:cNvSpPr>
              <p:nvPr>
                <p:custDataLst>
                  <p:tags r:id="rId850"/>
                </p:custDataLst>
              </p:nvPr>
            </p:nvSpPr>
            <p:spPr bwMode="gray">
              <a:xfrm>
                <a:off x="5363336" y="4114818"/>
                <a:ext cx="3037" cy="1577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0 h 2"/>
                  <a:gd name="T4" fmla="*/ 3 w 3"/>
                  <a:gd name="T5" fmla="*/ 2 h 2"/>
                  <a:gd name="T6" fmla="*/ 0 w 3"/>
                  <a:gd name="T7" fmla="*/ 2 h 2"/>
                  <a:gd name="T8" fmla="*/ 0 w 3"/>
                  <a:gd name="T9" fmla="*/ 2 h 2"/>
                  <a:gd name="T10" fmla="*/ 0 w 3"/>
                  <a:gd name="T11" fmla="*/ 0 h 2"/>
                  <a:gd name="T12" fmla="*/ 0 w 3"/>
                  <a:gd name="T13" fmla="*/ 0 h 2"/>
                  <a:gd name="T14" fmla="*/ 3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3" name="Freeform 855"/>
              <p:cNvSpPr>
                <a:spLocks noChangeAspect="1"/>
              </p:cNvSpPr>
              <p:nvPr>
                <p:custDataLst>
                  <p:tags r:id="rId851"/>
                </p:custDataLst>
              </p:nvPr>
            </p:nvSpPr>
            <p:spPr bwMode="gray">
              <a:xfrm>
                <a:off x="5349669" y="4138468"/>
                <a:ext cx="3037" cy="9460"/>
              </a:xfrm>
              <a:custGeom>
                <a:avLst/>
                <a:gdLst>
                  <a:gd name="T0" fmla="*/ 3 w 3"/>
                  <a:gd name="T1" fmla="*/ 0 h 6"/>
                  <a:gd name="T2" fmla="*/ 3 w 3"/>
                  <a:gd name="T3" fmla="*/ 0 h 6"/>
                  <a:gd name="T4" fmla="*/ 3 w 3"/>
                  <a:gd name="T5" fmla="*/ 3 h 6"/>
                  <a:gd name="T6" fmla="*/ 3 w 3"/>
                  <a:gd name="T7" fmla="*/ 3 h 6"/>
                  <a:gd name="T8" fmla="*/ 0 w 3"/>
                  <a:gd name="T9" fmla="*/ 6 h 6"/>
                  <a:gd name="T10" fmla="*/ 0 w 3"/>
                  <a:gd name="T11" fmla="*/ 6 h 6"/>
                  <a:gd name="T12" fmla="*/ 0 w 3"/>
                  <a:gd name="T13" fmla="*/ 6 h 6"/>
                  <a:gd name="T14" fmla="*/ 0 w 3"/>
                  <a:gd name="T15" fmla="*/ 3 h 6"/>
                  <a:gd name="T16" fmla="*/ 0 w 3"/>
                  <a:gd name="T17" fmla="*/ 3 h 6"/>
                  <a:gd name="T18" fmla="*/ 0 w 3"/>
                  <a:gd name="T19" fmla="*/ 0 h 6"/>
                  <a:gd name="T20" fmla="*/ 3 w 3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4" name="Freeform 856"/>
              <p:cNvSpPr>
                <a:spLocks noChangeAspect="1"/>
              </p:cNvSpPr>
              <p:nvPr>
                <p:custDataLst>
                  <p:tags r:id="rId852"/>
                </p:custDataLst>
              </p:nvPr>
            </p:nvSpPr>
            <p:spPr bwMode="gray">
              <a:xfrm>
                <a:off x="5349669" y="4138468"/>
                <a:ext cx="3037" cy="9460"/>
              </a:xfrm>
              <a:custGeom>
                <a:avLst/>
                <a:gdLst>
                  <a:gd name="T0" fmla="*/ 3 w 3"/>
                  <a:gd name="T1" fmla="*/ 0 h 6"/>
                  <a:gd name="T2" fmla="*/ 3 w 3"/>
                  <a:gd name="T3" fmla="*/ 0 h 6"/>
                  <a:gd name="T4" fmla="*/ 3 w 3"/>
                  <a:gd name="T5" fmla="*/ 3 h 6"/>
                  <a:gd name="T6" fmla="*/ 3 w 3"/>
                  <a:gd name="T7" fmla="*/ 3 h 6"/>
                  <a:gd name="T8" fmla="*/ 0 w 3"/>
                  <a:gd name="T9" fmla="*/ 6 h 6"/>
                  <a:gd name="T10" fmla="*/ 0 w 3"/>
                  <a:gd name="T11" fmla="*/ 6 h 6"/>
                  <a:gd name="T12" fmla="*/ 0 w 3"/>
                  <a:gd name="T13" fmla="*/ 6 h 6"/>
                  <a:gd name="T14" fmla="*/ 0 w 3"/>
                  <a:gd name="T15" fmla="*/ 3 h 6"/>
                  <a:gd name="T16" fmla="*/ 0 w 3"/>
                  <a:gd name="T17" fmla="*/ 3 h 6"/>
                  <a:gd name="T18" fmla="*/ 0 w 3"/>
                  <a:gd name="T19" fmla="*/ 0 h 6"/>
                  <a:gd name="T20" fmla="*/ 3 w 3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6">
                    <a:moveTo>
                      <a:pt x="3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5" name="Freeform 858"/>
              <p:cNvSpPr>
                <a:spLocks noChangeAspect="1"/>
              </p:cNvSpPr>
              <p:nvPr>
                <p:custDataLst>
                  <p:tags r:id="rId853"/>
                </p:custDataLst>
              </p:nvPr>
            </p:nvSpPr>
            <p:spPr bwMode="gray">
              <a:xfrm>
                <a:off x="5906943" y="4058056"/>
                <a:ext cx="159437" cy="186055"/>
              </a:xfrm>
              <a:custGeom>
                <a:avLst/>
                <a:gdLst>
                  <a:gd name="T0" fmla="*/ 108 w 122"/>
                  <a:gd name="T1" fmla="*/ 72 h 145"/>
                  <a:gd name="T2" fmla="*/ 108 w 122"/>
                  <a:gd name="T3" fmla="*/ 28 h 145"/>
                  <a:gd name="T4" fmla="*/ 111 w 122"/>
                  <a:gd name="T5" fmla="*/ 28 h 145"/>
                  <a:gd name="T6" fmla="*/ 122 w 122"/>
                  <a:gd name="T7" fmla="*/ 14 h 145"/>
                  <a:gd name="T8" fmla="*/ 122 w 122"/>
                  <a:gd name="T9" fmla="*/ 11 h 145"/>
                  <a:gd name="T10" fmla="*/ 114 w 122"/>
                  <a:gd name="T11" fmla="*/ 11 h 145"/>
                  <a:gd name="T12" fmla="*/ 106 w 122"/>
                  <a:gd name="T13" fmla="*/ 6 h 145"/>
                  <a:gd name="T14" fmla="*/ 94 w 122"/>
                  <a:gd name="T15" fmla="*/ 8 h 145"/>
                  <a:gd name="T16" fmla="*/ 92 w 122"/>
                  <a:gd name="T17" fmla="*/ 14 h 145"/>
                  <a:gd name="T18" fmla="*/ 83 w 122"/>
                  <a:gd name="T19" fmla="*/ 17 h 145"/>
                  <a:gd name="T20" fmla="*/ 61 w 122"/>
                  <a:gd name="T21" fmla="*/ 14 h 145"/>
                  <a:gd name="T22" fmla="*/ 42 w 122"/>
                  <a:gd name="T23" fmla="*/ 3 h 145"/>
                  <a:gd name="T24" fmla="*/ 33 w 122"/>
                  <a:gd name="T25" fmla="*/ 3 h 145"/>
                  <a:gd name="T26" fmla="*/ 28 w 122"/>
                  <a:gd name="T27" fmla="*/ 0 h 145"/>
                  <a:gd name="T28" fmla="*/ 8 w 122"/>
                  <a:gd name="T29" fmla="*/ 0 h 145"/>
                  <a:gd name="T30" fmla="*/ 3 w 122"/>
                  <a:gd name="T31" fmla="*/ 3 h 145"/>
                  <a:gd name="T32" fmla="*/ 0 w 122"/>
                  <a:gd name="T33" fmla="*/ 8 h 145"/>
                  <a:gd name="T34" fmla="*/ 0 w 122"/>
                  <a:gd name="T35" fmla="*/ 8 h 145"/>
                  <a:gd name="T36" fmla="*/ 0 w 122"/>
                  <a:gd name="T37" fmla="*/ 11 h 145"/>
                  <a:gd name="T38" fmla="*/ 5 w 122"/>
                  <a:gd name="T39" fmla="*/ 11 h 145"/>
                  <a:gd name="T40" fmla="*/ 5 w 122"/>
                  <a:gd name="T41" fmla="*/ 11 h 145"/>
                  <a:gd name="T42" fmla="*/ 5 w 122"/>
                  <a:gd name="T43" fmla="*/ 14 h 145"/>
                  <a:gd name="T44" fmla="*/ 5 w 122"/>
                  <a:gd name="T45" fmla="*/ 14 h 145"/>
                  <a:gd name="T46" fmla="*/ 5 w 122"/>
                  <a:gd name="T47" fmla="*/ 14 h 145"/>
                  <a:gd name="T48" fmla="*/ 8 w 122"/>
                  <a:gd name="T49" fmla="*/ 25 h 145"/>
                  <a:gd name="T50" fmla="*/ 8 w 122"/>
                  <a:gd name="T51" fmla="*/ 25 h 145"/>
                  <a:gd name="T52" fmla="*/ 14 w 122"/>
                  <a:gd name="T53" fmla="*/ 28 h 145"/>
                  <a:gd name="T54" fmla="*/ 14 w 122"/>
                  <a:gd name="T55" fmla="*/ 28 h 145"/>
                  <a:gd name="T56" fmla="*/ 16 w 122"/>
                  <a:gd name="T57" fmla="*/ 45 h 145"/>
                  <a:gd name="T58" fmla="*/ 14 w 122"/>
                  <a:gd name="T59" fmla="*/ 47 h 145"/>
                  <a:gd name="T60" fmla="*/ 0 w 122"/>
                  <a:gd name="T61" fmla="*/ 70 h 145"/>
                  <a:gd name="T62" fmla="*/ 0 w 122"/>
                  <a:gd name="T63" fmla="*/ 72 h 145"/>
                  <a:gd name="T64" fmla="*/ 3 w 122"/>
                  <a:gd name="T65" fmla="*/ 75 h 145"/>
                  <a:gd name="T66" fmla="*/ 3 w 122"/>
                  <a:gd name="T67" fmla="*/ 78 h 145"/>
                  <a:gd name="T68" fmla="*/ 5 w 122"/>
                  <a:gd name="T69" fmla="*/ 78 h 145"/>
                  <a:gd name="T70" fmla="*/ 5 w 122"/>
                  <a:gd name="T71" fmla="*/ 75 h 145"/>
                  <a:gd name="T72" fmla="*/ 11 w 122"/>
                  <a:gd name="T73" fmla="*/ 75 h 145"/>
                  <a:gd name="T74" fmla="*/ 11 w 122"/>
                  <a:gd name="T75" fmla="*/ 78 h 145"/>
                  <a:gd name="T76" fmla="*/ 8 w 122"/>
                  <a:gd name="T77" fmla="*/ 78 h 145"/>
                  <a:gd name="T78" fmla="*/ 5 w 122"/>
                  <a:gd name="T79" fmla="*/ 81 h 145"/>
                  <a:gd name="T80" fmla="*/ 3 w 122"/>
                  <a:gd name="T81" fmla="*/ 81 h 145"/>
                  <a:gd name="T82" fmla="*/ 3 w 122"/>
                  <a:gd name="T83" fmla="*/ 84 h 145"/>
                  <a:gd name="T84" fmla="*/ 3 w 122"/>
                  <a:gd name="T85" fmla="*/ 86 h 145"/>
                  <a:gd name="T86" fmla="*/ 58 w 122"/>
                  <a:gd name="T87" fmla="*/ 120 h 145"/>
                  <a:gd name="T88" fmla="*/ 61 w 122"/>
                  <a:gd name="T89" fmla="*/ 131 h 145"/>
                  <a:gd name="T90" fmla="*/ 83 w 122"/>
                  <a:gd name="T91" fmla="*/ 145 h 145"/>
                  <a:gd name="T92" fmla="*/ 86 w 122"/>
                  <a:gd name="T93" fmla="*/ 142 h 145"/>
                  <a:gd name="T94" fmla="*/ 97 w 122"/>
                  <a:gd name="T95" fmla="*/ 123 h 145"/>
                  <a:gd name="T96" fmla="*/ 97 w 122"/>
                  <a:gd name="T97" fmla="*/ 117 h 145"/>
                  <a:gd name="T98" fmla="*/ 100 w 122"/>
                  <a:gd name="T99" fmla="*/ 111 h 145"/>
                  <a:gd name="T100" fmla="*/ 106 w 122"/>
                  <a:gd name="T101" fmla="*/ 109 h 145"/>
                  <a:gd name="T102" fmla="*/ 108 w 122"/>
                  <a:gd name="T103" fmla="*/ 106 h 145"/>
                  <a:gd name="T104" fmla="*/ 108 w 122"/>
                  <a:gd name="T105" fmla="*/ 103 h 145"/>
                  <a:gd name="T106" fmla="*/ 111 w 122"/>
                  <a:gd name="T107" fmla="*/ 103 h 145"/>
                  <a:gd name="T108" fmla="*/ 114 w 122"/>
                  <a:gd name="T109" fmla="*/ 103 h 145"/>
                  <a:gd name="T110" fmla="*/ 117 w 122"/>
                  <a:gd name="T111" fmla="*/ 100 h 145"/>
                  <a:gd name="T112" fmla="*/ 117 w 122"/>
                  <a:gd name="T113" fmla="*/ 98 h 145"/>
                  <a:gd name="T114" fmla="*/ 117 w 122"/>
                  <a:gd name="T115" fmla="*/ 98 h 145"/>
                  <a:gd name="T116" fmla="*/ 108 w 122"/>
                  <a:gd name="T117" fmla="*/ 86 h 145"/>
                  <a:gd name="T118" fmla="*/ 108 w 122"/>
                  <a:gd name="T119" fmla="*/ 7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2" h="145">
                    <a:moveTo>
                      <a:pt x="108" y="72"/>
                    </a:moveTo>
                    <a:lnTo>
                      <a:pt x="108" y="28"/>
                    </a:lnTo>
                    <a:lnTo>
                      <a:pt x="111" y="28"/>
                    </a:lnTo>
                    <a:lnTo>
                      <a:pt x="122" y="14"/>
                    </a:lnTo>
                    <a:lnTo>
                      <a:pt x="122" y="11"/>
                    </a:lnTo>
                    <a:lnTo>
                      <a:pt x="114" y="11"/>
                    </a:lnTo>
                    <a:lnTo>
                      <a:pt x="106" y="6"/>
                    </a:lnTo>
                    <a:lnTo>
                      <a:pt x="94" y="8"/>
                    </a:lnTo>
                    <a:lnTo>
                      <a:pt x="92" y="14"/>
                    </a:lnTo>
                    <a:lnTo>
                      <a:pt x="83" y="17"/>
                    </a:lnTo>
                    <a:lnTo>
                      <a:pt x="61" y="14"/>
                    </a:lnTo>
                    <a:lnTo>
                      <a:pt x="42" y="3"/>
                    </a:lnTo>
                    <a:lnTo>
                      <a:pt x="33" y="3"/>
                    </a:lnTo>
                    <a:lnTo>
                      <a:pt x="28" y="0"/>
                    </a:lnTo>
                    <a:lnTo>
                      <a:pt x="8" y="0"/>
                    </a:lnTo>
                    <a:lnTo>
                      <a:pt x="3" y="3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6" y="45"/>
                    </a:lnTo>
                    <a:lnTo>
                      <a:pt x="14" y="47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3" y="75"/>
                    </a:lnTo>
                    <a:lnTo>
                      <a:pt x="3" y="78"/>
                    </a:lnTo>
                    <a:lnTo>
                      <a:pt x="5" y="78"/>
                    </a:lnTo>
                    <a:lnTo>
                      <a:pt x="5" y="75"/>
                    </a:lnTo>
                    <a:lnTo>
                      <a:pt x="11" y="75"/>
                    </a:lnTo>
                    <a:lnTo>
                      <a:pt x="11" y="78"/>
                    </a:lnTo>
                    <a:lnTo>
                      <a:pt x="8" y="78"/>
                    </a:lnTo>
                    <a:lnTo>
                      <a:pt x="5" y="81"/>
                    </a:lnTo>
                    <a:lnTo>
                      <a:pt x="3" y="81"/>
                    </a:lnTo>
                    <a:lnTo>
                      <a:pt x="3" y="84"/>
                    </a:lnTo>
                    <a:lnTo>
                      <a:pt x="3" y="86"/>
                    </a:lnTo>
                    <a:lnTo>
                      <a:pt x="58" y="120"/>
                    </a:lnTo>
                    <a:lnTo>
                      <a:pt x="61" y="131"/>
                    </a:lnTo>
                    <a:lnTo>
                      <a:pt x="83" y="145"/>
                    </a:lnTo>
                    <a:lnTo>
                      <a:pt x="86" y="142"/>
                    </a:lnTo>
                    <a:lnTo>
                      <a:pt x="97" y="123"/>
                    </a:lnTo>
                    <a:lnTo>
                      <a:pt x="97" y="117"/>
                    </a:lnTo>
                    <a:lnTo>
                      <a:pt x="100" y="111"/>
                    </a:lnTo>
                    <a:lnTo>
                      <a:pt x="106" y="109"/>
                    </a:lnTo>
                    <a:lnTo>
                      <a:pt x="108" y="106"/>
                    </a:lnTo>
                    <a:lnTo>
                      <a:pt x="108" y="103"/>
                    </a:lnTo>
                    <a:lnTo>
                      <a:pt x="111" y="103"/>
                    </a:lnTo>
                    <a:lnTo>
                      <a:pt x="114" y="103"/>
                    </a:lnTo>
                    <a:lnTo>
                      <a:pt x="117" y="100"/>
                    </a:lnTo>
                    <a:lnTo>
                      <a:pt x="117" y="98"/>
                    </a:lnTo>
                    <a:lnTo>
                      <a:pt x="117" y="98"/>
                    </a:lnTo>
                    <a:lnTo>
                      <a:pt x="108" y="86"/>
                    </a:lnTo>
                    <a:lnTo>
                      <a:pt x="108" y="7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6" name="Freeform 859"/>
              <p:cNvSpPr>
                <a:spLocks noChangeAspect="1"/>
              </p:cNvSpPr>
              <p:nvPr>
                <p:custDataLst>
                  <p:tags r:id="rId854"/>
                </p:custDataLst>
              </p:nvPr>
            </p:nvSpPr>
            <p:spPr bwMode="gray">
              <a:xfrm>
                <a:off x="6353369" y="3119896"/>
                <a:ext cx="349246" cy="227050"/>
              </a:xfrm>
              <a:custGeom>
                <a:avLst/>
                <a:gdLst>
                  <a:gd name="T0" fmla="*/ 17 w 268"/>
                  <a:gd name="T1" fmla="*/ 95 h 176"/>
                  <a:gd name="T2" fmla="*/ 17 w 268"/>
                  <a:gd name="T3" fmla="*/ 87 h 176"/>
                  <a:gd name="T4" fmla="*/ 17 w 268"/>
                  <a:gd name="T5" fmla="*/ 78 h 176"/>
                  <a:gd name="T6" fmla="*/ 31 w 268"/>
                  <a:gd name="T7" fmla="*/ 76 h 176"/>
                  <a:gd name="T8" fmla="*/ 34 w 268"/>
                  <a:gd name="T9" fmla="*/ 70 h 176"/>
                  <a:gd name="T10" fmla="*/ 36 w 268"/>
                  <a:gd name="T11" fmla="*/ 67 h 176"/>
                  <a:gd name="T12" fmla="*/ 39 w 268"/>
                  <a:gd name="T13" fmla="*/ 64 h 176"/>
                  <a:gd name="T14" fmla="*/ 53 w 268"/>
                  <a:gd name="T15" fmla="*/ 73 h 176"/>
                  <a:gd name="T16" fmla="*/ 61 w 268"/>
                  <a:gd name="T17" fmla="*/ 73 h 176"/>
                  <a:gd name="T18" fmla="*/ 61 w 268"/>
                  <a:gd name="T19" fmla="*/ 81 h 176"/>
                  <a:gd name="T20" fmla="*/ 64 w 268"/>
                  <a:gd name="T21" fmla="*/ 87 h 176"/>
                  <a:gd name="T22" fmla="*/ 64 w 268"/>
                  <a:gd name="T23" fmla="*/ 92 h 176"/>
                  <a:gd name="T24" fmla="*/ 87 w 268"/>
                  <a:gd name="T25" fmla="*/ 95 h 176"/>
                  <a:gd name="T26" fmla="*/ 95 w 268"/>
                  <a:gd name="T27" fmla="*/ 98 h 176"/>
                  <a:gd name="T28" fmla="*/ 98 w 268"/>
                  <a:gd name="T29" fmla="*/ 109 h 176"/>
                  <a:gd name="T30" fmla="*/ 100 w 268"/>
                  <a:gd name="T31" fmla="*/ 117 h 176"/>
                  <a:gd name="T32" fmla="*/ 131 w 268"/>
                  <a:gd name="T33" fmla="*/ 140 h 176"/>
                  <a:gd name="T34" fmla="*/ 153 w 268"/>
                  <a:gd name="T35" fmla="*/ 153 h 176"/>
                  <a:gd name="T36" fmla="*/ 162 w 268"/>
                  <a:gd name="T37" fmla="*/ 159 h 176"/>
                  <a:gd name="T38" fmla="*/ 164 w 268"/>
                  <a:gd name="T39" fmla="*/ 173 h 176"/>
                  <a:gd name="T40" fmla="*/ 176 w 268"/>
                  <a:gd name="T41" fmla="*/ 176 h 176"/>
                  <a:gd name="T42" fmla="*/ 184 w 268"/>
                  <a:gd name="T43" fmla="*/ 176 h 176"/>
                  <a:gd name="T44" fmla="*/ 192 w 268"/>
                  <a:gd name="T45" fmla="*/ 162 h 176"/>
                  <a:gd name="T46" fmla="*/ 192 w 268"/>
                  <a:gd name="T47" fmla="*/ 156 h 176"/>
                  <a:gd name="T48" fmla="*/ 190 w 268"/>
                  <a:gd name="T49" fmla="*/ 148 h 176"/>
                  <a:gd name="T50" fmla="*/ 187 w 268"/>
                  <a:gd name="T51" fmla="*/ 140 h 176"/>
                  <a:gd name="T52" fmla="*/ 181 w 268"/>
                  <a:gd name="T53" fmla="*/ 137 h 176"/>
                  <a:gd name="T54" fmla="*/ 178 w 268"/>
                  <a:gd name="T55" fmla="*/ 131 h 176"/>
                  <a:gd name="T56" fmla="*/ 187 w 268"/>
                  <a:gd name="T57" fmla="*/ 128 h 176"/>
                  <a:gd name="T58" fmla="*/ 198 w 268"/>
                  <a:gd name="T59" fmla="*/ 123 h 176"/>
                  <a:gd name="T60" fmla="*/ 206 w 268"/>
                  <a:gd name="T61" fmla="*/ 117 h 176"/>
                  <a:gd name="T62" fmla="*/ 209 w 268"/>
                  <a:gd name="T63" fmla="*/ 112 h 176"/>
                  <a:gd name="T64" fmla="*/ 209 w 268"/>
                  <a:gd name="T65" fmla="*/ 106 h 176"/>
                  <a:gd name="T66" fmla="*/ 215 w 268"/>
                  <a:gd name="T67" fmla="*/ 106 h 176"/>
                  <a:gd name="T68" fmla="*/ 226 w 268"/>
                  <a:gd name="T69" fmla="*/ 98 h 176"/>
                  <a:gd name="T70" fmla="*/ 231 w 268"/>
                  <a:gd name="T71" fmla="*/ 103 h 176"/>
                  <a:gd name="T72" fmla="*/ 226 w 268"/>
                  <a:gd name="T73" fmla="*/ 109 h 176"/>
                  <a:gd name="T74" fmla="*/ 231 w 268"/>
                  <a:gd name="T75" fmla="*/ 114 h 176"/>
                  <a:gd name="T76" fmla="*/ 242 w 268"/>
                  <a:gd name="T77" fmla="*/ 117 h 176"/>
                  <a:gd name="T78" fmla="*/ 251 w 268"/>
                  <a:gd name="T79" fmla="*/ 112 h 176"/>
                  <a:gd name="T80" fmla="*/ 256 w 268"/>
                  <a:gd name="T81" fmla="*/ 109 h 176"/>
                  <a:gd name="T82" fmla="*/ 262 w 268"/>
                  <a:gd name="T83" fmla="*/ 106 h 176"/>
                  <a:gd name="T84" fmla="*/ 265 w 268"/>
                  <a:gd name="T85" fmla="*/ 103 h 176"/>
                  <a:gd name="T86" fmla="*/ 256 w 268"/>
                  <a:gd name="T87" fmla="*/ 98 h 176"/>
                  <a:gd name="T88" fmla="*/ 248 w 268"/>
                  <a:gd name="T89" fmla="*/ 92 h 176"/>
                  <a:gd name="T90" fmla="*/ 242 w 268"/>
                  <a:gd name="T91" fmla="*/ 95 h 176"/>
                  <a:gd name="T92" fmla="*/ 237 w 268"/>
                  <a:gd name="T93" fmla="*/ 98 h 176"/>
                  <a:gd name="T94" fmla="*/ 226 w 268"/>
                  <a:gd name="T95" fmla="*/ 92 h 176"/>
                  <a:gd name="T96" fmla="*/ 223 w 268"/>
                  <a:gd name="T97" fmla="*/ 87 h 176"/>
                  <a:gd name="T98" fmla="*/ 237 w 268"/>
                  <a:gd name="T99" fmla="*/ 73 h 176"/>
                  <a:gd name="T100" fmla="*/ 229 w 268"/>
                  <a:gd name="T101" fmla="*/ 78 h 176"/>
                  <a:gd name="T102" fmla="*/ 223 w 268"/>
                  <a:gd name="T103" fmla="*/ 81 h 176"/>
                  <a:gd name="T104" fmla="*/ 209 w 268"/>
                  <a:gd name="T105" fmla="*/ 89 h 176"/>
                  <a:gd name="T106" fmla="*/ 198 w 268"/>
                  <a:gd name="T107" fmla="*/ 98 h 176"/>
                  <a:gd name="T108" fmla="*/ 167 w 268"/>
                  <a:gd name="T109" fmla="*/ 81 h 176"/>
                  <a:gd name="T110" fmla="*/ 159 w 268"/>
                  <a:gd name="T111" fmla="*/ 73 h 176"/>
                  <a:gd name="T112" fmla="*/ 151 w 268"/>
                  <a:gd name="T113" fmla="*/ 50 h 176"/>
                  <a:gd name="T114" fmla="*/ 95 w 268"/>
                  <a:gd name="T115" fmla="*/ 4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8" h="176">
                    <a:moveTo>
                      <a:pt x="0" y="17"/>
                    </a:moveTo>
                    <a:lnTo>
                      <a:pt x="0" y="92"/>
                    </a:lnTo>
                    <a:lnTo>
                      <a:pt x="17" y="95"/>
                    </a:lnTo>
                    <a:lnTo>
                      <a:pt x="17" y="95"/>
                    </a:lnTo>
                    <a:lnTo>
                      <a:pt x="17" y="89"/>
                    </a:lnTo>
                    <a:lnTo>
                      <a:pt x="17" y="87"/>
                    </a:lnTo>
                    <a:lnTo>
                      <a:pt x="14" y="84"/>
                    </a:lnTo>
                    <a:lnTo>
                      <a:pt x="17" y="81"/>
                    </a:lnTo>
                    <a:lnTo>
                      <a:pt x="17" y="78"/>
                    </a:lnTo>
                    <a:lnTo>
                      <a:pt x="20" y="76"/>
                    </a:lnTo>
                    <a:lnTo>
                      <a:pt x="28" y="76"/>
                    </a:lnTo>
                    <a:lnTo>
                      <a:pt x="31" y="76"/>
                    </a:lnTo>
                    <a:lnTo>
                      <a:pt x="31" y="73"/>
                    </a:lnTo>
                    <a:lnTo>
                      <a:pt x="31" y="70"/>
                    </a:lnTo>
                    <a:lnTo>
                      <a:pt x="34" y="70"/>
                    </a:lnTo>
                    <a:lnTo>
                      <a:pt x="36" y="73"/>
                    </a:lnTo>
                    <a:lnTo>
                      <a:pt x="39" y="73"/>
                    </a:lnTo>
                    <a:lnTo>
                      <a:pt x="36" y="67"/>
                    </a:lnTo>
                    <a:lnTo>
                      <a:pt x="34" y="67"/>
                    </a:lnTo>
                    <a:lnTo>
                      <a:pt x="36" y="64"/>
                    </a:lnTo>
                    <a:lnTo>
                      <a:pt x="39" y="64"/>
                    </a:lnTo>
                    <a:lnTo>
                      <a:pt x="42" y="64"/>
                    </a:lnTo>
                    <a:lnTo>
                      <a:pt x="42" y="62"/>
                    </a:lnTo>
                    <a:lnTo>
                      <a:pt x="53" y="73"/>
                    </a:lnTo>
                    <a:lnTo>
                      <a:pt x="56" y="73"/>
                    </a:lnTo>
                    <a:lnTo>
                      <a:pt x="59" y="73"/>
                    </a:lnTo>
                    <a:lnTo>
                      <a:pt x="61" y="73"/>
                    </a:lnTo>
                    <a:lnTo>
                      <a:pt x="64" y="76"/>
                    </a:lnTo>
                    <a:lnTo>
                      <a:pt x="61" y="78"/>
                    </a:lnTo>
                    <a:lnTo>
                      <a:pt x="61" y="81"/>
                    </a:lnTo>
                    <a:lnTo>
                      <a:pt x="67" y="84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9"/>
                    </a:lnTo>
                    <a:lnTo>
                      <a:pt x="64" y="89"/>
                    </a:lnTo>
                    <a:lnTo>
                      <a:pt x="64" y="92"/>
                    </a:lnTo>
                    <a:lnTo>
                      <a:pt x="70" y="95"/>
                    </a:lnTo>
                    <a:lnTo>
                      <a:pt x="84" y="98"/>
                    </a:lnTo>
                    <a:lnTo>
                      <a:pt x="87" y="95"/>
                    </a:lnTo>
                    <a:lnTo>
                      <a:pt x="87" y="95"/>
                    </a:lnTo>
                    <a:lnTo>
                      <a:pt x="87" y="92"/>
                    </a:lnTo>
                    <a:lnTo>
                      <a:pt x="95" y="98"/>
                    </a:lnTo>
                    <a:lnTo>
                      <a:pt x="95" y="101"/>
                    </a:lnTo>
                    <a:lnTo>
                      <a:pt x="95" y="106"/>
                    </a:lnTo>
                    <a:lnTo>
                      <a:pt x="98" y="109"/>
                    </a:lnTo>
                    <a:lnTo>
                      <a:pt x="100" y="112"/>
                    </a:lnTo>
                    <a:lnTo>
                      <a:pt x="100" y="114"/>
                    </a:lnTo>
                    <a:lnTo>
                      <a:pt x="100" y="117"/>
                    </a:lnTo>
                    <a:lnTo>
                      <a:pt x="103" y="123"/>
                    </a:lnTo>
                    <a:lnTo>
                      <a:pt x="126" y="140"/>
                    </a:lnTo>
                    <a:lnTo>
                      <a:pt x="131" y="140"/>
                    </a:lnTo>
                    <a:lnTo>
                      <a:pt x="148" y="156"/>
                    </a:lnTo>
                    <a:lnTo>
                      <a:pt x="151" y="156"/>
                    </a:lnTo>
                    <a:lnTo>
                      <a:pt x="153" y="153"/>
                    </a:lnTo>
                    <a:lnTo>
                      <a:pt x="156" y="153"/>
                    </a:lnTo>
                    <a:lnTo>
                      <a:pt x="162" y="156"/>
                    </a:lnTo>
                    <a:lnTo>
                      <a:pt x="162" y="159"/>
                    </a:lnTo>
                    <a:lnTo>
                      <a:pt x="167" y="162"/>
                    </a:lnTo>
                    <a:lnTo>
                      <a:pt x="164" y="165"/>
                    </a:lnTo>
                    <a:lnTo>
                      <a:pt x="164" y="173"/>
                    </a:lnTo>
                    <a:lnTo>
                      <a:pt x="173" y="173"/>
                    </a:lnTo>
                    <a:lnTo>
                      <a:pt x="176" y="173"/>
                    </a:lnTo>
                    <a:lnTo>
                      <a:pt x="176" y="176"/>
                    </a:lnTo>
                    <a:lnTo>
                      <a:pt x="178" y="176"/>
                    </a:lnTo>
                    <a:lnTo>
                      <a:pt x="184" y="176"/>
                    </a:lnTo>
                    <a:lnTo>
                      <a:pt x="184" y="176"/>
                    </a:lnTo>
                    <a:lnTo>
                      <a:pt x="184" y="170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2" y="159"/>
                    </a:lnTo>
                    <a:lnTo>
                      <a:pt x="192" y="156"/>
                    </a:lnTo>
                    <a:lnTo>
                      <a:pt x="192" y="156"/>
                    </a:lnTo>
                    <a:lnTo>
                      <a:pt x="190" y="153"/>
                    </a:lnTo>
                    <a:lnTo>
                      <a:pt x="190" y="151"/>
                    </a:lnTo>
                    <a:lnTo>
                      <a:pt x="190" y="148"/>
                    </a:lnTo>
                    <a:lnTo>
                      <a:pt x="190" y="142"/>
                    </a:lnTo>
                    <a:lnTo>
                      <a:pt x="190" y="140"/>
                    </a:lnTo>
                    <a:lnTo>
                      <a:pt x="187" y="140"/>
                    </a:lnTo>
                    <a:lnTo>
                      <a:pt x="184" y="140"/>
                    </a:lnTo>
                    <a:lnTo>
                      <a:pt x="181" y="140"/>
                    </a:lnTo>
                    <a:lnTo>
                      <a:pt x="181" y="137"/>
                    </a:lnTo>
                    <a:lnTo>
                      <a:pt x="178" y="134"/>
                    </a:lnTo>
                    <a:lnTo>
                      <a:pt x="181" y="134"/>
                    </a:lnTo>
                    <a:lnTo>
                      <a:pt x="178" y="131"/>
                    </a:lnTo>
                    <a:lnTo>
                      <a:pt x="181" y="128"/>
                    </a:lnTo>
                    <a:lnTo>
                      <a:pt x="184" y="128"/>
                    </a:lnTo>
                    <a:lnTo>
                      <a:pt x="187" y="128"/>
                    </a:lnTo>
                    <a:lnTo>
                      <a:pt x="192" y="128"/>
                    </a:lnTo>
                    <a:lnTo>
                      <a:pt x="195" y="128"/>
                    </a:lnTo>
                    <a:lnTo>
                      <a:pt x="198" y="123"/>
                    </a:lnTo>
                    <a:lnTo>
                      <a:pt x="201" y="120"/>
                    </a:lnTo>
                    <a:lnTo>
                      <a:pt x="201" y="117"/>
                    </a:lnTo>
                    <a:lnTo>
                      <a:pt x="206" y="117"/>
                    </a:lnTo>
                    <a:lnTo>
                      <a:pt x="206" y="117"/>
                    </a:lnTo>
                    <a:lnTo>
                      <a:pt x="209" y="114"/>
                    </a:lnTo>
                    <a:lnTo>
                      <a:pt x="209" y="112"/>
                    </a:lnTo>
                    <a:lnTo>
                      <a:pt x="206" y="109"/>
                    </a:lnTo>
                    <a:lnTo>
                      <a:pt x="209" y="109"/>
                    </a:lnTo>
                    <a:lnTo>
                      <a:pt x="209" y="106"/>
                    </a:lnTo>
                    <a:lnTo>
                      <a:pt x="212" y="106"/>
                    </a:lnTo>
                    <a:lnTo>
                      <a:pt x="212" y="106"/>
                    </a:lnTo>
                    <a:lnTo>
                      <a:pt x="215" y="106"/>
                    </a:lnTo>
                    <a:lnTo>
                      <a:pt x="223" y="103"/>
                    </a:lnTo>
                    <a:lnTo>
                      <a:pt x="226" y="101"/>
                    </a:lnTo>
                    <a:lnTo>
                      <a:pt x="226" y="98"/>
                    </a:lnTo>
                    <a:lnTo>
                      <a:pt x="229" y="98"/>
                    </a:lnTo>
                    <a:lnTo>
                      <a:pt x="229" y="101"/>
                    </a:lnTo>
                    <a:lnTo>
                      <a:pt x="231" y="103"/>
                    </a:lnTo>
                    <a:lnTo>
                      <a:pt x="231" y="106"/>
                    </a:lnTo>
                    <a:lnTo>
                      <a:pt x="229" y="106"/>
                    </a:lnTo>
                    <a:lnTo>
                      <a:pt x="226" y="109"/>
                    </a:lnTo>
                    <a:lnTo>
                      <a:pt x="226" y="109"/>
                    </a:lnTo>
                    <a:lnTo>
                      <a:pt x="229" y="117"/>
                    </a:lnTo>
                    <a:lnTo>
                      <a:pt x="231" y="114"/>
                    </a:lnTo>
                    <a:lnTo>
                      <a:pt x="231" y="114"/>
                    </a:lnTo>
                    <a:lnTo>
                      <a:pt x="240" y="114"/>
                    </a:lnTo>
                    <a:lnTo>
                      <a:pt x="242" y="117"/>
                    </a:lnTo>
                    <a:lnTo>
                      <a:pt x="248" y="114"/>
                    </a:lnTo>
                    <a:lnTo>
                      <a:pt x="251" y="114"/>
                    </a:lnTo>
                    <a:lnTo>
                      <a:pt x="251" y="112"/>
                    </a:lnTo>
                    <a:lnTo>
                      <a:pt x="254" y="112"/>
                    </a:lnTo>
                    <a:lnTo>
                      <a:pt x="256" y="112"/>
                    </a:lnTo>
                    <a:lnTo>
                      <a:pt x="256" y="109"/>
                    </a:lnTo>
                    <a:lnTo>
                      <a:pt x="259" y="109"/>
                    </a:lnTo>
                    <a:lnTo>
                      <a:pt x="262" y="109"/>
                    </a:lnTo>
                    <a:lnTo>
                      <a:pt x="262" y="106"/>
                    </a:lnTo>
                    <a:lnTo>
                      <a:pt x="268" y="106"/>
                    </a:lnTo>
                    <a:lnTo>
                      <a:pt x="268" y="103"/>
                    </a:lnTo>
                    <a:lnTo>
                      <a:pt x="265" y="103"/>
                    </a:lnTo>
                    <a:lnTo>
                      <a:pt x="265" y="103"/>
                    </a:lnTo>
                    <a:lnTo>
                      <a:pt x="259" y="101"/>
                    </a:lnTo>
                    <a:lnTo>
                      <a:pt x="256" y="98"/>
                    </a:lnTo>
                    <a:lnTo>
                      <a:pt x="254" y="98"/>
                    </a:lnTo>
                    <a:lnTo>
                      <a:pt x="248" y="95"/>
                    </a:lnTo>
                    <a:lnTo>
                      <a:pt x="248" y="92"/>
                    </a:lnTo>
                    <a:lnTo>
                      <a:pt x="245" y="89"/>
                    </a:lnTo>
                    <a:lnTo>
                      <a:pt x="245" y="89"/>
                    </a:lnTo>
                    <a:lnTo>
                      <a:pt x="242" y="95"/>
                    </a:lnTo>
                    <a:lnTo>
                      <a:pt x="240" y="95"/>
                    </a:lnTo>
                    <a:lnTo>
                      <a:pt x="240" y="98"/>
                    </a:lnTo>
                    <a:lnTo>
                      <a:pt x="237" y="98"/>
                    </a:lnTo>
                    <a:lnTo>
                      <a:pt x="231" y="95"/>
                    </a:lnTo>
                    <a:lnTo>
                      <a:pt x="229" y="89"/>
                    </a:lnTo>
                    <a:lnTo>
                      <a:pt x="226" y="92"/>
                    </a:lnTo>
                    <a:lnTo>
                      <a:pt x="226" y="89"/>
                    </a:lnTo>
                    <a:lnTo>
                      <a:pt x="223" y="89"/>
                    </a:lnTo>
                    <a:lnTo>
                      <a:pt x="223" y="87"/>
                    </a:lnTo>
                    <a:lnTo>
                      <a:pt x="234" y="78"/>
                    </a:lnTo>
                    <a:lnTo>
                      <a:pt x="237" y="76"/>
                    </a:lnTo>
                    <a:lnTo>
                      <a:pt x="237" y="73"/>
                    </a:lnTo>
                    <a:lnTo>
                      <a:pt x="231" y="73"/>
                    </a:lnTo>
                    <a:lnTo>
                      <a:pt x="231" y="73"/>
                    </a:lnTo>
                    <a:lnTo>
                      <a:pt x="229" y="78"/>
                    </a:lnTo>
                    <a:lnTo>
                      <a:pt x="226" y="78"/>
                    </a:lnTo>
                    <a:lnTo>
                      <a:pt x="226" y="78"/>
                    </a:lnTo>
                    <a:lnTo>
                      <a:pt x="223" y="81"/>
                    </a:lnTo>
                    <a:lnTo>
                      <a:pt x="220" y="84"/>
                    </a:lnTo>
                    <a:lnTo>
                      <a:pt x="209" y="89"/>
                    </a:lnTo>
                    <a:lnTo>
                      <a:pt x="209" y="89"/>
                    </a:lnTo>
                    <a:lnTo>
                      <a:pt x="206" y="92"/>
                    </a:lnTo>
                    <a:lnTo>
                      <a:pt x="203" y="98"/>
                    </a:lnTo>
                    <a:lnTo>
                      <a:pt x="198" y="98"/>
                    </a:lnTo>
                    <a:lnTo>
                      <a:pt x="187" y="95"/>
                    </a:lnTo>
                    <a:lnTo>
                      <a:pt x="170" y="95"/>
                    </a:lnTo>
                    <a:lnTo>
                      <a:pt x="167" y="81"/>
                    </a:lnTo>
                    <a:lnTo>
                      <a:pt x="159" y="81"/>
                    </a:lnTo>
                    <a:lnTo>
                      <a:pt x="159" y="73"/>
                    </a:lnTo>
                    <a:lnTo>
                      <a:pt x="159" y="73"/>
                    </a:lnTo>
                    <a:lnTo>
                      <a:pt x="159" y="59"/>
                    </a:lnTo>
                    <a:lnTo>
                      <a:pt x="156" y="59"/>
                    </a:lnTo>
                    <a:lnTo>
                      <a:pt x="151" y="50"/>
                    </a:lnTo>
                    <a:lnTo>
                      <a:pt x="139" y="42"/>
                    </a:lnTo>
                    <a:lnTo>
                      <a:pt x="137" y="45"/>
                    </a:lnTo>
                    <a:lnTo>
                      <a:pt x="95" y="48"/>
                    </a:lnTo>
                    <a:lnTo>
                      <a:pt x="39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7" name="Freeform 862"/>
              <p:cNvSpPr>
                <a:spLocks noChangeAspect="1"/>
              </p:cNvSpPr>
              <p:nvPr>
                <p:custDataLst>
                  <p:tags r:id="rId855"/>
                </p:custDataLst>
              </p:nvPr>
            </p:nvSpPr>
            <p:spPr bwMode="gray">
              <a:xfrm>
                <a:off x="5671581" y="3164043"/>
                <a:ext cx="126033" cy="78837"/>
              </a:xfrm>
              <a:custGeom>
                <a:avLst/>
                <a:gdLst>
                  <a:gd name="T0" fmla="*/ 8 w 97"/>
                  <a:gd name="T1" fmla="*/ 58 h 61"/>
                  <a:gd name="T2" fmla="*/ 5 w 97"/>
                  <a:gd name="T3" fmla="*/ 47 h 61"/>
                  <a:gd name="T4" fmla="*/ 0 w 97"/>
                  <a:gd name="T5" fmla="*/ 39 h 61"/>
                  <a:gd name="T6" fmla="*/ 0 w 97"/>
                  <a:gd name="T7" fmla="*/ 33 h 61"/>
                  <a:gd name="T8" fmla="*/ 3 w 97"/>
                  <a:gd name="T9" fmla="*/ 25 h 61"/>
                  <a:gd name="T10" fmla="*/ 5 w 97"/>
                  <a:gd name="T11" fmla="*/ 22 h 61"/>
                  <a:gd name="T12" fmla="*/ 0 w 97"/>
                  <a:gd name="T13" fmla="*/ 14 h 61"/>
                  <a:gd name="T14" fmla="*/ 0 w 97"/>
                  <a:gd name="T15" fmla="*/ 3 h 61"/>
                  <a:gd name="T16" fmla="*/ 5 w 97"/>
                  <a:gd name="T17" fmla="*/ 0 h 61"/>
                  <a:gd name="T18" fmla="*/ 8 w 97"/>
                  <a:gd name="T19" fmla="*/ 0 h 61"/>
                  <a:gd name="T20" fmla="*/ 5 w 97"/>
                  <a:gd name="T21" fmla="*/ 5 h 61"/>
                  <a:gd name="T22" fmla="*/ 11 w 97"/>
                  <a:gd name="T23" fmla="*/ 8 h 61"/>
                  <a:gd name="T24" fmla="*/ 47 w 97"/>
                  <a:gd name="T25" fmla="*/ 11 h 61"/>
                  <a:gd name="T26" fmla="*/ 72 w 97"/>
                  <a:gd name="T27" fmla="*/ 0 h 61"/>
                  <a:gd name="T28" fmla="*/ 75 w 97"/>
                  <a:gd name="T29" fmla="*/ 0 h 61"/>
                  <a:gd name="T30" fmla="*/ 78 w 97"/>
                  <a:gd name="T31" fmla="*/ 3 h 61"/>
                  <a:gd name="T32" fmla="*/ 86 w 97"/>
                  <a:gd name="T33" fmla="*/ 5 h 61"/>
                  <a:gd name="T34" fmla="*/ 92 w 97"/>
                  <a:gd name="T35" fmla="*/ 8 h 61"/>
                  <a:gd name="T36" fmla="*/ 97 w 97"/>
                  <a:gd name="T37" fmla="*/ 8 h 61"/>
                  <a:gd name="T38" fmla="*/ 97 w 97"/>
                  <a:gd name="T39" fmla="*/ 14 h 61"/>
                  <a:gd name="T40" fmla="*/ 94 w 97"/>
                  <a:gd name="T41" fmla="*/ 16 h 61"/>
                  <a:gd name="T42" fmla="*/ 89 w 97"/>
                  <a:gd name="T43" fmla="*/ 16 h 61"/>
                  <a:gd name="T44" fmla="*/ 86 w 97"/>
                  <a:gd name="T45" fmla="*/ 22 h 61"/>
                  <a:gd name="T46" fmla="*/ 86 w 97"/>
                  <a:gd name="T47" fmla="*/ 30 h 61"/>
                  <a:gd name="T48" fmla="*/ 83 w 97"/>
                  <a:gd name="T49" fmla="*/ 30 h 61"/>
                  <a:gd name="T50" fmla="*/ 83 w 97"/>
                  <a:gd name="T51" fmla="*/ 33 h 61"/>
                  <a:gd name="T52" fmla="*/ 81 w 97"/>
                  <a:gd name="T53" fmla="*/ 36 h 61"/>
                  <a:gd name="T54" fmla="*/ 81 w 97"/>
                  <a:gd name="T55" fmla="*/ 36 h 61"/>
                  <a:gd name="T56" fmla="*/ 83 w 97"/>
                  <a:gd name="T57" fmla="*/ 36 h 61"/>
                  <a:gd name="T58" fmla="*/ 86 w 97"/>
                  <a:gd name="T59" fmla="*/ 47 h 61"/>
                  <a:gd name="T60" fmla="*/ 89 w 97"/>
                  <a:gd name="T61" fmla="*/ 47 h 61"/>
                  <a:gd name="T62" fmla="*/ 86 w 97"/>
                  <a:gd name="T63" fmla="*/ 47 h 61"/>
                  <a:gd name="T64" fmla="*/ 78 w 97"/>
                  <a:gd name="T65" fmla="*/ 47 h 61"/>
                  <a:gd name="T66" fmla="*/ 75 w 97"/>
                  <a:gd name="T67" fmla="*/ 44 h 61"/>
                  <a:gd name="T68" fmla="*/ 64 w 97"/>
                  <a:gd name="T69" fmla="*/ 47 h 61"/>
                  <a:gd name="T70" fmla="*/ 61 w 97"/>
                  <a:gd name="T71" fmla="*/ 50 h 61"/>
                  <a:gd name="T72" fmla="*/ 58 w 97"/>
                  <a:gd name="T73" fmla="*/ 50 h 61"/>
                  <a:gd name="T74" fmla="*/ 58 w 97"/>
                  <a:gd name="T75" fmla="*/ 55 h 61"/>
                  <a:gd name="T76" fmla="*/ 53 w 97"/>
                  <a:gd name="T77" fmla="*/ 61 h 61"/>
                  <a:gd name="T78" fmla="*/ 47 w 97"/>
                  <a:gd name="T79" fmla="*/ 61 h 61"/>
                  <a:gd name="T80" fmla="*/ 39 w 97"/>
                  <a:gd name="T81" fmla="*/ 58 h 61"/>
                  <a:gd name="T82" fmla="*/ 36 w 97"/>
                  <a:gd name="T83" fmla="*/ 55 h 61"/>
                  <a:gd name="T84" fmla="*/ 8 w 97"/>
                  <a:gd name="T85" fmla="*/ 5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7" h="61">
                    <a:moveTo>
                      <a:pt x="8" y="58"/>
                    </a:moveTo>
                    <a:lnTo>
                      <a:pt x="5" y="47"/>
                    </a:lnTo>
                    <a:lnTo>
                      <a:pt x="0" y="39"/>
                    </a:lnTo>
                    <a:lnTo>
                      <a:pt x="0" y="33"/>
                    </a:lnTo>
                    <a:lnTo>
                      <a:pt x="3" y="25"/>
                    </a:lnTo>
                    <a:lnTo>
                      <a:pt x="5" y="22"/>
                    </a:lnTo>
                    <a:lnTo>
                      <a:pt x="0" y="14"/>
                    </a:lnTo>
                    <a:lnTo>
                      <a:pt x="0" y="3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5" y="5"/>
                    </a:lnTo>
                    <a:lnTo>
                      <a:pt x="11" y="8"/>
                    </a:lnTo>
                    <a:lnTo>
                      <a:pt x="47" y="11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8" y="3"/>
                    </a:lnTo>
                    <a:lnTo>
                      <a:pt x="86" y="5"/>
                    </a:lnTo>
                    <a:lnTo>
                      <a:pt x="92" y="8"/>
                    </a:lnTo>
                    <a:lnTo>
                      <a:pt x="97" y="8"/>
                    </a:lnTo>
                    <a:lnTo>
                      <a:pt x="97" y="14"/>
                    </a:lnTo>
                    <a:lnTo>
                      <a:pt x="94" y="16"/>
                    </a:lnTo>
                    <a:lnTo>
                      <a:pt x="89" y="16"/>
                    </a:lnTo>
                    <a:lnTo>
                      <a:pt x="86" y="22"/>
                    </a:lnTo>
                    <a:lnTo>
                      <a:pt x="86" y="30"/>
                    </a:lnTo>
                    <a:lnTo>
                      <a:pt x="83" y="30"/>
                    </a:lnTo>
                    <a:lnTo>
                      <a:pt x="83" y="33"/>
                    </a:lnTo>
                    <a:lnTo>
                      <a:pt x="81" y="36"/>
                    </a:lnTo>
                    <a:lnTo>
                      <a:pt x="81" y="36"/>
                    </a:lnTo>
                    <a:lnTo>
                      <a:pt x="83" y="36"/>
                    </a:lnTo>
                    <a:lnTo>
                      <a:pt x="86" y="47"/>
                    </a:lnTo>
                    <a:lnTo>
                      <a:pt x="89" y="47"/>
                    </a:lnTo>
                    <a:lnTo>
                      <a:pt x="86" y="47"/>
                    </a:lnTo>
                    <a:lnTo>
                      <a:pt x="78" y="47"/>
                    </a:lnTo>
                    <a:lnTo>
                      <a:pt x="75" y="44"/>
                    </a:lnTo>
                    <a:lnTo>
                      <a:pt x="64" y="47"/>
                    </a:lnTo>
                    <a:lnTo>
                      <a:pt x="61" y="50"/>
                    </a:lnTo>
                    <a:lnTo>
                      <a:pt x="58" y="50"/>
                    </a:lnTo>
                    <a:lnTo>
                      <a:pt x="58" y="55"/>
                    </a:lnTo>
                    <a:lnTo>
                      <a:pt x="53" y="61"/>
                    </a:lnTo>
                    <a:lnTo>
                      <a:pt x="47" y="61"/>
                    </a:lnTo>
                    <a:lnTo>
                      <a:pt x="39" y="58"/>
                    </a:lnTo>
                    <a:lnTo>
                      <a:pt x="36" y="55"/>
                    </a:lnTo>
                    <a:lnTo>
                      <a:pt x="8" y="5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8" name="Freeform 863"/>
              <p:cNvSpPr>
                <a:spLocks noChangeAspect="1"/>
              </p:cNvSpPr>
              <p:nvPr>
                <p:custDataLst>
                  <p:tags r:id="rId856"/>
                </p:custDataLst>
              </p:nvPr>
            </p:nvSpPr>
            <p:spPr bwMode="gray">
              <a:xfrm>
                <a:off x="5509107" y="3134086"/>
                <a:ext cx="6074" cy="7884"/>
              </a:xfrm>
              <a:custGeom>
                <a:avLst/>
                <a:gdLst>
                  <a:gd name="T0" fmla="*/ 2 w 5"/>
                  <a:gd name="T1" fmla="*/ 0 h 6"/>
                  <a:gd name="T2" fmla="*/ 2 w 5"/>
                  <a:gd name="T3" fmla="*/ 3 h 6"/>
                  <a:gd name="T4" fmla="*/ 5 w 5"/>
                  <a:gd name="T5" fmla="*/ 3 h 6"/>
                  <a:gd name="T6" fmla="*/ 5 w 5"/>
                  <a:gd name="T7" fmla="*/ 6 h 6"/>
                  <a:gd name="T8" fmla="*/ 2 w 5"/>
                  <a:gd name="T9" fmla="*/ 3 h 6"/>
                  <a:gd name="T10" fmla="*/ 2 w 5"/>
                  <a:gd name="T11" fmla="*/ 3 h 6"/>
                  <a:gd name="T12" fmla="*/ 0 w 5"/>
                  <a:gd name="T13" fmla="*/ 3 h 6"/>
                  <a:gd name="T14" fmla="*/ 2 w 5"/>
                  <a:gd name="T15" fmla="*/ 0 h 6"/>
                  <a:gd name="T16" fmla="*/ 2 w 5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9" name="Freeform 864"/>
              <p:cNvSpPr>
                <a:spLocks noChangeAspect="1"/>
              </p:cNvSpPr>
              <p:nvPr>
                <p:custDataLst>
                  <p:tags r:id="rId857"/>
                </p:custDataLst>
              </p:nvPr>
            </p:nvSpPr>
            <p:spPr bwMode="gray">
              <a:xfrm>
                <a:off x="5509107" y="3134086"/>
                <a:ext cx="6074" cy="7884"/>
              </a:xfrm>
              <a:custGeom>
                <a:avLst/>
                <a:gdLst>
                  <a:gd name="T0" fmla="*/ 2 w 5"/>
                  <a:gd name="T1" fmla="*/ 0 h 6"/>
                  <a:gd name="T2" fmla="*/ 2 w 5"/>
                  <a:gd name="T3" fmla="*/ 3 h 6"/>
                  <a:gd name="T4" fmla="*/ 5 w 5"/>
                  <a:gd name="T5" fmla="*/ 3 h 6"/>
                  <a:gd name="T6" fmla="*/ 5 w 5"/>
                  <a:gd name="T7" fmla="*/ 6 h 6"/>
                  <a:gd name="T8" fmla="*/ 2 w 5"/>
                  <a:gd name="T9" fmla="*/ 3 h 6"/>
                  <a:gd name="T10" fmla="*/ 2 w 5"/>
                  <a:gd name="T11" fmla="*/ 3 h 6"/>
                  <a:gd name="T12" fmla="*/ 0 w 5"/>
                  <a:gd name="T13" fmla="*/ 3 h 6"/>
                  <a:gd name="T14" fmla="*/ 2 w 5"/>
                  <a:gd name="T15" fmla="*/ 0 h 6"/>
                  <a:gd name="T16" fmla="*/ 2 w 5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0" name="Freeform 865"/>
              <p:cNvSpPr>
                <a:spLocks noChangeAspect="1"/>
              </p:cNvSpPr>
              <p:nvPr>
                <p:custDataLst>
                  <p:tags r:id="rId858"/>
                </p:custDataLst>
              </p:nvPr>
            </p:nvSpPr>
            <p:spPr bwMode="gray">
              <a:xfrm>
                <a:off x="5504551" y="3134086"/>
                <a:ext cx="4557" cy="15767"/>
              </a:xfrm>
              <a:custGeom>
                <a:avLst/>
                <a:gdLst>
                  <a:gd name="T0" fmla="*/ 3 w 3"/>
                  <a:gd name="T1" fmla="*/ 0 h 12"/>
                  <a:gd name="T2" fmla="*/ 0 w 3"/>
                  <a:gd name="T3" fmla="*/ 0 h 12"/>
                  <a:gd name="T4" fmla="*/ 3 w 3"/>
                  <a:gd name="T5" fmla="*/ 0 h 12"/>
                  <a:gd name="T6" fmla="*/ 3 w 3"/>
                  <a:gd name="T7" fmla="*/ 3 h 12"/>
                  <a:gd name="T8" fmla="*/ 3 w 3"/>
                  <a:gd name="T9" fmla="*/ 12 h 12"/>
                  <a:gd name="T10" fmla="*/ 0 w 3"/>
                  <a:gd name="T11" fmla="*/ 9 h 12"/>
                  <a:gd name="T12" fmla="*/ 0 w 3"/>
                  <a:gd name="T13" fmla="*/ 6 h 12"/>
                  <a:gd name="T14" fmla="*/ 3 w 3"/>
                  <a:gd name="T15" fmla="*/ 6 h 12"/>
                  <a:gd name="T16" fmla="*/ 3 w 3"/>
                  <a:gd name="T17" fmla="*/ 3 h 12"/>
                  <a:gd name="T18" fmla="*/ 3 w 3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2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1" name="Freeform 866"/>
              <p:cNvSpPr>
                <a:spLocks noChangeAspect="1"/>
              </p:cNvSpPr>
              <p:nvPr>
                <p:custDataLst>
                  <p:tags r:id="rId859"/>
                </p:custDataLst>
              </p:nvPr>
            </p:nvSpPr>
            <p:spPr bwMode="gray">
              <a:xfrm>
                <a:off x="5504551" y="3134086"/>
                <a:ext cx="4557" cy="15767"/>
              </a:xfrm>
              <a:custGeom>
                <a:avLst/>
                <a:gdLst>
                  <a:gd name="T0" fmla="*/ 3 w 3"/>
                  <a:gd name="T1" fmla="*/ 0 h 12"/>
                  <a:gd name="T2" fmla="*/ 0 w 3"/>
                  <a:gd name="T3" fmla="*/ 0 h 12"/>
                  <a:gd name="T4" fmla="*/ 3 w 3"/>
                  <a:gd name="T5" fmla="*/ 0 h 12"/>
                  <a:gd name="T6" fmla="*/ 3 w 3"/>
                  <a:gd name="T7" fmla="*/ 3 h 12"/>
                  <a:gd name="T8" fmla="*/ 3 w 3"/>
                  <a:gd name="T9" fmla="*/ 12 h 12"/>
                  <a:gd name="T10" fmla="*/ 0 w 3"/>
                  <a:gd name="T11" fmla="*/ 9 h 12"/>
                  <a:gd name="T12" fmla="*/ 0 w 3"/>
                  <a:gd name="T13" fmla="*/ 6 h 12"/>
                  <a:gd name="T14" fmla="*/ 3 w 3"/>
                  <a:gd name="T15" fmla="*/ 6 h 12"/>
                  <a:gd name="T16" fmla="*/ 3 w 3"/>
                  <a:gd name="T17" fmla="*/ 3 h 12"/>
                  <a:gd name="T18" fmla="*/ 3 w 3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2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2" name="Freeform 867"/>
              <p:cNvSpPr>
                <a:spLocks noChangeAspect="1"/>
              </p:cNvSpPr>
              <p:nvPr>
                <p:custDataLst>
                  <p:tags r:id="rId860"/>
                </p:custDataLst>
              </p:nvPr>
            </p:nvSpPr>
            <p:spPr bwMode="gray">
              <a:xfrm>
                <a:off x="5548587" y="3184542"/>
                <a:ext cx="9110" cy="3154"/>
              </a:xfrm>
              <a:custGeom>
                <a:avLst/>
                <a:gdLst>
                  <a:gd name="T0" fmla="*/ 0 w 8"/>
                  <a:gd name="T1" fmla="*/ 0 h 3"/>
                  <a:gd name="T2" fmla="*/ 3 w 8"/>
                  <a:gd name="T3" fmla="*/ 0 h 3"/>
                  <a:gd name="T4" fmla="*/ 8 w 8"/>
                  <a:gd name="T5" fmla="*/ 0 h 3"/>
                  <a:gd name="T6" fmla="*/ 8 w 8"/>
                  <a:gd name="T7" fmla="*/ 3 h 3"/>
                  <a:gd name="T8" fmla="*/ 8 w 8"/>
                  <a:gd name="T9" fmla="*/ 3 h 3"/>
                  <a:gd name="T10" fmla="*/ 3 w 8"/>
                  <a:gd name="T11" fmla="*/ 3 h 3"/>
                  <a:gd name="T12" fmla="*/ 0 w 8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3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3" name="Freeform 868"/>
              <p:cNvSpPr>
                <a:spLocks noChangeAspect="1"/>
              </p:cNvSpPr>
              <p:nvPr>
                <p:custDataLst>
                  <p:tags r:id="rId861"/>
                </p:custDataLst>
              </p:nvPr>
            </p:nvSpPr>
            <p:spPr bwMode="gray">
              <a:xfrm>
                <a:off x="5548587" y="3184542"/>
                <a:ext cx="9110" cy="3154"/>
              </a:xfrm>
              <a:custGeom>
                <a:avLst/>
                <a:gdLst>
                  <a:gd name="T0" fmla="*/ 0 w 8"/>
                  <a:gd name="T1" fmla="*/ 0 h 3"/>
                  <a:gd name="T2" fmla="*/ 3 w 8"/>
                  <a:gd name="T3" fmla="*/ 0 h 3"/>
                  <a:gd name="T4" fmla="*/ 8 w 8"/>
                  <a:gd name="T5" fmla="*/ 0 h 3"/>
                  <a:gd name="T6" fmla="*/ 8 w 8"/>
                  <a:gd name="T7" fmla="*/ 3 h 3"/>
                  <a:gd name="T8" fmla="*/ 8 w 8"/>
                  <a:gd name="T9" fmla="*/ 3 h 3"/>
                  <a:gd name="T10" fmla="*/ 3 w 8"/>
                  <a:gd name="T11" fmla="*/ 3 h 3"/>
                  <a:gd name="T12" fmla="*/ 0 w 8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3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4" name="Freeform 869"/>
              <p:cNvSpPr>
                <a:spLocks noChangeAspect="1"/>
              </p:cNvSpPr>
              <p:nvPr>
                <p:custDataLst>
                  <p:tags r:id="rId862"/>
                </p:custDataLst>
              </p:nvPr>
            </p:nvSpPr>
            <p:spPr bwMode="gray">
              <a:xfrm>
                <a:off x="5554662" y="3197156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5 w 5"/>
                  <a:gd name="T5" fmla="*/ 0 h 3"/>
                  <a:gd name="T6" fmla="*/ 5 w 5"/>
                  <a:gd name="T7" fmla="*/ 0 h 3"/>
                  <a:gd name="T8" fmla="*/ 5 w 5"/>
                  <a:gd name="T9" fmla="*/ 3 h 3"/>
                  <a:gd name="T10" fmla="*/ 0 w 5"/>
                  <a:gd name="T11" fmla="*/ 3 h 3"/>
                  <a:gd name="T12" fmla="*/ 0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5" name="Freeform 870"/>
              <p:cNvSpPr>
                <a:spLocks noChangeAspect="1"/>
              </p:cNvSpPr>
              <p:nvPr>
                <p:custDataLst>
                  <p:tags r:id="rId863"/>
                </p:custDataLst>
              </p:nvPr>
            </p:nvSpPr>
            <p:spPr bwMode="gray">
              <a:xfrm>
                <a:off x="5554662" y="3197156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5 w 5"/>
                  <a:gd name="T5" fmla="*/ 0 h 3"/>
                  <a:gd name="T6" fmla="*/ 5 w 5"/>
                  <a:gd name="T7" fmla="*/ 0 h 3"/>
                  <a:gd name="T8" fmla="*/ 5 w 5"/>
                  <a:gd name="T9" fmla="*/ 3 h 3"/>
                  <a:gd name="T10" fmla="*/ 0 w 5"/>
                  <a:gd name="T11" fmla="*/ 3 h 3"/>
                  <a:gd name="T12" fmla="*/ 0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6" name="Freeform 871"/>
              <p:cNvSpPr>
                <a:spLocks noChangeAspect="1"/>
              </p:cNvSpPr>
              <p:nvPr>
                <p:custDataLst>
                  <p:tags r:id="rId864"/>
                </p:custDataLst>
              </p:nvPr>
            </p:nvSpPr>
            <p:spPr bwMode="gray">
              <a:xfrm>
                <a:off x="5562253" y="3197156"/>
                <a:ext cx="28851" cy="12614"/>
              </a:xfrm>
              <a:custGeom>
                <a:avLst/>
                <a:gdLst>
                  <a:gd name="T0" fmla="*/ 23 w 23"/>
                  <a:gd name="T1" fmla="*/ 11 h 11"/>
                  <a:gd name="T2" fmla="*/ 14 w 23"/>
                  <a:gd name="T3" fmla="*/ 5 h 11"/>
                  <a:gd name="T4" fmla="*/ 9 w 23"/>
                  <a:gd name="T5" fmla="*/ 3 h 11"/>
                  <a:gd name="T6" fmla="*/ 3 w 23"/>
                  <a:gd name="T7" fmla="*/ 0 h 11"/>
                  <a:gd name="T8" fmla="*/ 0 w 23"/>
                  <a:gd name="T9" fmla="*/ 0 h 11"/>
                  <a:gd name="T10" fmla="*/ 0 w 23"/>
                  <a:gd name="T11" fmla="*/ 0 h 11"/>
                  <a:gd name="T12" fmla="*/ 6 w 23"/>
                  <a:gd name="T13" fmla="*/ 0 h 11"/>
                  <a:gd name="T14" fmla="*/ 6 w 23"/>
                  <a:gd name="T15" fmla="*/ 0 h 11"/>
                  <a:gd name="T16" fmla="*/ 9 w 23"/>
                  <a:gd name="T17" fmla="*/ 3 h 11"/>
                  <a:gd name="T18" fmla="*/ 9 w 23"/>
                  <a:gd name="T19" fmla="*/ 0 h 11"/>
                  <a:gd name="T20" fmla="*/ 11 w 23"/>
                  <a:gd name="T21" fmla="*/ 0 h 11"/>
                  <a:gd name="T22" fmla="*/ 11 w 23"/>
                  <a:gd name="T23" fmla="*/ 3 h 11"/>
                  <a:gd name="T24" fmla="*/ 14 w 23"/>
                  <a:gd name="T25" fmla="*/ 3 h 11"/>
                  <a:gd name="T26" fmla="*/ 17 w 23"/>
                  <a:gd name="T27" fmla="*/ 3 h 11"/>
                  <a:gd name="T28" fmla="*/ 20 w 23"/>
                  <a:gd name="T29" fmla="*/ 5 h 11"/>
                  <a:gd name="T30" fmla="*/ 20 w 23"/>
                  <a:gd name="T31" fmla="*/ 5 h 11"/>
                  <a:gd name="T32" fmla="*/ 20 w 23"/>
                  <a:gd name="T33" fmla="*/ 8 h 11"/>
                  <a:gd name="T34" fmla="*/ 23 w 23"/>
                  <a:gd name="T35" fmla="*/ 8 h 11"/>
                  <a:gd name="T36" fmla="*/ 23 w 23"/>
                  <a:gd name="T3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11">
                    <a:moveTo>
                      <a:pt x="23" y="11"/>
                    </a:moveTo>
                    <a:lnTo>
                      <a:pt x="14" y="5"/>
                    </a:lnTo>
                    <a:lnTo>
                      <a:pt x="9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8"/>
                    </a:lnTo>
                    <a:lnTo>
                      <a:pt x="23" y="8"/>
                    </a:lnTo>
                    <a:lnTo>
                      <a:pt x="23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7" name="Freeform 872"/>
              <p:cNvSpPr>
                <a:spLocks noChangeAspect="1"/>
              </p:cNvSpPr>
              <p:nvPr>
                <p:custDataLst>
                  <p:tags r:id="rId865"/>
                </p:custDataLst>
              </p:nvPr>
            </p:nvSpPr>
            <p:spPr bwMode="gray">
              <a:xfrm>
                <a:off x="5562253" y="3197156"/>
                <a:ext cx="28851" cy="12614"/>
              </a:xfrm>
              <a:custGeom>
                <a:avLst/>
                <a:gdLst>
                  <a:gd name="T0" fmla="*/ 23 w 23"/>
                  <a:gd name="T1" fmla="*/ 11 h 11"/>
                  <a:gd name="T2" fmla="*/ 14 w 23"/>
                  <a:gd name="T3" fmla="*/ 5 h 11"/>
                  <a:gd name="T4" fmla="*/ 9 w 23"/>
                  <a:gd name="T5" fmla="*/ 3 h 11"/>
                  <a:gd name="T6" fmla="*/ 3 w 23"/>
                  <a:gd name="T7" fmla="*/ 0 h 11"/>
                  <a:gd name="T8" fmla="*/ 0 w 23"/>
                  <a:gd name="T9" fmla="*/ 0 h 11"/>
                  <a:gd name="T10" fmla="*/ 0 w 23"/>
                  <a:gd name="T11" fmla="*/ 0 h 11"/>
                  <a:gd name="T12" fmla="*/ 6 w 23"/>
                  <a:gd name="T13" fmla="*/ 0 h 11"/>
                  <a:gd name="T14" fmla="*/ 6 w 23"/>
                  <a:gd name="T15" fmla="*/ 0 h 11"/>
                  <a:gd name="T16" fmla="*/ 9 w 23"/>
                  <a:gd name="T17" fmla="*/ 3 h 11"/>
                  <a:gd name="T18" fmla="*/ 9 w 23"/>
                  <a:gd name="T19" fmla="*/ 0 h 11"/>
                  <a:gd name="T20" fmla="*/ 11 w 23"/>
                  <a:gd name="T21" fmla="*/ 0 h 11"/>
                  <a:gd name="T22" fmla="*/ 11 w 23"/>
                  <a:gd name="T23" fmla="*/ 3 h 11"/>
                  <a:gd name="T24" fmla="*/ 14 w 23"/>
                  <a:gd name="T25" fmla="*/ 3 h 11"/>
                  <a:gd name="T26" fmla="*/ 17 w 23"/>
                  <a:gd name="T27" fmla="*/ 3 h 11"/>
                  <a:gd name="T28" fmla="*/ 20 w 23"/>
                  <a:gd name="T29" fmla="*/ 5 h 11"/>
                  <a:gd name="T30" fmla="*/ 20 w 23"/>
                  <a:gd name="T31" fmla="*/ 5 h 11"/>
                  <a:gd name="T32" fmla="*/ 20 w 23"/>
                  <a:gd name="T33" fmla="*/ 8 h 11"/>
                  <a:gd name="T34" fmla="*/ 23 w 23"/>
                  <a:gd name="T35" fmla="*/ 8 h 11"/>
                  <a:gd name="T36" fmla="*/ 23 w 23"/>
                  <a:gd name="T3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11">
                    <a:moveTo>
                      <a:pt x="23" y="11"/>
                    </a:moveTo>
                    <a:lnTo>
                      <a:pt x="14" y="5"/>
                    </a:lnTo>
                    <a:lnTo>
                      <a:pt x="9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8"/>
                    </a:lnTo>
                    <a:lnTo>
                      <a:pt x="23" y="8"/>
                    </a:lnTo>
                    <a:lnTo>
                      <a:pt x="23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8" name="Freeform 873"/>
              <p:cNvSpPr>
                <a:spLocks noChangeAspect="1"/>
              </p:cNvSpPr>
              <p:nvPr>
                <p:custDataLst>
                  <p:tags r:id="rId866"/>
                </p:custDataLst>
              </p:nvPr>
            </p:nvSpPr>
            <p:spPr bwMode="gray">
              <a:xfrm>
                <a:off x="5490885" y="3096244"/>
                <a:ext cx="118440" cy="100911"/>
              </a:xfrm>
              <a:custGeom>
                <a:avLst/>
                <a:gdLst>
                  <a:gd name="T0" fmla="*/ 69 w 91"/>
                  <a:gd name="T1" fmla="*/ 17 h 78"/>
                  <a:gd name="T2" fmla="*/ 58 w 91"/>
                  <a:gd name="T3" fmla="*/ 8 h 78"/>
                  <a:gd name="T4" fmla="*/ 47 w 91"/>
                  <a:gd name="T5" fmla="*/ 3 h 78"/>
                  <a:gd name="T6" fmla="*/ 44 w 91"/>
                  <a:gd name="T7" fmla="*/ 0 h 78"/>
                  <a:gd name="T8" fmla="*/ 41 w 91"/>
                  <a:gd name="T9" fmla="*/ 3 h 78"/>
                  <a:gd name="T10" fmla="*/ 41 w 91"/>
                  <a:gd name="T11" fmla="*/ 3 h 78"/>
                  <a:gd name="T12" fmla="*/ 39 w 91"/>
                  <a:gd name="T13" fmla="*/ 5 h 78"/>
                  <a:gd name="T14" fmla="*/ 33 w 91"/>
                  <a:gd name="T15" fmla="*/ 11 h 78"/>
                  <a:gd name="T16" fmla="*/ 33 w 91"/>
                  <a:gd name="T17" fmla="*/ 17 h 78"/>
                  <a:gd name="T18" fmla="*/ 27 w 91"/>
                  <a:gd name="T19" fmla="*/ 22 h 78"/>
                  <a:gd name="T20" fmla="*/ 25 w 91"/>
                  <a:gd name="T21" fmla="*/ 28 h 78"/>
                  <a:gd name="T22" fmla="*/ 22 w 91"/>
                  <a:gd name="T23" fmla="*/ 25 h 78"/>
                  <a:gd name="T24" fmla="*/ 22 w 91"/>
                  <a:gd name="T25" fmla="*/ 25 h 78"/>
                  <a:gd name="T26" fmla="*/ 16 w 91"/>
                  <a:gd name="T27" fmla="*/ 22 h 78"/>
                  <a:gd name="T28" fmla="*/ 8 w 91"/>
                  <a:gd name="T29" fmla="*/ 25 h 78"/>
                  <a:gd name="T30" fmla="*/ 0 w 91"/>
                  <a:gd name="T31" fmla="*/ 25 h 78"/>
                  <a:gd name="T32" fmla="*/ 5 w 91"/>
                  <a:gd name="T33" fmla="*/ 39 h 78"/>
                  <a:gd name="T34" fmla="*/ 16 w 91"/>
                  <a:gd name="T35" fmla="*/ 28 h 78"/>
                  <a:gd name="T36" fmla="*/ 22 w 91"/>
                  <a:gd name="T37" fmla="*/ 33 h 78"/>
                  <a:gd name="T38" fmla="*/ 25 w 91"/>
                  <a:gd name="T39" fmla="*/ 44 h 78"/>
                  <a:gd name="T40" fmla="*/ 25 w 91"/>
                  <a:gd name="T41" fmla="*/ 50 h 78"/>
                  <a:gd name="T42" fmla="*/ 36 w 91"/>
                  <a:gd name="T43" fmla="*/ 61 h 78"/>
                  <a:gd name="T44" fmla="*/ 64 w 91"/>
                  <a:gd name="T45" fmla="*/ 78 h 78"/>
                  <a:gd name="T46" fmla="*/ 58 w 91"/>
                  <a:gd name="T47" fmla="*/ 67 h 78"/>
                  <a:gd name="T48" fmla="*/ 50 w 91"/>
                  <a:gd name="T49" fmla="*/ 58 h 78"/>
                  <a:gd name="T50" fmla="*/ 44 w 91"/>
                  <a:gd name="T51" fmla="*/ 53 h 78"/>
                  <a:gd name="T52" fmla="*/ 41 w 91"/>
                  <a:gd name="T53" fmla="*/ 47 h 78"/>
                  <a:gd name="T54" fmla="*/ 41 w 91"/>
                  <a:gd name="T55" fmla="*/ 44 h 78"/>
                  <a:gd name="T56" fmla="*/ 36 w 91"/>
                  <a:gd name="T57" fmla="*/ 39 h 78"/>
                  <a:gd name="T58" fmla="*/ 36 w 91"/>
                  <a:gd name="T59" fmla="*/ 36 h 78"/>
                  <a:gd name="T60" fmla="*/ 36 w 91"/>
                  <a:gd name="T61" fmla="*/ 28 h 78"/>
                  <a:gd name="T62" fmla="*/ 44 w 91"/>
                  <a:gd name="T63" fmla="*/ 33 h 78"/>
                  <a:gd name="T64" fmla="*/ 52 w 91"/>
                  <a:gd name="T65" fmla="*/ 28 h 78"/>
                  <a:gd name="T66" fmla="*/ 58 w 91"/>
                  <a:gd name="T67" fmla="*/ 30 h 78"/>
                  <a:gd name="T68" fmla="*/ 61 w 91"/>
                  <a:gd name="T69" fmla="*/ 30 h 78"/>
                  <a:gd name="T70" fmla="*/ 66 w 91"/>
                  <a:gd name="T71" fmla="*/ 30 h 78"/>
                  <a:gd name="T72" fmla="*/ 69 w 91"/>
                  <a:gd name="T73" fmla="*/ 30 h 78"/>
                  <a:gd name="T74" fmla="*/ 72 w 91"/>
                  <a:gd name="T75" fmla="*/ 30 h 78"/>
                  <a:gd name="T76" fmla="*/ 78 w 91"/>
                  <a:gd name="T77" fmla="*/ 33 h 78"/>
                  <a:gd name="T78" fmla="*/ 80 w 91"/>
                  <a:gd name="T79" fmla="*/ 30 h 78"/>
                  <a:gd name="T80" fmla="*/ 83 w 91"/>
                  <a:gd name="T81" fmla="*/ 36 h 78"/>
                  <a:gd name="T82" fmla="*/ 89 w 91"/>
                  <a:gd name="T83" fmla="*/ 36 h 78"/>
                  <a:gd name="T84" fmla="*/ 86 w 91"/>
                  <a:gd name="T85" fmla="*/ 30 h 78"/>
                  <a:gd name="T86" fmla="*/ 89 w 91"/>
                  <a:gd name="T87" fmla="*/ 28 h 78"/>
                  <a:gd name="T88" fmla="*/ 91 w 91"/>
                  <a:gd name="T89" fmla="*/ 28 h 78"/>
                  <a:gd name="T90" fmla="*/ 89 w 91"/>
                  <a:gd name="T91" fmla="*/ 28 h 78"/>
                  <a:gd name="T92" fmla="*/ 86 w 91"/>
                  <a:gd name="T93" fmla="*/ 25 h 78"/>
                  <a:gd name="T94" fmla="*/ 86 w 91"/>
                  <a:gd name="T95" fmla="*/ 22 h 78"/>
                  <a:gd name="T96" fmla="*/ 86 w 91"/>
                  <a:gd name="T97" fmla="*/ 22 h 78"/>
                  <a:gd name="T98" fmla="*/ 86 w 91"/>
                  <a:gd name="T99" fmla="*/ 19 h 78"/>
                  <a:gd name="T100" fmla="*/ 83 w 91"/>
                  <a:gd name="T101" fmla="*/ 19 h 78"/>
                  <a:gd name="T102" fmla="*/ 83 w 91"/>
                  <a:gd name="T103" fmla="*/ 17 h 78"/>
                  <a:gd name="T104" fmla="*/ 80 w 91"/>
                  <a:gd name="T105" fmla="*/ 1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1" h="78">
                    <a:moveTo>
                      <a:pt x="80" y="14"/>
                    </a:moveTo>
                    <a:lnTo>
                      <a:pt x="78" y="17"/>
                    </a:lnTo>
                    <a:lnTo>
                      <a:pt x="69" y="17"/>
                    </a:lnTo>
                    <a:lnTo>
                      <a:pt x="64" y="14"/>
                    </a:lnTo>
                    <a:lnTo>
                      <a:pt x="61" y="14"/>
                    </a:lnTo>
                    <a:lnTo>
                      <a:pt x="58" y="8"/>
                    </a:lnTo>
                    <a:lnTo>
                      <a:pt x="55" y="8"/>
                    </a:lnTo>
                    <a:lnTo>
                      <a:pt x="52" y="3"/>
                    </a:lnTo>
                    <a:lnTo>
                      <a:pt x="47" y="3"/>
                    </a:lnTo>
                    <a:lnTo>
                      <a:pt x="47" y="0"/>
                    </a:lnTo>
                    <a:lnTo>
                      <a:pt x="47" y="3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41" y="3"/>
                    </a:lnTo>
                    <a:lnTo>
                      <a:pt x="41" y="3"/>
                    </a:lnTo>
                    <a:lnTo>
                      <a:pt x="41" y="3"/>
                    </a:lnTo>
                    <a:lnTo>
                      <a:pt x="41" y="3"/>
                    </a:lnTo>
                    <a:lnTo>
                      <a:pt x="39" y="3"/>
                    </a:lnTo>
                    <a:lnTo>
                      <a:pt x="39" y="5"/>
                    </a:lnTo>
                    <a:lnTo>
                      <a:pt x="39" y="5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0" y="17"/>
                    </a:lnTo>
                    <a:lnTo>
                      <a:pt x="27" y="19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7" y="28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5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19" y="2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4" y="25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5" y="25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8" y="39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9" y="30"/>
                    </a:lnTo>
                    <a:lnTo>
                      <a:pt x="19" y="30"/>
                    </a:lnTo>
                    <a:lnTo>
                      <a:pt x="22" y="33"/>
                    </a:lnTo>
                    <a:lnTo>
                      <a:pt x="22" y="36"/>
                    </a:lnTo>
                    <a:lnTo>
                      <a:pt x="22" y="39"/>
                    </a:lnTo>
                    <a:lnTo>
                      <a:pt x="25" y="44"/>
                    </a:lnTo>
                    <a:lnTo>
                      <a:pt x="30" y="50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7" y="53"/>
                    </a:lnTo>
                    <a:lnTo>
                      <a:pt x="30" y="56"/>
                    </a:lnTo>
                    <a:lnTo>
                      <a:pt x="36" y="61"/>
                    </a:lnTo>
                    <a:lnTo>
                      <a:pt x="39" y="67"/>
                    </a:lnTo>
                    <a:lnTo>
                      <a:pt x="47" y="67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58" y="69"/>
                    </a:lnTo>
                    <a:lnTo>
                      <a:pt x="58" y="67"/>
                    </a:lnTo>
                    <a:lnTo>
                      <a:pt x="55" y="67"/>
                    </a:lnTo>
                    <a:lnTo>
                      <a:pt x="55" y="64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47" y="53"/>
                    </a:lnTo>
                    <a:lnTo>
                      <a:pt x="44" y="53"/>
                    </a:lnTo>
                    <a:lnTo>
                      <a:pt x="41" y="50"/>
                    </a:lnTo>
                    <a:lnTo>
                      <a:pt x="41" y="50"/>
                    </a:lnTo>
                    <a:lnTo>
                      <a:pt x="41" y="47"/>
                    </a:lnTo>
                    <a:lnTo>
                      <a:pt x="41" y="47"/>
                    </a:lnTo>
                    <a:lnTo>
                      <a:pt x="41" y="44"/>
                    </a:lnTo>
                    <a:lnTo>
                      <a:pt x="41" y="44"/>
                    </a:lnTo>
                    <a:lnTo>
                      <a:pt x="39" y="42"/>
                    </a:lnTo>
                    <a:lnTo>
                      <a:pt x="39" y="39"/>
                    </a:lnTo>
                    <a:lnTo>
                      <a:pt x="36" y="39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3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9" y="28"/>
                    </a:lnTo>
                    <a:lnTo>
                      <a:pt x="39" y="28"/>
                    </a:lnTo>
                    <a:lnTo>
                      <a:pt x="44" y="33"/>
                    </a:lnTo>
                    <a:lnTo>
                      <a:pt x="44" y="33"/>
                    </a:lnTo>
                    <a:lnTo>
                      <a:pt x="47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28"/>
                    </a:lnTo>
                    <a:lnTo>
                      <a:pt x="61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9" y="30"/>
                    </a:lnTo>
                    <a:lnTo>
                      <a:pt x="69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78" y="33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80" y="30"/>
                    </a:lnTo>
                    <a:lnTo>
                      <a:pt x="83" y="33"/>
                    </a:lnTo>
                    <a:lnTo>
                      <a:pt x="83" y="33"/>
                    </a:lnTo>
                    <a:lnTo>
                      <a:pt x="83" y="36"/>
                    </a:lnTo>
                    <a:lnTo>
                      <a:pt x="83" y="36"/>
                    </a:lnTo>
                    <a:lnTo>
                      <a:pt x="86" y="36"/>
                    </a:lnTo>
                    <a:lnTo>
                      <a:pt x="89" y="36"/>
                    </a:lnTo>
                    <a:lnTo>
                      <a:pt x="89" y="33"/>
                    </a:lnTo>
                    <a:lnTo>
                      <a:pt x="89" y="33"/>
                    </a:lnTo>
                    <a:lnTo>
                      <a:pt x="86" y="30"/>
                    </a:lnTo>
                    <a:lnTo>
                      <a:pt x="89" y="30"/>
                    </a:lnTo>
                    <a:lnTo>
                      <a:pt x="89" y="28"/>
                    </a:lnTo>
                    <a:lnTo>
                      <a:pt x="89" y="28"/>
                    </a:lnTo>
                    <a:lnTo>
                      <a:pt x="91" y="28"/>
                    </a:lnTo>
                    <a:lnTo>
                      <a:pt x="91" y="28"/>
                    </a:lnTo>
                    <a:lnTo>
                      <a:pt x="91" y="28"/>
                    </a:lnTo>
                    <a:lnTo>
                      <a:pt x="91" y="28"/>
                    </a:lnTo>
                    <a:lnTo>
                      <a:pt x="89" y="28"/>
                    </a:lnTo>
                    <a:lnTo>
                      <a:pt x="89" y="28"/>
                    </a:lnTo>
                    <a:lnTo>
                      <a:pt x="89" y="28"/>
                    </a:lnTo>
                    <a:lnTo>
                      <a:pt x="86" y="25"/>
                    </a:lnTo>
                    <a:lnTo>
                      <a:pt x="86" y="25"/>
                    </a:lnTo>
                    <a:lnTo>
                      <a:pt x="86" y="25"/>
                    </a:lnTo>
                    <a:lnTo>
                      <a:pt x="86" y="25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19"/>
                    </a:lnTo>
                    <a:lnTo>
                      <a:pt x="86" y="19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3" y="19"/>
                    </a:lnTo>
                    <a:lnTo>
                      <a:pt x="83" y="19"/>
                    </a:lnTo>
                    <a:lnTo>
                      <a:pt x="83" y="19"/>
                    </a:lnTo>
                    <a:lnTo>
                      <a:pt x="83" y="17"/>
                    </a:lnTo>
                    <a:lnTo>
                      <a:pt x="83" y="17"/>
                    </a:lnTo>
                    <a:lnTo>
                      <a:pt x="83" y="17"/>
                    </a:lnTo>
                    <a:lnTo>
                      <a:pt x="80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9" name="Freeform 874"/>
              <p:cNvSpPr>
                <a:spLocks noChangeAspect="1"/>
              </p:cNvSpPr>
              <p:nvPr>
                <p:custDataLst>
                  <p:tags r:id="rId867"/>
                </p:custDataLst>
              </p:nvPr>
            </p:nvSpPr>
            <p:spPr bwMode="gray">
              <a:xfrm>
                <a:off x="5606289" y="3206616"/>
                <a:ext cx="34924" cy="78837"/>
              </a:xfrm>
              <a:custGeom>
                <a:avLst/>
                <a:gdLst>
                  <a:gd name="T0" fmla="*/ 14 w 28"/>
                  <a:gd name="T1" fmla="*/ 61 h 61"/>
                  <a:gd name="T2" fmla="*/ 14 w 28"/>
                  <a:gd name="T3" fmla="*/ 59 h 61"/>
                  <a:gd name="T4" fmla="*/ 11 w 28"/>
                  <a:gd name="T5" fmla="*/ 56 h 61"/>
                  <a:gd name="T6" fmla="*/ 11 w 28"/>
                  <a:gd name="T7" fmla="*/ 53 h 61"/>
                  <a:gd name="T8" fmla="*/ 5 w 28"/>
                  <a:gd name="T9" fmla="*/ 50 h 61"/>
                  <a:gd name="T10" fmla="*/ 0 w 28"/>
                  <a:gd name="T11" fmla="*/ 45 h 61"/>
                  <a:gd name="T12" fmla="*/ 2 w 28"/>
                  <a:gd name="T13" fmla="*/ 45 h 61"/>
                  <a:gd name="T14" fmla="*/ 2 w 28"/>
                  <a:gd name="T15" fmla="*/ 39 h 61"/>
                  <a:gd name="T16" fmla="*/ 2 w 28"/>
                  <a:gd name="T17" fmla="*/ 36 h 61"/>
                  <a:gd name="T18" fmla="*/ 2 w 28"/>
                  <a:gd name="T19" fmla="*/ 34 h 61"/>
                  <a:gd name="T20" fmla="*/ 2 w 28"/>
                  <a:gd name="T21" fmla="*/ 31 h 61"/>
                  <a:gd name="T22" fmla="*/ 5 w 28"/>
                  <a:gd name="T23" fmla="*/ 31 h 61"/>
                  <a:gd name="T24" fmla="*/ 2 w 28"/>
                  <a:gd name="T25" fmla="*/ 25 h 61"/>
                  <a:gd name="T26" fmla="*/ 5 w 28"/>
                  <a:gd name="T27" fmla="*/ 17 h 61"/>
                  <a:gd name="T28" fmla="*/ 5 w 28"/>
                  <a:gd name="T29" fmla="*/ 17 h 61"/>
                  <a:gd name="T30" fmla="*/ 2 w 28"/>
                  <a:gd name="T31" fmla="*/ 17 h 61"/>
                  <a:gd name="T32" fmla="*/ 2 w 28"/>
                  <a:gd name="T33" fmla="*/ 11 h 61"/>
                  <a:gd name="T34" fmla="*/ 2 w 28"/>
                  <a:gd name="T35" fmla="*/ 9 h 61"/>
                  <a:gd name="T36" fmla="*/ 2 w 28"/>
                  <a:gd name="T37" fmla="*/ 3 h 61"/>
                  <a:gd name="T38" fmla="*/ 5 w 28"/>
                  <a:gd name="T39" fmla="*/ 3 h 61"/>
                  <a:gd name="T40" fmla="*/ 8 w 28"/>
                  <a:gd name="T41" fmla="*/ 0 h 61"/>
                  <a:gd name="T42" fmla="*/ 11 w 28"/>
                  <a:gd name="T43" fmla="*/ 3 h 61"/>
                  <a:gd name="T44" fmla="*/ 14 w 28"/>
                  <a:gd name="T45" fmla="*/ 3 h 61"/>
                  <a:gd name="T46" fmla="*/ 16 w 28"/>
                  <a:gd name="T47" fmla="*/ 6 h 61"/>
                  <a:gd name="T48" fmla="*/ 19 w 28"/>
                  <a:gd name="T49" fmla="*/ 6 h 61"/>
                  <a:gd name="T50" fmla="*/ 22 w 28"/>
                  <a:gd name="T51" fmla="*/ 11 h 61"/>
                  <a:gd name="T52" fmla="*/ 22 w 28"/>
                  <a:gd name="T53" fmla="*/ 25 h 61"/>
                  <a:gd name="T54" fmla="*/ 22 w 28"/>
                  <a:gd name="T55" fmla="*/ 31 h 61"/>
                  <a:gd name="T56" fmla="*/ 28 w 28"/>
                  <a:gd name="T57" fmla="*/ 36 h 61"/>
                  <a:gd name="T58" fmla="*/ 28 w 28"/>
                  <a:gd name="T59" fmla="*/ 45 h 61"/>
                  <a:gd name="T60" fmla="*/ 25 w 28"/>
                  <a:gd name="T61" fmla="*/ 47 h 61"/>
                  <a:gd name="T62" fmla="*/ 22 w 28"/>
                  <a:gd name="T63" fmla="*/ 50 h 61"/>
                  <a:gd name="T64" fmla="*/ 19 w 28"/>
                  <a:gd name="T65" fmla="*/ 53 h 61"/>
                  <a:gd name="T66" fmla="*/ 19 w 28"/>
                  <a:gd name="T67" fmla="*/ 56 h 61"/>
                  <a:gd name="T68" fmla="*/ 16 w 28"/>
                  <a:gd name="T69" fmla="*/ 59 h 61"/>
                  <a:gd name="T70" fmla="*/ 16 w 28"/>
                  <a:gd name="T71" fmla="*/ 61 h 61"/>
                  <a:gd name="T72" fmla="*/ 14 w 28"/>
                  <a:gd name="T7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" h="61">
                    <a:moveTo>
                      <a:pt x="14" y="61"/>
                    </a:moveTo>
                    <a:lnTo>
                      <a:pt x="14" y="59"/>
                    </a:lnTo>
                    <a:lnTo>
                      <a:pt x="11" y="56"/>
                    </a:lnTo>
                    <a:lnTo>
                      <a:pt x="11" y="53"/>
                    </a:lnTo>
                    <a:lnTo>
                      <a:pt x="5" y="50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2" y="39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5" y="31"/>
                    </a:lnTo>
                    <a:lnTo>
                      <a:pt x="2" y="25"/>
                    </a:lnTo>
                    <a:lnTo>
                      <a:pt x="5" y="17"/>
                    </a:lnTo>
                    <a:lnTo>
                      <a:pt x="5" y="17"/>
                    </a:lnTo>
                    <a:lnTo>
                      <a:pt x="2" y="17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6" y="6"/>
                    </a:lnTo>
                    <a:lnTo>
                      <a:pt x="19" y="6"/>
                    </a:lnTo>
                    <a:lnTo>
                      <a:pt x="22" y="11"/>
                    </a:lnTo>
                    <a:lnTo>
                      <a:pt x="22" y="25"/>
                    </a:lnTo>
                    <a:lnTo>
                      <a:pt x="22" y="31"/>
                    </a:lnTo>
                    <a:lnTo>
                      <a:pt x="28" y="36"/>
                    </a:lnTo>
                    <a:lnTo>
                      <a:pt x="28" y="45"/>
                    </a:lnTo>
                    <a:lnTo>
                      <a:pt x="25" y="47"/>
                    </a:lnTo>
                    <a:lnTo>
                      <a:pt x="22" y="50"/>
                    </a:lnTo>
                    <a:lnTo>
                      <a:pt x="19" y="53"/>
                    </a:lnTo>
                    <a:lnTo>
                      <a:pt x="19" y="56"/>
                    </a:lnTo>
                    <a:lnTo>
                      <a:pt x="16" y="59"/>
                    </a:lnTo>
                    <a:lnTo>
                      <a:pt x="16" y="61"/>
                    </a:lnTo>
                    <a:lnTo>
                      <a:pt x="14" y="6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0" name="Freeform 878"/>
              <p:cNvSpPr>
                <a:spLocks noChangeAspect="1"/>
              </p:cNvSpPr>
              <p:nvPr>
                <p:custDataLst>
                  <p:tags r:id="rId868"/>
                </p:custDataLst>
              </p:nvPr>
            </p:nvSpPr>
            <p:spPr bwMode="gray">
              <a:xfrm>
                <a:off x="5641212" y="2773012"/>
                <a:ext cx="116921" cy="89874"/>
              </a:xfrm>
              <a:custGeom>
                <a:avLst/>
                <a:gdLst>
                  <a:gd name="T0" fmla="*/ 0 w 89"/>
                  <a:gd name="T1" fmla="*/ 23 h 70"/>
                  <a:gd name="T2" fmla="*/ 2 w 89"/>
                  <a:gd name="T3" fmla="*/ 31 h 70"/>
                  <a:gd name="T4" fmla="*/ 2 w 89"/>
                  <a:gd name="T5" fmla="*/ 34 h 70"/>
                  <a:gd name="T6" fmla="*/ 8 w 89"/>
                  <a:gd name="T7" fmla="*/ 34 h 70"/>
                  <a:gd name="T8" fmla="*/ 11 w 89"/>
                  <a:gd name="T9" fmla="*/ 36 h 70"/>
                  <a:gd name="T10" fmla="*/ 19 w 89"/>
                  <a:gd name="T11" fmla="*/ 39 h 70"/>
                  <a:gd name="T12" fmla="*/ 25 w 89"/>
                  <a:gd name="T13" fmla="*/ 39 h 70"/>
                  <a:gd name="T14" fmla="*/ 27 w 89"/>
                  <a:gd name="T15" fmla="*/ 50 h 70"/>
                  <a:gd name="T16" fmla="*/ 36 w 89"/>
                  <a:gd name="T17" fmla="*/ 64 h 70"/>
                  <a:gd name="T18" fmla="*/ 41 w 89"/>
                  <a:gd name="T19" fmla="*/ 70 h 70"/>
                  <a:gd name="T20" fmla="*/ 52 w 89"/>
                  <a:gd name="T21" fmla="*/ 70 h 70"/>
                  <a:gd name="T22" fmla="*/ 55 w 89"/>
                  <a:gd name="T23" fmla="*/ 67 h 70"/>
                  <a:gd name="T24" fmla="*/ 61 w 89"/>
                  <a:gd name="T25" fmla="*/ 70 h 70"/>
                  <a:gd name="T26" fmla="*/ 61 w 89"/>
                  <a:gd name="T27" fmla="*/ 64 h 70"/>
                  <a:gd name="T28" fmla="*/ 64 w 89"/>
                  <a:gd name="T29" fmla="*/ 61 h 70"/>
                  <a:gd name="T30" fmla="*/ 69 w 89"/>
                  <a:gd name="T31" fmla="*/ 61 h 70"/>
                  <a:gd name="T32" fmla="*/ 72 w 89"/>
                  <a:gd name="T33" fmla="*/ 64 h 70"/>
                  <a:gd name="T34" fmla="*/ 75 w 89"/>
                  <a:gd name="T35" fmla="*/ 61 h 70"/>
                  <a:gd name="T36" fmla="*/ 72 w 89"/>
                  <a:gd name="T37" fmla="*/ 59 h 70"/>
                  <a:gd name="T38" fmla="*/ 75 w 89"/>
                  <a:gd name="T39" fmla="*/ 50 h 70"/>
                  <a:gd name="T40" fmla="*/ 75 w 89"/>
                  <a:gd name="T41" fmla="*/ 48 h 70"/>
                  <a:gd name="T42" fmla="*/ 75 w 89"/>
                  <a:gd name="T43" fmla="*/ 42 h 70"/>
                  <a:gd name="T44" fmla="*/ 80 w 89"/>
                  <a:gd name="T45" fmla="*/ 39 h 70"/>
                  <a:gd name="T46" fmla="*/ 83 w 89"/>
                  <a:gd name="T47" fmla="*/ 36 h 70"/>
                  <a:gd name="T48" fmla="*/ 89 w 89"/>
                  <a:gd name="T49" fmla="*/ 34 h 70"/>
                  <a:gd name="T50" fmla="*/ 86 w 89"/>
                  <a:gd name="T51" fmla="*/ 31 h 70"/>
                  <a:gd name="T52" fmla="*/ 89 w 89"/>
                  <a:gd name="T53" fmla="*/ 25 h 70"/>
                  <a:gd name="T54" fmla="*/ 89 w 89"/>
                  <a:gd name="T55" fmla="*/ 23 h 70"/>
                  <a:gd name="T56" fmla="*/ 86 w 89"/>
                  <a:gd name="T57" fmla="*/ 23 h 70"/>
                  <a:gd name="T58" fmla="*/ 72 w 89"/>
                  <a:gd name="T59" fmla="*/ 9 h 70"/>
                  <a:gd name="T60" fmla="*/ 66 w 89"/>
                  <a:gd name="T61" fmla="*/ 9 h 70"/>
                  <a:gd name="T62" fmla="*/ 61 w 89"/>
                  <a:gd name="T63" fmla="*/ 0 h 70"/>
                  <a:gd name="T64" fmla="*/ 55 w 89"/>
                  <a:gd name="T65" fmla="*/ 6 h 70"/>
                  <a:gd name="T66" fmla="*/ 41 w 89"/>
                  <a:gd name="T67" fmla="*/ 3 h 70"/>
                  <a:gd name="T68" fmla="*/ 33 w 89"/>
                  <a:gd name="T69" fmla="*/ 3 h 70"/>
                  <a:gd name="T70" fmla="*/ 30 w 89"/>
                  <a:gd name="T71" fmla="*/ 3 h 70"/>
                  <a:gd name="T72" fmla="*/ 25 w 89"/>
                  <a:gd name="T73" fmla="*/ 3 h 70"/>
                  <a:gd name="T74" fmla="*/ 8 w 89"/>
                  <a:gd name="T75" fmla="*/ 6 h 70"/>
                  <a:gd name="T76" fmla="*/ 2 w 89"/>
                  <a:gd name="T77" fmla="*/ 11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9" h="70">
                    <a:moveTo>
                      <a:pt x="0" y="11"/>
                    </a:moveTo>
                    <a:lnTo>
                      <a:pt x="0" y="23"/>
                    </a:lnTo>
                    <a:lnTo>
                      <a:pt x="0" y="17"/>
                    </a:lnTo>
                    <a:lnTo>
                      <a:pt x="2" y="31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5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19" y="39"/>
                    </a:lnTo>
                    <a:lnTo>
                      <a:pt x="25" y="39"/>
                    </a:lnTo>
                    <a:lnTo>
                      <a:pt x="25" y="39"/>
                    </a:lnTo>
                    <a:lnTo>
                      <a:pt x="27" y="48"/>
                    </a:lnTo>
                    <a:lnTo>
                      <a:pt x="27" y="50"/>
                    </a:lnTo>
                    <a:lnTo>
                      <a:pt x="27" y="59"/>
                    </a:lnTo>
                    <a:lnTo>
                      <a:pt x="36" y="64"/>
                    </a:lnTo>
                    <a:lnTo>
                      <a:pt x="39" y="70"/>
                    </a:lnTo>
                    <a:lnTo>
                      <a:pt x="41" y="70"/>
                    </a:lnTo>
                    <a:lnTo>
                      <a:pt x="47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5" y="67"/>
                    </a:lnTo>
                    <a:lnTo>
                      <a:pt x="58" y="70"/>
                    </a:lnTo>
                    <a:lnTo>
                      <a:pt x="61" y="70"/>
                    </a:lnTo>
                    <a:lnTo>
                      <a:pt x="58" y="64"/>
                    </a:lnTo>
                    <a:lnTo>
                      <a:pt x="61" y="64"/>
                    </a:lnTo>
                    <a:lnTo>
                      <a:pt x="64" y="64"/>
                    </a:lnTo>
                    <a:lnTo>
                      <a:pt x="64" y="61"/>
                    </a:lnTo>
                    <a:lnTo>
                      <a:pt x="66" y="61"/>
                    </a:lnTo>
                    <a:lnTo>
                      <a:pt x="69" y="61"/>
                    </a:lnTo>
                    <a:lnTo>
                      <a:pt x="69" y="64"/>
                    </a:lnTo>
                    <a:lnTo>
                      <a:pt x="72" y="64"/>
                    </a:lnTo>
                    <a:lnTo>
                      <a:pt x="75" y="64"/>
                    </a:lnTo>
                    <a:lnTo>
                      <a:pt x="75" y="61"/>
                    </a:lnTo>
                    <a:lnTo>
                      <a:pt x="72" y="59"/>
                    </a:lnTo>
                    <a:lnTo>
                      <a:pt x="72" y="59"/>
                    </a:lnTo>
                    <a:lnTo>
                      <a:pt x="72" y="56"/>
                    </a:lnTo>
                    <a:lnTo>
                      <a:pt x="75" y="50"/>
                    </a:lnTo>
                    <a:lnTo>
                      <a:pt x="75" y="48"/>
                    </a:lnTo>
                    <a:lnTo>
                      <a:pt x="75" y="48"/>
                    </a:lnTo>
                    <a:lnTo>
                      <a:pt x="75" y="45"/>
                    </a:lnTo>
                    <a:lnTo>
                      <a:pt x="75" y="42"/>
                    </a:lnTo>
                    <a:lnTo>
                      <a:pt x="77" y="42"/>
                    </a:lnTo>
                    <a:lnTo>
                      <a:pt x="80" y="39"/>
                    </a:lnTo>
                    <a:lnTo>
                      <a:pt x="80" y="39"/>
                    </a:lnTo>
                    <a:lnTo>
                      <a:pt x="83" y="36"/>
                    </a:lnTo>
                    <a:lnTo>
                      <a:pt x="86" y="36"/>
                    </a:lnTo>
                    <a:lnTo>
                      <a:pt x="89" y="34"/>
                    </a:lnTo>
                    <a:lnTo>
                      <a:pt x="89" y="31"/>
                    </a:lnTo>
                    <a:lnTo>
                      <a:pt x="86" y="31"/>
                    </a:lnTo>
                    <a:lnTo>
                      <a:pt x="86" y="28"/>
                    </a:lnTo>
                    <a:lnTo>
                      <a:pt x="89" y="25"/>
                    </a:lnTo>
                    <a:lnTo>
                      <a:pt x="89" y="25"/>
                    </a:lnTo>
                    <a:lnTo>
                      <a:pt x="89" y="23"/>
                    </a:lnTo>
                    <a:lnTo>
                      <a:pt x="86" y="23"/>
                    </a:lnTo>
                    <a:lnTo>
                      <a:pt x="86" y="23"/>
                    </a:lnTo>
                    <a:lnTo>
                      <a:pt x="80" y="14"/>
                    </a:lnTo>
                    <a:lnTo>
                      <a:pt x="72" y="9"/>
                    </a:lnTo>
                    <a:lnTo>
                      <a:pt x="66" y="9"/>
                    </a:lnTo>
                    <a:lnTo>
                      <a:pt x="66" y="9"/>
                    </a:lnTo>
                    <a:lnTo>
                      <a:pt x="64" y="3"/>
                    </a:lnTo>
                    <a:lnTo>
                      <a:pt x="61" y="0"/>
                    </a:lnTo>
                    <a:lnTo>
                      <a:pt x="58" y="3"/>
                    </a:lnTo>
                    <a:lnTo>
                      <a:pt x="55" y="6"/>
                    </a:lnTo>
                    <a:lnTo>
                      <a:pt x="50" y="6"/>
                    </a:lnTo>
                    <a:lnTo>
                      <a:pt x="41" y="3"/>
                    </a:lnTo>
                    <a:lnTo>
                      <a:pt x="36" y="3"/>
                    </a:lnTo>
                    <a:lnTo>
                      <a:pt x="33" y="3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27" y="3"/>
                    </a:lnTo>
                    <a:lnTo>
                      <a:pt x="25" y="3"/>
                    </a:lnTo>
                    <a:lnTo>
                      <a:pt x="16" y="3"/>
                    </a:lnTo>
                    <a:lnTo>
                      <a:pt x="8" y="6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1" name="Freeform 1024"/>
              <p:cNvSpPr>
                <a:spLocks noChangeAspect="1"/>
              </p:cNvSpPr>
              <p:nvPr>
                <p:custDataLst>
                  <p:tags r:id="rId869"/>
                </p:custDataLst>
              </p:nvPr>
            </p:nvSpPr>
            <p:spPr bwMode="gray">
              <a:xfrm>
                <a:off x="6061826" y="3810507"/>
                <a:ext cx="4555" cy="157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  <a:gd name="T12" fmla="*/ 0 w 3"/>
                  <a:gd name="T13" fmla="*/ 0 h 3"/>
                  <a:gd name="T14" fmla="*/ 3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2" name="Freeform 1025"/>
              <p:cNvSpPr>
                <a:spLocks noChangeAspect="1"/>
              </p:cNvSpPr>
              <p:nvPr>
                <p:custDataLst>
                  <p:tags r:id="rId870"/>
                </p:custDataLst>
              </p:nvPr>
            </p:nvSpPr>
            <p:spPr bwMode="gray">
              <a:xfrm>
                <a:off x="6061826" y="3810507"/>
                <a:ext cx="4555" cy="157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  <a:gd name="T12" fmla="*/ 0 w 3"/>
                  <a:gd name="T13" fmla="*/ 0 h 3"/>
                  <a:gd name="T14" fmla="*/ 3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3" name="Freeform 1026"/>
              <p:cNvSpPr>
                <a:spLocks noChangeAspect="1"/>
              </p:cNvSpPr>
              <p:nvPr>
                <p:custDataLst>
                  <p:tags r:id="rId871"/>
                </p:custDataLst>
              </p:nvPr>
            </p:nvSpPr>
            <p:spPr bwMode="gray">
              <a:xfrm>
                <a:off x="6066380" y="3805777"/>
                <a:ext cx="1519" cy="4730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3 h 3"/>
                  <a:gd name="T4" fmla="*/ 3 h 3"/>
                  <a:gd name="T5" fmla="*/ 3 h 3"/>
                  <a:gd name="T6" fmla="*/ 3 h 3"/>
                  <a:gd name="T7" fmla="*/ 3 h 3"/>
                  <a:gd name="T8" fmla="*/ 3 h 3"/>
                  <a:gd name="T9" fmla="*/ 3 h 3"/>
                  <a:gd name="T10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4" name="Freeform 1027"/>
              <p:cNvSpPr>
                <a:spLocks noChangeAspect="1"/>
              </p:cNvSpPr>
              <p:nvPr>
                <p:custDataLst>
                  <p:tags r:id="rId872"/>
                </p:custDataLst>
              </p:nvPr>
            </p:nvSpPr>
            <p:spPr bwMode="gray">
              <a:xfrm>
                <a:off x="6066380" y="3805777"/>
                <a:ext cx="1519" cy="4730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3 h 3"/>
                  <a:gd name="T4" fmla="*/ 3 h 3"/>
                  <a:gd name="T5" fmla="*/ 3 h 3"/>
                  <a:gd name="T6" fmla="*/ 3 h 3"/>
                  <a:gd name="T7" fmla="*/ 3 h 3"/>
                  <a:gd name="T8" fmla="*/ 3 h 3"/>
                  <a:gd name="T9" fmla="*/ 3 h 3"/>
                  <a:gd name="T10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5" name="Freeform 1028"/>
              <p:cNvSpPr>
                <a:spLocks noChangeAspect="1"/>
              </p:cNvSpPr>
              <p:nvPr>
                <p:custDataLst>
                  <p:tags r:id="rId873"/>
                </p:custDataLst>
              </p:nvPr>
            </p:nvSpPr>
            <p:spPr bwMode="gray">
              <a:xfrm>
                <a:off x="6066380" y="3810507"/>
                <a:ext cx="3037" cy="157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0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3 h 3"/>
                  <a:gd name="T12" fmla="*/ 3 w 3"/>
                  <a:gd name="T13" fmla="*/ 3 h 3"/>
                  <a:gd name="T14" fmla="*/ 3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6" name="Freeform 1029"/>
              <p:cNvSpPr>
                <a:spLocks noChangeAspect="1"/>
              </p:cNvSpPr>
              <p:nvPr>
                <p:custDataLst>
                  <p:tags r:id="rId874"/>
                </p:custDataLst>
              </p:nvPr>
            </p:nvSpPr>
            <p:spPr bwMode="gray">
              <a:xfrm>
                <a:off x="6066380" y="3810507"/>
                <a:ext cx="3037" cy="157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0 h 3"/>
                  <a:gd name="T6" fmla="*/ 3 w 3"/>
                  <a:gd name="T7" fmla="*/ 0 h 3"/>
                  <a:gd name="T8" fmla="*/ 3 w 3"/>
                  <a:gd name="T9" fmla="*/ 0 h 3"/>
                  <a:gd name="T10" fmla="*/ 0 w 3"/>
                  <a:gd name="T11" fmla="*/ 3 h 3"/>
                  <a:gd name="T12" fmla="*/ 3 w 3"/>
                  <a:gd name="T13" fmla="*/ 3 h 3"/>
                  <a:gd name="T14" fmla="*/ 3 w 3"/>
                  <a:gd name="T15" fmla="*/ 3 h 3"/>
                  <a:gd name="T16" fmla="*/ 3 w 3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7" name="Freeform 1042"/>
              <p:cNvSpPr>
                <a:spLocks noChangeAspect="1"/>
              </p:cNvSpPr>
              <p:nvPr>
                <p:custDataLst>
                  <p:tags r:id="rId875"/>
                </p:custDataLst>
              </p:nvPr>
            </p:nvSpPr>
            <p:spPr bwMode="gray">
              <a:xfrm>
                <a:off x="5685248" y="2784050"/>
                <a:ext cx="195881" cy="167134"/>
              </a:xfrm>
              <a:custGeom>
                <a:avLst/>
                <a:gdLst>
                  <a:gd name="T0" fmla="*/ 3 w 150"/>
                  <a:gd name="T1" fmla="*/ 108 h 130"/>
                  <a:gd name="T2" fmla="*/ 8 w 150"/>
                  <a:gd name="T3" fmla="*/ 97 h 130"/>
                  <a:gd name="T4" fmla="*/ 8 w 150"/>
                  <a:gd name="T5" fmla="*/ 61 h 130"/>
                  <a:gd name="T6" fmla="*/ 19 w 150"/>
                  <a:gd name="T7" fmla="*/ 61 h 130"/>
                  <a:gd name="T8" fmla="*/ 28 w 150"/>
                  <a:gd name="T9" fmla="*/ 61 h 130"/>
                  <a:gd name="T10" fmla="*/ 31 w 150"/>
                  <a:gd name="T11" fmla="*/ 55 h 130"/>
                  <a:gd name="T12" fmla="*/ 36 w 150"/>
                  <a:gd name="T13" fmla="*/ 52 h 130"/>
                  <a:gd name="T14" fmla="*/ 42 w 150"/>
                  <a:gd name="T15" fmla="*/ 55 h 130"/>
                  <a:gd name="T16" fmla="*/ 39 w 150"/>
                  <a:gd name="T17" fmla="*/ 47 h 130"/>
                  <a:gd name="T18" fmla="*/ 44 w 150"/>
                  <a:gd name="T19" fmla="*/ 33 h 130"/>
                  <a:gd name="T20" fmla="*/ 53 w 150"/>
                  <a:gd name="T21" fmla="*/ 30 h 130"/>
                  <a:gd name="T22" fmla="*/ 53 w 150"/>
                  <a:gd name="T23" fmla="*/ 22 h 130"/>
                  <a:gd name="T24" fmla="*/ 56 w 150"/>
                  <a:gd name="T25" fmla="*/ 16 h 130"/>
                  <a:gd name="T26" fmla="*/ 61 w 150"/>
                  <a:gd name="T27" fmla="*/ 14 h 130"/>
                  <a:gd name="T28" fmla="*/ 67 w 150"/>
                  <a:gd name="T29" fmla="*/ 11 h 130"/>
                  <a:gd name="T30" fmla="*/ 72 w 150"/>
                  <a:gd name="T31" fmla="*/ 5 h 130"/>
                  <a:gd name="T32" fmla="*/ 81 w 150"/>
                  <a:gd name="T33" fmla="*/ 2 h 130"/>
                  <a:gd name="T34" fmla="*/ 89 w 150"/>
                  <a:gd name="T35" fmla="*/ 5 h 130"/>
                  <a:gd name="T36" fmla="*/ 100 w 150"/>
                  <a:gd name="T37" fmla="*/ 8 h 130"/>
                  <a:gd name="T38" fmla="*/ 106 w 150"/>
                  <a:gd name="T39" fmla="*/ 11 h 130"/>
                  <a:gd name="T40" fmla="*/ 117 w 150"/>
                  <a:gd name="T41" fmla="*/ 11 h 130"/>
                  <a:gd name="T42" fmla="*/ 122 w 150"/>
                  <a:gd name="T43" fmla="*/ 19 h 130"/>
                  <a:gd name="T44" fmla="*/ 122 w 150"/>
                  <a:gd name="T45" fmla="*/ 25 h 130"/>
                  <a:gd name="T46" fmla="*/ 122 w 150"/>
                  <a:gd name="T47" fmla="*/ 33 h 130"/>
                  <a:gd name="T48" fmla="*/ 125 w 150"/>
                  <a:gd name="T49" fmla="*/ 41 h 130"/>
                  <a:gd name="T50" fmla="*/ 136 w 150"/>
                  <a:gd name="T51" fmla="*/ 58 h 130"/>
                  <a:gd name="T52" fmla="*/ 136 w 150"/>
                  <a:gd name="T53" fmla="*/ 64 h 130"/>
                  <a:gd name="T54" fmla="*/ 148 w 150"/>
                  <a:gd name="T55" fmla="*/ 66 h 130"/>
                  <a:gd name="T56" fmla="*/ 150 w 150"/>
                  <a:gd name="T57" fmla="*/ 69 h 130"/>
                  <a:gd name="T58" fmla="*/ 139 w 150"/>
                  <a:gd name="T59" fmla="*/ 80 h 130"/>
                  <a:gd name="T60" fmla="*/ 131 w 150"/>
                  <a:gd name="T61" fmla="*/ 78 h 130"/>
                  <a:gd name="T62" fmla="*/ 128 w 150"/>
                  <a:gd name="T63" fmla="*/ 83 h 130"/>
                  <a:gd name="T64" fmla="*/ 131 w 150"/>
                  <a:gd name="T65" fmla="*/ 91 h 130"/>
                  <a:gd name="T66" fmla="*/ 134 w 150"/>
                  <a:gd name="T67" fmla="*/ 97 h 130"/>
                  <a:gd name="T68" fmla="*/ 136 w 150"/>
                  <a:gd name="T69" fmla="*/ 108 h 130"/>
                  <a:gd name="T70" fmla="*/ 125 w 150"/>
                  <a:gd name="T71" fmla="*/ 108 h 130"/>
                  <a:gd name="T72" fmla="*/ 117 w 150"/>
                  <a:gd name="T73" fmla="*/ 117 h 130"/>
                  <a:gd name="T74" fmla="*/ 117 w 150"/>
                  <a:gd name="T75" fmla="*/ 128 h 130"/>
                  <a:gd name="T76" fmla="*/ 114 w 150"/>
                  <a:gd name="T77" fmla="*/ 128 h 130"/>
                  <a:gd name="T78" fmla="*/ 100 w 150"/>
                  <a:gd name="T79" fmla="*/ 128 h 130"/>
                  <a:gd name="T80" fmla="*/ 92 w 150"/>
                  <a:gd name="T81" fmla="*/ 122 h 130"/>
                  <a:gd name="T82" fmla="*/ 83 w 150"/>
                  <a:gd name="T83" fmla="*/ 125 h 130"/>
                  <a:gd name="T84" fmla="*/ 78 w 150"/>
                  <a:gd name="T85" fmla="*/ 122 h 130"/>
                  <a:gd name="T86" fmla="*/ 72 w 150"/>
                  <a:gd name="T87" fmla="*/ 125 h 130"/>
                  <a:gd name="T88" fmla="*/ 67 w 150"/>
                  <a:gd name="T89" fmla="*/ 122 h 130"/>
                  <a:gd name="T90" fmla="*/ 61 w 150"/>
                  <a:gd name="T91" fmla="*/ 119 h 130"/>
                  <a:gd name="T92" fmla="*/ 44 w 150"/>
                  <a:gd name="T93" fmla="*/ 114 h 130"/>
                  <a:gd name="T94" fmla="*/ 33 w 150"/>
                  <a:gd name="T95" fmla="*/ 111 h 130"/>
                  <a:gd name="T96" fmla="*/ 17 w 150"/>
                  <a:gd name="T97" fmla="*/ 119 h 130"/>
                  <a:gd name="T98" fmla="*/ 6 w 150"/>
                  <a:gd name="T99" fmla="*/ 119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0" h="130">
                    <a:moveTo>
                      <a:pt x="6" y="122"/>
                    </a:moveTo>
                    <a:lnTo>
                      <a:pt x="6" y="111"/>
                    </a:lnTo>
                    <a:lnTo>
                      <a:pt x="3" y="108"/>
                    </a:lnTo>
                    <a:lnTo>
                      <a:pt x="0" y="103"/>
                    </a:lnTo>
                    <a:lnTo>
                      <a:pt x="3" y="100"/>
                    </a:lnTo>
                    <a:lnTo>
                      <a:pt x="8" y="97"/>
                    </a:lnTo>
                    <a:lnTo>
                      <a:pt x="11" y="94"/>
                    </a:lnTo>
                    <a:lnTo>
                      <a:pt x="6" y="61"/>
                    </a:lnTo>
                    <a:lnTo>
                      <a:pt x="8" y="61"/>
                    </a:lnTo>
                    <a:lnTo>
                      <a:pt x="14" y="61"/>
                    </a:lnTo>
                    <a:lnTo>
                      <a:pt x="19" y="61"/>
                    </a:lnTo>
                    <a:lnTo>
                      <a:pt x="19" y="61"/>
                    </a:lnTo>
                    <a:lnTo>
                      <a:pt x="22" y="58"/>
                    </a:lnTo>
                    <a:lnTo>
                      <a:pt x="25" y="61"/>
                    </a:lnTo>
                    <a:lnTo>
                      <a:pt x="28" y="61"/>
                    </a:lnTo>
                    <a:lnTo>
                      <a:pt x="25" y="55"/>
                    </a:lnTo>
                    <a:lnTo>
                      <a:pt x="28" y="55"/>
                    </a:lnTo>
                    <a:lnTo>
                      <a:pt x="31" y="55"/>
                    </a:lnTo>
                    <a:lnTo>
                      <a:pt x="31" y="52"/>
                    </a:lnTo>
                    <a:lnTo>
                      <a:pt x="33" y="52"/>
                    </a:lnTo>
                    <a:lnTo>
                      <a:pt x="36" y="52"/>
                    </a:lnTo>
                    <a:lnTo>
                      <a:pt x="36" y="55"/>
                    </a:lnTo>
                    <a:lnTo>
                      <a:pt x="39" y="55"/>
                    </a:lnTo>
                    <a:lnTo>
                      <a:pt x="42" y="55"/>
                    </a:lnTo>
                    <a:lnTo>
                      <a:pt x="42" y="52"/>
                    </a:lnTo>
                    <a:lnTo>
                      <a:pt x="39" y="50"/>
                    </a:lnTo>
                    <a:lnTo>
                      <a:pt x="39" y="47"/>
                    </a:lnTo>
                    <a:lnTo>
                      <a:pt x="42" y="41"/>
                    </a:lnTo>
                    <a:lnTo>
                      <a:pt x="42" y="33"/>
                    </a:lnTo>
                    <a:lnTo>
                      <a:pt x="44" y="33"/>
                    </a:lnTo>
                    <a:lnTo>
                      <a:pt x="47" y="30"/>
                    </a:lnTo>
                    <a:lnTo>
                      <a:pt x="50" y="27"/>
                    </a:lnTo>
                    <a:lnTo>
                      <a:pt x="53" y="30"/>
                    </a:lnTo>
                    <a:lnTo>
                      <a:pt x="56" y="25"/>
                    </a:lnTo>
                    <a:lnTo>
                      <a:pt x="56" y="22"/>
                    </a:lnTo>
                    <a:lnTo>
                      <a:pt x="53" y="22"/>
                    </a:lnTo>
                    <a:lnTo>
                      <a:pt x="53" y="19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8" y="16"/>
                    </a:lnTo>
                    <a:lnTo>
                      <a:pt x="61" y="14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7" y="11"/>
                    </a:lnTo>
                    <a:lnTo>
                      <a:pt x="70" y="11"/>
                    </a:lnTo>
                    <a:lnTo>
                      <a:pt x="72" y="8"/>
                    </a:lnTo>
                    <a:lnTo>
                      <a:pt x="72" y="5"/>
                    </a:lnTo>
                    <a:lnTo>
                      <a:pt x="78" y="0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6" y="2"/>
                    </a:lnTo>
                    <a:lnTo>
                      <a:pt x="89" y="2"/>
                    </a:lnTo>
                    <a:lnTo>
                      <a:pt x="89" y="5"/>
                    </a:lnTo>
                    <a:lnTo>
                      <a:pt x="95" y="5"/>
                    </a:lnTo>
                    <a:lnTo>
                      <a:pt x="97" y="5"/>
                    </a:lnTo>
                    <a:lnTo>
                      <a:pt x="100" y="8"/>
                    </a:lnTo>
                    <a:lnTo>
                      <a:pt x="100" y="14"/>
                    </a:lnTo>
                    <a:lnTo>
                      <a:pt x="103" y="11"/>
                    </a:lnTo>
                    <a:lnTo>
                      <a:pt x="106" y="11"/>
                    </a:lnTo>
                    <a:lnTo>
                      <a:pt x="106" y="8"/>
                    </a:lnTo>
                    <a:lnTo>
                      <a:pt x="114" y="8"/>
                    </a:lnTo>
                    <a:lnTo>
                      <a:pt x="117" y="11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2" y="19"/>
                    </a:lnTo>
                    <a:lnTo>
                      <a:pt x="122" y="22"/>
                    </a:lnTo>
                    <a:lnTo>
                      <a:pt x="122" y="25"/>
                    </a:lnTo>
                    <a:lnTo>
                      <a:pt x="122" y="25"/>
                    </a:lnTo>
                    <a:lnTo>
                      <a:pt x="125" y="27"/>
                    </a:lnTo>
                    <a:lnTo>
                      <a:pt x="122" y="33"/>
                    </a:lnTo>
                    <a:lnTo>
                      <a:pt x="122" y="33"/>
                    </a:lnTo>
                    <a:lnTo>
                      <a:pt x="120" y="36"/>
                    </a:lnTo>
                    <a:lnTo>
                      <a:pt x="122" y="39"/>
                    </a:lnTo>
                    <a:lnTo>
                      <a:pt x="125" y="41"/>
                    </a:lnTo>
                    <a:lnTo>
                      <a:pt x="131" y="52"/>
                    </a:lnTo>
                    <a:lnTo>
                      <a:pt x="134" y="55"/>
                    </a:lnTo>
                    <a:lnTo>
                      <a:pt x="136" y="58"/>
                    </a:lnTo>
                    <a:lnTo>
                      <a:pt x="136" y="61"/>
                    </a:lnTo>
                    <a:lnTo>
                      <a:pt x="136" y="64"/>
                    </a:lnTo>
                    <a:lnTo>
                      <a:pt x="136" y="64"/>
                    </a:lnTo>
                    <a:lnTo>
                      <a:pt x="145" y="64"/>
                    </a:lnTo>
                    <a:lnTo>
                      <a:pt x="145" y="66"/>
                    </a:lnTo>
                    <a:lnTo>
                      <a:pt x="148" y="66"/>
                    </a:lnTo>
                    <a:lnTo>
                      <a:pt x="148" y="69"/>
                    </a:lnTo>
                    <a:lnTo>
                      <a:pt x="148" y="69"/>
                    </a:lnTo>
                    <a:lnTo>
                      <a:pt x="150" y="69"/>
                    </a:lnTo>
                    <a:lnTo>
                      <a:pt x="150" y="75"/>
                    </a:lnTo>
                    <a:lnTo>
                      <a:pt x="142" y="80"/>
                    </a:lnTo>
                    <a:lnTo>
                      <a:pt x="139" y="80"/>
                    </a:lnTo>
                    <a:lnTo>
                      <a:pt x="134" y="78"/>
                    </a:lnTo>
                    <a:lnTo>
                      <a:pt x="131" y="78"/>
                    </a:lnTo>
                    <a:lnTo>
                      <a:pt x="131" y="78"/>
                    </a:lnTo>
                    <a:lnTo>
                      <a:pt x="131" y="80"/>
                    </a:lnTo>
                    <a:lnTo>
                      <a:pt x="128" y="83"/>
                    </a:lnTo>
                    <a:lnTo>
                      <a:pt x="128" y="83"/>
                    </a:lnTo>
                    <a:lnTo>
                      <a:pt x="131" y="86"/>
                    </a:lnTo>
                    <a:lnTo>
                      <a:pt x="131" y="89"/>
                    </a:lnTo>
                    <a:lnTo>
                      <a:pt x="131" y="91"/>
                    </a:lnTo>
                    <a:lnTo>
                      <a:pt x="134" y="94"/>
                    </a:lnTo>
                    <a:lnTo>
                      <a:pt x="131" y="94"/>
                    </a:lnTo>
                    <a:lnTo>
                      <a:pt x="134" y="97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6" y="108"/>
                    </a:lnTo>
                    <a:lnTo>
                      <a:pt x="131" y="108"/>
                    </a:lnTo>
                    <a:lnTo>
                      <a:pt x="128" y="108"/>
                    </a:lnTo>
                    <a:lnTo>
                      <a:pt x="125" y="108"/>
                    </a:lnTo>
                    <a:lnTo>
                      <a:pt x="122" y="111"/>
                    </a:lnTo>
                    <a:lnTo>
                      <a:pt x="120" y="114"/>
                    </a:lnTo>
                    <a:lnTo>
                      <a:pt x="117" y="117"/>
                    </a:lnTo>
                    <a:lnTo>
                      <a:pt x="117" y="119"/>
                    </a:lnTo>
                    <a:lnTo>
                      <a:pt x="117" y="122"/>
                    </a:lnTo>
                    <a:lnTo>
                      <a:pt x="117" y="128"/>
                    </a:lnTo>
                    <a:lnTo>
                      <a:pt x="117" y="128"/>
                    </a:lnTo>
                    <a:lnTo>
                      <a:pt x="114" y="130"/>
                    </a:lnTo>
                    <a:lnTo>
                      <a:pt x="114" y="128"/>
                    </a:lnTo>
                    <a:lnTo>
                      <a:pt x="111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97" y="128"/>
                    </a:lnTo>
                    <a:lnTo>
                      <a:pt x="97" y="125"/>
                    </a:lnTo>
                    <a:lnTo>
                      <a:pt x="92" y="122"/>
                    </a:lnTo>
                    <a:lnTo>
                      <a:pt x="89" y="128"/>
                    </a:lnTo>
                    <a:lnTo>
                      <a:pt x="86" y="125"/>
                    </a:lnTo>
                    <a:lnTo>
                      <a:pt x="83" y="125"/>
                    </a:lnTo>
                    <a:lnTo>
                      <a:pt x="83" y="125"/>
                    </a:lnTo>
                    <a:lnTo>
                      <a:pt x="81" y="125"/>
                    </a:lnTo>
                    <a:lnTo>
                      <a:pt x="78" y="122"/>
                    </a:lnTo>
                    <a:lnTo>
                      <a:pt x="78" y="125"/>
                    </a:lnTo>
                    <a:lnTo>
                      <a:pt x="75" y="125"/>
                    </a:lnTo>
                    <a:lnTo>
                      <a:pt x="72" y="125"/>
                    </a:lnTo>
                    <a:lnTo>
                      <a:pt x="70" y="128"/>
                    </a:lnTo>
                    <a:lnTo>
                      <a:pt x="70" y="125"/>
                    </a:lnTo>
                    <a:lnTo>
                      <a:pt x="67" y="122"/>
                    </a:lnTo>
                    <a:lnTo>
                      <a:pt x="64" y="122"/>
                    </a:lnTo>
                    <a:lnTo>
                      <a:pt x="61" y="122"/>
                    </a:lnTo>
                    <a:lnTo>
                      <a:pt x="61" y="119"/>
                    </a:lnTo>
                    <a:lnTo>
                      <a:pt x="56" y="117"/>
                    </a:lnTo>
                    <a:lnTo>
                      <a:pt x="53" y="117"/>
                    </a:lnTo>
                    <a:lnTo>
                      <a:pt x="44" y="114"/>
                    </a:lnTo>
                    <a:lnTo>
                      <a:pt x="42" y="114"/>
                    </a:lnTo>
                    <a:lnTo>
                      <a:pt x="33" y="114"/>
                    </a:lnTo>
                    <a:lnTo>
                      <a:pt x="33" y="111"/>
                    </a:lnTo>
                    <a:lnTo>
                      <a:pt x="19" y="114"/>
                    </a:lnTo>
                    <a:lnTo>
                      <a:pt x="17" y="117"/>
                    </a:lnTo>
                    <a:lnTo>
                      <a:pt x="17" y="119"/>
                    </a:lnTo>
                    <a:lnTo>
                      <a:pt x="11" y="119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8" name="Freeform 1043"/>
              <p:cNvSpPr>
                <a:spLocks noChangeAspect="1"/>
              </p:cNvSpPr>
              <p:nvPr>
                <p:custDataLst>
                  <p:tags r:id="rId876"/>
                </p:custDataLst>
              </p:nvPr>
            </p:nvSpPr>
            <p:spPr bwMode="gray">
              <a:xfrm>
                <a:off x="5557697" y="3006369"/>
                <a:ext cx="113883" cy="53610"/>
              </a:xfrm>
              <a:custGeom>
                <a:avLst/>
                <a:gdLst>
                  <a:gd name="T0" fmla="*/ 81 w 87"/>
                  <a:gd name="T1" fmla="*/ 28 h 42"/>
                  <a:gd name="T2" fmla="*/ 78 w 87"/>
                  <a:gd name="T3" fmla="*/ 28 h 42"/>
                  <a:gd name="T4" fmla="*/ 73 w 87"/>
                  <a:gd name="T5" fmla="*/ 25 h 42"/>
                  <a:gd name="T6" fmla="*/ 67 w 87"/>
                  <a:gd name="T7" fmla="*/ 23 h 42"/>
                  <a:gd name="T8" fmla="*/ 65 w 87"/>
                  <a:gd name="T9" fmla="*/ 25 h 42"/>
                  <a:gd name="T10" fmla="*/ 62 w 87"/>
                  <a:gd name="T11" fmla="*/ 25 h 42"/>
                  <a:gd name="T12" fmla="*/ 56 w 87"/>
                  <a:gd name="T13" fmla="*/ 28 h 42"/>
                  <a:gd name="T14" fmla="*/ 53 w 87"/>
                  <a:gd name="T15" fmla="*/ 31 h 42"/>
                  <a:gd name="T16" fmla="*/ 48 w 87"/>
                  <a:gd name="T17" fmla="*/ 34 h 42"/>
                  <a:gd name="T18" fmla="*/ 42 w 87"/>
                  <a:gd name="T19" fmla="*/ 31 h 42"/>
                  <a:gd name="T20" fmla="*/ 28 w 87"/>
                  <a:gd name="T21" fmla="*/ 36 h 42"/>
                  <a:gd name="T22" fmla="*/ 26 w 87"/>
                  <a:gd name="T23" fmla="*/ 42 h 42"/>
                  <a:gd name="T24" fmla="*/ 14 w 87"/>
                  <a:gd name="T25" fmla="*/ 42 h 42"/>
                  <a:gd name="T26" fmla="*/ 3 w 87"/>
                  <a:gd name="T27" fmla="*/ 36 h 42"/>
                  <a:gd name="T28" fmla="*/ 0 w 87"/>
                  <a:gd name="T29" fmla="*/ 25 h 42"/>
                  <a:gd name="T30" fmla="*/ 3 w 87"/>
                  <a:gd name="T31" fmla="*/ 20 h 42"/>
                  <a:gd name="T32" fmla="*/ 6 w 87"/>
                  <a:gd name="T33" fmla="*/ 20 h 42"/>
                  <a:gd name="T34" fmla="*/ 6 w 87"/>
                  <a:gd name="T35" fmla="*/ 20 h 42"/>
                  <a:gd name="T36" fmla="*/ 12 w 87"/>
                  <a:gd name="T37" fmla="*/ 20 h 42"/>
                  <a:gd name="T38" fmla="*/ 14 w 87"/>
                  <a:gd name="T39" fmla="*/ 17 h 42"/>
                  <a:gd name="T40" fmla="*/ 14 w 87"/>
                  <a:gd name="T41" fmla="*/ 14 h 42"/>
                  <a:gd name="T42" fmla="*/ 17 w 87"/>
                  <a:gd name="T43" fmla="*/ 14 h 42"/>
                  <a:gd name="T44" fmla="*/ 20 w 87"/>
                  <a:gd name="T45" fmla="*/ 11 h 42"/>
                  <a:gd name="T46" fmla="*/ 20 w 87"/>
                  <a:gd name="T47" fmla="*/ 9 h 42"/>
                  <a:gd name="T48" fmla="*/ 20 w 87"/>
                  <a:gd name="T49" fmla="*/ 6 h 42"/>
                  <a:gd name="T50" fmla="*/ 23 w 87"/>
                  <a:gd name="T51" fmla="*/ 6 h 42"/>
                  <a:gd name="T52" fmla="*/ 26 w 87"/>
                  <a:gd name="T53" fmla="*/ 3 h 42"/>
                  <a:gd name="T54" fmla="*/ 28 w 87"/>
                  <a:gd name="T55" fmla="*/ 3 h 42"/>
                  <a:gd name="T56" fmla="*/ 31 w 87"/>
                  <a:gd name="T57" fmla="*/ 0 h 42"/>
                  <a:gd name="T58" fmla="*/ 34 w 87"/>
                  <a:gd name="T59" fmla="*/ 3 h 42"/>
                  <a:gd name="T60" fmla="*/ 39 w 87"/>
                  <a:gd name="T61" fmla="*/ 0 h 42"/>
                  <a:gd name="T62" fmla="*/ 48 w 87"/>
                  <a:gd name="T63" fmla="*/ 9 h 42"/>
                  <a:gd name="T64" fmla="*/ 48 w 87"/>
                  <a:gd name="T65" fmla="*/ 9 h 42"/>
                  <a:gd name="T66" fmla="*/ 53 w 87"/>
                  <a:gd name="T67" fmla="*/ 6 h 42"/>
                  <a:gd name="T68" fmla="*/ 53 w 87"/>
                  <a:gd name="T69" fmla="*/ 3 h 42"/>
                  <a:gd name="T70" fmla="*/ 59 w 87"/>
                  <a:gd name="T71" fmla="*/ 3 h 42"/>
                  <a:gd name="T72" fmla="*/ 62 w 87"/>
                  <a:gd name="T73" fmla="*/ 6 h 42"/>
                  <a:gd name="T74" fmla="*/ 67 w 87"/>
                  <a:gd name="T75" fmla="*/ 3 h 42"/>
                  <a:gd name="T76" fmla="*/ 76 w 87"/>
                  <a:gd name="T77" fmla="*/ 3 h 42"/>
                  <a:gd name="T78" fmla="*/ 84 w 87"/>
                  <a:gd name="T79" fmla="*/ 9 h 42"/>
                  <a:gd name="T80" fmla="*/ 87 w 87"/>
                  <a:gd name="T81" fmla="*/ 11 h 42"/>
                  <a:gd name="T82" fmla="*/ 81 w 87"/>
                  <a:gd name="T83" fmla="*/ 28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7" h="42">
                    <a:moveTo>
                      <a:pt x="81" y="28"/>
                    </a:moveTo>
                    <a:lnTo>
                      <a:pt x="78" y="28"/>
                    </a:lnTo>
                    <a:lnTo>
                      <a:pt x="73" y="25"/>
                    </a:lnTo>
                    <a:lnTo>
                      <a:pt x="67" y="23"/>
                    </a:lnTo>
                    <a:lnTo>
                      <a:pt x="65" y="25"/>
                    </a:lnTo>
                    <a:lnTo>
                      <a:pt x="62" y="25"/>
                    </a:lnTo>
                    <a:lnTo>
                      <a:pt x="56" y="28"/>
                    </a:lnTo>
                    <a:lnTo>
                      <a:pt x="53" y="31"/>
                    </a:lnTo>
                    <a:lnTo>
                      <a:pt x="48" y="34"/>
                    </a:lnTo>
                    <a:lnTo>
                      <a:pt x="42" y="31"/>
                    </a:lnTo>
                    <a:lnTo>
                      <a:pt x="28" y="36"/>
                    </a:lnTo>
                    <a:lnTo>
                      <a:pt x="26" y="42"/>
                    </a:lnTo>
                    <a:lnTo>
                      <a:pt x="14" y="42"/>
                    </a:lnTo>
                    <a:lnTo>
                      <a:pt x="3" y="36"/>
                    </a:lnTo>
                    <a:lnTo>
                      <a:pt x="0" y="25"/>
                    </a:lnTo>
                    <a:lnTo>
                      <a:pt x="3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4" y="17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20" y="11"/>
                    </a:lnTo>
                    <a:lnTo>
                      <a:pt x="20" y="9"/>
                    </a:lnTo>
                    <a:lnTo>
                      <a:pt x="20" y="6"/>
                    </a:lnTo>
                    <a:lnTo>
                      <a:pt x="23" y="6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31" y="0"/>
                    </a:lnTo>
                    <a:lnTo>
                      <a:pt x="34" y="3"/>
                    </a:lnTo>
                    <a:lnTo>
                      <a:pt x="39" y="0"/>
                    </a:lnTo>
                    <a:lnTo>
                      <a:pt x="48" y="9"/>
                    </a:lnTo>
                    <a:lnTo>
                      <a:pt x="48" y="9"/>
                    </a:lnTo>
                    <a:lnTo>
                      <a:pt x="53" y="6"/>
                    </a:lnTo>
                    <a:lnTo>
                      <a:pt x="53" y="3"/>
                    </a:lnTo>
                    <a:lnTo>
                      <a:pt x="59" y="3"/>
                    </a:lnTo>
                    <a:lnTo>
                      <a:pt x="62" y="6"/>
                    </a:lnTo>
                    <a:lnTo>
                      <a:pt x="67" y="3"/>
                    </a:lnTo>
                    <a:lnTo>
                      <a:pt x="76" y="3"/>
                    </a:lnTo>
                    <a:lnTo>
                      <a:pt x="84" y="9"/>
                    </a:lnTo>
                    <a:lnTo>
                      <a:pt x="87" y="11"/>
                    </a:lnTo>
                    <a:lnTo>
                      <a:pt x="81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9" name="Freeform 1044"/>
              <p:cNvSpPr>
                <a:spLocks noChangeAspect="1"/>
              </p:cNvSpPr>
              <p:nvPr>
                <p:custDataLst>
                  <p:tags r:id="rId877"/>
                </p:custDataLst>
              </p:nvPr>
            </p:nvSpPr>
            <p:spPr bwMode="gray">
              <a:xfrm>
                <a:off x="5408889" y="3069440"/>
                <a:ext cx="6074" cy="12614"/>
              </a:xfrm>
              <a:custGeom>
                <a:avLst/>
                <a:gdLst>
                  <a:gd name="T0" fmla="*/ 3 w 3"/>
                  <a:gd name="T1" fmla="*/ 9 h 9"/>
                  <a:gd name="T2" fmla="*/ 3 w 3"/>
                  <a:gd name="T3" fmla="*/ 9 h 9"/>
                  <a:gd name="T4" fmla="*/ 3 w 3"/>
                  <a:gd name="T5" fmla="*/ 3 h 9"/>
                  <a:gd name="T6" fmla="*/ 0 w 3"/>
                  <a:gd name="T7" fmla="*/ 0 h 9"/>
                  <a:gd name="T8" fmla="*/ 0 w 3"/>
                  <a:gd name="T9" fmla="*/ 6 h 9"/>
                  <a:gd name="T10" fmla="*/ 3 w 3"/>
                  <a:gd name="T1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9">
                    <a:moveTo>
                      <a:pt x="3" y="9"/>
                    </a:moveTo>
                    <a:lnTo>
                      <a:pt x="3" y="9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0" name="Freeform 1045"/>
              <p:cNvSpPr>
                <a:spLocks noChangeAspect="1"/>
              </p:cNvSpPr>
              <p:nvPr>
                <p:custDataLst>
                  <p:tags r:id="rId878"/>
                </p:custDataLst>
              </p:nvPr>
            </p:nvSpPr>
            <p:spPr bwMode="gray">
              <a:xfrm>
                <a:off x="5408889" y="3069440"/>
                <a:ext cx="6074" cy="12614"/>
              </a:xfrm>
              <a:custGeom>
                <a:avLst/>
                <a:gdLst>
                  <a:gd name="T0" fmla="*/ 3 w 3"/>
                  <a:gd name="T1" fmla="*/ 9 h 9"/>
                  <a:gd name="T2" fmla="*/ 3 w 3"/>
                  <a:gd name="T3" fmla="*/ 9 h 9"/>
                  <a:gd name="T4" fmla="*/ 3 w 3"/>
                  <a:gd name="T5" fmla="*/ 3 h 9"/>
                  <a:gd name="T6" fmla="*/ 0 w 3"/>
                  <a:gd name="T7" fmla="*/ 0 h 9"/>
                  <a:gd name="T8" fmla="*/ 0 w 3"/>
                  <a:gd name="T9" fmla="*/ 6 h 9"/>
                  <a:gd name="T10" fmla="*/ 3 w 3"/>
                  <a:gd name="T1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9">
                    <a:moveTo>
                      <a:pt x="3" y="9"/>
                    </a:moveTo>
                    <a:lnTo>
                      <a:pt x="3" y="9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" y="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1" name="Freeform 1046"/>
              <p:cNvSpPr>
                <a:spLocks noChangeAspect="1"/>
              </p:cNvSpPr>
              <p:nvPr>
                <p:custDataLst>
                  <p:tags r:id="rId879"/>
                </p:custDataLst>
              </p:nvPr>
            </p:nvSpPr>
            <p:spPr bwMode="gray">
              <a:xfrm>
                <a:off x="5935794" y="3343791"/>
                <a:ext cx="145771" cy="124563"/>
              </a:xfrm>
              <a:custGeom>
                <a:avLst/>
                <a:gdLst>
                  <a:gd name="T0" fmla="*/ 86 w 111"/>
                  <a:gd name="T1" fmla="*/ 56 h 97"/>
                  <a:gd name="T2" fmla="*/ 92 w 111"/>
                  <a:gd name="T3" fmla="*/ 19 h 97"/>
                  <a:gd name="T4" fmla="*/ 106 w 111"/>
                  <a:gd name="T5" fmla="*/ 6 h 97"/>
                  <a:gd name="T6" fmla="*/ 109 w 111"/>
                  <a:gd name="T7" fmla="*/ 3 h 97"/>
                  <a:gd name="T8" fmla="*/ 109 w 111"/>
                  <a:gd name="T9" fmla="*/ 3 h 97"/>
                  <a:gd name="T10" fmla="*/ 106 w 111"/>
                  <a:gd name="T11" fmla="*/ 0 h 97"/>
                  <a:gd name="T12" fmla="*/ 97 w 111"/>
                  <a:gd name="T13" fmla="*/ 6 h 97"/>
                  <a:gd name="T14" fmla="*/ 86 w 111"/>
                  <a:gd name="T15" fmla="*/ 6 h 97"/>
                  <a:gd name="T16" fmla="*/ 72 w 111"/>
                  <a:gd name="T17" fmla="*/ 8 h 97"/>
                  <a:gd name="T18" fmla="*/ 70 w 111"/>
                  <a:gd name="T19" fmla="*/ 11 h 97"/>
                  <a:gd name="T20" fmla="*/ 50 w 111"/>
                  <a:gd name="T21" fmla="*/ 11 h 97"/>
                  <a:gd name="T22" fmla="*/ 47 w 111"/>
                  <a:gd name="T23" fmla="*/ 8 h 97"/>
                  <a:gd name="T24" fmla="*/ 33 w 111"/>
                  <a:gd name="T25" fmla="*/ 14 h 97"/>
                  <a:gd name="T26" fmla="*/ 28 w 111"/>
                  <a:gd name="T27" fmla="*/ 14 h 97"/>
                  <a:gd name="T28" fmla="*/ 25 w 111"/>
                  <a:gd name="T29" fmla="*/ 14 h 97"/>
                  <a:gd name="T30" fmla="*/ 25 w 111"/>
                  <a:gd name="T31" fmla="*/ 11 h 97"/>
                  <a:gd name="T32" fmla="*/ 22 w 111"/>
                  <a:gd name="T33" fmla="*/ 11 h 97"/>
                  <a:gd name="T34" fmla="*/ 20 w 111"/>
                  <a:gd name="T35" fmla="*/ 14 h 97"/>
                  <a:gd name="T36" fmla="*/ 20 w 111"/>
                  <a:gd name="T37" fmla="*/ 14 h 97"/>
                  <a:gd name="T38" fmla="*/ 20 w 111"/>
                  <a:gd name="T39" fmla="*/ 22 h 97"/>
                  <a:gd name="T40" fmla="*/ 20 w 111"/>
                  <a:gd name="T41" fmla="*/ 22 h 97"/>
                  <a:gd name="T42" fmla="*/ 14 w 111"/>
                  <a:gd name="T43" fmla="*/ 22 h 97"/>
                  <a:gd name="T44" fmla="*/ 14 w 111"/>
                  <a:gd name="T45" fmla="*/ 28 h 97"/>
                  <a:gd name="T46" fmla="*/ 11 w 111"/>
                  <a:gd name="T47" fmla="*/ 31 h 97"/>
                  <a:gd name="T48" fmla="*/ 8 w 111"/>
                  <a:gd name="T49" fmla="*/ 28 h 97"/>
                  <a:gd name="T50" fmla="*/ 8 w 111"/>
                  <a:gd name="T51" fmla="*/ 31 h 97"/>
                  <a:gd name="T52" fmla="*/ 8 w 111"/>
                  <a:gd name="T53" fmla="*/ 36 h 97"/>
                  <a:gd name="T54" fmla="*/ 8 w 111"/>
                  <a:gd name="T55" fmla="*/ 45 h 97"/>
                  <a:gd name="T56" fmla="*/ 8 w 111"/>
                  <a:gd name="T57" fmla="*/ 50 h 97"/>
                  <a:gd name="T58" fmla="*/ 14 w 111"/>
                  <a:gd name="T59" fmla="*/ 50 h 97"/>
                  <a:gd name="T60" fmla="*/ 14 w 111"/>
                  <a:gd name="T61" fmla="*/ 53 h 97"/>
                  <a:gd name="T62" fmla="*/ 17 w 111"/>
                  <a:gd name="T63" fmla="*/ 53 h 97"/>
                  <a:gd name="T64" fmla="*/ 17 w 111"/>
                  <a:gd name="T65" fmla="*/ 53 h 97"/>
                  <a:gd name="T66" fmla="*/ 14 w 111"/>
                  <a:gd name="T67" fmla="*/ 53 h 97"/>
                  <a:gd name="T68" fmla="*/ 17 w 111"/>
                  <a:gd name="T69" fmla="*/ 56 h 97"/>
                  <a:gd name="T70" fmla="*/ 20 w 111"/>
                  <a:gd name="T71" fmla="*/ 56 h 97"/>
                  <a:gd name="T72" fmla="*/ 20 w 111"/>
                  <a:gd name="T73" fmla="*/ 58 h 97"/>
                  <a:gd name="T74" fmla="*/ 20 w 111"/>
                  <a:gd name="T75" fmla="*/ 61 h 97"/>
                  <a:gd name="T76" fmla="*/ 20 w 111"/>
                  <a:gd name="T77" fmla="*/ 61 h 97"/>
                  <a:gd name="T78" fmla="*/ 17 w 111"/>
                  <a:gd name="T79" fmla="*/ 64 h 97"/>
                  <a:gd name="T80" fmla="*/ 14 w 111"/>
                  <a:gd name="T81" fmla="*/ 64 h 97"/>
                  <a:gd name="T82" fmla="*/ 14 w 111"/>
                  <a:gd name="T83" fmla="*/ 67 h 97"/>
                  <a:gd name="T84" fmla="*/ 17 w 111"/>
                  <a:gd name="T85" fmla="*/ 67 h 97"/>
                  <a:gd name="T86" fmla="*/ 14 w 111"/>
                  <a:gd name="T87" fmla="*/ 70 h 97"/>
                  <a:gd name="T88" fmla="*/ 8 w 111"/>
                  <a:gd name="T89" fmla="*/ 67 h 97"/>
                  <a:gd name="T90" fmla="*/ 8 w 111"/>
                  <a:gd name="T91" fmla="*/ 70 h 97"/>
                  <a:gd name="T92" fmla="*/ 8 w 111"/>
                  <a:gd name="T93" fmla="*/ 72 h 97"/>
                  <a:gd name="T94" fmla="*/ 8 w 111"/>
                  <a:gd name="T95" fmla="*/ 72 h 97"/>
                  <a:gd name="T96" fmla="*/ 6 w 111"/>
                  <a:gd name="T97" fmla="*/ 75 h 97"/>
                  <a:gd name="T98" fmla="*/ 3 w 111"/>
                  <a:gd name="T99" fmla="*/ 78 h 97"/>
                  <a:gd name="T100" fmla="*/ 3 w 111"/>
                  <a:gd name="T101" fmla="*/ 84 h 97"/>
                  <a:gd name="T102" fmla="*/ 3 w 111"/>
                  <a:gd name="T103" fmla="*/ 84 h 97"/>
                  <a:gd name="T104" fmla="*/ 3 w 111"/>
                  <a:gd name="T105" fmla="*/ 86 h 97"/>
                  <a:gd name="T106" fmla="*/ 3 w 111"/>
                  <a:gd name="T107" fmla="*/ 89 h 97"/>
                  <a:gd name="T108" fmla="*/ 6 w 111"/>
                  <a:gd name="T109" fmla="*/ 92 h 97"/>
                  <a:gd name="T110" fmla="*/ 17 w 111"/>
                  <a:gd name="T111" fmla="*/ 97 h 97"/>
                  <a:gd name="T112" fmla="*/ 53 w 111"/>
                  <a:gd name="T113" fmla="*/ 7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1" h="97">
                    <a:moveTo>
                      <a:pt x="53" y="78"/>
                    </a:moveTo>
                    <a:lnTo>
                      <a:pt x="86" y="56"/>
                    </a:lnTo>
                    <a:lnTo>
                      <a:pt x="89" y="50"/>
                    </a:lnTo>
                    <a:lnTo>
                      <a:pt x="92" y="19"/>
                    </a:lnTo>
                    <a:lnTo>
                      <a:pt x="100" y="14"/>
                    </a:lnTo>
                    <a:lnTo>
                      <a:pt x="106" y="6"/>
                    </a:lnTo>
                    <a:lnTo>
                      <a:pt x="111" y="3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09" y="3"/>
                    </a:lnTo>
                    <a:lnTo>
                      <a:pt x="106" y="3"/>
                    </a:lnTo>
                    <a:lnTo>
                      <a:pt x="106" y="0"/>
                    </a:lnTo>
                    <a:lnTo>
                      <a:pt x="103" y="3"/>
                    </a:lnTo>
                    <a:lnTo>
                      <a:pt x="97" y="6"/>
                    </a:lnTo>
                    <a:lnTo>
                      <a:pt x="89" y="6"/>
                    </a:lnTo>
                    <a:lnTo>
                      <a:pt x="86" y="6"/>
                    </a:lnTo>
                    <a:lnTo>
                      <a:pt x="78" y="6"/>
                    </a:lnTo>
                    <a:lnTo>
                      <a:pt x="72" y="8"/>
                    </a:lnTo>
                    <a:lnTo>
                      <a:pt x="70" y="11"/>
                    </a:lnTo>
                    <a:lnTo>
                      <a:pt x="70" y="11"/>
                    </a:lnTo>
                    <a:lnTo>
                      <a:pt x="59" y="14"/>
                    </a:lnTo>
                    <a:lnTo>
                      <a:pt x="50" y="11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42" y="8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28" y="14"/>
                    </a:lnTo>
                    <a:lnTo>
                      <a:pt x="25" y="14"/>
                    </a:lnTo>
                    <a:lnTo>
                      <a:pt x="25" y="14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17" y="14"/>
                    </a:lnTo>
                    <a:lnTo>
                      <a:pt x="20" y="14"/>
                    </a:lnTo>
                    <a:lnTo>
                      <a:pt x="17" y="17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7" y="22"/>
                    </a:lnTo>
                    <a:lnTo>
                      <a:pt x="14" y="22"/>
                    </a:lnTo>
                    <a:lnTo>
                      <a:pt x="14" y="25"/>
                    </a:lnTo>
                    <a:lnTo>
                      <a:pt x="14" y="28"/>
                    </a:lnTo>
                    <a:lnTo>
                      <a:pt x="11" y="28"/>
                    </a:lnTo>
                    <a:lnTo>
                      <a:pt x="11" y="31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1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8" y="39"/>
                    </a:lnTo>
                    <a:lnTo>
                      <a:pt x="8" y="45"/>
                    </a:lnTo>
                    <a:lnTo>
                      <a:pt x="8" y="47"/>
                    </a:lnTo>
                    <a:lnTo>
                      <a:pt x="8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3"/>
                    </a:lnTo>
                    <a:lnTo>
                      <a:pt x="17" y="53"/>
                    </a:lnTo>
                    <a:lnTo>
                      <a:pt x="17" y="53"/>
                    </a:lnTo>
                    <a:lnTo>
                      <a:pt x="17" y="53"/>
                    </a:lnTo>
                    <a:lnTo>
                      <a:pt x="17" y="53"/>
                    </a:lnTo>
                    <a:lnTo>
                      <a:pt x="17" y="53"/>
                    </a:lnTo>
                    <a:lnTo>
                      <a:pt x="14" y="53"/>
                    </a:lnTo>
                    <a:lnTo>
                      <a:pt x="14" y="56"/>
                    </a:lnTo>
                    <a:lnTo>
                      <a:pt x="17" y="56"/>
                    </a:lnTo>
                    <a:lnTo>
                      <a:pt x="17" y="56"/>
                    </a:lnTo>
                    <a:lnTo>
                      <a:pt x="20" y="56"/>
                    </a:lnTo>
                    <a:lnTo>
                      <a:pt x="17" y="58"/>
                    </a:lnTo>
                    <a:lnTo>
                      <a:pt x="20" y="58"/>
                    </a:lnTo>
                    <a:lnTo>
                      <a:pt x="20" y="61"/>
                    </a:lnTo>
                    <a:lnTo>
                      <a:pt x="20" y="61"/>
                    </a:lnTo>
                    <a:lnTo>
                      <a:pt x="20" y="61"/>
                    </a:lnTo>
                    <a:lnTo>
                      <a:pt x="20" y="61"/>
                    </a:lnTo>
                    <a:lnTo>
                      <a:pt x="17" y="61"/>
                    </a:lnTo>
                    <a:lnTo>
                      <a:pt x="17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7" y="67"/>
                    </a:lnTo>
                    <a:lnTo>
                      <a:pt x="14" y="67"/>
                    </a:lnTo>
                    <a:lnTo>
                      <a:pt x="14" y="70"/>
                    </a:lnTo>
                    <a:lnTo>
                      <a:pt x="14" y="67"/>
                    </a:lnTo>
                    <a:lnTo>
                      <a:pt x="8" y="67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5"/>
                    </a:lnTo>
                    <a:lnTo>
                      <a:pt x="6" y="75"/>
                    </a:lnTo>
                    <a:lnTo>
                      <a:pt x="6" y="78"/>
                    </a:lnTo>
                    <a:lnTo>
                      <a:pt x="3" y="78"/>
                    </a:lnTo>
                    <a:lnTo>
                      <a:pt x="3" y="81"/>
                    </a:lnTo>
                    <a:lnTo>
                      <a:pt x="3" y="84"/>
                    </a:lnTo>
                    <a:lnTo>
                      <a:pt x="0" y="84"/>
                    </a:lnTo>
                    <a:lnTo>
                      <a:pt x="3" y="84"/>
                    </a:lnTo>
                    <a:lnTo>
                      <a:pt x="0" y="86"/>
                    </a:lnTo>
                    <a:lnTo>
                      <a:pt x="3" y="86"/>
                    </a:lnTo>
                    <a:lnTo>
                      <a:pt x="0" y="89"/>
                    </a:lnTo>
                    <a:lnTo>
                      <a:pt x="3" y="89"/>
                    </a:lnTo>
                    <a:lnTo>
                      <a:pt x="6" y="89"/>
                    </a:lnTo>
                    <a:lnTo>
                      <a:pt x="6" y="92"/>
                    </a:lnTo>
                    <a:lnTo>
                      <a:pt x="14" y="97"/>
                    </a:lnTo>
                    <a:lnTo>
                      <a:pt x="17" y="97"/>
                    </a:lnTo>
                    <a:lnTo>
                      <a:pt x="20" y="97"/>
                    </a:lnTo>
                    <a:lnTo>
                      <a:pt x="53" y="7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2" name="Freeform 1047"/>
              <p:cNvSpPr>
                <a:spLocks noChangeAspect="1"/>
              </p:cNvSpPr>
              <p:nvPr>
                <p:custDataLst>
                  <p:tags r:id="rId880"/>
                </p:custDataLst>
              </p:nvPr>
            </p:nvSpPr>
            <p:spPr bwMode="gray">
              <a:xfrm>
                <a:off x="6445995" y="3315410"/>
                <a:ext cx="293062" cy="220743"/>
              </a:xfrm>
              <a:custGeom>
                <a:avLst/>
                <a:gdLst>
                  <a:gd name="T0" fmla="*/ 17 w 225"/>
                  <a:gd name="T1" fmla="*/ 136 h 172"/>
                  <a:gd name="T2" fmla="*/ 3 w 225"/>
                  <a:gd name="T3" fmla="*/ 106 h 172"/>
                  <a:gd name="T4" fmla="*/ 5 w 225"/>
                  <a:gd name="T5" fmla="*/ 80 h 172"/>
                  <a:gd name="T6" fmla="*/ 17 w 225"/>
                  <a:gd name="T7" fmla="*/ 58 h 172"/>
                  <a:gd name="T8" fmla="*/ 28 w 225"/>
                  <a:gd name="T9" fmla="*/ 64 h 172"/>
                  <a:gd name="T10" fmla="*/ 39 w 225"/>
                  <a:gd name="T11" fmla="*/ 61 h 172"/>
                  <a:gd name="T12" fmla="*/ 42 w 225"/>
                  <a:gd name="T13" fmla="*/ 53 h 172"/>
                  <a:gd name="T14" fmla="*/ 56 w 225"/>
                  <a:gd name="T15" fmla="*/ 47 h 172"/>
                  <a:gd name="T16" fmla="*/ 64 w 225"/>
                  <a:gd name="T17" fmla="*/ 36 h 172"/>
                  <a:gd name="T18" fmla="*/ 69 w 225"/>
                  <a:gd name="T19" fmla="*/ 28 h 172"/>
                  <a:gd name="T20" fmla="*/ 81 w 225"/>
                  <a:gd name="T21" fmla="*/ 25 h 172"/>
                  <a:gd name="T22" fmla="*/ 92 w 225"/>
                  <a:gd name="T23" fmla="*/ 22 h 172"/>
                  <a:gd name="T24" fmla="*/ 114 w 225"/>
                  <a:gd name="T25" fmla="*/ 25 h 172"/>
                  <a:gd name="T26" fmla="*/ 128 w 225"/>
                  <a:gd name="T27" fmla="*/ 25 h 172"/>
                  <a:gd name="T28" fmla="*/ 133 w 225"/>
                  <a:gd name="T29" fmla="*/ 25 h 172"/>
                  <a:gd name="T30" fmla="*/ 139 w 225"/>
                  <a:gd name="T31" fmla="*/ 22 h 172"/>
                  <a:gd name="T32" fmla="*/ 147 w 225"/>
                  <a:gd name="T33" fmla="*/ 16 h 172"/>
                  <a:gd name="T34" fmla="*/ 153 w 225"/>
                  <a:gd name="T35" fmla="*/ 16 h 172"/>
                  <a:gd name="T36" fmla="*/ 159 w 225"/>
                  <a:gd name="T37" fmla="*/ 2 h 172"/>
                  <a:gd name="T38" fmla="*/ 170 w 225"/>
                  <a:gd name="T39" fmla="*/ 5 h 172"/>
                  <a:gd name="T40" fmla="*/ 170 w 225"/>
                  <a:gd name="T41" fmla="*/ 11 h 172"/>
                  <a:gd name="T42" fmla="*/ 172 w 225"/>
                  <a:gd name="T43" fmla="*/ 16 h 172"/>
                  <a:gd name="T44" fmla="*/ 170 w 225"/>
                  <a:gd name="T45" fmla="*/ 28 h 172"/>
                  <a:gd name="T46" fmla="*/ 192 w 225"/>
                  <a:gd name="T47" fmla="*/ 30 h 172"/>
                  <a:gd name="T48" fmla="*/ 198 w 225"/>
                  <a:gd name="T49" fmla="*/ 25 h 172"/>
                  <a:gd name="T50" fmla="*/ 206 w 225"/>
                  <a:gd name="T51" fmla="*/ 22 h 172"/>
                  <a:gd name="T52" fmla="*/ 211 w 225"/>
                  <a:gd name="T53" fmla="*/ 25 h 172"/>
                  <a:gd name="T54" fmla="*/ 223 w 225"/>
                  <a:gd name="T55" fmla="*/ 22 h 172"/>
                  <a:gd name="T56" fmla="*/ 225 w 225"/>
                  <a:gd name="T57" fmla="*/ 25 h 172"/>
                  <a:gd name="T58" fmla="*/ 220 w 225"/>
                  <a:gd name="T59" fmla="*/ 28 h 172"/>
                  <a:gd name="T60" fmla="*/ 217 w 225"/>
                  <a:gd name="T61" fmla="*/ 30 h 172"/>
                  <a:gd name="T62" fmla="*/ 206 w 225"/>
                  <a:gd name="T63" fmla="*/ 33 h 172"/>
                  <a:gd name="T64" fmla="*/ 184 w 225"/>
                  <a:gd name="T65" fmla="*/ 36 h 172"/>
                  <a:gd name="T66" fmla="*/ 178 w 225"/>
                  <a:gd name="T67" fmla="*/ 39 h 172"/>
                  <a:gd name="T68" fmla="*/ 175 w 225"/>
                  <a:gd name="T69" fmla="*/ 41 h 172"/>
                  <a:gd name="T70" fmla="*/ 170 w 225"/>
                  <a:gd name="T71" fmla="*/ 50 h 172"/>
                  <a:gd name="T72" fmla="*/ 172 w 225"/>
                  <a:gd name="T73" fmla="*/ 64 h 172"/>
                  <a:gd name="T74" fmla="*/ 164 w 225"/>
                  <a:gd name="T75" fmla="*/ 78 h 172"/>
                  <a:gd name="T76" fmla="*/ 167 w 225"/>
                  <a:gd name="T77" fmla="*/ 83 h 172"/>
                  <a:gd name="T78" fmla="*/ 147 w 225"/>
                  <a:gd name="T79" fmla="*/ 89 h 172"/>
                  <a:gd name="T80" fmla="*/ 153 w 225"/>
                  <a:gd name="T81" fmla="*/ 100 h 172"/>
                  <a:gd name="T82" fmla="*/ 139 w 225"/>
                  <a:gd name="T83" fmla="*/ 108 h 172"/>
                  <a:gd name="T84" fmla="*/ 136 w 225"/>
                  <a:gd name="T85" fmla="*/ 117 h 172"/>
                  <a:gd name="T86" fmla="*/ 128 w 225"/>
                  <a:gd name="T87" fmla="*/ 131 h 172"/>
                  <a:gd name="T88" fmla="*/ 125 w 225"/>
                  <a:gd name="T89" fmla="*/ 128 h 172"/>
                  <a:gd name="T90" fmla="*/ 117 w 225"/>
                  <a:gd name="T91" fmla="*/ 131 h 172"/>
                  <a:gd name="T92" fmla="*/ 114 w 225"/>
                  <a:gd name="T93" fmla="*/ 136 h 172"/>
                  <a:gd name="T94" fmla="*/ 100 w 225"/>
                  <a:gd name="T95" fmla="*/ 136 h 172"/>
                  <a:gd name="T96" fmla="*/ 92 w 225"/>
                  <a:gd name="T97" fmla="*/ 158 h 172"/>
                  <a:gd name="T98" fmla="*/ 72 w 225"/>
                  <a:gd name="T99" fmla="*/ 170 h 172"/>
                  <a:gd name="T100" fmla="*/ 56 w 225"/>
                  <a:gd name="T101" fmla="*/ 172 h 172"/>
                  <a:gd name="T102" fmla="*/ 8 w 225"/>
                  <a:gd name="T103" fmla="*/ 1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5" h="172">
                    <a:moveTo>
                      <a:pt x="8" y="164"/>
                    </a:moveTo>
                    <a:lnTo>
                      <a:pt x="17" y="147"/>
                    </a:lnTo>
                    <a:lnTo>
                      <a:pt x="19" y="144"/>
                    </a:lnTo>
                    <a:lnTo>
                      <a:pt x="19" y="139"/>
                    </a:lnTo>
                    <a:lnTo>
                      <a:pt x="17" y="136"/>
                    </a:lnTo>
                    <a:lnTo>
                      <a:pt x="14" y="133"/>
                    </a:lnTo>
                    <a:lnTo>
                      <a:pt x="8" y="131"/>
                    </a:lnTo>
                    <a:lnTo>
                      <a:pt x="5" y="128"/>
                    </a:lnTo>
                    <a:lnTo>
                      <a:pt x="5" y="114"/>
                    </a:lnTo>
                    <a:lnTo>
                      <a:pt x="3" y="106"/>
                    </a:lnTo>
                    <a:lnTo>
                      <a:pt x="5" y="97"/>
                    </a:lnTo>
                    <a:lnTo>
                      <a:pt x="5" y="92"/>
                    </a:lnTo>
                    <a:lnTo>
                      <a:pt x="0" y="92"/>
                    </a:lnTo>
                    <a:lnTo>
                      <a:pt x="0" y="83"/>
                    </a:lnTo>
                    <a:lnTo>
                      <a:pt x="5" y="80"/>
                    </a:lnTo>
                    <a:lnTo>
                      <a:pt x="5" y="78"/>
                    </a:lnTo>
                    <a:lnTo>
                      <a:pt x="11" y="69"/>
                    </a:lnTo>
                    <a:lnTo>
                      <a:pt x="14" y="55"/>
                    </a:lnTo>
                    <a:lnTo>
                      <a:pt x="17" y="58"/>
                    </a:lnTo>
                    <a:lnTo>
                      <a:pt x="17" y="58"/>
                    </a:lnTo>
                    <a:lnTo>
                      <a:pt x="19" y="61"/>
                    </a:lnTo>
                    <a:lnTo>
                      <a:pt x="25" y="58"/>
                    </a:lnTo>
                    <a:lnTo>
                      <a:pt x="25" y="61"/>
                    </a:lnTo>
                    <a:lnTo>
                      <a:pt x="28" y="61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3" y="64"/>
                    </a:lnTo>
                    <a:lnTo>
                      <a:pt x="36" y="64"/>
                    </a:lnTo>
                    <a:lnTo>
                      <a:pt x="39" y="61"/>
                    </a:lnTo>
                    <a:lnTo>
                      <a:pt x="39" y="61"/>
                    </a:lnTo>
                    <a:lnTo>
                      <a:pt x="42" y="61"/>
                    </a:lnTo>
                    <a:lnTo>
                      <a:pt x="42" y="55"/>
                    </a:lnTo>
                    <a:lnTo>
                      <a:pt x="44" y="55"/>
                    </a:lnTo>
                    <a:lnTo>
                      <a:pt x="44" y="55"/>
                    </a:lnTo>
                    <a:lnTo>
                      <a:pt x="42" y="53"/>
                    </a:lnTo>
                    <a:lnTo>
                      <a:pt x="42" y="53"/>
                    </a:lnTo>
                    <a:lnTo>
                      <a:pt x="44" y="53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56" y="47"/>
                    </a:lnTo>
                    <a:lnTo>
                      <a:pt x="58" y="47"/>
                    </a:lnTo>
                    <a:lnTo>
                      <a:pt x="61" y="44"/>
                    </a:lnTo>
                    <a:lnTo>
                      <a:pt x="64" y="41"/>
                    </a:lnTo>
                    <a:lnTo>
                      <a:pt x="64" y="41"/>
                    </a:lnTo>
                    <a:lnTo>
                      <a:pt x="64" y="36"/>
                    </a:lnTo>
                    <a:lnTo>
                      <a:pt x="67" y="36"/>
                    </a:lnTo>
                    <a:lnTo>
                      <a:pt x="67" y="30"/>
                    </a:lnTo>
                    <a:lnTo>
                      <a:pt x="67" y="28"/>
                    </a:lnTo>
                    <a:lnTo>
                      <a:pt x="67" y="28"/>
                    </a:lnTo>
                    <a:lnTo>
                      <a:pt x="69" y="28"/>
                    </a:lnTo>
                    <a:lnTo>
                      <a:pt x="69" y="25"/>
                    </a:lnTo>
                    <a:lnTo>
                      <a:pt x="72" y="25"/>
                    </a:lnTo>
                    <a:lnTo>
                      <a:pt x="75" y="25"/>
                    </a:lnTo>
                    <a:lnTo>
                      <a:pt x="78" y="25"/>
                    </a:lnTo>
                    <a:lnTo>
                      <a:pt x="81" y="25"/>
                    </a:lnTo>
                    <a:lnTo>
                      <a:pt x="81" y="22"/>
                    </a:lnTo>
                    <a:lnTo>
                      <a:pt x="81" y="19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92" y="22"/>
                    </a:lnTo>
                    <a:lnTo>
                      <a:pt x="103" y="22"/>
                    </a:lnTo>
                    <a:lnTo>
                      <a:pt x="106" y="22"/>
                    </a:lnTo>
                    <a:lnTo>
                      <a:pt x="106" y="25"/>
                    </a:lnTo>
                    <a:lnTo>
                      <a:pt x="108" y="25"/>
                    </a:lnTo>
                    <a:lnTo>
                      <a:pt x="114" y="25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2" y="30"/>
                    </a:lnTo>
                    <a:lnTo>
                      <a:pt x="122" y="28"/>
                    </a:lnTo>
                    <a:lnTo>
                      <a:pt x="128" y="25"/>
                    </a:lnTo>
                    <a:lnTo>
                      <a:pt x="131" y="25"/>
                    </a:lnTo>
                    <a:lnTo>
                      <a:pt x="131" y="25"/>
                    </a:lnTo>
                    <a:lnTo>
                      <a:pt x="131" y="25"/>
                    </a:lnTo>
                    <a:lnTo>
                      <a:pt x="133" y="25"/>
                    </a:lnTo>
                    <a:lnTo>
                      <a:pt x="133" y="25"/>
                    </a:lnTo>
                    <a:lnTo>
                      <a:pt x="139" y="28"/>
                    </a:lnTo>
                    <a:lnTo>
                      <a:pt x="139" y="25"/>
                    </a:lnTo>
                    <a:lnTo>
                      <a:pt x="139" y="25"/>
                    </a:lnTo>
                    <a:lnTo>
                      <a:pt x="139" y="25"/>
                    </a:lnTo>
                    <a:lnTo>
                      <a:pt x="139" y="22"/>
                    </a:lnTo>
                    <a:lnTo>
                      <a:pt x="139" y="22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5" y="19"/>
                    </a:lnTo>
                    <a:lnTo>
                      <a:pt x="147" y="16"/>
                    </a:lnTo>
                    <a:lnTo>
                      <a:pt x="150" y="19"/>
                    </a:lnTo>
                    <a:lnTo>
                      <a:pt x="150" y="19"/>
                    </a:lnTo>
                    <a:lnTo>
                      <a:pt x="150" y="19"/>
                    </a:lnTo>
                    <a:lnTo>
                      <a:pt x="153" y="16"/>
                    </a:lnTo>
                    <a:lnTo>
                      <a:pt x="153" y="16"/>
                    </a:lnTo>
                    <a:lnTo>
                      <a:pt x="153" y="14"/>
                    </a:lnTo>
                    <a:lnTo>
                      <a:pt x="153" y="11"/>
                    </a:lnTo>
                    <a:lnTo>
                      <a:pt x="159" y="2"/>
                    </a:lnTo>
                    <a:lnTo>
                      <a:pt x="159" y="2"/>
                    </a:lnTo>
                    <a:lnTo>
                      <a:pt x="159" y="2"/>
                    </a:lnTo>
                    <a:lnTo>
                      <a:pt x="159" y="2"/>
                    </a:lnTo>
                    <a:lnTo>
                      <a:pt x="161" y="2"/>
                    </a:lnTo>
                    <a:lnTo>
                      <a:pt x="164" y="0"/>
                    </a:lnTo>
                    <a:lnTo>
                      <a:pt x="167" y="2"/>
                    </a:lnTo>
                    <a:lnTo>
                      <a:pt x="170" y="5"/>
                    </a:lnTo>
                    <a:lnTo>
                      <a:pt x="170" y="8"/>
                    </a:lnTo>
                    <a:lnTo>
                      <a:pt x="170" y="8"/>
                    </a:lnTo>
                    <a:lnTo>
                      <a:pt x="167" y="11"/>
                    </a:lnTo>
                    <a:lnTo>
                      <a:pt x="170" y="11"/>
                    </a:lnTo>
                    <a:lnTo>
                      <a:pt x="170" y="11"/>
                    </a:lnTo>
                    <a:lnTo>
                      <a:pt x="172" y="11"/>
                    </a:lnTo>
                    <a:lnTo>
                      <a:pt x="172" y="11"/>
                    </a:lnTo>
                    <a:lnTo>
                      <a:pt x="172" y="14"/>
                    </a:lnTo>
                    <a:lnTo>
                      <a:pt x="172" y="14"/>
                    </a:lnTo>
                    <a:lnTo>
                      <a:pt x="172" y="16"/>
                    </a:lnTo>
                    <a:lnTo>
                      <a:pt x="172" y="19"/>
                    </a:lnTo>
                    <a:lnTo>
                      <a:pt x="172" y="19"/>
                    </a:lnTo>
                    <a:lnTo>
                      <a:pt x="172" y="22"/>
                    </a:lnTo>
                    <a:lnTo>
                      <a:pt x="172" y="25"/>
                    </a:lnTo>
                    <a:lnTo>
                      <a:pt x="170" y="28"/>
                    </a:lnTo>
                    <a:lnTo>
                      <a:pt x="175" y="36"/>
                    </a:lnTo>
                    <a:lnTo>
                      <a:pt x="175" y="36"/>
                    </a:lnTo>
                    <a:lnTo>
                      <a:pt x="175" y="36"/>
                    </a:lnTo>
                    <a:lnTo>
                      <a:pt x="184" y="30"/>
                    </a:lnTo>
                    <a:lnTo>
                      <a:pt x="192" y="30"/>
                    </a:lnTo>
                    <a:lnTo>
                      <a:pt x="192" y="28"/>
                    </a:lnTo>
                    <a:lnTo>
                      <a:pt x="192" y="28"/>
                    </a:lnTo>
                    <a:lnTo>
                      <a:pt x="195" y="25"/>
                    </a:lnTo>
                    <a:lnTo>
                      <a:pt x="195" y="25"/>
                    </a:lnTo>
                    <a:lnTo>
                      <a:pt x="198" y="25"/>
                    </a:lnTo>
                    <a:lnTo>
                      <a:pt x="200" y="22"/>
                    </a:lnTo>
                    <a:lnTo>
                      <a:pt x="200" y="22"/>
                    </a:lnTo>
                    <a:lnTo>
                      <a:pt x="203" y="22"/>
                    </a:lnTo>
                    <a:lnTo>
                      <a:pt x="203" y="22"/>
                    </a:lnTo>
                    <a:lnTo>
                      <a:pt x="206" y="22"/>
                    </a:lnTo>
                    <a:lnTo>
                      <a:pt x="209" y="22"/>
                    </a:lnTo>
                    <a:lnTo>
                      <a:pt x="209" y="25"/>
                    </a:lnTo>
                    <a:lnTo>
                      <a:pt x="209" y="25"/>
                    </a:lnTo>
                    <a:lnTo>
                      <a:pt x="209" y="25"/>
                    </a:lnTo>
                    <a:lnTo>
                      <a:pt x="211" y="25"/>
                    </a:lnTo>
                    <a:lnTo>
                      <a:pt x="211" y="25"/>
                    </a:lnTo>
                    <a:lnTo>
                      <a:pt x="211" y="25"/>
                    </a:lnTo>
                    <a:lnTo>
                      <a:pt x="220" y="22"/>
                    </a:lnTo>
                    <a:lnTo>
                      <a:pt x="220" y="22"/>
                    </a:lnTo>
                    <a:lnTo>
                      <a:pt x="223" y="22"/>
                    </a:lnTo>
                    <a:lnTo>
                      <a:pt x="225" y="22"/>
                    </a:lnTo>
                    <a:lnTo>
                      <a:pt x="225" y="25"/>
                    </a:lnTo>
                    <a:lnTo>
                      <a:pt x="225" y="25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23" y="25"/>
                    </a:lnTo>
                    <a:lnTo>
                      <a:pt x="223" y="25"/>
                    </a:lnTo>
                    <a:lnTo>
                      <a:pt x="220" y="25"/>
                    </a:lnTo>
                    <a:lnTo>
                      <a:pt x="220" y="28"/>
                    </a:lnTo>
                    <a:lnTo>
                      <a:pt x="220" y="28"/>
                    </a:lnTo>
                    <a:lnTo>
                      <a:pt x="220" y="28"/>
                    </a:lnTo>
                    <a:lnTo>
                      <a:pt x="223" y="30"/>
                    </a:lnTo>
                    <a:lnTo>
                      <a:pt x="220" y="30"/>
                    </a:lnTo>
                    <a:lnTo>
                      <a:pt x="217" y="30"/>
                    </a:lnTo>
                    <a:lnTo>
                      <a:pt x="217" y="30"/>
                    </a:lnTo>
                    <a:lnTo>
                      <a:pt x="217" y="30"/>
                    </a:lnTo>
                    <a:lnTo>
                      <a:pt x="214" y="33"/>
                    </a:lnTo>
                    <a:lnTo>
                      <a:pt x="211" y="33"/>
                    </a:lnTo>
                    <a:lnTo>
                      <a:pt x="209" y="30"/>
                    </a:lnTo>
                    <a:lnTo>
                      <a:pt x="206" y="33"/>
                    </a:lnTo>
                    <a:lnTo>
                      <a:pt x="206" y="30"/>
                    </a:lnTo>
                    <a:lnTo>
                      <a:pt x="189" y="33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4" y="36"/>
                    </a:lnTo>
                    <a:lnTo>
                      <a:pt x="184" y="36"/>
                    </a:lnTo>
                    <a:lnTo>
                      <a:pt x="181" y="39"/>
                    </a:lnTo>
                    <a:lnTo>
                      <a:pt x="181" y="39"/>
                    </a:lnTo>
                    <a:lnTo>
                      <a:pt x="178" y="39"/>
                    </a:lnTo>
                    <a:lnTo>
                      <a:pt x="178" y="39"/>
                    </a:lnTo>
                    <a:lnTo>
                      <a:pt x="178" y="41"/>
                    </a:lnTo>
                    <a:lnTo>
                      <a:pt x="178" y="41"/>
                    </a:lnTo>
                    <a:lnTo>
                      <a:pt x="175" y="41"/>
                    </a:lnTo>
                    <a:lnTo>
                      <a:pt x="175" y="41"/>
                    </a:lnTo>
                    <a:lnTo>
                      <a:pt x="175" y="41"/>
                    </a:lnTo>
                    <a:lnTo>
                      <a:pt x="175" y="41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67" y="50"/>
                    </a:lnTo>
                    <a:lnTo>
                      <a:pt x="170" y="50"/>
                    </a:lnTo>
                    <a:lnTo>
                      <a:pt x="172" y="53"/>
                    </a:lnTo>
                    <a:lnTo>
                      <a:pt x="175" y="58"/>
                    </a:lnTo>
                    <a:lnTo>
                      <a:pt x="175" y="61"/>
                    </a:lnTo>
                    <a:lnTo>
                      <a:pt x="172" y="61"/>
                    </a:lnTo>
                    <a:lnTo>
                      <a:pt x="172" y="64"/>
                    </a:lnTo>
                    <a:lnTo>
                      <a:pt x="175" y="64"/>
                    </a:lnTo>
                    <a:lnTo>
                      <a:pt x="175" y="67"/>
                    </a:lnTo>
                    <a:lnTo>
                      <a:pt x="167" y="75"/>
                    </a:lnTo>
                    <a:lnTo>
                      <a:pt x="167" y="75"/>
                    </a:lnTo>
                    <a:lnTo>
                      <a:pt x="164" y="78"/>
                    </a:lnTo>
                    <a:lnTo>
                      <a:pt x="164" y="80"/>
                    </a:lnTo>
                    <a:lnTo>
                      <a:pt x="167" y="80"/>
                    </a:lnTo>
                    <a:lnTo>
                      <a:pt x="167" y="80"/>
                    </a:lnTo>
                    <a:lnTo>
                      <a:pt x="167" y="80"/>
                    </a:lnTo>
                    <a:lnTo>
                      <a:pt x="167" y="83"/>
                    </a:lnTo>
                    <a:lnTo>
                      <a:pt x="164" y="86"/>
                    </a:lnTo>
                    <a:lnTo>
                      <a:pt x="159" y="89"/>
                    </a:lnTo>
                    <a:lnTo>
                      <a:pt x="150" y="86"/>
                    </a:lnTo>
                    <a:lnTo>
                      <a:pt x="147" y="86"/>
                    </a:lnTo>
                    <a:lnTo>
                      <a:pt x="147" y="89"/>
                    </a:lnTo>
                    <a:lnTo>
                      <a:pt x="150" y="92"/>
                    </a:lnTo>
                    <a:lnTo>
                      <a:pt x="150" y="92"/>
                    </a:lnTo>
                    <a:lnTo>
                      <a:pt x="153" y="97"/>
                    </a:lnTo>
                    <a:lnTo>
                      <a:pt x="153" y="97"/>
                    </a:lnTo>
                    <a:lnTo>
                      <a:pt x="153" y="100"/>
                    </a:lnTo>
                    <a:lnTo>
                      <a:pt x="147" y="103"/>
                    </a:lnTo>
                    <a:lnTo>
                      <a:pt x="145" y="103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39" y="108"/>
                    </a:lnTo>
                    <a:lnTo>
                      <a:pt x="139" y="111"/>
                    </a:lnTo>
                    <a:lnTo>
                      <a:pt x="139" y="111"/>
                    </a:lnTo>
                    <a:lnTo>
                      <a:pt x="139" y="114"/>
                    </a:lnTo>
                    <a:lnTo>
                      <a:pt x="139" y="114"/>
                    </a:lnTo>
                    <a:lnTo>
                      <a:pt x="136" y="117"/>
                    </a:lnTo>
                    <a:lnTo>
                      <a:pt x="139" y="125"/>
                    </a:lnTo>
                    <a:lnTo>
                      <a:pt x="133" y="131"/>
                    </a:lnTo>
                    <a:lnTo>
                      <a:pt x="131" y="131"/>
                    </a:lnTo>
                    <a:lnTo>
                      <a:pt x="131" y="131"/>
                    </a:lnTo>
                    <a:lnTo>
                      <a:pt x="128" y="131"/>
                    </a:lnTo>
                    <a:lnTo>
                      <a:pt x="128" y="128"/>
                    </a:lnTo>
                    <a:lnTo>
                      <a:pt x="128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31"/>
                    </a:lnTo>
                    <a:lnTo>
                      <a:pt x="122" y="128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17" y="131"/>
                    </a:lnTo>
                    <a:lnTo>
                      <a:pt x="114" y="133"/>
                    </a:lnTo>
                    <a:lnTo>
                      <a:pt x="111" y="133"/>
                    </a:lnTo>
                    <a:lnTo>
                      <a:pt x="111" y="133"/>
                    </a:lnTo>
                    <a:lnTo>
                      <a:pt x="114" y="136"/>
                    </a:lnTo>
                    <a:lnTo>
                      <a:pt x="114" y="136"/>
                    </a:lnTo>
                    <a:lnTo>
                      <a:pt x="114" y="136"/>
                    </a:lnTo>
                    <a:lnTo>
                      <a:pt x="103" y="139"/>
                    </a:lnTo>
                    <a:lnTo>
                      <a:pt x="103" y="136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97" y="142"/>
                    </a:lnTo>
                    <a:lnTo>
                      <a:pt x="94" y="142"/>
                    </a:lnTo>
                    <a:lnTo>
                      <a:pt x="92" y="150"/>
                    </a:lnTo>
                    <a:lnTo>
                      <a:pt x="92" y="153"/>
                    </a:lnTo>
                    <a:lnTo>
                      <a:pt x="92" y="158"/>
                    </a:lnTo>
                    <a:lnTo>
                      <a:pt x="92" y="158"/>
                    </a:lnTo>
                    <a:lnTo>
                      <a:pt x="92" y="161"/>
                    </a:lnTo>
                    <a:lnTo>
                      <a:pt x="92" y="161"/>
                    </a:lnTo>
                    <a:lnTo>
                      <a:pt x="89" y="164"/>
                    </a:lnTo>
                    <a:lnTo>
                      <a:pt x="72" y="170"/>
                    </a:lnTo>
                    <a:lnTo>
                      <a:pt x="61" y="167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6" y="172"/>
                    </a:lnTo>
                    <a:lnTo>
                      <a:pt x="53" y="170"/>
                    </a:lnTo>
                    <a:lnTo>
                      <a:pt x="33" y="170"/>
                    </a:lnTo>
                    <a:lnTo>
                      <a:pt x="33" y="170"/>
                    </a:lnTo>
                    <a:lnTo>
                      <a:pt x="30" y="172"/>
                    </a:lnTo>
                    <a:lnTo>
                      <a:pt x="8" y="16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3" name="Freeform 1050"/>
              <p:cNvSpPr>
                <a:spLocks noChangeAspect="1"/>
              </p:cNvSpPr>
              <p:nvPr>
                <p:custDataLst>
                  <p:tags r:id="rId881"/>
                </p:custDataLst>
              </p:nvPr>
            </p:nvSpPr>
            <p:spPr bwMode="gray">
              <a:xfrm>
                <a:off x="5232748" y="3900380"/>
                <a:ext cx="60739" cy="124562"/>
              </a:xfrm>
              <a:custGeom>
                <a:avLst/>
                <a:gdLst>
                  <a:gd name="T0" fmla="*/ 44 w 47"/>
                  <a:gd name="T1" fmla="*/ 11 h 97"/>
                  <a:gd name="T2" fmla="*/ 31 w 47"/>
                  <a:gd name="T3" fmla="*/ 0 h 97"/>
                  <a:gd name="T4" fmla="*/ 31 w 47"/>
                  <a:gd name="T5" fmla="*/ 2 h 97"/>
                  <a:gd name="T6" fmla="*/ 25 w 47"/>
                  <a:gd name="T7" fmla="*/ 2 h 97"/>
                  <a:gd name="T8" fmla="*/ 25 w 47"/>
                  <a:gd name="T9" fmla="*/ 5 h 97"/>
                  <a:gd name="T10" fmla="*/ 28 w 47"/>
                  <a:gd name="T11" fmla="*/ 5 h 97"/>
                  <a:gd name="T12" fmla="*/ 25 w 47"/>
                  <a:gd name="T13" fmla="*/ 8 h 97"/>
                  <a:gd name="T14" fmla="*/ 25 w 47"/>
                  <a:gd name="T15" fmla="*/ 8 h 97"/>
                  <a:gd name="T16" fmla="*/ 25 w 47"/>
                  <a:gd name="T17" fmla="*/ 8 h 97"/>
                  <a:gd name="T18" fmla="*/ 25 w 47"/>
                  <a:gd name="T19" fmla="*/ 8 h 97"/>
                  <a:gd name="T20" fmla="*/ 22 w 47"/>
                  <a:gd name="T21" fmla="*/ 11 h 97"/>
                  <a:gd name="T22" fmla="*/ 22 w 47"/>
                  <a:gd name="T23" fmla="*/ 11 h 97"/>
                  <a:gd name="T24" fmla="*/ 22 w 47"/>
                  <a:gd name="T25" fmla="*/ 11 h 97"/>
                  <a:gd name="T26" fmla="*/ 19 w 47"/>
                  <a:gd name="T27" fmla="*/ 16 h 97"/>
                  <a:gd name="T28" fmla="*/ 19 w 47"/>
                  <a:gd name="T29" fmla="*/ 16 h 97"/>
                  <a:gd name="T30" fmla="*/ 17 w 47"/>
                  <a:gd name="T31" fmla="*/ 13 h 97"/>
                  <a:gd name="T32" fmla="*/ 14 w 47"/>
                  <a:gd name="T33" fmla="*/ 16 h 97"/>
                  <a:gd name="T34" fmla="*/ 11 w 47"/>
                  <a:gd name="T35" fmla="*/ 13 h 97"/>
                  <a:gd name="T36" fmla="*/ 11 w 47"/>
                  <a:gd name="T37" fmla="*/ 13 h 97"/>
                  <a:gd name="T38" fmla="*/ 8 w 47"/>
                  <a:gd name="T39" fmla="*/ 16 h 97"/>
                  <a:gd name="T40" fmla="*/ 8 w 47"/>
                  <a:gd name="T41" fmla="*/ 19 h 97"/>
                  <a:gd name="T42" fmla="*/ 5 w 47"/>
                  <a:gd name="T43" fmla="*/ 19 h 97"/>
                  <a:gd name="T44" fmla="*/ 5 w 47"/>
                  <a:gd name="T45" fmla="*/ 19 h 97"/>
                  <a:gd name="T46" fmla="*/ 5 w 47"/>
                  <a:gd name="T47" fmla="*/ 19 h 97"/>
                  <a:gd name="T48" fmla="*/ 3 w 47"/>
                  <a:gd name="T49" fmla="*/ 19 h 97"/>
                  <a:gd name="T50" fmla="*/ 3 w 47"/>
                  <a:gd name="T51" fmla="*/ 22 h 97"/>
                  <a:gd name="T52" fmla="*/ 3 w 47"/>
                  <a:gd name="T53" fmla="*/ 22 h 97"/>
                  <a:gd name="T54" fmla="*/ 0 w 47"/>
                  <a:gd name="T55" fmla="*/ 22 h 97"/>
                  <a:gd name="T56" fmla="*/ 0 w 47"/>
                  <a:gd name="T57" fmla="*/ 25 h 97"/>
                  <a:gd name="T58" fmla="*/ 0 w 47"/>
                  <a:gd name="T59" fmla="*/ 27 h 97"/>
                  <a:gd name="T60" fmla="*/ 0 w 47"/>
                  <a:gd name="T61" fmla="*/ 30 h 97"/>
                  <a:gd name="T62" fmla="*/ 0 w 47"/>
                  <a:gd name="T63" fmla="*/ 33 h 97"/>
                  <a:gd name="T64" fmla="*/ 0 w 47"/>
                  <a:gd name="T65" fmla="*/ 33 h 97"/>
                  <a:gd name="T66" fmla="*/ 3 w 47"/>
                  <a:gd name="T67" fmla="*/ 36 h 97"/>
                  <a:gd name="T68" fmla="*/ 3 w 47"/>
                  <a:gd name="T69" fmla="*/ 36 h 97"/>
                  <a:gd name="T70" fmla="*/ 5 w 47"/>
                  <a:gd name="T71" fmla="*/ 36 h 97"/>
                  <a:gd name="T72" fmla="*/ 8 w 47"/>
                  <a:gd name="T73" fmla="*/ 39 h 97"/>
                  <a:gd name="T74" fmla="*/ 17 w 47"/>
                  <a:gd name="T75" fmla="*/ 94 h 97"/>
                  <a:gd name="T76" fmla="*/ 17 w 47"/>
                  <a:gd name="T77" fmla="*/ 97 h 97"/>
                  <a:gd name="T78" fmla="*/ 31 w 47"/>
                  <a:gd name="T79" fmla="*/ 97 h 97"/>
                  <a:gd name="T80" fmla="*/ 31 w 47"/>
                  <a:gd name="T81" fmla="*/ 94 h 97"/>
                  <a:gd name="T82" fmla="*/ 31 w 47"/>
                  <a:gd name="T83" fmla="*/ 61 h 97"/>
                  <a:gd name="T84" fmla="*/ 36 w 47"/>
                  <a:gd name="T85" fmla="*/ 52 h 97"/>
                  <a:gd name="T86" fmla="*/ 36 w 47"/>
                  <a:gd name="T87" fmla="*/ 44 h 97"/>
                  <a:gd name="T88" fmla="*/ 44 w 47"/>
                  <a:gd name="T89" fmla="*/ 39 h 97"/>
                  <a:gd name="T90" fmla="*/ 44 w 47"/>
                  <a:gd name="T91" fmla="*/ 39 h 97"/>
                  <a:gd name="T92" fmla="*/ 44 w 47"/>
                  <a:gd name="T93" fmla="*/ 39 h 97"/>
                  <a:gd name="T94" fmla="*/ 44 w 47"/>
                  <a:gd name="T95" fmla="*/ 36 h 97"/>
                  <a:gd name="T96" fmla="*/ 44 w 47"/>
                  <a:gd name="T97" fmla="*/ 36 h 97"/>
                  <a:gd name="T98" fmla="*/ 44 w 47"/>
                  <a:gd name="T99" fmla="*/ 36 h 97"/>
                  <a:gd name="T100" fmla="*/ 42 w 47"/>
                  <a:gd name="T101" fmla="*/ 33 h 97"/>
                  <a:gd name="T102" fmla="*/ 44 w 47"/>
                  <a:gd name="T103" fmla="*/ 33 h 97"/>
                  <a:gd name="T104" fmla="*/ 44 w 47"/>
                  <a:gd name="T105" fmla="*/ 30 h 97"/>
                  <a:gd name="T106" fmla="*/ 47 w 47"/>
                  <a:gd name="T107" fmla="*/ 30 h 97"/>
                  <a:gd name="T108" fmla="*/ 47 w 47"/>
                  <a:gd name="T109" fmla="*/ 30 h 97"/>
                  <a:gd name="T110" fmla="*/ 44 w 47"/>
                  <a:gd name="T111" fmla="*/ 19 h 97"/>
                  <a:gd name="T112" fmla="*/ 42 w 47"/>
                  <a:gd name="T113" fmla="*/ 16 h 97"/>
                  <a:gd name="T114" fmla="*/ 42 w 47"/>
                  <a:gd name="T115" fmla="*/ 16 h 97"/>
                  <a:gd name="T116" fmla="*/ 42 w 47"/>
                  <a:gd name="T117" fmla="*/ 13 h 97"/>
                  <a:gd name="T118" fmla="*/ 44 w 47"/>
                  <a:gd name="T119" fmla="*/ 1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" h="97">
                    <a:moveTo>
                      <a:pt x="44" y="11"/>
                    </a:moveTo>
                    <a:lnTo>
                      <a:pt x="31" y="0"/>
                    </a:lnTo>
                    <a:lnTo>
                      <a:pt x="31" y="2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8" y="5"/>
                    </a:lnTo>
                    <a:lnTo>
                      <a:pt x="25" y="8"/>
                    </a:lnTo>
                    <a:lnTo>
                      <a:pt x="25" y="8"/>
                    </a:lnTo>
                    <a:lnTo>
                      <a:pt x="25" y="8"/>
                    </a:lnTo>
                    <a:lnTo>
                      <a:pt x="25" y="8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3"/>
                    </a:lnTo>
                    <a:lnTo>
                      <a:pt x="14" y="16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3" y="19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3" y="36"/>
                    </a:lnTo>
                    <a:lnTo>
                      <a:pt x="3" y="36"/>
                    </a:lnTo>
                    <a:lnTo>
                      <a:pt x="5" y="36"/>
                    </a:lnTo>
                    <a:lnTo>
                      <a:pt x="8" y="39"/>
                    </a:lnTo>
                    <a:lnTo>
                      <a:pt x="17" y="94"/>
                    </a:lnTo>
                    <a:lnTo>
                      <a:pt x="17" y="97"/>
                    </a:lnTo>
                    <a:lnTo>
                      <a:pt x="31" y="97"/>
                    </a:lnTo>
                    <a:lnTo>
                      <a:pt x="31" y="94"/>
                    </a:lnTo>
                    <a:lnTo>
                      <a:pt x="31" y="61"/>
                    </a:lnTo>
                    <a:lnTo>
                      <a:pt x="36" y="52"/>
                    </a:lnTo>
                    <a:lnTo>
                      <a:pt x="36" y="44"/>
                    </a:lnTo>
                    <a:lnTo>
                      <a:pt x="44" y="39"/>
                    </a:lnTo>
                    <a:lnTo>
                      <a:pt x="44" y="39"/>
                    </a:lnTo>
                    <a:lnTo>
                      <a:pt x="44" y="39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2" y="33"/>
                    </a:lnTo>
                    <a:lnTo>
                      <a:pt x="44" y="33"/>
                    </a:lnTo>
                    <a:lnTo>
                      <a:pt x="44" y="30"/>
                    </a:lnTo>
                    <a:lnTo>
                      <a:pt x="47" y="30"/>
                    </a:lnTo>
                    <a:lnTo>
                      <a:pt x="47" y="30"/>
                    </a:lnTo>
                    <a:lnTo>
                      <a:pt x="44" y="19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3"/>
                    </a:lnTo>
                    <a:lnTo>
                      <a:pt x="44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4" name="Freeform 1051"/>
              <p:cNvSpPr>
                <a:spLocks noChangeAspect="1"/>
              </p:cNvSpPr>
              <p:nvPr>
                <p:custDataLst>
                  <p:tags r:id="rId882"/>
                </p:custDataLst>
              </p:nvPr>
            </p:nvSpPr>
            <p:spPr bwMode="gray">
              <a:xfrm>
                <a:off x="5395223" y="4106935"/>
                <a:ext cx="113884" cy="122985"/>
              </a:xfrm>
              <a:custGeom>
                <a:avLst/>
                <a:gdLst>
                  <a:gd name="T0" fmla="*/ 36 w 87"/>
                  <a:gd name="T1" fmla="*/ 95 h 95"/>
                  <a:gd name="T2" fmla="*/ 34 w 87"/>
                  <a:gd name="T3" fmla="*/ 92 h 95"/>
                  <a:gd name="T4" fmla="*/ 6 w 87"/>
                  <a:gd name="T5" fmla="*/ 64 h 95"/>
                  <a:gd name="T6" fmla="*/ 0 w 87"/>
                  <a:gd name="T7" fmla="*/ 45 h 95"/>
                  <a:gd name="T8" fmla="*/ 3 w 87"/>
                  <a:gd name="T9" fmla="*/ 45 h 95"/>
                  <a:gd name="T10" fmla="*/ 3 w 87"/>
                  <a:gd name="T11" fmla="*/ 42 h 95"/>
                  <a:gd name="T12" fmla="*/ 6 w 87"/>
                  <a:gd name="T13" fmla="*/ 39 h 95"/>
                  <a:gd name="T14" fmla="*/ 6 w 87"/>
                  <a:gd name="T15" fmla="*/ 31 h 95"/>
                  <a:gd name="T16" fmla="*/ 9 w 87"/>
                  <a:gd name="T17" fmla="*/ 31 h 95"/>
                  <a:gd name="T18" fmla="*/ 9 w 87"/>
                  <a:gd name="T19" fmla="*/ 31 h 95"/>
                  <a:gd name="T20" fmla="*/ 11 w 87"/>
                  <a:gd name="T21" fmla="*/ 31 h 95"/>
                  <a:gd name="T22" fmla="*/ 14 w 87"/>
                  <a:gd name="T23" fmla="*/ 31 h 95"/>
                  <a:gd name="T24" fmla="*/ 17 w 87"/>
                  <a:gd name="T25" fmla="*/ 31 h 95"/>
                  <a:gd name="T26" fmla="*/ 14 w 87"/>
                  <a:gd name="T27" fmla="*/ 31 h 95"/>
                  <a:gd name="T28" fmla="*/ 11 w 87"/>
                  <a:gd name="T29" fmla="*/ 31 h 95"/>
                  <a:gd name="T30" fmla="*/ 9 w 87"/>
                  <a:gd name="T31" fmla="*/ 28 h 95"/>
                  <a:gd name="T32" fmla="*/ 9 w 87"/>
                  <a:gd name="T33" fmla="*/ 25 h 95"/>
                  <a:gd name="T34" fmla="*/ 9 w 87"/>
                  <a:gd name="T35" fmla="*/ 25 h 95"/>
                  <a:gd name="T36" fmla="*/ 11 w 87"/>
                  <a:gd name="T37" fmla="*/ 25 h 95"/>
                  <a:gd name="T38" fmla="*/ 11 w 87"/>
                  <a:gd name="T39" fmla="*/ 22 h 95"/>
                  <a:gd name="T40" fmla="*/ 11 w 87"/>
                  <a:gd name="T41" fmla="*/ 17 h 95"/>
                  <a:gd name="T42" fmla="*/ 39 w 87"/>
                  <a:gd name="T43" fmla="*/ 17 h 95"/>
                  <a:gd name="T44" fmla="*/ 36 w 87"/>
                  <a:gd name="T45" fmla="*/ 14 h 95"/>
                  <a:gd name="T46" fmla="*/ 36 w 87"/>
                  <a:gd name="T47" fmla="*/ 3 h 95"/>
                  <a:gd name="T48" fmla="*/ 39 w 87"/>
                  <a:gd name="T49" fmla="*/ 0 h 95"/>
                  <a:gd name="T50" fmla="*/ 67 w 87"/>
                  <a:gd name="T51" fmla="*/ 0 h 95"/>
                  <a:gd name="T52" fmla="*/ 70 w 87"/>
                  <a:gd name="T53" fmla="*/ 0 h 95"/>
                  <a:gd name="T54" fmla="*/ 67 w 87"/>
                  <a:gd name="T55" fmla="*/ 3 h 95"/>
                  <a:gd name="T56" fmla="*/ 67 w 87"/>
                  <a:gd name="T57" fmla="*/ 14 h 95"/>
                  <a:gd name="T58" fmla="*/ 70 w 87"/>
                  <a:gd name="T59" fmla="*/ 17 h 95"/>
                  <a:gd name="T60" fmla="*/ 73 w 87"/>
                  <a:gd name="T61" fmla="*/ 8 h 95"/>
                  <a:gd name="T62" fmla="*/ 81 w 87"/>
                  <a:gd name="T63" fmla="*/ 11 h 95"/>
                  <a:gd name="T64" fmla="*/ 84 w 87"/>
                  <a:gd name="T65" fmla="*/ 14 h 95"/>
                  <a:gd name="T66" fmla="*/ 87 w 87"/>
                  <a:gd name="T67" fmla="*/ 20 h 95"/>
                  <a:gd name="T68" fmla="*/ 81 w 87"/>
                  <a:gd name="T69" fmla="*/ 28 h 95"/>
                  <a:gd name="T70" fmla="*/ 81 w 87"/>
                  <a:gd name="T71" fmla="*/ 33 h 95"/>
                  <a:gd name="T72" fmla="*/ 84 w 87"/>
                  <a:gd name="T73" fmla="*/ 45 h 95"/>
                  <a:gd name="T74" fmla="*/ 81 w 87"/>
                  <a:gd name="T75" fmla="*/ 70 h 95"/>
                  <a:gd name="T76" fmla="*/ 75 w 87"/>
                  <a:gd name="T77" fmla="*/ 70 h 95"/>
                  <a:gd name="T78" fmla="*/ 70 w 87"/>
                  <a:gd name="T79" fmla="*/ 67 h 95"/>
                  <a:gd name="T80" fmla="*/ 64 w 87"/>
                  <a:gd name="T81" fmla="*/ 67 h 95"/>
                  <a:gd name="T82" fmla="*/ 61 w 87"/>
                  <a:gd name="T83" fmla="*/ 64 h 95"/>
                  <a:gd name="T84" fmla="*/ 59 w 87"/>
                  <a:gd name="T85" fmla="*/ 61 h 95"/>
                  <a:gd name="T86" fmla="*/ 53 w 87"/>
                  <a:gd name="T87" fmla="*/ 67 h 95"/>
                  <a:gd name="T88" fmla="*/ 45 w 87"/>
                  <a:gd name="T89" fmla="*/ 72 h 95"/>
                  <a:gd name="T90" fmla="*/ 42 w 87"/>
                  <a:gd name="T91" fmla="*/ 75 h 95"/>
                  <a:gd name="T92" fmla="*/ 42 w 87"/>
                  <a:gd name="T93" fmla="*/ 78 h 95"/>
                  <a:gd name="T94" fmla="*/ 45 w 87"/>
                  <a:gd name="T95" fmla="*/ 86 h 95"/>
                  <a:gd name="T96" fmla="*/ 45 w 87"/>
                  <a:gd name="T97" fmla="*/ 89 h 95"/>
                  <a:gd name="T98" fmla="*/ 39 w 87"/>
                  <a:gd name="T99" fmla="*/ 86 h 95"/>
                  <a:gd name="T100" fmla="*/ 36 w 87"/>
                  <a:gd name="T101" fmla="*/ 89 h 95"/>
                  <a:gd name="T102" fmla="*/ 36 w 87"/>
                  <a:gd name="T103" fmla="*/ 92 h 95"/>
                  <a:gd name="T104" fmla="*/ 36 w 87"/>
                  <a:gd name="T10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7" h="95">
                    <a:moveTo>
                      <a:pt x="36" y="95"/>
                    </a:moveTo>
                    <a:lnTo>
                      <a:pt x="34" y="92"/>
                    </a:lnTo>
                    <a:lnTo>
                      <a:pt x="6" y="64"/>
                    </a:lnTo>
                    <a:lnTo>
                      <a:pt x="0" y="45"/>
                    </a:lnTo>
                    <a:lnTo>
                      <a:pt x="3" y="45"/>
                    </a:lnTo>
                    <a:lnTo>
                      <a:pt x="3" y="42"/>
                    </a:lnTo>
                    <a:lnTo>
                      <a:pt x="6" y="39"/>
                    </a:lnTo>
                    <a:lnTo>
                      <a:pt x="6" y="31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1" y="31"/>
                    </a:lnTo>
                    <a:lnTo>
                      <a:pt x="14" y="31"/>
                    </a:lnTo>
                    <a:lnTo>
                      <a:pt x="17" y="31"/>
                    </a:lnTo>
                    <a:lnTo>
                      <a:pt x="14" y="31"/>
                    </a:lnTo>
                    <a:lnTo>
                      <a:pt x="11" y="31"/>
                    </a:lnTo>
                    <a:lnTo>
                      <a:pt x="9" y="28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1" y="25"/>
                    </a:lnTo>
                    <a:lnTo>
                      <a:pt x="11" y="22"/>
                    </a:lnTo>
                    <a:lnTo>
                      <a:pt x="11" y="17"/>
                    </a:lnTo>
                    <a:lnTo>
                      <a:pt x="39" y="17"/>
                    </a:lnTo>
                    <a:lnTo>
                      <a:pt x="36" y="14"/>
                    </a:lnTo>
                    <a:lnTo>
                      <a:pt x="36" y="3"/>
                    </a:lnTo>
                    <a:lnTo>
                      <a:pt x="39" y="0"/>
                    </a:lnTo>
                    <a:lnTo>
                      <a:pt x="67" y="0"/>
                    </a:lnTo>
                    <a:lnTo>
                      <a:pt x="70" y="0"/>
                    </a:lnTo>
                    <a:lnTo>
                      <a:pt x="67" y="3"/>
                    </a:lnTo>
                    <a:lnTo>
                      <a:pt x="67" y="14"/>
                    </a:lnTo>
                    <a:lnTo>
                      <a:pt x="70" y="17"/>
                    </a:lnTo>
                    <a:lnTo>
                      <a:pt x="73" y="8"/>
                    </a:lnTo>
                    <a:lnTo>
                      <a:pt x="81" y="11"/>
                    </a:lnTo>
                    <a:lnTo>
                      <a:pt x="84" y="14"/>
                    </a:lnTo>
                    <a:lnTo>
                      <a:pt x="87" y="20"/>
                    </a:lnTo>
                    <a:lnTo>
                      <a:pt x="81" y="28"/>
                    </a:lnTo>
                    <a:lnTo>
                      <a:pt x="81" y="33"/>
                    </a:lnTo>
                    <a:lnTo>
                      <a:pt x="84" y="45"/>
                    </a:lnTo>
                    <a:lnTo>
                      <a:pt x="81" y="70"/>
                    </a:lnTo>
                    <a:lnTo>
                      <a:pt x="75" y="70"/>
                    </a:lnTo>
                    <a:lnTo>
                      <a:pt x="70" y="67"/>
                    </a:lnTo>
                    <a:lnTo>
                      <a:pt x="64" y="67"/>
                    </a:lnTo>
                    <a:lnTo>
                      <a:pt x="61" y="64"/>
                    </a:lnTo>
                    <a:lnTo>
                      <a:pt x="59" y="61"/>
                    </a:lnTo>
                    <a:lnTo>
                      <a:pt x="53" y="67"/>
                    </a:lnTo>
                    <a:lnTo>
                      <a:pt x="45" y="72"/>
                    </a:lnTo>
                    <a:lnTo>
                      <a:pt x="42" y="75"/>
                    </a:lnTo>
                    <a:lnTo>
                      <a:pt x="42" y="78"/>
                    </a:lnTo>
                    <a:lnTo>
                      <a:pt x="45" y="86"/>
                    </a:lnTo>
                    <a:lnTo>
                      <a:pt x="45" y="89"/>
                    </a:lnTo>
                    <a:lnTo>
                      <a:pt x="39" y="86"/>
                    </a:lnTo>
                    <a:lnTo>
                      <a:pt x="36" y="89"/>
                    </a:lnTo>
                    <a:lnTo>
                      <a:pt x="36" y="92"/>
                    </a:lnTo>
                    <a:lnTo>
                      <a:pt x="36" y="9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5" name="Freeform 1052"/>
              <p:cNvSpPr>
                <a:spLocks noChangeAspect="1"/>
              </p:cNvSpPr>
              <p:nvPr>
                <p:custDataLst>
                  <p:tags r:id="rId883"/>
                </p:custDataLst>
              </p:nvPr>
            </p:nvSpPr>
            <p:spPr bwMode="gray">
              <a:xfrm>
                <a:off x="5885685" y="3849926"/>
                <a:ext cx="311283" cy="228626"/>
              </a:xfrm>
              <a:custGeom>
                <a:avLst/>
                <a:gdLst>
                  <a:gd name="T0" fmla="*/ 50 w 237"/>
                  <a:gd name="T1" fmla="*/ 30 h 178"/>
                  <a:gd name="T2" fmla="*/ 47 w 237"/>
                  <a:gd name="T3" fmla="*/ 33 h 178"/>
                  <a:gd name="T4" fmla="*/ 31 w 237"/>
                  <a:gd name="T5" fmla="*/ 61 h 178"/>
                  <a:gd name="T6" fmla="*/ 25 w 237"/>
                  <a:gd name="T7" fmla="*/ 64 h 178"/>
                  <a:gd name="T8" fmla="*/ 22 w 237"/>
                  <a:gd name="T9" fmla="*/ 69 h 178"/>
                  <a:gd name="T10" fmla="*/ 20 w 237"/>
                  <a:gd name="T11" fmla="*/ 100 h 178"/>
                  <a:gd name="T12" fmla="*/ 14 w 237"/>
                  <a:gd name="T13" fmla="*/ 103 h 178"/>
                  <a:gd name="T14" fmla="*/ 3 w 237"/>
                  <a:gd name="T15" fmla="*/ 103 h 178"/>
                  <a:gd name="T16" fmla="*/ 3 w 237"/>
                  <a:gd name="T17" fmla="*/ 108 h 178"/>
                  <a:gd name="T18" fmla="*/ 3 w 237"/>
                  <a:gd name="T19" fmla="*/ 111 h 178"/>
                  <a:gd name="T20" fmla="*/ 6 w 237"/>
                  <a:gd name="T21" fmla="*/ 114 h 178"/>
                  <a:gd name="T22" fmla="*/ 11 w 237"/>
                  <a:gd name="T23" fmla="*/ 114 h 178"/>
                  <a:gd name="T24" fmla="*/ 17 w 237"/>
                  <a:gd name="T25" fmla="*/ 119 h 178"/>
                  <a:gd name="T26" fmla="*/ 22 w 237"/>
                  <a:gd name="T27" fmla="*/ 125 h 178"/>
                  <a:gd name="T28" fmla="*/ 33 w 237"/>
                  <a:gd name="T29" fmla="*/ 147 h 178"/>
                  <a:gd name="T30" fmla="*/ 45 w 237"/>
                  <a:gd name="T31" fmla="*/ 150 h 178"/>
                  <a:gd name="T32" fmla="*/ 45 w 237"/>
                  <a:gd name="T33" fmla="*/ 161 h 178"/>
                  <a:gd name="T34" fmla="*/ 59 w 237"/>
                  <a:gd name="T35" fmla="*/ 164 h 178"/>
                  <a:gd name="T36" fmla="*/ 78 w 237"/>
                  <a:gd name="T37" fmla="*/ 175 h 178"/>
                  <a:gd name="T38" fmla="*/ 109 w 237"/>
                  <a:gd name="T39" fmla="*/ 175 h 178"/>
                  <a:gd name="T40" fmla="*/ 123 w 237"/>
                  <a:gd name="T41" fmla="*/ 167 h 178"/>
                  <a:gd name="T42" fmla="*/ 139 w 237"/>
                  <a:gd name="T43" fmla="*/ 172 h 178"/>
                  <a:gd name="T44" fmla="*/ 156 w 237"/>
                  <a:gd name="T45" fmla="*/ 167 h 178"/>
                  <a:gd name="T46" fmla="*/ 170 w 237"/>
                  <a:gd name="T47" fmla="*/ 156 h 178"/>
                  <a:gd name="T48" fmla="*/ 234 w 237"/>
                  <a:gd name="T49" fmla="*/ 108 h 178"/>
                  <a:gd name="T50" fmla="*/ 220 w 237"/>
                  <a:gd name="T51" fmla="*/ 108 h 178"/>
                  <a:gd name="T52" fmla="*/ 173 w 237"/>
                  <a:gd name="T53" fmla="*/ 89 h 178"/>
                  <a:gd name="T54" fmla="*/ 164 w 237"/>
                  <a:gd name="T55" fmla="*/ 83 h 178"/>
                  <a:gd name="T56" fmla="*/ 162 w 237"/>
                  <a:gd name="T57" fmla="*/ 80 h 178"/>
                  <a:gd name="T58" fmla="*/ 159 w 237"/>
                  <a:gd name="T59" fmla="*/ 75 h 178"/>
                  <a:gd name="T60" fmla="*/ 153 w 237"/>
                  <a:gd name="T61" fmla="*/ 66 h 178"/>
                  <a:gd name="T62" fmla="*/ 156 w 237"/>
                  <a:gd name="T63" fmla="*/ 64 h 178"/>
                  <a:gd name="T64" fmla="*/ 153 w 237"/>
                  <a:gd name="T65" fmla="*/ 61 h 178"/>
                  <a:gd name="T66" fmla="*/ 148 w 237"/>
                  <a:gd name="T67" fmla="*/ 61 h 178"/>
                  <a:gd name="T68" fmla="*/ 148 w 237"/>
                  <a:gd name="T69" fmla="*/ 64 h 178"/>
                  <a:gd name="T70" fmla="*/ 145 w 237"/>
                  <a:gd name="T71" fmla="*/ 64 h 178"/>
                  <a:gd name="T72" fmla="*/ 139 w 237"/>
                  <a:gd name="T73" fmla="*/ 61 h 178"/>
                  <a:gd name="T74" fmla="*/ 142 w 237"/>
                  <a:gd name="T75" fmla="*/ 52 h 178"/>
                  <a:gd name="T76" fmla="*/ 148 w 237"/>
                  <a:gd name="T77" fmla="*/ 41 h 178"/>
                  <a:gd name="T78" fmla="*/ 139 w 237"/>
                  <a:gd name="T79" fmla="*/ 33 h 178"/>
                  <a:gd name="T80" fmla="*/ 120 w 237"/>
                  <a:gd name="T81" fmla="*/ 11 h 178"/>
                  <a:gd name="T82" fmla="*/ 111 w 237"/>
                  <a:gd name="T83" fmla="*/ 8 h 178"/>
                  <a:gd name="T84" fmla="*/ 109 w 237"/>
                  <a:gd name="T85" fmla="*/ 8 h 178"/>
                  <a:gd name="T86" fmla="*/ 106 w 237"/>
                  <a:gd name="T87" fmla="*/ 8 h 178"/>
                  <a:gd name="T88" fmla="*/ 103 w 237"/>
                  <a:gd name="T89" fmla="*/ 5 h 178"/>
                  <a:gd name="T90" fmla="*/ 100 w 237"/>
                  <a:gd name="T91" fmla="*/ 8 h 178"/>
                  <a:gd name="T92" fmla="*/ 98 w 237"/>
                  <a:gd name="T93" fmla="*/ 8 h 178"/>
                  <a:gd name="T94" fmla="*/ 98 w 237"/>
                  <a:gd name="T95" fmla="*/ 5 h 178"/>
                  <a:gd name="T96" fmla="*/ 92 w 237"/>
                  <a:gd name="T97" fmla="*/ 5 h 178"/>
                  <a:gd name="T98" fmla="*/ 92 w 237"/>
                  <a:gd name="T99" fmla="*/ 8 h 178"/>
                  <a:gd name="T100" fmla="*/ 86 w 237"/>
                  <a:gd name="T101" fmla="*/ 8 h 178"/>
                  <a:gd name="T102" fmla="*/ 81 w 237"/>
                  <a:gd name="T103" fmla="*/ 5 h 178"/>
                  <a:gd name="T104" fmla="*/ 81 w 237"/>
                  <a:gd name="T105" fmla="*/ 5 h 178"/>
                  <a:gd name="T106" fmla="*/ 75 w 237"/>
                  <a:gd name="T107" fmla="*/ 0 h 178"/>
                  <a:gd name="T108" fmla="*/ 67 w 237"/>
                  <a:gd name="T109" fmla="*/ 11 h 178"/>
                  <a:gd name="T110" fmla="*/ 67 w 237"/>
                  <a:gd name="T111" fmla="*/ 8 h 178"/>
                  <a:gd name="T112" fmla="*/ 64 w 237"/>
                  <a:gd name="T113" fmla="*/ 8 h 178"/>
                  <a:gd name="T114" fmla="*/ 61 w 237"/>
                  <a:gd name="T115" fmla="*/ 11 h 178"/>
                  <a:gd name="T116" fmla="*/ 61 w 237"/>
                  <a:gd name="T117" fmla="*/ 11 h 178"/>
                  <a:gd name="T118" fmla="*/ 56 w 237"/>
                  <a:gd name="T119" fmla="*/ 11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7" h="178">
                    <a:moveTo>
                      <a:pt x="56" y="11"/>
                    </a:moveTo>
                    <a:lnTo>
                      <a:pt x="50" y="30"/>
                    </a:lnTo>
                    <a:lnTo>
                      <a:pt x="47" y="33"/>
                    </a:lnTo>
                    <a:lnTo>
                      <a:pt x="47" y="33"/>
                    </a:lnTo>
                    <a:lnTo>
                      <a:pt x="33" y="50"/>
                    </a:lnTo>
                    <a:lnTo>
                      <a:pt x="31" y="61"/>
                    </a:lnTo>
                    <a:lnTo>
                      <a:pt x="31" y="64"/>
                    </a:lnTo>
                    <a:lnTo>
                      <a:pt x="25" y="64"/>
                    </a:lnTo>
                    <a:lnTo>
                      <a:pt x="25" y="64"/>
                    </a:lnTo>
                    <a:lnTo>
                      <a:pt x="22" y="69"/>
                    </a:lnTo>
                    <a:lnTo>
                      <a:pt x="20" y="69"/>
                    </a:lnTo>
                    <a:lnTo>
                      <a:pt x="20" y="100"/>
                    </a:lnTo>
                    <a:lnTo>
                      <a:pt x="17" y="100"/>
                    </a:lnTo>
                    <a:lnTo>
                      <a:pt x="14" y="103"/>
                    </a:lnTo>
                    <a:lnTo>
                      <a:pt x="6" y="103"/>
                    </a:lnTo>
                    <a:lnTo>
                      <a:pt x="3" y="103"/>
                    </a:lnTo>
                    <a:lnTo>
                      <a:pt x="3" y="108"/>
                    </a:lnTo>
                    <a:lnTo>
                      <a:pt x="3" y="108"/>
                    </a:lnTo>
                    <a:lnTo>
                      <a:pt x="0" y="111"/>
                    </a:lnTo>
                    <a:lnTo>
                      <a:pt x="3" y="111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8" y="114"/>
                    </a:lnTo>
                    <a:lnTo>
                      <a:pt x="11" y="114"/>
                    </a:lnTo>
                    <a:lnTo>
                      <a:pt x="14" y="117"/>
                    </a:lnTo>
                    <a:lnTo>
                      <a:pt x="17" y="119"/>
                    </a:lnTo>
                    <a:lnTo>
                      <a:pt x="17" y="122"/>
                    </a:lnTo>
                    <a:lnTo>
                      <a:pt x="22" y="125"/>
                    </a:lnTo>
                    <a:lnTo>
                      <a:pt x="28" y="130"/>
                    </a:lnTo>
                    <a:lnTo>
                      <a:pt x="33" y="147"/>
                    </a:lnTo>
                    <a:lnTo>
                      <a:pt x="36" y="147"/>
                    </a:lnTo>
                    <a:lnTo>
                      <a:pt x="45" y="150"/>
                    </a:lnTo>
                    <a:lnTo>
                      <a:pt x="45" y="150"/>
                    </a:lnTo>
                    <a:lnTo>
                      <a:pt x="45" y="161"/>
                    </a:lnTo>
                    <a:lnTo>
                      <a:pt x="50" y="164"/>
                    </a:lnTo>
                    <a:lnTo>
                      <a:pt x="59" y="164"/>
                    </a:lnTo>
                    <a:lnTo>
                      <a:pt x="72" y="172"/>
                    </a:lnTo>
                    <a:lnTo>
                      <a:pt x="78" y="175"/>
                    </a:lnTo>
                    <a:lnTo>
                      <a:pt x="100" y="178"/>
                    </a:lnTo>
                    <a:lnTo>
                      <a:pt x="109" y="175"/>
                    </a:lnTo>
                    <a:lnTo>
                      <a:pt x="111" y="169"/>
                    </a:lnTo>
                    <a:lnTo>
                      <a:pt x="123" y="167"/>
                    </a:lnTo>
                    <a:lnTo>
                      <a:pt x="131" y="172"/>
                    </a:lnTo>
                    <a:lnTo>
                      <a:pt x="139" y="172"/>
                    </a:lnTo>
                    <a:lnTo>
                      <a:pt x="142" y="172"/>
                    </a:lnTo>
                    <a:lnTo>
                      <a:pt x="156" y="167"/>
                    </a:lnTo>
                    <a:lnTo>
                      <a:pt x="162" y="161"/>
                    </a:lnTo>
                    <a:lnTo>
                      <a:pt x="170" y="156"/>
                    </a:lnTo>
                    <a:lnTo>
                      <a:pt x="189" y="156"/>
                    </a:lnTo>
                    <a:lnTo>
                      <a:pt x="234" y="108"/>
                    </a:lnTo>
                    <a:lnTo>
                      <a:pt x="237" y="108"/>
                    </a:lnTo>
                    <a:lnTo>
                      <a:pt x="220" y="108"/>
                    </a:lnTo>
                    <a:lnTo>
                      <a:pt x="173" y="91"/>
                    </a:lnTo>
                    <a:lnTo>
                      <a:pt x="173" y="89"/>
                    </a:lnTo>
                    <a:lnTo>
                      <a:pt x="167" y="86"/>
                    </a:lnTo>
                    <a:lnTo>
                      <a:pt x="164" y="83"/>
                    </a:lnTo>
                    <a:lnTo>
                      <a:pt x="162" y="80"/>
                    </a:lnTo>
                    <a:lnTo>
                      <a:pt x="162" y="80"/>
                    </a:lnTo>
                    <a:lnTo>
                      <a:pt x="159" y="78"/>
                    </a:lnTo>
                    <a:lnTo>
                      <a:pt x="159" y="75"/>
                    </a:lnTo>
                    <a:lnTo>
                      <a:pt x="156" y="72"/>
                    </a:lnTo>
                    <a:lnTo>
                      <a:pt x="153" y="66"/>
                    </a:lnTo>
                    <a:lnTo>
                      <a:pt x="153" y="66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53" y="61"/>
                    </a:lnTo>
                    <a:lnTo>
                      <a:pt x="153" y="61"/>
                    </a:lnTo>
                    <a:lnTo>
                      <a:pt x="148" y="61"/>
                    </a:lnTo>
                    <a:lnTo>
                      <a:pt x="148" y="64"/>
                    </a:lnTo>
                    <a:lnTo>
                      <a:pt x="148" y="64"/>
                    </a:lnTo>
                    <a:lnTo>
                      <a:pt x="145" y="64"/>
                    </a:lnTo>
                    <a:lnTo>
                      <a:pt x="145" y="64"/>
                    </a:lnTo>
                    <a:lnTo>
                      <a:pt x="142" y="64"/>
                    </a:lnTo>
                    <a:lnTo>
                      <a:pt x="139" y="61"/>
                    </a:lnTo>
                    <a:lnTo>
                      <a:pt x="139" y="58"/>
                    </a:lnTo>
                    <a:lnTo>
                      <a:pt x="142" y="52"/>
                    </a:lnTo>
                    <a:lnTo>
                      <a:pt x="145" y="41"/>
                    </a:lnTo>
                    <a:lnTo>
                      <a:pt x="148" y="41"/>
                    </a:lnTo>
                    <a:lnTo>
                      <a:pt x="145" y="36"/>
                    </a:lnTo>
                    <a:lnTo>
                      <a:pt x="139" y="33"/>
                    </a:lnTo>
                    <a:lnTo>
                      <a:pt x="136" y="30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11" y="8"/>
                    </a:lnTo>
                    <a:lnTo>
                      <a:pt x="109" y="8"/>
                    </a:lnTo>
                    <a:lnTo>
                      <a:pt x="109" y="8"/>
                    </a:lnTo>
                    <a:lnTo>
                      <a:pt x="106" y="8"/>
                    </a:lnTo>
                    <a:lnTo>
                      <a:pt x="106" y="8"/>
                    </a:lnTo>
                    <a:lnTo>
                      <a:pt x="103" y="8"/>
                    </a:lnTo>
                    <a:lnTo>
                      <a:pt x="103" y="5"/>
                    </a:lnTo>
                    <a:lnTo>
                      <a:pt x="100" y="5"/>
                    </a:lnTo>
                    <a:lnTo>
                      <a:pt x="100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5"/>
                    </a:lnTo>
                    <a:lnTo>
                      <a:pt x="95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4" y="8"/>
                    </a:lnTo>
                    <a:lnTo>
                      <a:pt x="81" y="5"/>
                    </a:lnTo>
                    <a:lnTo>
                      <a:pt x="81" y="5"/>
                    </a:lnTo>
                    <a:lnTo>
                      <a:pt x="81" y="5"/>
                    </a:lnTo>
                    <a:lnTo>
                      <a:pt x="78" y="5"/>
                    </a:lnTo>
                    <a:lnTo>
                      <a:pt x="75" y="0"/>
                    </a:lnTo>
                    <a:lnTo>
                      <a:pt x="70" y="14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7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61" y="11"/>
                    </a:lnTo>
                    <a:lnTo>
                      <a:pt x="56" y="11"/>
                    </a:lnTo>
                    <a:lnTo>
                      <a:pt x="56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6" name="Freeform 1053"/>
              <p:cNvSpPr>
                <a:spLocks noChangeAspect="1"/>
              </p:cNvSpPr>
              <p:nvPr>
                <p:custDataLst>
                  <p:tags r:id="rId884"/>
                </p:custDataLst>
              </p:nvPr>
            </p:nvSpPr>
            <p:spPr bwMode="gray">
              <a:xfrm>
                <a:off x="5827983" y="4362366"/>
                <a:ext cx="214102" cy="338999"/>
              </a:xfrm>
              <a:custGeom>
                <a:avLst/>
                <a:gdLst>
                  <a:gd name="T0" fmla="*/ 164 w 164"/>
                  <a:gd name="T1" fmla="*/ 3 h 264"/>
                  <a:gd name="T2" fmla="*/ 158 w 164"/>
                  <a:gd name="T3" fmla="*/ 19 h 264"/>
                  <a:gd name="T4" fmla="*/ 158 w 164"/>
                  <a:gd name="T5" fmla="*/ 39 h 264"/>
                  <a:gd name="T6" fmla="*/ 161 w 164"/>
                  <a:gd name="T7" fmla="*/ 58 h 264"/>
                  <a:gd name="T8" fmla="*/ 164 w 164"/>
                  <a:gd name="T9" fmla="*/ 58 h 264"/>
                  <a:gd name="T10" fmla="*/ 164 w 164"/>
                  <a:gd name="T11" fmla="*/ 64 h 264"/>
                  <a:gd name="T12" fmla="*/ 158 w 164"/>
                  <a:gd name="T13" fmla="*/ 75 h 264"/>
                  <a:gd name="T14" fmla="*/ 158 w 164"/>
                  <a:gd name="T15" fmla="*/ 81 h 264"/>
                  <a:gd name="T16" fmla="*/ 150 w 164"/>
                  <a:gd name="T17" fmla="*/ 92 h 264"/>
                  <a:gd name="T18" fmla="*/ 139 w 164"/>
                  <a:gd name="T19" fmla="*/ 103 h 264"/>
                  <a:gd name="T20" fmla="*/ 105 w 164"/>
                  <a:gd name="T21" fmla="*/ 120 h 264"/>
                  <a:gd name="T22" fmla="*/ 100 w 164"/>
                  <a:gd name="T23" fmla="*/ 122 h 264"/>
                  <a:gd name="T24" fmla="*/ 94 w 164"/>
                  <a:gd name="T25" fmla="*/ 133 h 264"/>
                  <a:gd name="T26" fmla="*/ 91 w 164"/>
                  <a:gd name="T27" fmla="*/ 133 h 264"/>
                  <a:gd name="T28" fmla="*/ 72 w 164"/>
                  <a:gd name="T29" fmla="*/ 150 h 264"/>
                  <a:gd name="T30" fmla="*/ 75 w 164"/>
                  <a:gd name="T31" fmla="*/ 167 h 264"/>
                  <a:gd name="T32" fmla="*/ 80 w 164"/>
                  <a:gd name="T33" fmla="*/ 189 h 264"/>
                  <a:gd name="T34" fmla="*/ 77 w 164"/>
                  <a:gd name="T35" fmla="*/ 220 h 264"/>
                  <a:gd name="T36" fmla="*/ 83 w 164"/>
                  <a:gd name="T37" fmla="*/ 217 h 264"/>
                  <a:gd name="T38" fmla="*/ 72 w 164"/>
                  <a:gd name="T39" fmla="*/ 234 h 264"/>
                  <a:gd name="T40" fmla="*/ 44 w 164"/>
                  <a:gd name="T41" fmla="*/ 245 h 264"/>
                  <a:gd name="T42" fmla="*/ 41 w 164"/>
                  <a:gd name="T43" fmla="*/ 259 h 264"/>
                  <a:gd name="T44" fmla="*/ 41 w 164"/>
                  <a:gd name="T45" fmla="*/ 264 h 264"/>
                  <a:gd name="T46" fmla="*/ 22 w 164"/>
                  <a:gd name="T47" fmla="*/ 195 h 264"/>
                  <a:gd name="T48" fmla="*/ 25 w 164"/>
                  <a:gd name="T49" fmla="*/ 184 h 264"/>
                  <a:gd name="T50" fmla="*/ 41 w 164"/>
                  <a:gd name="T51" fmla="*/ 136 h 264"/>
                  <a:gd name="T52" fmla="*/ 41 w 164"/>
                  <a:gd name="T53" fmla="*/ 97 h 264"/>
                  <a:gd name="T54" fmla="*/ 2 w 164"/>
                  <a:gd name="T55" fmla="*/ 86 h 264"/>
                  <a:gd name="T56" fmla="*/ 0 w 164"/>
                  <a:gd name="T57" fmla="*/ 72 h 264"/>
                  <a:gd name="T58" fmla="*/ 50 w 164"/>
                  <a:gd name="T59" fmla="*/ 55 h 264"/>
                  <a:gd name="T60" fmla="*/ 55 w 164"/>
                  <a:gd name="T61" fmla="*/ 64 h 264"/>
                  <a:gd name="T62" fmla="*/ 69 w 164"/>
                  <a:gd name="T63" fmla="*/ 64 h 264"/>
                  <a:gd name="T64" fmla="*/ 66 w 164"/>
                  <a:gd name="T65" fmla="*/ 78 h 264"/>
                  <a:gd name="T66" fmla="*/ 66 w 164"/>
                  <a:gd name="T67" fmla="*/ 86 h 264"/>
                  <a:gd name="T68" fmla="*/ 69 w 164"/>
                  <a:gd name="T69" fmla="*/ 92 h 264"/>
                  <a:gd name="T70" fmla="*/ 77 w 164"/>
                  <a:gd name="T71" fmla="*/ 100 h 264"/>
                  <a:gd name="T72" fmla="*/ 77 w 164"/>
                  <a:gd name="T73" fmla="*/ 103 h 264"/>
                  <a:gd name="T74" fmla="*/ 80 w 164"/>
                  <a:gd name="T75" fmla="*/ 103 h 264"/>
                  <a:gd name="T76" fmla="*/ 80 w 164"/>
                  <a:gd name="T77" fmla="*/ 97 h 264"/>
                  <a:gd name="T78" fmla="*/ 80 w 164"/>
                  <a:gd name="T79" fmla="*/ 92 h 264"/>
                  <a:gd name="T80" fmla="*/ 89 w 164"/>
                  <a:gd name="T81" fmla="*/ 86 h 264"/>
                  <a:gd name="T82" fmla="*/ 89 w 164"/>
                  <a:gd name="T83" fmla="*/ 75 h 264"/>
                  <a:gd name="T84" fmla="*/ 75 w 164"/>
                  <a:gd name="T85" fmla="*/ 47 h 264"/>
                  <a:gd name="T86" fmla="*/ 72 w 164"/>
                  <a:gd name="T87" fmla="*/ 33 h 264"/>
                  <a:gd name="T88" fmla="*/ 89 w 164"/>
                  <a:gd name="T89" fmla="*/ 16 h 264"/>
                  <a:gd name="T90" fmla="*/ 94 w 164"/>
                  <a:gd name="T91" fmla="*/ 14 h 264"/>
                  <a:gd name="T92" fmla="*/ 100 w 164"/>
                  <a:gd name="T93" fmla="*/ 16 h 264"/>
                  <a:gd name="T94" fmla="*/ 119 w 164"/>
                  <a:gd name="T95" fmla="*/ 16 h 264"/>
                  <a:gd name="T96" fmla="*/ 128 w 164"/>
                  <a:gd name="T97" fmla="*/ 11 h 264"/>
                  <a:gd name="T98" fmla="*/ 153 w 164"/>
                  <a:gd name="T99" fmla="*/ 5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4" h="264">
                    <a:moveTo>
                      <a:pt x="164" y="0"/>
                    </a:moveTo>
                    <a:lnTo>
                      <a:pt x="164" y="0"/>
                    </a:lnTo>
                    <a:lnTo>
                      <a:pt x="164" y="3"/>
                    </a:lnTo>
                    <a:lnTo>
                      <a:pt x="164" y="3"/>
                    </a:lnTo>
                    <a:lnTo>
                      <a:pt x="164" y="8"/>
                    </a:lnTo>
                    <a:lnTo>
                      <a:pt x="158" y="19"/>
                    </a:lnTo>
                    <a:lnTo>
                      <a:pt x="161" y="36"/>
                    </a:lnTo>
                    <a:lnTo>
                      <a:pt x="158" y="36"/>
                    </a:lnTo>
                    <a:lnTo>
                      <a:pt x="158" y="39"/>
                    </a:lnTo>
                    <a:lnTo>
                      <a:pt x="161" y="39"/>
                    </a:lnTo>
                    <a:lnTo>
                      <a:pt x="161" y="55"/>
                    </a:lnTo>
                    <a:lnTo>
                      <a:pt x="161" y="58"/>
                    </a:lnTo>
                    <a:lnTo>
                      <a:pt x="161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61" y="61"/>
                    </a:lnTo>
                    <a:lnTo>
                      <a:pt x="164" y="61"/>
                    </a:lnTo>
                    <a:lnTo>
                      <a:pt x="164" y="64"/>
                    </a:lnTo>
                    <a:lnTo>
                      <a:pt x="164" y="64"/>
                    </a:lnTo>
                    <a:lnTo>
                      <a:pt x="161" y="72"/>
                    </a:lnTo>
                    <a:lnTo>
                      <a:pt x="158" y="75"/>
                    </a:lnTo>
                    <a:lnTo>
                      <a:pt x="161" y="75"/>
                    </a:lnTo>
                    <a:lnTo>
                      <a:pt x="161" y="78"/>
                    </a:lnTo>
                    <a:lnTo>
                      <a:pt x="158" y="81"/>
                    </a:lnTo>
                    <a:lnTo>
                      <a:pt x="153" y="89"/>
                    </a:lnTo>
                    <a:lnTo>
                      <a:pt x="147" y="92"/>
                    </a:lnTo>
                    <a:lnTo>
                      <a:pt x="150" y="92"/>
                    </a:lnTo>
                    <a:lnTo>
                      <a:pt x="147" y="94"/>
                    </a:lnTo>
                    <a:lnTo>
                      <a:pt x="139" y="100"/>
                    </a:lnTo>
                    <a:lnTo>
                      <a:pt x="139" y="103"/>
                    </a:lnTo>
                    <a:lnTo>
                      <a:pt x="133" y="106"/>
                    </a:lnTo>
                    <a:lnTo>
                      <a:pt x="130" y="106"/>
                    </a:lnTo>
                    <a:lnTo>
                      <a:pt x="105" y="120"/>
                    </a:lnTo>
                    <a:lnTo>
                      <a:pt x="105" y="122"/>
                    </a:lnTo>
                    <a:lnTo>
                      <a:pt x="103" y="122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103" y="125"/>
                    </a:lnTo>
                    <a:lnTo>
                      <a:pt x="94" y="133"/>
                    </a:lnTo>
                    <a:lnTo>
                      <a:pt x="94" y="133"/>
                    </a:lnTo>
                    <a:lnTo>
                      <a:pt x="91" y="131"/>
                    </a:lnTo>
                    <a:lnTo>
                      <a:pt x="91" y="133"/>
                    </a:lnTo>
                    <a:lnTo>
                      <a:pt x="89" y="136"/>
                    </a:lnTo>
                    <a:lnTo>
                      <a:pt x="75" y="150"/>
                    </a:lnTo>
                    <a:lnTo>
                      <a:pt x="72" y="150"/>
                    </a:lnTo>
                    <a:lnTo>
                      <a:pt x="69" y="161"/>
                    </a:lnTo>
                    <a:lnTo>
                      <a:pt x="75" y="164"/>
                    </a:lnTo>
                    <a:lnTo>
                      <a:pt x="75" y="167"/>
                    </a:lnTo>
                    <a:lnTo>
                      <a:pt x="75" y="170"/>
                    </a:lnTo>
                    <a:lnTo>
                      <a:pt x="75" y="170"/>
                    </a:lnTo>
                    <a:lnTo>
                      <a:pt x="80" y="189"/>
                    </a:lnTo>
                    <a:lnTo>
                      <a:pt x="83" y="186"/>
                    </a:lnTo>
                    <a:lnTo>
                      <a:pt x="83" y="189"/>
                    </a:lnTo>
                    <a:lnTo>
                      <a:pt x="77" y="220"/>
                    </a:lnTo>
                    <a:lnTo>
                      <a:pt x="80" y="223"/>
                    </a:lnTo>
                    <a:lnTo>
                      <a:pt x="80" y="220"/>
                    </a:lnTo>
                    <a:lnTo>
                      <a:pt x="83" y="217"/>
                    </a:lnTo>
                    <a:lnTo>
                      <a:pt x="80" y="223"/>
                    </a:lnTo>
                    <a:lnTo>
                      <a:pt x="75" y="231"/>
                    </a:lnTo>
                    <a:lnTo>
                      <a:pt x="72" y="234"/>
                    </a:lnTo>
                    <a:lnTo>
                      <a:pt x="66" y="234"/>
                    </a:lnTo>
                    <a:lnTo>
                      <a:pt x="64" y="236"/>
                    </a:lnTo>
                    <a:lnTo>
                      <a:pt x="44" y="245"/>
                    </a:lnTo>
                    <a:lnTo>
                      <a:pt x="36" y="253"/>
                    </a:lnTo>
                    <a:lnTo>
                      <a:pt x="36" y="253"/>
                    </a:lnTo>
                    <a:lnTo>
                      <a:pt x="41" y="259"/>
                    </a:lnTo>
                    <a:lnTo>
                      <a:pt x="41" y="256"/>
                    </a:lnTo>
                    <a:lnTo>
                      <a:pt x="44" y="256"/>
                    </a:lnTo>
                    <a:lnTo>
                      <a:pt x="41" y="264"/>
                    </a:lnTo>
                    <a:lnTo>
                      <a:pt x="30" y="264"/>
                    </a:lnTo>
                    <a:lnTo>
                      <a:pt x="22" y="195"/>
                    </a:lnTo>
                    <a:lnTo>
                      <a:pt x="22" y="195"/>
                    </a:lnTo>
                    <a:lnTo>
                      <a:pt x="22" y="192"/>
                    </a:lnTo>
                    <a:lnTo>
                      <a:pt x="25" y="186"/>
                    </a:lnTo>
                    <a:lnTo>
                      <a:pt x="25" y="184"/>
                    </a:lnTo>
                    <a:lnTo>
                      <a:pt x="30" y="181"/>
                    </a:lnTo>
                    <a:lnTo>
                      <a:pt x="41" y="150"/>
                    </a:lnTo>
                    <a:lnTo>
                      <a:pt x="41" y="136"/>
                    </a:lnTo>
                    <a:lnTo>
                      <a:pt x="44" y="131"/>
                    </a:lnTo>
                    <a:lnTo>
                      <a:pt x="44" y="111"/>
                    </a:lnTo>
                    <a:lnTo>
                      <a:pt x="41" y="97"/>
                    </a:lnTo>
                    <a:lnTo>
                      <a:pt x="39" y="94"/>
                    </a:lnTo>
                    <a:lnTo>
                      <a:pt x="13" y="86"/>
                    </a:lnTo>
                    <a:lnTo>
                      <a:pt x="2" y="86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0" y="72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50" y="55"/>
                    </a:lnTo>
                    <a:lnTo>
                      <a:pt x="52" y="61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66" y="61"/>
                    </a:lnTo>
                    <a:lnTo>
                      <a:pt x="66" y="61"/>
                    </a:lnTo>
                    <a:lnTo>
                      <a:pt x="69" y="64"/>
                    </a:lnTo>
                    <a:lnTo>
                      <a:pt x="69" y="75"/>
                    </a:lnTo>
                    <a:lnTo>
                      <a:pt x="69" y="78"/>
                    </a:lnTo>
                    <a:lnTo>
                      <a:pt x="66" y="78"/>
                    </a:lnTo>
                    <a:lnTo>
                      <a:pt x="69" y="81"/>
                    </a:lnTo>
                    <a:lnTo>
                      <a:pt x="66" y="83"/>
                    </a:lnTo>
                    <a:lnTo>
                      <a:pt x="66" y="86"/>
                    </a:lnTo>
                    <a:lnTo>
                      <a:pt x="66" y="86"/>
                    </a:lnTo>
                    <a:lnTo>
                      <a:pt x="69" y="92"/>
                    </a:lnTo>
                    <a:lnTo>
                      <a:pt x="69" y="92"/>
                    </a:lnTo>
                    <a:lnTo>
                      <a:pt x="69" y="92"/>
                    </a:lnTo>
                    <a:lnTo>
                      <a:pt x="75" y="97"/>
                    </a:lnTo>
                    <a:lnTo>
                      <a:pt x="77" y="100"/>
                    </a:lnTo>
                    <a:lnTo>
                      <a:pt x="77" y="100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77" y="103"/>
                    </a:lnTo>
                    <a:lnTo>
                      <a:pt x="80" y="103"/>
                    </a:lnTo>
                    <a:lnTo>
                      <a:pt x="80" y="103"/>
                    </a:lnTo>
                    <a:lnTo>
                      <a:pt x="80" y="100"/>
                    </a:lnTo>
                    <a:lnTo>
                      <a:pt x="80" y="97"/>
                    </a:lnTo>
                    <a:lnTo>
                      <a:pt x="80" y="97"/>
                    </a:lnTo>
                    <a:lnTo>
                      <a:pt x="80" y="94"/>
                    </a:lnTo>
                    <a:lnTo>
                      <a:pt x="80" y="92"/>
                    </a:lnTo>
                    <a:lnTo>
                      <a:pt x="80" y="92"/>
                    </a:lnTo>
                    <a:lnTo>
                      <a:pt x="80" y="92"/>
                    </a:lnTo>
                    <a:lnTo>
                      <a:pt x="89" y="86"/>
                    </a:lnTo>
                    <a:lnTo>
                      <a:pt x="89" y="86"/>
                    </a:lnTo>
                    <a:lnTo>
                      <a:pt x="89" y="81"/>
                    </a:lnTo>
                    <a:lnTo>
                      <a:pt x="91" y="78"/>
                    </a:lnTo>
                    <a:lnTo>
                      <a:pt x="89" y="75"/>
                    </a:lnTo>
                    <a:lnTo>
                      <a:pt x="91" y="69"/>
                    </a:lnTo>
                    <a:lnTo>
                      <a:pt x="91" y="64"/>
                    </a:lnTo>
                    <a:lnTo>
                      <a:pt x="75" y="47"/>
                    </a:lnTo>
                    <a:lnTo>
                      <a:pt x="75" y="47"/>
                    </a:lnTo>
                    <a:lnTo>
                      <a:pt x="72" y="33"/>
                    </a:lnTo>
                    <a:lnTo>
                      <a:pt x="72" y="33"/>
                    </a:lnTo>
                    <a:lnTo>
                      <a:pt x="72" y="30"/>
                    </a:lnTo>
                    <a:lnTo>
                      <a:pt x="75" y="16"/>
                    </a:lnTo>
                    <a:lnTo>
                      <a:pt x="89" y="16"/>
                    </a:lnTo>
                    <a:lnTo>
                      <a:pt x="91" y="14"/>
                    </a:lnTo>
                    <a:lnTo>
                      <a:pt x="91" y="14"/>
                    </a:lnTo>
                    <a:lnTo>
                      <a:pt x="94" y="14"/>
                    </a:lnTo>
                    <a:lnTo>
                      <a:pt x="97" y="16"/>
                    </a:lnTo>
                    <a:lnTo>
                      <a:pt x="100" y="19"/>
                    </a:lnTo>
                    <a:lnTo>
                      <a:pt x="100" y="16"/>
                    </a:lnTo>
                    <a:lnTo>
                      <a:pt x="103" y="16"/>
                    </a:lnTo>
                    <a:lnTo>
                      <a:pt x="105" y="16"/>
                    </a:lnTo>
                    <a:lnTo>
                      <a:pt x="119" y="16"/>
                    </a:lnTo>
                    <a:lnTo>
                      <a:pt x="122" y="11"/>
                    </a:lnTo>
                    <a:lnTo>
                      <a:pt x="125" y="11"/>
                    </a:lnTo>
                    <a:lnTo>
                      <a:pt x="128" y="11"/>
                    </a:lnTo>
                    <a:lnTo>
                      <a:pt x="133" y="11"/>
                    </a:lnTo>
                    <a:lnTo>
                      <a:pt x="139" y="11"/>
                    </a:lnTo>
                    <a:lnTo>
                      <a:pt x="153" y="5"/>
                    </a:lnTo>
                    <a:lnTo>
                      <a:pt x="16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7" name="Freeform 1054"/>
              <p:cNvSpPr>
                <a:spLocks noChangeAspect="1"/>
              </p:cNvSpPr>
              <p:nvPr>
                <p:custDataLst>
                  <p:tags r:id="rId885"/>
                </p:custDataLst>
              </p:nvPr>
            </p:nvSpPr>
            <p:spPr bwMode="gray">
              <a:xfrm>
                <a:off x="6125601" y="3282297"/>
                <a:ext cx="25813" cy="20498"/>
              </a:xfrm>
              <a:custGeom>
                <a:avLst/>
                <a:gdLst>
                  <a:gd name="T0" fmla="*/ 19 w 19"/>
                  <a:gd name="T1" fmla="*/ 16 h 16"/>
                  <a:gd name="T2" fmla="*/ 11 w 19"/>
                  <a:gd name="T3" fmla="*/ 16 h 16"/>
                  <a:gd name="T4" fmla="*/ 0 w 19"/>
                  <a:gd name="T5" fmla="*/ 2 h 16"/>
                  <a:gd name="T6" fmla="*/ 3 w 19"/>
                  <a:gd name="T7" fmla="*/ 0 h 16"/>
                  <a:gd name="T8" fmla="*/ 5 w 19"/>
                  <a:gd name="T9" fmla="*/ 0 h 16"/>
                  <a:gd name="T10" fmla="*/ 8 w 19"/>
                  <a:gd name="T11" fmla="*/ 2 h 16"/>
                  <a:gd name="T12" fmla="*/ 8 w 19"/>
                  <a:gd name="T13" fmla="*/ 2 h 16"/>
                  <a:gd name="T14" fmla="*/ 11 w 19"/>
                  <a:gd name="T15" fmla="*/ 5 h 16"/>
                  <a:gd name="T16" fmla="*/ 14 w 19"/>
                  <a:gd name="T17" fmla="*/ 2 h 16"/>
                  <a:gd name="T18" fmla="*/ 17 w 19"/>
                  <a:gd name="T19" fmla="*/ 5 h 16"/>
                  <a:gd name="T20" fmla="*/ 19 w 19"/>
                  <a:gd name="T21" fmla="*/ 11 h 16"/>
                  <a:gd name="T22" fmla="*/ 19 w 19"/>
                  <a:gd name="T2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6">
                    <a:moveTo>
                      <a:pt x="19" y="16"/>
                    </a:moveTo>
                    <a:lnTo>
                      <a:pt x="11" y="16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1" y="5"/>
                    </a:lnTo>
                    <a:lnTo>
                      <a:pt x="14" y="2"/>
                    </a:lnTo>
                    <a:lnTo>
                      <a:pt x="17" y="5"/>
                    </a:lnTo>
                    <a:lnTo>
                      <a:pt x="19" y="11"/>
                    </a:lnTo>
                    <a:lnTo>
                      <a:pt x="19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8" name="Freeform 1055"/>
              <p:cNvSpPr>
                <a:spLocks noChangeAspect="1"/>
              </p:cNvSpPr>
              <p:nvPr>
                <p:custDataLst>
                  <p:tags r:id="rId886"/>
                </p:custDataLst>
              </p:nvPr>
            </p:nvSpPr>
            <p:spPr bwMode="gray">
              <a:xfrm>
                <a:off x="6131674" y="3225537"/>
                <a:ext cx="106292" cy="89874"/>
              </a:xfrm>
              <a:custGeom>
                <a:avLst/>
                <a:gdLst>
                  <a:gd name="T0" fmla="*/ 25 w 83"/>
                  <a:gd name="T1" fmla="*/ 3 h 70"/>
                  <a:gd name="T2" fmla="*/ 33 w 83"/>
                  <a:gd name="T3" fmla="*/ 6 h 70"/>
                  <a:gd name="T4" fmla="*/ 36 w 83"/>
                  <a:gd name="T5" fmla="*/ 14 h 70"/>
                  <a:gd name="T6" fmla="*/ 47 w 83"/>
                  <a:gd name="T7" fmla="*/ 14 h 70"/>
                  <a:gd name="T8" fmla="*/ 50 w 83"/>
                  <a:gd name="T9" fmla="*/ 8 h 70"/>
                  <a:gd name="T10" fmla="*/ 55 w 83"/>
                  <a:gd name="T11" fmla="*/ 0 h 70"/>
                  <a:gd name="T12" fmla="*/ 75 w 83"/>
                  <a:gd name="T13" fmla="*/ 28 h 70"/>
                  <a:gd name="T14" fmla="*/ 80 w 83"/>
                  <a:gd name="T15" fmla="*/ 28 h 70"/>
                  <a:gd name="T16" fmla="*/ 83 w 83"/>
                  <a:gd name="T17" fmla="*/ 33 h 70"/>
                  <a:gd name="T18" fmla="*/ 78 w 83"/>
                  <a:gd name="T19" fmla="*/ 31 h 70"/>
                  <a:gd name="T20" fmla="*/ 72 w 83"/>
                  <a:gd name="T21" fmla="*/ 36 h 70"/>
                  <a:gd name="T22" fmla="*/ 64 w 83"/>
                  <a:gd name="T23" fmla="*/ 56 h 70"/>
                  <a:gd name="T24" fmla="*/ 61 w 83"/>
                  <a:gd name="T25" fmla="*/ 70 h 70"/>
                  <a:gd name="T26" fmla="*/ 55 w 83"/>
                  <a:gd name="T27" fmla="*/ 70 h 70"/>
                  <a:gd name="T28" fmla="*/ 53 w 83"/>
                  <a:gd name="T29" fmla="*/ 67 h 70"/>
                  <a:gd name="T30" fmla="*/ 47 w 83"/>
                  <a:gd name="T31" fmla="*/ 64 h 70"/>
                  <a:gd name="T32" fmla="*/ 53 w 83"/>
                  <a:gd name="T33" fmla="*/ 59 h 70"/>
                  <a:gd name="T34" fmla="*/ 50 w 83"/>
                  <a:gd name="T35" fmla="*/ 50 h 70"/>
                  <a:gd name="T36" fmla="*/ 39 w 83"/>
                  <a:gd name="T37" fmla="*/ 47 h 70"/>
                  <a:gd name="T38" fmla="*/ 30 w 83"/>
                  <a:gd name="T39" fmla="*/ 59 h 70"/>
                  <a:gd name="T40" fmla="*/ 25 w 83"/>
                  <a:gd name="T41" fmla="*/ 61 h 70"/>
                  <a:gd name="T42" fmla="*/ 22 w 83"/>
                  <a:gd name="T43" fmla="*/ 56 h 70"/>
                  <a:gd name="T44" fmla="*/ 25 w 83"/>
                  <a:gd name="T45" fmla="*/ 53 h 70"/>
                  <a:gd name="T46" fmla="*/ 22 w 83"/>
                  <a:gd name="T47" fmla="*/ 50 h 70"/>
                  <a:gd name="T48" fmla="*/ 22 w 83"/>
                  <a:gd name="T49" fmla="*/ 47 h 70"/>
                  <a:gd name="T50" fmla="*/ 16 w 83"/>
                  <a:gd name="T51" fmla="*/ 45 h 70"/>
                  <a:gd name="T52" fmla="*/ 11 w 83"/>
                  <a:gd name="T53" fmla="*/ 39 h 70"/>
                  <a:gd name="T54" fmla="*/ 16 w 83"/>
                  <a:gd name="T55" fmla="*/ 36 h 70"/>
                  <a:gd name="T56" fmla="*/ 8 w 83"/>
                  <a:gd name="T57" fmla="*/ 31 h 70"/>
                  <a:gd name="T58" fmla="*/ 8 w 83"/>
                  <a:gd name="T59" fmla="*/ 25 h 70"/>
                  <a:gd name="T60" fmla="*/ 8 w 83"/>
                  <a:gd name="T61" fmla="*/ 22 h 70"/>
                  <a:gd name="T62" fmla="*/ 5 w 83"/>
                  <a:gd name="T63" fmla="*/ 20 h 70"/>
                  <a:gd name="T64" fmla="*/ 0 w 83"/>
                  <a:gd name="T65" fmla="*/ 11 h 70"/>
                  <a:gd name="T66" fmla="*/ 11 w 83"/>
                  <a:gd name="T67" fmla="*/ 11 h 70"/>
                  <a:gd name="T68" fmla="*/ 16 w 83"/>
                  <a:gd name="T69" fmla="*/ 14 h 70"/>
                  <a:gd name="T70" fmla="*/ 25 w 83"/>
                  <a:gd name="T71" fmla="*/ 17 h 70"/>
                  <a:gd name="T72" fmla="*/ 25 w 83"/>
                  <a:gd name="T73" fmla="*/ 11 h 70"/>
                  <a:gd name="T74" fmla="*/ 22 w 83"/>
                  <a:gd name="T75" fmla="*/ 8 h 70"/>
                  <a:gd name="T76" fmla="*/ 19 w 83"/>
                  <a:gd name="T77" fmla="*/ 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3" h="70">
                    <a:moveTo>
                      <a:pt x="22" y="0"/>
                    </a:moveTo>
                    <a:lnTo>
                      <a:pt x="25" y="3"/>
                    </a:lnTo>
                    <a:lnTo>
                      <a:pt x="27" y="3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6" y="14"/>
                    </a:lnTo>
                    <a:lnTo>
                      <a:pt x="44" y="14"/>
                    </a:lnTo>
                    <a:lnTo>
                      <a:pt x="47" y="14"/>
                    </a:lnTo>
                    <a:lnTo>
                      <a:pt x="47" y="11"/>
                    </a:lnTo>
                    <a:lnTo>
                      <a:pt x="50" y="8"/>
                    </a:lnTo>
                    <a:lnTo>
                      <a:pt x="53" y="6"/>
                    </a:lnTo>
                    <a:lnTo>
                      <a:pt x="55" y="0"/>
                    </a:lnTo>
                    <a:lnTo>
                      <a:pt x="72" y="25"/>
                    </a:lnTo>
                    <a:lnTo>
                      <a:pt x="75" y="28"/>
                    </a:lnTo>
                    <a:lnTo>
                      <a:pt x="78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33"/>
                    </a:lnTo>
                    <a:lnTo>
                      <a:pt x="80" y="31"/>
                    </a:lnTo>
                    <a:lnTo>
                      <a:pt x="78" y="31"/>
                    </a:lnTo>
                    <a:lnTo>
                      <a:pt x="75" y="33"/>
                    </a:lnTo>
                    <a:lnTo>
                      <a:pt x="72" y="36"/>
                    </a:lnTo>
                    <a:lnTo>
                      <a:pt x="66" y="59"/>
                    </a:lnTo>
                    <a:lnTo>
                      <a:pt x="64" y="56"/>
                    </a:lnTo>
                    <a:lnTo>
                      <a:pt x="61" y="56"/>
                    </a:lnTo>
                    <a:lnTo>
                      <a:pt x="61" y="70"/>
                    </a:lnTo>
                    <a:lnTo>
                      <a:pt x="61" y="70"/>
                    </a:lnTo>
                    <a:lnTo>
                      <a:pt x="55" y="70"/>
                    </a:lnTo>
                    <a:lnTo>
                      <a:pt x="55" y="67"/>
                    </a:lnTo>
                    <a:lnTo>
                      <a:pt x="53" y="67"/>
                    </a:lnTo>
                    <a:lnTo>
                      <a:pt x="50" y="64"/>
                    </a:lnTo>
                    <a:lnTo>
                      <a:pt x="47" y="64"/>
                    </a:lnTo>
                    <a:lnTo>
                      <a:pt x="47" y="61"/>
                    </a:lnTo>
                    <a:lnTo>
                      <a:pt x="53" y="59"/>
                    </a:lnTo>
                    <a:lnTo>
                      <a:pt x="50" y="53"/>
                    </a:lnTo>
                    <a:lnTo>
                      <a:pt x="50" y="50"/>
                    </a:lnTo>
                    <a:lnTo>
                      <a:pt x="47" y="47"/>
                    </a:lnTo>
                    <a:lnTo>
                      <a:pt x="39" y="47"/>
                    </a:lnTo>
                    <a:lnTo>
                      <a:pt x="33" y="53"/>
                    </a:lnTo>
                    <a:lnTo>
                      <a:pt x="30" y="59"/>
                    </a:lnTo>
                    <a:lnTo>
                      <a:pt x="27" y="61"/>
                    </a:lnTo>
                    <a:lnTo>
                      <a:pt x="25" y="61"/>
                    </a:lnTo>
                    <a:lnTo>
                      <a:pt x="22" y="59"/>
                    </a:lnTo>
                    <a:lnTo>
                      <a:pt x="22" y="56"/>
                    </a:lnTo>
                    <a:lnTo>
                      <a:pt x="25" y="56"/>
                    </a:lnTo>
                    <a:lnTo>
                      <a:pt x="25" y="53"/>
                    </a:lnTo>
                    <a:lnTo>
                      <a:pt x="22" y="53"/>
                    </a:lnTo>
                    <a:lnTo>
                      <a:pt x="22" y="50"/>
                    </a:lnTo>
                    <a:lnTo>
                      <a:pt x="25" y="47"/>
                    </a:lnTo>
                    <a:lnTo>
                      <a:pt x="22" y="47"/>
                    </a:lnTo>
                    <a:lnTo>
                      <a:pt x="19" y="47"/>
                    </a:lnTo>
                    <a:lnTo>
                      <a:pt x="16" y="45"/>
                    </a:lnTo>
                    <a:lnTo>
                      <a:pt x="14" y="42"/>
                    </a:lnTo>
                    <a:lnTo>
                      <a:pt x="11" y="39"/>
                    </a:lnTo>
                    <a:lnTo>
                      <a:pt x="14" y="39"/>
                    </a:lnTo>
                    <a:lnTo>
                      <a:pt x="16" y="36"/>
                    </a:lnTo>
                    <a:lnTo>
                      <a:pt x="14" y="33"/>
                    </a:lnTo>
                    <a:lnTo>
                      <a:pt x="8" y="31"/>
                    </a:lnTo>
                    <a:lnTo>
                      <a:pt x="8" y="28"/>
                    </a:lnTo>
                    <a:lnTo>
                      <a:pt x="8" y="25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5" y="20"/>
                    </a:lnTo>
                    <a:lnTo>
                      <a:pt x="5" y="17"/>
                    </a:lnTo>
                    <a:lnTo>
                      <a:pt x="0" y="11"/>
                    </a:lnTo>
                    <a:lnTo>
                      <a:pt x="5" y="8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25" y="17"/>
                    </a:lnTo>
                    <a:lnTo>
                      <a:pt x="27" y="14"/>
                    </a:lnTo>
                    <a:lnTo>
                      <a:pt x="25" y="11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9" y="6"/>
                    </a:lnTo>
                    <a:lnTo>
                      <a:pt x="19" y="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9" name="Freeform 1056"/>
              <p:cNvSpPr>
                <a:spLocks noChangeAspect="1"/>
              </p:cNvSpPr>
              <p:nvPr>
                <p:custDataLst>
                  <p:tags r:id="rId887"/>
                </p:custDataLst>
              </p:nvPr>
            </p:nvSpPr>
            <p:spPr bwMode="gray">
              <a:xfrm>
                <a:off x="5402815" y="3446281"/>
                <a:ext cx="323431" cy="304310"/>
              </a:xfrm>
              <a:custGeom>
                <a:avLst/>
                <a:gdLst>
                  <a:gd name="T0" fmla="*/ 33 w 248"/>
                  <a:gd name="T1" fmla="*/ 156 h 236"/>
                  <a:gd name="T2" fmla="*/ 16 w 248"/>
                  <a:gd name="T3" fmla="*/ 153 h 236"/>
                  <a:gd name="T4" fmla="*/ 11 w 248"/>
                  <a:gd name="T5" fmla="*/ 139 h 236"/>
                  <a:gd name="T6" fmla="*/ 0 w 248"/>
                  <a:gd name="T7" fmla="*/ 125 h 236"/>
                  <a:gd name="T8" fmla="*/ 8 w 248"/>
                  <a:gd name="T9" fmla="*/ 119 h 236"/>
                  <a:gd name="T10" fmla="*/ 0 w 248"/>
                  <a:gd name="T11" fmla="*/ 58 h 236"/>
                  <a:gd name="T12" fmla="*/ 3 w 248"/>
                  <a:gd name="T13" fmla="*/ 53 h 236"/>
                  <a:gd name="T14" fmla="*/ 5 w 248"/>
                  <a:gd name="T15" fmla="*/ 53 h 236"/>
                  <a:gd name="T16" fmla="*/ 14 w 248"/>
                  <a:gd name="T17" fmla="*/ 44 h 236"/>
                  <a:gd name="T18" fmla="*/ 14 w 248"/>
                  <a:gd name="T19" fmla="*/ 33 h 236"/>
                  <a:gd name="T20" fmla="*/ 14 w 248"/>
                  <a:gd name="T21" fmla="*/ 28 h 236"/>
                  <a:gd name="T22" fmla="*/ 22 w 248"/>
                  <a:gd name="T23" fmla="*/ 22 h 236"/>
                  <a:gd name="T24" fmla="*/ 33 w 248"/>
                  <a:gd name="T25" fmla="*/ 11 h 236"/>
                  <a:gd name="T26" fmla="*/ 47 w 248"/>
                  <a:gd name="T27" fmla="*/ 5 h 236"/>
                  <a:gd name="T28" fmla="*/ 58 w 248"/>
                  <a:gd name="T29" fmla="*/ 5 h 236"/>
                  <a:gd name="T30" fmla="*/ 67 w 248"/>
                  <a:gd name="T31" fmla="*/ 8 h 236"/>
                  <a:gd name="T32" fmla="*/ 92 w 248"/>
                  <a:gd name="T33" fmla="*/ 16 h 236"/>
                  <a:gd name="T34" fmla="*/ 94 w 248"/>
                  <a:gd name="T35" fmla="*/ 25 h 236"/>
                  <a:gd name="T36" fmla="*/ 139 w 248"/>
                  <a:gd name="T37" fmla="*/ 44 h 236"/>
                  <a:gd name="T38" fmla="*/ 150 w 248"/>
                  <a:gd name="T39" fmla="*/ 53 h 236"/>
                  <a:gd name="T40" fmla="*/ 161 w 248"/>
                  <a:gd name="T41" fmla="*/ 50 h 236"/>
                  <a:gd name="T42" fmla="*/ 167 w 248"/>
                  <a:gd name="T43" fmla="*/ 36 h 236"/>
                  <a:gd name="T44" fmla="*/ 167 w 248"/>
                  <a:gd name="T45" fmla="*/ 30 h 236"/>
                  <a:gd name="T46" fmla="*/ 164 w 248"/>
                  <a:gd name="T47" fmla="*/ 25 h 236"/>
                  <a:gd name="T48" fmla="*/ 181 w 248"/>
                  <a:gd name="T49" fmla="*/ 8 h 236"/>
                  <a:gd name="T50" fmla="*/ 209 w 248"/>
                  <a:gd name="T51" fmla="*/ 8 h 236"/>
                  <a:gd name="T52" fmla="*/ 214 w 248"/>
                  <a:gd name="T53" fmla="*/ 11 h 236"/>
                  <a:gd name="T54" fmla="*/ 214 w 248"/>
                  <a:gd name="T55" fmla="*/ 14 h 236"/>
                  <a:gd name="T56" fmla="*/ 214 w 248"/>
                  <a:gd name="T57" fmla="*/ 16 h 236"/>
                  <a:gd name="T58" fmla="*/ 217 w 248"/>
                  <a:gd name="T59" fmla="*/ 19 h 236"/>
                  <a:gd name="T60" fmla="*/ 242 w 248"/>
                  <a:gd name="T61" fmla="*/ 22 h 236"/>
                  <a:gd name="T62" fmla="*/ 248 w 248"/>
                  <a:gd name="T63" fmla="*/ 28 h 236"/>
                  <a:gd name="T64" fmla="*/ 245 w 248"/>
                  <a:gd name="T65" fmla="*/ 28 h 236"/>
                  <a:gd name="T66" fmla="*/ 242 w 248"/>
                  <a:gd name="T67" fmla="*/ 33 h 236"/>
                  <a:gd name="T68" fmla="*/ 242 w 248"/>
                  <a:gd name="T69" fmla="*/ 36 h 236"/>
                  <a:gd name="T70" fmla="*/ 242 w 248"/>
                  <a:gd name="T71" fmla="*/ 53 h 236"/>
                  <a:gd name="T72" fmla="*/ 239 w 248"/>
                  <a:gd name="T73" fmla="*/ 55 h 236"/>
                  <a:gd name="T74" fmla="*/ 239 w 248"/>
                  <a:gd name="T75" fmla="*/ 61 h 236"/>
                  <a:gd name="T76" fmla="*/ 242 w 248"/>
                  <a:gd name="T77" fmla="*/ 69 h 236"/>
                  <a:gd name="T78" fmla="*/ 248 w 248"/>
                  <a:gd name="T79" fmla="*/ 228 h 236"/>
                  <a:gd name="T80" fmla="*/ 231 w 248"/>
                  <a:gd name="T81" fmla="*/ 236 h 236"/>
                  <a:gd name="T82" fmla="*/ 106 w 248"/>
                  <a:gd name="T83" fmla="*/ 172 h 236"/>
                  <a:gd name="T84" fmla="*/ 83 w 248"/>
                  <a:gd name="T85" fmla="*/ 175 h 236"/>
                  <a:gd name="T86" fmla="*/ 78 w 248"/>
                  <a:gd name="T87" fmla="*/ 172 h 236"/>
                  <a:gd name="T88" fmla="*/ 42 w 248"/>
                  <a:gd name="T89" fmla="*/ 170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48" h="236">
                    <a:moveTo>
                      <a:pt x="39" y="170"/>
                    </a:moveTo>
                    <a:lnTo>
                      <a:pt x="33" y="156"/>
                    </a:lnTo>
                    <a:lnTo>
                      <a:pt x="25" y="153"/>
                    </a:lnTo>
                    <a:lnTo>
                      <a:pt x="16" y="153"/>
                    </a:lnTo>
                    <a:lnTo>
                      <a:pt x="11" y="147"/>
                    </a:lnTo>
                    <a:lnTo>
                      <a:pt x="11" y="139"/>
                    </a:lnTo>
                    <a:lnTo>
                      <a:pt x="3" y="128"/>
                    </a:lnTo>
                    <a:lnTo>
                      <a:pt x="0" y="125"/>
                    </a:lnTo>
                    <a:lnTo>
                      <a:pt x="3" y="122"/>
                    </a:lnTo>
                    <a:lnTo>
                      <a:pt x="8" y="119"/>
                    </a:lnTo>
                    <a:lnTo>
                      <a:pt x="5" y="69"/>
                    </a:lnTo>
                    <a:lnTo>
                      <a:pt x="0" y="58"/>
                    </a:lnTo>
                    <a:lnTo>
                      <a:pt x="0" y="55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5" y="53"/>
                    </a:lnTo>
                    <a:lnTo>
                      <a:pt x="14" y="47"/>
                    </a:lnTo>
                    <a:lnTo>
                      <a:pt x="14" y="44"/>
                    </a:lnTo>
                    <a:lnTo>
                      <a:pt x="14" y="41"/>
                    </a:lnTo>
                    <a:lnTo>
                      <a:pt x="14" y="33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9" y="25"/>
                    </a:lnTo>
                    <a:lnTo>
                      <a:pt x="22" y="22"/>
                    </a:lnTo>
                    <a:lnTo>
                      <a:pt x="30" y="14"/>
                    </a:lnTo>
                    <a:lnTo>
                      <a:pt x="33" y="11"/>
                    </a:lnTo>
                    <a:lnTo>
                      <a:pt x="33" y="0"/>
                    </a:lnTo>
                    <a:lnTo>
                      <a:pt x="47" y="5"/>
                    </a:lnTo>
                    <a:lnTo>
                      <a:pt x="53" y="5"/>
                    </a:lnTo>
                    <a:lnTo>
                      <a:pt x="58" y="5"/>
                    </a:lnTo>
                    <a:lnTo>
                      <a:pt x="64" y="5"/>
                    </a:lnTo>
                    <a:lnTo>
                      <a:pt x="67" y="8"/>
                    </a:lnTo>
                    <a:lnTo>
                      <a:pt x="69" y="8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4" y="25"/>
                    </a:lnTo>
                    <a:lnTo>
                      <a:pt x="100" y="33"/>
                    </a:lnTo>
                    <a:lnTo>
                      <a:pt x="139" y="44"/>
                    </a:lnTo>
                    <a:lnTo>
                      <a:pt x="145" y="50"/>
                    </a:lnTo>
                    <a:lnTo>
                      <a:pt x="150" y="53"/>
                    </a:lnTo>
                    <a:lnTo>
                      <a:pt x="153" y="53"/>
                    </a:lnTo>
                    <a:lnTo>
                      <a:pt x="161" y="50"/>
                    </a:lnTo>
                    <a:lnTo>
                      <a:pt x="167" y="39"/>
                    </a:lnTo>
                    <a:lnTo>
                      <a:pt x="167" y="36"/>
                    </a:lnTo>
                    <a:lnTo>
                      <a:pt x="167" y="33"/>
                    </a:lnTo>
                    <a:lnTo>
                      <a:pt x="167" y="30"/>
                    </a:lnTo>
                    <a:lnTo>
                      <a:pt x="164" y="28"/>
                    </a:lnTo>
                    <a:lnTo>
                      <a:pt x="164" y="25"/>
                    </a:lnTo>
                    <a:lnTo>
                      <a:pt x="167" y="19"/>
                    </a:lnTo>
                    <a:lnTo>
                      <a:pt x="181" y="8"/>
                    </a:lnTo>
                    <a:lnTo>
                      <a:pt x="197" y="5"/>
                    </a:lnTo>
                    <a:lnTo>
                      <a:pt x="209" y="8"/>
                    </a:lnTo>
                    <a:lnTo>
                      <a:pt x="211" y="8"/>
                    </a:lnTo>
                    <a:lnTo>
                      <a:pt x="214" y="11"/>
                    </a:lnTo>
                    <a:lnTo>
                      <a:pt x="214" y="14"/>
                    </a:lnTo>
                    <a:lnTo>
                      <a:pt x="214" y="14"/>
                    </a:lnTo>
                    <a:lnTo>
                      <a:pt x="214" y="14"/>
                    </a:lnTo>
                    <a:lnTo>
                      <a:pt x="214" y="16"/>
                    </a:lnTo>
                    <a:lnTo>
                      <a:pt x="217" y="16"/>
                    </a:lnTo>
                    <a:lnTo>
                      <a:pt x="217" y="19"/>
                    </a:lnTo>
                    <a:lnTo>
                      <a:pt x="220" y="19"/>
                    </a:lnTo>
                    <a:lnTo>
                      <a:pt x="242" y="22"/>
                    </a:lnTo>
                    <a:lnTo>
                      <a:pt x="245" y="25"/>
                    </a:lnTo>
                    <a:lnTo>
                      <a:pt x="248" y="28"/>
                    </a:lnTo>
                    <a:lnTo>
                      <a:pt x="248" y="28"/>
                    </a:lnTo>
                    <a:lnTo>
                      <a:pt x="245" y="28"/>
                    </a:lnTo>
                    <a:lnTo>
                      <a:pt x="245" y="30"/>
                    </a:lnTo>
                    <a:lnTo>
                      <a:pt x="242" y="33"/>
                    </a:lnTo>
                    <a:lnTo>
                      <a:pt x="242" y="33"/>
                    </a:lnTo>
                    <a:lnTo>
                      <a:pt x="242" y="36"/>
                    </a:lnTo>
                    <a:lnTo>
                      <a:pt x="242" y="53"/>
                    </a:lnTo>
                    <a:lnTo>
                      <a:pt x="242" y="53"/>
                    </a:lnTo>
                    <a:lnTo>
                      <a:pt x="242" y="53"/>
                    </a:lnTo>
                    <a:lnTo>
                      <a:pt x="239" y="55"/>
                    </a:lnTo>
                    <a:lnTo>
                      <a:pt x="239" y="55"/>
                    </a:lnTo>
                    <a:lnTo>
                      <a:pt x="239" y="61"/>
                    </a:lnTo>
                    <a:lnTo>
                      <a:pt x="242" y="67"/>
                    </a:lnTo>
                    <a:lnTo>
                      <a:pt x="242" y="69"/>
                    </a:lnTo>
                    <a:lnTo>
                      <a:pt x="248" y="75"/>
                    </a:lnTo>
                    <a:lnTo>
                      <a:pt x="248" y="228"/>
                    </a:lnTo>
                    <a:lnTo>
                      <a:pt x="231" y="228"/>
                    </a:lnTo>
                    <a:lnTo>
                      <a:pt x="231" y="236"/>
                    </a:lnTo>
                    <a:lnTo>
                      <a:pt x="228" y="236"/>
                    </a:lnTo>
                    <a:lnTo>
                      <a:pt x="106" y="172"/>
                    </a:lnTo>
                    <a:lnTo>
                      <a:pt x="86" y="181"/>
                    </a:lnTo>
                    <a:lnTo>
                      <a:pt x="83" y="175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5" y="172"/>
                    </a:lnTo>
                    <a:lnTo>
                      <a:pt x="42" y="170"/>
                    </a:lnTo>
                    <a:lnTo>
                      <a:pt x="39" y="17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0" name="Freeform 1057"/>
              <p:cNvSpPr>
                <a:spLocks noChangeAspect="1"/>
              </p:cNvSpPr>
              <p:nvPr>
                <p:custDataLst>
                  <p:tags r:id="rId888"/>
                </p:custDataLst>
              </p:nvPr>
            </p:nvSpPr>
            <p:spPr bwMode="gray">
              <a:xfrm>
                <a:off x="4971575" y="3633911"/>
                <a:ext cx="329504" cy="312194"/>
              </a:xfrm>
              <a:custGeom>
                <a:avLst/>
                <a:gdLst>
                  <a:gd name="T0" fmla="*/ 206 w 254"/>
                  <a:gd name="T1" fmla="*/ 66 h 242"/>
                  <a:gd name="T2" fmla="*/ 215 w 254"/>
                  <a:gd name="T3" fmla="*/ 72 h 242"/>
                  <a:gd name="T4" fmla="*/ 220 w 254"/>
                  <a:gd name="T5" fmla="*/ 80 h 242"/>
                  <a:gd name="T6" fmla="*/ 226 w 254"/>
                  <a:gd name="T7" fmla="*/ 83 h 242"/>
                  <a:gd name="T8" fmla="*/ 234 w 254"/>
                  <a:gd name="T9" fmla="*/ 83 h 242"/>
                  <a:gd name="T10" fmla="*/ 240 w 254"/>
                  <a:gd name="T11" fmla="*/ 86 h 242"/>
                  <a:gd name="T12" fmla="*/ 240 w 254"/>
                  <a:gd name="T13" fmla="*/ 91 h 242"/>
                  <a:gd name="T14" fmla="*/ 237 w 254"/>
                  <a:gd name="T15" fmla="*/ 94 h 242"/>
                  <a:gd name="T16" fmla="*/ 243 w 254"/>
                  <a:gd name="T17" fmla="*/ 100 h 242"/>
                  <a:gd name="T18" fmla="*/ 254 w 254"/>
                  <a:gd name="T19" fmla="*/ 97 h 242"/>
                  <a:gd name="T20" fmla="*/ 248 w 254"/>
                  <a:gd name="T21" fmla="*/ 150 h 242"/>
                  <a:gd name="T22" fmla="*/ 243 w 254"/>
                  <a:gd name="T23" fmla="*/ 158 h 242"/>
                  <a:gd name="T24" fmla="*/ 234 w 254"/>
                  <a:gd name="T25" fmla="*/ 158 h 242"/>
                  <a:gd name="T26" fmla="*/ 159 w 254"/>
                  <a:gd name="T27" fmla="*/ 178 h 242"/>
                  <a:gd name="T28" fmla="*/ 129 w 254"/>
                  <a:gd name="T29" fmla="*/ 194 h 242"/>
                  <a:gd name="T30" fmla="*/ 109 w 254"/>
                  <a:gd name="T31" fmla="*/ 239 h 242"/>
                  <a:gd name="T32" fmla="*/ 101 w 254"/>
                  <a:gd name="T33" fmla="*/ 236 h 242"/>
                  <a:gd name="T34" fmla="*/ 95 w 254"/>
                  <a:gd name="T35" fmla="*/ 239 h 242"/>
                  <a:gd name="T36" fmla="*/ 92 w 254"/>
                  <a:gd name="T37" fmla="*/ 236 h 242"/>
                  <a:gd name="T38" fmla="*/ 92 w 254"/>
                  <a:gd name="T39" fmla="*/ 233 h 242"/>
                  <a:gd name="T40" fmla="*/ 87 w 254"/>
                  <a:gd name="T41" fmla="*/ 233 h 242"/>
                  <a:gd name="T42" fmla="*/ 84 w 254"/>
                  <a:gd name="T43" fmla="*/ 236 h 242"/>
                  <a:gd name="T44" fmla="*/ 78 w 254"/>
                  <a:gd name="T45" fmla="*/ 239 h 242"/>
                  <a:gd name="T46" fmla="*/ 76 w 254"/>
                  <a:gd name="T47" fmla="*/ 242 h 242"/>
                  <a:gd name="T48" fmla="*/ 73 w 254"/>
                  <a:gd name="T49" fmla="*/ 239 h 242"/>
                  <a:gd name="T50" fmla="*/ 70 w 254"/>
                  <a:gd name="T51" fmla="*/ 236 h 242"/>
                  <a:gd name="T52" fmla="*/ 67 w 254"/>
                  <a:gd name="T53" fmla="*/ 239 h 242"/>
                  <a:gd name="T54" fmla="*/ 64 w 254"/>
                  <a:gd name="T55" fmla="*/ 239 h 242"/>
                  <a:gd name="T56" fmla="*/ 62 w 254"/>
                  <a:gd name="T57" fmla="*/ 236 h 242"/>
                  <a:gd name="T58" fmla="*/ 56 w 254"/>
                  <a:gd name="T59" fmla="*/ 228 h 242"/>
                  <a:gd name="T60" fmla="*/ 53 w 254"/>
                  <a:gd name="T61" fmla="*/ 228 h 242"/>
                  <a:gd name="T62" fmla="*/ 56 w 254"/>
                  <a:gd name="T63" fmla="*/ 222 h 242"/>
                  <a:gd name="T64" fmla="*/ 56 w 254"/>
                  <a:gd name="T65" fmla="*/ 222 h 242"/>
                  <a:gd name="T66" fmla="*/ 51 w 254"/>
                  <a:gd name="T67" fmla="*/ 217 h 242"/>
                  <a:gd name="T68" fmla="*/ 51 w 254"/>
                  <a:gd name="T69" fmla="*/ 211 h 242"/>
                  <a:gd name="T70" fmla="*/ 48 w 254"/>
                  <a:gd name="T71" fmla="*/ 208 h 242"/>
                  <a:gd name="T72" fmla="*/ 48 w 254"/>
                  <a:gd name="T73" fmla="*/ 206 h 242"/>
                  <a:gd name="T74" fmla="*/ 42 w 254"/>
                  <a:gd name="T75" fmla="*/ 206 h 242"/>
                  <a:gd name="T76" fmla="*/ 39 w 254"/>
                  <a:gd name="T77" fmla="*/ 208 h 242"/>
                  <a:gd name="T78" fmla="*/ 31 w 254"/>
                  <a:gd name="T79" fmla="*/ 208 h 242"/>
                  <a:gd name="T80" fmla="*/ 26 w 254"/>
                  <a:gd name="T81" fmla="*/ 211 h 242"/>
                  <a:gd name="T82" fmla="*/ 20 w 254"/>
                  <a:gd name="T83" fmla="*/ 208 h 242"/>
                  <a:gd name="T84" fmla="*/ 12 w 254"/>
                  <a:gd name="T85" fmla="*/ 211 h 242"/>
                  <a:gd name="T86" fmla="*/ 12 w 254"/>
                  <a:gd name="T87" fmla="*/ 208 h 242"/>
                  <a:gd name="T88" fmla="*/ 12 w 254"/>
                  <a:gd name="T89" fmla="*/ 203 h 242"/>
                  <a:gd name="T90" fmla="*/ 12 w 254"/>
                  <a:gd name="T91" fmla="*/ 197 h 242"/>
                  <a:gd name="T92" fmla="*/ 12 w 254"/>
                  <a:gd name="T93" fmla="*/ 194 h 242"/>
                  <a:gd name="T94" fmla="*/ 9 w 254"/>
                  <a:gd name="T95" fmla="*/ 192 h 242"/>
                  <a:gd name="T96" fmla="*/ 6 w 254"/>
                  <a:gd name="T97" fmla="*/ 192 h 242"/>
                  <a:gd name="T98" fmla="*/ 3 w 254"/>
                  <a:gd name="T99" fmla="*/ 186 h 242"/>
                  <a:gd name="T100" fmla="*/ 3 w 254"/>
                  <a:gd name="T101" fmla="*/ 175 h 242"/>
                  <a:gd name="T102" fmla="*/ 0 w 254"/>
                  <a:gd name="T103" fmla="*/ 175 h 242"/>
                  <a:gd name="T104" fmla="*/ 0 w 254"/>
                  <a:gd name="T105" fmla="*/ 169 h 242"/>
                  <a:gd name="T106" fmla="*/ 12 w 254"/>
                  <a:gd name="T107" fmla="*/ 150 h 242"/>
                  <a:gd name="T108" fmla="*/ 20 w 254"/>
                  <a:gd name="T109" fmla="*/ 161 h 242"/>
                  <a:gd name="T110" fmla="*/ 106 w 254"/>
                  <a:gd name="T111" fmla="*/ 144 h 242"/>
                  <a:gd name="T112" fmla="*/ 131 w 254"/>
                  <a:gd name="T113" fmla="*/ 11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54" h="242">
                    <a:moveTo>
                      <a:pt x="131" y="11"/>
                    </a:moveTo>
                    <a:lnTo>
                      <a:pt x="206" y="64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6" y="69"/>
                    </a:lnTo>
                    <a:lnTo>
                      <a:pt x="206" y="69"/>
                    </a:lnTo>
                    <a:lnTo>
                      <a:pt x="215" y="72"/>
                    </a:lnTo>
                    <a:lnTo>
                      <a:pt x="215" y="72"/>
                    </a:lnTo>
                    <a:lnTo>
                      <a:pt x="215" y="75"/>
                    </a:lnTo>
                    <a:lnTo>
                      <a:pt x="215" y="77"/>
                    </a:lnTo>
                    <a:lnTo>
                      <a:pt x="218" y="77"/>
                    </a:lnTo>
                    <a:lnTo>
                      <a:pt x="220" y="80"/>
                    </a:lnTo>
                    <a:lnTo>
                      <a:pt x="223" y="80"/>
                    </a:lnTo>
                    <a:lnTo>
                      <a:pt x="223" y="80"/>
                    </a:lnTo>
                    <a:lnTo>
                      <a:pt x="226" y="80"/>
                    </a:lnTo>
                    <a:lnTo>
                      <a:pt x="226" y="83"/>
                    </a:lnTo>
                    <a:lnTo>
                      <a:pt x="229" y="83"/>
                    </a:lnTo>
                    <a:lnTo>
                      <a:pt x="232" y="83"/>
                    </a:lnTo>
                    <a:lnTo>
                      <a:pt x="232" y="83"/>
                    </a:lnTo>
                    <a:lnTo>
                      <a:pt x="234" y="83"/>
                    </a:lnTo>
                    <a:lnTo>
                      <a:pt x="237" y="86"/>
                    </a:lnTo>
                    <a:lnTo>
                      <a:pt x="237" y="86"/>
                    </a:lnTo>
                    <a:lnTo>
                      <a:pt x="237" y="86"/>
                    </a:lnTo>
                    <a:lnTo>
                      <a:pt x="240" y="86"/>
                    </a:lnTo>
                    <a:lnTo>
                      <a:pt x="240" y="89"/>
                    </a:lnTo>
                    <a:lnTo>
                      <a:pt x="237" y="89"/>
                    </a:lnTo>
                    <a:lnTo>
                      <a:pt x="237" y="91"/>
                    </a:lnTo>
                    <a:lnTo>
                      <a:pt x="240" y="91"/>
                    </a:lnTo>
                    <a:lnTo>
                      <a:pt x="240" y="91"/>
                    </a:lnTo>
                    <a:lnTo>
                      <a:pt x="237" y="91"/>
                    </a:lnTo>
                    <a:lnTo>
                      <a:pt x="237" y="94"/>
                    </a:lnTo>
                    <a:lnTo>
                      <a:pt x="237" y="94"/>
                    </a:lnTo>
                    <a:lnTo>
                      <a:pt x="237" y="97"/>
                    </a:lnTo>
                    <a:lnTo>
                      <a:pt x="237" y="97"/>
                    </a:lnTo>
                    <a:lnTo>
                      <a:pt x="240" y="100"/>
                    </a:lnTo>
                    <a:lnTo>
                      <a:pt x="243" y="100"/>
                    </a:lnTo>
                    <a:lnTo>
                      <a:pt x="245" y="100"/>
                    </a:lnTo>
                    <a:lnTo>
                      <a:pt x="248" y="100"/>
                    </a:lnTo>
                    <a:lnTo>
                      <a:pt x="254" y="97"/>
                    </a:lnTo>
                    <a:lnTo>
                      <a:pt x="254" y="97"/>
                    </a:lnTo>
                    <a:lnTo>
                      <a:pt x="254" y="97"/>
                    </a:lnTo>
                    <a:lnTo>
                      <a:pt x="254" y="147"/>
                    </a:lnTo>
                    <a:lnTo>
                      <a:pt x="251" y="147"/>
                    </a:lnTo>
                    <a:lnTo>
                      <a:pt x="248" y="150"/>
                    </a:lnTo>
                    <a:lnTo>
                      <a:pt x="248" y="153"/>
                    </a:lnTo>
                    <a:lnTo>
                      <a:pt x="248" y="153"/>
                    </a:lnTo>
                    <a:lnTo>
                      <a:pt x="243" y="155"/>
                    </a:lnTo>
                    <a:lnTo>
                      <a:pt x="243" y="158"/>
                    </a:lnTo>
                    <a:lnTo>
                      <a:pt x="243" y="158"/>
                    </a:lnTo>
                    <a:lnTo>
                      <a:pt x="234" y="158"/>
                    </a:lnTo>
                    <a:lnTo>
                      <a:pt x="234" y="158"/>
                    </a:lnTo>
                    <a:lnTo>
                      <a:pt x="234" y="158"/>
                    </a:lnTo>
                    <a:lnTo>
                      <a:pt x="209" y="158"/>
                    </a:lnTo>
                    <a:lnTo>
                      <a:pt x="201" y="164"/>
                    </a:lnTo>
                    <a:lnTo>
                      <a:pt x="181" y="167"/>
                    </a:lnTo>
                    <a:lnTo>
                      <a:pt x="159" y="178"/>
                    </a:lnTo>
                    <a:lnTo>
                      <a:pt x="156" y="183"/>
                    </a:lnTo>
                    <a:lnTo>
                      <a:pt x="151" y="186"/>
                    </a:lnTo>
                    <a:lnTo>
                      <a:pt x="131" y="192"/>
                    </a:lnTo>
                    <a:lnTo>
                      <a:pt x="129" y="194"/>
                    </a:lnTo>
                    <a:lnTo>
                      <a:pt x="120" y="211"/>
                    </a:lnTo>
                    <a:lnTo>
                      <a:pt x="112" y="219"/>
                    </a:lnTo>
                    <a:lnTo>
                      <a:pt x="109" y="228"/>
                    </a:lnTo>
                    <a:lnTo>
                      <a:pt x="109" y="239"/>
                    </a:lnTo>
                    <a:lnTo>
                      <a:pt x="103" y="239"/>
                    </a:lnTo>
                    <a:lnTo>
                      <a:pt x="103" y="239"/>
                    </a:lnTo>
                    <a:lnTo>
                      <a:pt x="103" y="236"/>
                    </a:lnTo>
                    <a:lnTo>
                      <a:pt x="101" y="236"/>
                    </a:lnTo>
                    <a:lnTo>
                      <a:pt x="98" y="236"/>
                    </a:lnTo>
                    <a:lnTo>
                      <a:pt x="98" y="236"/>
                    </a:lnTo>
                    <a:lnTo>
                      <a:pt x="98" y="239"/>
                    </a:lnTo>
                    <a:lnTo>
                      <a:pt x="95" y="239"/>
                    </a:lnTo>
                    <a:lnTo>
                      <a:pt x="95" y="239"/>
                    </a:lnTo>
                    <a:lnTo>
                      <a:pt x="92" y="239"/>
                    </a:lnTo>
                    <a:lnTo>
                      <a:pt x="92" y="239"/>
                    </a:lnTo>
                    <a:lnTo>
                      <a:pt x="92" y="236"/>
                    </a:lnTo>
                    <a:lnTo>
                      <a:pt x="92" y="236"/>
                    </a:lnTo>
                    <a:lnTo>
                      <a:pt x="92" y="233"/>
                    </a:lnTo>
                    <a:lnTo>
                      <a:pt x="92" y="233"/>
                    </a:lnTo>
                    <a:lnTo>
                      <a:pt x="92" y="233"/>
                    </a:lnTo>
                    <a:lnTo>
                      <a:pt x="90" y="233"/>
                    </a:lnTo>
                    <a:lnTo>
                      <a:pt x="90" y="233"/>
                    </a:lnTo>
                    <a:lnTo>
                      <a:pt x="87" y="233"/>
                    </a:lnTo>
                    <a:lnTo>
                      <a:pt x="87" y="233"/>
                    </a:lnTo>
                    <a:lnTo>
                      <a:pt x="87" y="233"/>
                    </a:lnTo>
                    <a:lnTo>
                      <a:pt x="84" y="233"/>
                    </a:lnTo>
                    <a:lnTo>
                      <a:pt x="84" y="233"/>
                    </a:lnTo>
                    <a:lnTo>
                      <a:pt x="84" y="236"/>
                    </a:lnTo>
                    <a:lnTo>
                      <a:pt x="84" y="236"/>
                    </a:lnTo>
                    <a:lnTo>
                      <a:pt x="84" y="239"/>
                    </a:lnTo>
                    <a:lnTo>
                      <a:pt x="81" y="239"/>
                    </a:lnTo>
                    <a:lnTo>
                      <a:pt x="78" y="239"/>
                    </a:lnTo>
                    <a:lnTo>
                      <a:pt x="78" y="239"/>
                    </a:lnTo>
                    <a:lnTo>
                      <a:pt x="78" y="242"/>
                    </a:lnTo>
                    <a:lnTo>
                      <a:pt x="78" y="242"/>
                    </a:lnTo>
                    <a:lnTo>
                      <a:pt x="76" y="242"/>
                    </a:lnTo>
                    <a:lnTo>
                      <a:pt x="76" y="239"/>
                    </a:lnTo>
                    <a:lnTo>
                      <a:pt x="76" y="239"/>
                    </a:lnTo>
                    <a:lnTo>
                      <a:pt x="76" y="239"/>
                    </a:lnTo>
                    <a:lnTo>
                      <a:pt x="73" y="239"/>
                    </a:lnTo>
                    <a:lnTo>
                      <a:pt x="73" y="239"/>
                    </a:lnTo>
                    <a:lnTo>
                      <a:pt x="73" y="239"/>
                    </a:lnTo>
                    <a:lnTo>
                      <a:pt x="73" y="236"/>
                    </a:lnTo>
                    <a:lnTo>
                      <a:pt x="70" y="236"/>
                    </a:lnTo>
                    <a:lnTo>
                      <a:pt x="70" y="236"/>
                    </a:lnTo>
                    <a:lnTo>
                      <a:pt x="70" y="236"/>
                    </a:lnTo>
                    <a:lnTo>
                      <a:pt x="67" y="236"/>
                    </a:lnTo>
                    <a:lnTo>
                      <a:pt x="67" y="239"/>
                    </a:lnTo>
                    <a:lnTo>
                      <a:pt x="67" y="239"/>
                    </a:lnTo>
                    <a:lnTo>
                      <a:pt x="67" y="242"/>
                    </a:lnTo>
                    <a:lnTo>
                      <a:pt x="64" y="242"/>
                    </a:lnTo>
                    <a:lnTo>
                      <a:pt x="64" y="239"/>
                    </a:lnTo>
                    <a:lnTo>
                      <a:pt x="64" y="239"/>
                    </a:lnTo>
                    <a:lnTo>
                      <a:pt x="62" y="239"/>
                    </a:lnTo>
                    <a:lnTo>
                      <a:pt x="62" y="236"/>
                    </a:lnTo>
                    <a:lnTo>
                      <a:pt x="62" y="236"/>
                    </a:lnTo>
                    <a:lnTo>
                      <a:pt x="59" y="236"/>
                    </a:lnTo>
                    <a:lnTo>
                      <a:pt x="59" y="228"/>
                    </a:lnTo>
                    <a:lnTo>
                      <a:pt x="56" y="228"/>
                    </a:lnTo>
                    <a:lnTo>
                      <a:pt x="56" y="228"/>
                    </a:lnTo>
                    <a:lnTo>
                      <a:pt x="53" y="231"/>
                    </a:lnTo>
                    <a:lnTo>
                      <a:pt x="53" y="231"/>
                    </a:lnTo>
                    <a:lnTo>
                      <a:pt x="53" y="228"/>
                    </a:lnTo>
                    <a:lnTo>
                      <a:pt x="53" y="228"/>
                    </a:lnTo>
                    <a:lnTo>
                      <a:pt x="56" y="225"/>
                    </a:lnTo>
                    <a:lnTo>
                      <a:pt x="56" y="225"/>
                    </a:lnTo>
                    <a:lnTo>
                      <a:pt x="56" y="225"/>
                    </a:lnTo>
                    <a:lnTo>
                      <a:pt x="56" y="222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9" y="222"/>
                    </a:lnTo>
                    <a:lnTo>
                      <a:pt x="56" y="222"/>
                    </a:lnTo>
                    <a:lnTo>
                      <a:pt x="56" y="219"/>
                    </a:lnTo>
                    <a:lnTo>
                      <a:pt x="53" y="219"/>
                    </a:lnTo>
                    <a:lnTo>
                      <a:pt x="53" y="217"/>
                    </a:lnTo>
                    <a:lnTo>
                      <a:pt x="51" y="217"/>
                    </a:lnTo>
                    <a:lnTo>
                      <a:pt x="51" y="217"/>
                    </a:lnTo>
                    <a:lnTo>
                      <a:pt x="51" y="214"/>
                    </a:lnTo>
                    <a:lnTo>
                      <a:pt x="51" y="211"/>
                    </a:lnTo>
                    <a:lnTo>
                      <a:pt x="51" y="211"/>
                    </a:lnTo>
                    <a:lnTo>
                      <a:pt x="51" y="208"/>
                    </a:lnTo>
                    <a:lnTo>
                      <a:pt x="51" y="208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8" y="206"/>
                    </a:lnTo>
                    <a:lnTo>
                      <a:pt x="48" y="206"/>
                    </a:lnTo>
                    <a:lnTo>
                      <a:pt x="48" y="206"/>
                    </a:lnTo>
                    <a:lnTo>
                      <a:pt x="48" y="206"/>
                    </a:lnTo>
                    <a:lnTo>
                      <a:pt x="45" y="206"/>
                    </a:lnTo>
                    <a:lnTo>
                      <a:pt x="45" y="206"/>
                    </a:lnTo>
                    <a:lnTo>
                      <a:pt x="45" y="206"/>
                    </a:lnTo>
                    <a:lnTo>
                      <a:pt x="42" y="206"/>
                    </a:lnTo>
                    <a:lnTo>
                      <a:pt x="42" y="206"/>
                    </a:lnTo>
                    <a:lnTo>
                      <a:pt x="42" y="208"/>
                    </a:lnTo>
                    <a:lnTo>
                      <a:pt x="42" y="208"/>
                    </a:lnTo>
                    <a:lnTo>
                      <a:pt x="39" y="208"/>
                    </a:lnTo>
                    <a:lnTo>
                      <a:pt x="39" y="211"/>
                    </a:lnTo>
                    <a:lnTo>
                      <a:pt x="37" y="211"/>
                    </a:lnTo>
                    <a:lnTo>
                      <a:pt x="34" y="211"/>
                    </a:lnTo>
                    <a:lnTo>
                      <a:pt x="31" y="208"/>
                    </a:lnTo>
                    <a:lnTo>
                      <a:pt x="28" y="208"/>
                    </a:lnTo>
                    <a:lnTo>
                      <a:pt x="28" y="208"/>
                    </a:lnTo>
                    <a:lnTo>
                      <a:pt x="26" y="211"/>
                    </a:lnTo>
                    <a:lnTo>
                      <a:pt x="26" y="211"/>
                    </a:lnTo>
                    <a:lnTo>
                      <a:pt x="26" y="211"/>
                    </a:lnTo>
                    <a:lnTo>
                      <a:pt x="23" y="214"/>
                    </a:lnTo>
                    <a:lnTo>
                      <a:pt x="23" y="214"/>
                    </a:lnTo>
                    <a:lnTo>
                      <a:pt x="20" y="208"/>
                    </a:lnTo>
                    <a:lnTo>
                      <a:pt x="17" y="208"/>
                    </a:lnTo>
                    <a:lnTo>
                      <a:pt x="14" y="211"/>
                    </a:lnTo>
                    <a:lnTo>
                      <a:pt x="14" y="211"/>
                    </a:lnTo>
                    <a:lnTo>
                      <a:pt x="12" y="211"/>
                    </a:lnTo>
                    <a:lnTo>
                      <a:pt x="12" y="211"/>
                    </a:lnTo>
                    <a:lnTo>
                      <a:pt x="12" y="211"/>
                    </a:lnTo>
                    <a:lnTo>
                      <a:pt x="12" y="208"/>
                    </a:lnTo>
                    <a:lnTo>
                      <a:pt x="12" y="208"/>
                    </a:lnTo>
                    <a:lnTo>
                      <a:pt x="12" y="206"/>
                    </a:lnTo>
                    <a:lnTo>
                      <a:pt x="12" y="206"/>
                    </a:lnTo>
                    <a:lnTo>
                      <a:pt x="14" y="206"/>
                    </a:lnTo>
                    <a:lnTo>
                      <a:pt x="12" y="203"/>
                    </a:lnTo>
                    <a:lnTo>
                      <a:pt x="12" y="200"/>
                    </a:lnTo>
                    <a:lnTo>
                      <a:pt x="12" y="200"/>
                    </a:lnTo>
                    <a:lnTo>
                      <a:pt x="12" y="200"/>
                    </a:lnTo>
                    <a:lnTo>
                      <a:pt x="12" y="197"/>
                    </a:lnTo>
                    <a:lnTo>
                      <a:pt x="12" y="197"/>
                    </a:lnTo>
                    <a:lnTo>
                      <a:pt x="12" y="197"/>
                    </a:lnTo>
                    <a:lnTo>
                      <a:pt x="12" y="197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9" y="194"/>
                    </a:lnTo>
                    <a:lnTo>
                      <a:pt x="9" y="192"/>
                    </a:lnTo>
                    <a:lnTo>
                      <a:pt x="9" y="192"/>
                    </a:lnTo>
                    <a:lnTo>
                      <a:pt x="9" y="189"/>
                    </a:lnTo>
                    <a:lnTo>
                      <a:pt x="6" y="189"/>
                    </a:lnTo>
                    <a:lnTo>
                      <a:pt x="6" y="192"/>
                    </a:lnTo>
                    <a:lnTo>
                      <a:pt x="6" y="192"/>
                    </a:lnTo>
                    <a:lnTo>
                      <a:pt x="6" y="192"/>
                    </a:lnTo>
                    <a:lnTo>
                      <a:pt x="3" y="189"/>
                    </a:lnTo>
                    <a:lnTo>
                      <a:pt x="3" y="186"/>
                    </a:lnTo>
                    <a:lnTo>
                      <a:pt x="3" y="186"/>
                    </a:lnTo>
                    <a:lnTo>
                      <a:pt x="3" y="183"/>
                    </a:lnTo>
                    <a:lnTo>
                      <a:pt x="3" y="181"/>
                    </a:lnTo>
                    <a:lnTo>
                      <a:pt x="3" y="181"/>
                    </a:lnTo>
                    <a:lnTo>
                      <a:pt x="3" y="175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2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6" y="161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4" y="150"/>
                    </a:lnTo>
                    <a:lnTo>
                      <a:pt x="14" y="153"/>
                    </a:lnTo>
                    <a:lnTo>
                      <a:pt x="20" y="161"/>
                    </a:lnTo>
                    <a:lnTo>
                      <a:pt x="23" y="161"/>
                    </a:lnTo>
                    <a:lnTo>
                      <a:pt x="31" y="155"/>
                    </a:lnTo>
                    <a:lnTo>
                      <a:pt x="103" y="158"/>
                    </a:lnTo>
                    <a:lnTo>
                      <a:pt x="106" y="144"/>
                    </a:lnTo>
                    <a:lnTo>
                      <a:pt x="101" y="142"/>
                    </a:lnTo>
                    <a:lnTo>
                      <a:pt x="84" y="0"/>
                    </a:lnTo>
                    <a:lnTo>
                      <a:pt x="112" y="0"/>
                    </a:lnTo>
                    <a:lnTo>
                      <a:pt x="131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1" name="Freeform 1058"/>
              <p:cNvSpPr>
                <a:spLocks noChangeAspect="1"/>
              </p:cNvSpPr>
              <p:nvPr>
                <p:custDataLst>
                  <p:tags r:id="rId889"/>
                </p:custDataLst>
              </p:nvPr>
            </p:nvSpPr>
            <p:spPr bwMode="gray">
              <a:xfrm>
                <a:off x="4872873" y="3572419"/>
                <a:ext cx="171586" cy="148214"/>
              </a:xfrm>
              <a:custGeom>
                <a:avLst/>
                <a:gdLst>
                  <a:gd name="T0" fmla="*/ 56 w 131"/>
                  <a:gd name="T1" fmla="*/ 109 h 114"/>
                  <a:gd name="T2" fmla="*/ 3 w 131"/>
                  <a:gd name="T3" fmla="*/ 109 h 114"/>
                  <a:gd name="T4" fmla="*/ 3 w 131"/>
                  <a:gd name="T5" fmla="*/ 109 h 114"/>
                  <a:gd name="T6" fmla="*/ 0 w 131"/>
                  <a:gd name="T7" fmla="*/ 114 h 114"/>
                  <a:gd name="T8" fmla="*/ 0 w 131"/>
                  <a:gd name="T9" fmla="*/ 114 h 114"/>
                  <a:gd name="T10" fmla="*/ 0 w 131"/>
                  <a:gd name="T11" fmla="*/ 114 h 114"/>
                  <a:gd name="T12" fmla="*/ 0 w 131"/>
                  <a:gd name="T13" fmla="*/ 100 h 114"/>
                  <a:gd name="T14" fmla="*/ 3 w 131"/>
                  <a:gd name="T15" fmla="*/ 95 h 114"/>
                  <a:gd name="T16" fmla="*/ 9 w 131"/>
                  <a:gd name="T17" fmla="*/ 92 h 114"/>
                  <a:gd name="T18" fmla="*/ 14 w 131"/>
                  <a:gd name="T19" fmla="*/ 81 h 114"/>
                  <a:gd name="T20" fmla="*/ 11 w 131"/>
                  <a:gd name="T21" fmla="*/ 78 h 114"/>
                  <a:gd name="T22" fmla="*/ 20 w 131"/>
                  <a:gd name="T23" fmla="*/ 70 h 114"/>
                  <a:gd name="T24" fmla="*/ 20 w 131"/>
                  <a:gd name="T25" fmla="*/ 64 h 114"/>
                  <a:gd name="T26" fmla="*/ 34 w 131"/>
                  <a:gd name="T27" fmla="*/ 48 h 114"/>
                  <a:gd name="T28" fmla="*/ 39 w 131"/>
                  <a:gd name="T29" fmla="*/ 28 h 114"/>
                  <a:gd name="T30" fmla="*/ 42 w 131"/>
                  <a:gd name="T31" fmla="*/ 22 h 114"/>
                  <a:gd name="T32" fmla="*/ 53 w 131"/>
                  <a:gd name="T33" fmla="*/ 17 h 114"/>
                  <a:gd name="T34" fmla="*/ 62 w 131"/>
                  <a:gd name="T35" fmla="*/ 3 h 114"/>
                  <a:gd name="T36" fmla="*/ 62 w 131"/>
                  <a:gd name="T37" fmla="*/ 0 h 114"/>
                  <a:gd name="T38" fmla="*/ 131 w 131"/>
                  <a:gd name="T39" fmla="*/ 0 h 114"/>
                  <a:gd name="T40" fmla="*/ 131 w 131"/>
                  <a:gd name="T41" fmla="*/ 31 h 114"/>
                  <a:gd name="T42" fmla="*/ 81 w 131"/>
                  <a:gd name="T43" fmla="*/ 31 h 114"/>
                  <a:gd name="T44" fmla="*/ 81 w 131"/>
                  <a:gd name="T45" fmla="*/ 73 h 114"/>
                  <a:gd name="T46" fmla="*/ 64 w 131"/>
                  <a:gd name="T47" fmla="*/ 75 h 114"/>
                  <a:gd name="T48" fmla="*/ 64 w 131"/>
                  <a:gd name="T49" fmla="*/ 78 h 114"/>
                  <a:gd name="T50" fmla="*/ 62 w 131"/>
                  <a:gd name="T51" fmla="*/ 81 h 114"/>
                  <a:gd name="T52" fmla="*/ 62 w 131"/>
                  <a:gd name="T53" fmla="*/ 109 h 114"/>
                  <a:gd name="T54" fmla="*/ 56 w 131"/>
                  <a:gd name="T55" fmla="*/ 109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14">
                    <a:moveTo>
                      <a:pt x="56" y="109"/>
                    </a:moveTo>
                    <a:lnTo>
                      <a:pt x="3" y="109"/>
                    </a:lnTo>
                    <a:lnTo>
                      <a:pt x="3" y="109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00"/>
                    </a:lnTo>
                    <a:lnTo>
                      <a:pt x="3" y="95"/>
                    </a:lnTo>
                    <a:lnTo>
                      <a:pt x="9" y="92"/>
                    </a:lnTo>
                    <a:lnTo>
                      <a:pt x="14" y="81"/>
                    </a:lnTo>
                    <a:lnTo>
                      <a:pt x="11" y="78"/>
                    </a:lnTo>
                    <a:lnTo>
                      <a:pt x="20" y="70"/>
                    </a:lnTo>
                    <a:lnTo>
                      <a:pt x="20" y="64"/>
                    </a:lnTo>
                    <a:lnTo>
                      <a:pt x="34" y="48"/>
                    </a:lnTo>
                    <a:lnTo>
                      <a:pt x="39" y="28"/>
                    </a:lnTo>
                    <a:lnTo>
                      <a:pt x="42" y="22"/>
                    </a:lnTo>
                    <a:lnTo>
                      <a:pt x="53" y="17"/>
                    </a:lnTo>
                    <a:lnTo>
                      <a:pt x="62" y="3"/>
                    </a:lnTo>
                    <a:lnTo>
                      <a:pt x="62" y="0"/>
                    </a:lnTo>
                    <a:lnTo>
                      <a:pt x="131" y="0"/>
                    </a:lnTo>
                    <a:lnTo>
                      <a:pt x="131" y="31"/>
                    </a:lnTo>
                    <a:lnTo>
                      <a:pt x="81" y="31"/>
                    </a:lnTo>
                    <a:lnTo>
                      <a:pt x="81" y="73"/>
                    </a:lnTo>
                    <a:lnTo>
                      <a:pt x="64" y="75"/>
                    </a:lnTo>
                    <a:lnTo>
                      <a:pt x="64" y="78"/>
                    </a:lnTo>
                    <a:lnTo>
                      <a:pt x="62" y="81"/>
                    </a:lnTo>
                    <a:lnTo>
                      <a:pt x="62" y="109"/>
                    </a:lnTo>
                    <a:lnTo>
                      <a:pt x="56" y="10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2" name="Freeform 1059"/>
              <p:cNvSpPr>
                <a:spLocks noChangeAspect="1"/>
              </p:cNvSpPr>
              <p:nvPr>
                <p:custDataLst>
                  <p:tags r:id="rId890"/>
                </p:custDataLst>
              </p:nvPr>
            </p:nvSpPr>
            <p:spPr bwMode="gray">
              <a:xfrm>
                <a:off x="5619954" y="4509001"/>
                <a:ext cx="192844" cy="197092"/>
              </a:xfrm>
              <a:custGeom>
                <a:avLst/>
                <a:gdLst>
                  <a:gd name="T0" fmla="*/ 0 w 147"/>
                  <a:gd name="T1" fmla="*/ 117 h 153"/>
                  <a:gd name="T2" fmla="*/ 0 w 147"/>
                  <a:gd name="T3" fmla="*/ 70 h 153"/>
                  <a:gd name="T4" fmla="*/ 14 w 147"/>
                  <a:gd name="T5" fmla="*/ 70 h 153"/>
                  <a:gd name="T6" fmla="*/ 14 w 147"/>
                  <a:gd name="T7" fmla="*/ 11 h 153"/>
                  <a:gd name="T8" fmla="*/ 17 w 147"/>
                  <a:gd name="T9" fmla="*/ 11 h 153"/>
                  <a:gd name="T10" fmla="*/ 50 w 147"/>
                  <a:gd name="T11" fmla="*/ 6 h 153"/>
                  <a:gd name="T12" fmla="*/ 53 w 147"/>
                  <a:gd name="T13" fmla="*/ 8 h 153"/>
                  <a:gd name="T14" fmla="*/ 56 w 147"/>
                  <a:gd name="T15" fmla="*/ 11 h 153"/>
                  <a:gd name="T16" fmla="*/ 56 w 147"/>
                  <a:gd name="T17" fmla="*/ 14 h 153"/>
                  <a:gd name="T18" fmla="*/ 61 w 147"/>
                  <a:gd name="T19" fmla="*/ 8 h 153"/>
                  <a:gd name="T20" fmla="*/ 64 w 147"/>
                  <a:gd name="T21" fmla="*/ 6 h 153"/>
                  <a:gd name="T22" fmla="*/ 72 w 147"/>
                  <a:gd name="T23" fmla="*/ 3 h 153"/>
                  <a:gd name="T24" fmla="*/ 75 w 147"/>
                  <a:gd name="T25" fmla="*/ 3 h 153"/>
                  <a:gd name="T26" fmla="*/ 75 w 147"/>
                  <a:gd name="T27" fmla="*/ 0 h 153"/>
                  <a:gd name="T28" fmla="*/ 81 w 147"/>
                  <a:gd name="T29" fmla="*/ 0 h 153"/>
                  <a:gd name="T30" fmla="*/ 81 w 147"/>
                  <a:gd name="T31" fmla="*/ 3 h 153"/>
                  <a:gd name="T32" fmla="*/ 81 w 147"/>
                  <a:gd name="T33" fmla="*/ 3 h 153"/>
                  <a:gd name="T34" fmla="*/ 86 w 147"/>
                  <a:gd name="T35" fmla="*/ 11 h 153"/>
                  <a:gd name="T36" fmla="*/ 89 w 147"/>
                  <a:gd name="T37" fmla="*/ 14 h 153"/>
                  <a:gd name="T38" fmla="*/ 92 w 147"/>
                  <a:gd name="T39" fmla="*/ 22 h 153"/>
                  <a:gd name="T40" fmla="*/ 103 w 147"/>
                  <a:gd name="T41" fmla="*/ 36 h 153"/>
                  <a:gd name="T42" fmla="*/ 108 w 147"/>
                  <a:gd name="T43" fmla="*/ 36 h 153"/>
                  <a:gd name="T44" fmla="*/ 111 w 147"/>
                  <a:gd name="T45" fmla="*/ 39 h 153"/>
                  <a:gd name="T46" fmla="*/ 114 w 147"/>
                  <a:gd name="T47" fmla="*/ 44 h 153"/>
                  <a:gd name="T48" fmla="*/ 120 w 147"/>
                  <a:gd name="T49" fmla="*/ 44 h 153"/>
                  <a:gd name="T50" fmla="*/ 122 w 147"/>
                  <a:gd name="T51" fmla="*/ 47 h 153"/>
                  <a:gd name="T52" fmla="*/ 122 w 147"/>
                  <a:gd name="T53" fmla="*/ 58 h 153"/>
                  <a:gd name="T54" fmla="*/ 125 w 147"/>
                  <a:gd name="T55" fmla="*/ 64 h 153"/>
                  <a:gd name="T56" fmla="*/ 128 w 147"/>
                  <a:gd name="T57" fmla="*/ 64 h 153"/>
                  <a:gd name="T58" fmla="*/ 128 w 147"/>
                  <a:gd name="T59" fmla="*/ 67 h 153"/>
                  <a:gd name="T60" fmla="*/ 136 w 147"/>
                  <a:gd name="T61" fmla="*/ 67 h 153"/>
                  <a:gd name="T62" fmla="*/ 147 w 147"/>
                  <a:gd name="T63" fmla="*/ 72 h 153"/>
                  <a:gd name="T64" fmla="*/ 145 w 147"/>
                  <a:gd name="T65" fmla="*/ 72 h 153"/>
                  <a:gd name="T66" fmla="*/ 128 w 147"/>
                  <a:gd name="T67" fmla="*/ 83 h 153"/>
                  <a:gd name="T68" fmla="*/ 92 w 147"/>
                  <a:gd name="T69" fmla="*/ 120 h 153"/>
                  <a:gd name="T70" fmla="*/ 89 w 147"/>
                  <a:gd name="T71" fmla="*/ 128 h 153"/>
                  <a:gd name="T72" fmla="*/ 86 w 147"/>
                  <a:gd name="T73" fmla="*/ 131 h 153"/>
                  <a:gd name="T74" fmla="*/ 75 w 147"/>
                  <a:gd name="T75" fmla="*/ 134 h 153"/>
                  <a:gd name="T76" fmla="*/ 69 w 147"/>
                  <a:gd name="T77" fmla="*/ 134 h 153"/>
                  <a:gd name="T78" fmla="*/ 61 w 147"/>
                  <a:gd name="T79" fmla="*/ 128 h 153"/>
                  <a:gd name="T80" fmla="*/ 56 w 147"/>
                  <a:gd name="T81" fmla="*/ 128 h 153"/>
                  <a:gd name="T82" fmla="*/ 53 w 147"/>
                  <a:gd name="T83" fmla="*/ 128 h 153"/>
                  <a:gd name="T84" fmla="*/ 44 w 147"/>
                  <a:gd name="T85" fmla="*/ 136 h 153"/>
                  <a:gd name="T86" fmla="*/ 44 w 147"/>
                  <a:gd name="T87" fmla="*/ 139 h 153"/>
                  <a:gd name="T88" fmla="*/ 42 w 147"/>
                  <a:gd name="T89" fmla="*/ 142 h 153"/>
                  <a:gd name="T90" fmla="*/ 39 w 147"/>
                  <a:gd name="T91" fmla="*/ 145 h 153"/>
                  <a:gd name="T92" fmla="*/ 33 w 147"/>
                  <a:gd name="T93" fmla="*/ 150 h 153"/>
                  <a:gd name="T94" fmla="*/ 25 w 147"/>
                  <a:gd name="T95" fmla="*/ 153 h 153"/>
                  <a:gd name="T96" fmla="*/ 11 w 147"/>
                  <a:gd name="T97" fmla="*/ 150 h 153"/>
                  <a:gd name="T98" fmla="*/ 11 w 147"/>
                  <a:gd name="T99" fmla="*/ 148 h 153"/>
                  <a:gd name="T100" fmla="*/ 14 w 147"/>
                  <a:gd name="T101" fmla="*/ 139 h 153"/>
                  <a:gd name="T102" fmla="*/ 14 w 147"/>
                  <a:gd name="T103" fmla="*/ 131 h 153"/>
                  <a:gd name="T104" fmla="*/ 11 w 147"/>
                  <a:gd name="T105" fmla="*/ 128 h 153"/>
                  <a:gd name="T106" fmla="*/ 8 w 147"/>
                  <a:gd name="T107" fmla="*/ 125 h 153"/>
                  <a:gd name="T108" fmla="*/ 5 w 147"/>
                  <a:gd name="T109" fmla="*/ 122 h 153"/>
                  <a:gd name="T110" fmla="*/ 3 w 147"/>
                  <a:gd name="T111" fmla="*/ 120 h 153"/>
                  <a:gd name="T112" fmla="*/ 3 w 147"/>
                  <a:gd name="T113" fmla="*/ 120 h 153"/>
                  <a:gd name="T114" fmla="*/ 0 w 147"/>
                  <a:gd name="T115" fmla="*/ 117 h 153"/>
                  <a:gd name="T116" fmla="*/ 0 w 147"/>
                  <a:gd name="T117" fmla="*/ 117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7" h="153">
                    <a:moveTo>
                      <a:pt x="0" y="117"/>
                    </a:moveTo>
                    <a:lnTo>
                      <a:pt x="0" y="70"/>
                    </a:lnTo>
                    <a:lnTo>
                      <a:pt x="14" y="70"/>
                    </a:lnTo>
                    <a:lnTo>
                      <a:pt x="14" y="11"/>
                    </a:lnTo>
                    <a:lnTo>
                      <a:pt x="17" y="11"/>
                    </a:lnTo>
                    <a:lnTo>
                      <a:pt x="50" y="6"/>
                    </a:lnTo>
                    <a:lnTo>
                      <a:pt x="53" y="8"/>
                    </a:lnTo>
                    <a:lnTo>
                      <a:pt x="56" y="11"/>
                    </a:lnTo>
                    <a:lnTo>
                      <a:pt x="56" y="14"/>
                    </a:lnTo>
                    <a:lnTo>
                      <a:pt x="61" y="8"/>
                    </a:lnTo>
                    <a:lnTo>
                      <a:pt x="64" y="6"/>
                    </a:lnTo>
                    <a:lnTo>
                      <a:pt x="72" y="3"/>
                    </a:lnTo>
                    <a:lnTo>
                      <a:pt x="75" y="3"/>
                    </a:lnTo>
                    <a:lnTo>
                      <a:pt x="75" y="0"/>
                    </a:lnTo>
                    <a:lnTo>
                      <a:pt x="81" y="0"/>
                    </a:lnTo>
                    <a:lnTo>
                      <a:pt x="81" y="3"/>
                    </a:lnTo>
                    <a:lnTo>
                      <a:pt x="81" y="3"/>
                    </a:lnTo>
                    <a:lnTo>
                      <a:pt x="86" y="11"/>
                    </a:lnTo>
                    <a:lnTo>
                      <a:pt x="89" y="14"/>
                    </a:lnTo>
                    <a:lnTo>
                      <a:pt x="92" y="22"/>
                    </a:lnTo>
                    <a:lnTo>
                      <a:pt x="103" y="36"/>
                    </a:lnTo>
                    <a:lnTo>
                      <a:pt x="108" y="36"/>
                    </a:lnTo>
                    <a:lnTo>
                      <a:pt x="111" y="39"/>
                    </a:lnTo>
                    <a:lnTo>
                      <a:pt x="114" y="44"/>
                    </a:lnTo>
                    <a:lnTo>
                      <a:pt x="120" y="44"/>
                    </a:lnTo>
                    <a:lnTo>
                      <a:pt x="122" y="47"/>
                    </a:lnTo>
                    <a:lnTo>
                      <a:pt x="122" y="58"/>
                    </a:lnTo>
                    <a:lnTo>
                      <a:pt x="125" y="64"/>
                    </a:lnTo>
                    <a:lnTo>
                      <a:pt x="128" y="64"/>
                    </a:lnTo>
                    <a:lnTo>
                      <a:pt x="128" y="67"/>
                    </a:lnTo>
                    <a:lnTo>
                      <a:pt x="136" y="67"/>
                    </a:lnTo>
                    <a:lnTo>
                      <a:pt x="147" y="72"/>
                    </a:lnTo>
                    <a:lnTo>
                      <a:pt x="145" y="72"/>
                    </a:lnTo>
                    <a:lnTo>
                      <a:pt x="128" y="83"/>
                    </a:lnTo>
                    <a:lnTo>
                      <a:pt x="92" y="120"/>
                    </a:lnTo>
                    <a:lnTo>
                      <a:pt x="89" y="128"/>
                    </a:lnTo>
                    <a:lnTo>
                      <a:pt x="86" y="131"/>
                    </a:lnTo>
                    <a:lnTo>
                      <a:pt x="75" y="134"/>
                    </a:lnTo>
                    <a:lnTo>
                      <a:pt x="69" y="134"/>
                    </a:lnTo>
                    <a:lnTo>
                      <a:pt x="61" y="128"/>
                    </a:lnTo>
                    <a:lnTo>
                      <a:pt x="56" y="128"/>
                    </a:lnTo>
                    <a:lnTo>
                      <a:pt x="53" y="128"/>
                    </a:lnTo>
                    <a:lnTo>
                      <a:pt x="44" y="136"/>
                    </a:lnTo>
                    <a:lnTo>
                      <a:pt x="44" y="139"/>
                    </a:lnTo>
                    <a:lnTo>
                      <a:pt x="42" y="142"/>
                    </a:lnTo>
                    <a:lnTo>
                      <a:pt x="39" y="145"/>
                    </a:lnTo>
                    <a:lnTo>
                      <a:pt x="33" y="150"/>
                    </a:lnTo>
                    <a:lnTo>
                      <a:pt x="25" y="153"/>
                    </a:lnTo>
                    <a:lnTo>
                      <a:pt x="11" y="150"/>
                    </a:lnTo>
                    <a:lnTo>
                      <a:pt x="11" y="148"/>
                    </a:lnTo>
                    <a:lnTo>
                      <a:pt x="14" y="139"/>
                    </a:lnTo>
                    <a:lnTo>
                      <a:pt x="14" y="131"/>
                    </a:lnTo>
                    <a:lnTo>
                      <a:pt x="11" y="128"/>
                    </a:lnTo>
                    <a:lnTo>
                      <a:pt x="8" y="125"/>
                    </a:lnTo>
                    <a:lnTo>
                      <a:pt x="5" y="122"/>
                    </a:lnTo>
                    <a:lnTo>
                      <a:pt x="3" y="120"/>
                    </a:lnTo>
                    <a:lnTo>
                      <a:pt x="3" y="120"/>
                    </a:lnTo>
                    <a:lnTo>
                      <a:pt x="0" y="117"/>
                    </a:lnTo>
                    <a:lnTo>
                      <a:pt x="0" y="1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3" name="Freeform 1060"/>
              <p:cNvSpPr>
                <a:spLocks noChangeAspect="1"/>
              </p:cNvSpPr>
              <p:nvPr>
                <p:custDataLst>
                  <p:tags r:id="rId891"/>
                </p:custDataLst>
              </p:nvPr>
            </p:nvSpPr>
            <p:spPr bwMode="gray">
              <a:xfrm>
                <a:off x="6163561" y="2812431"/>
                <a:ext cx="826041" cy="435181"/>
              </a:xfrm>
              <a:custGeom>
                <a:avLst/>
                <a:gdLst>
                  <a:gd name="T0" fmla="*/ 128 w 634"/>
                  <a:gd name="T1" fmla="*/ 317 h 337"/>
                  <a:gd name="T2" fmla="*/ 94 w 634"/>
                  <a:gd name="T3" fmla="*/ 303 h 337"/>
                  <a:gd name="T4" fmla="*/ 69 w 634"/>
                  <a:gd name="T5" fmla="*/ 276 h 337"/>
                  <a:gd name="T6" fmla="*/ 78 w 634"/>
                  <a:gd name="T7" fmla="*/ 264 h 337"/>
                  <a:gd name="T8" fmla="*/ 86 w 634"/>
                  <a:gd name="T9" fmla="*/ 248 h 337"/>
                  <a:gd name="T10" fmla="*/ 119 w 634"/>
                  <a:gd name="T11" fmla="*/ 250 h 337"/>
                  <a:gd name="T12" fmla="*/ 119 w 634"/>
                  <a:gd name="T13" fmla="*/ 234 h 337"/>
                  <a:gd name="T14" fmla="*/ 105 w 634"/>
                  <a:gd name="T15" fmla="*/ 211 h 337"/>
                  <a:gd name="T16" fmla="*/ 58 w 634"/>
                  <a:gd name="T17" fmla="*/ 214 h 337"/>
                  <a:gd name="T18" fmla="*/ 25 w 634"/>
                  <a:gd name="T19" fmla="*/ 220 h 337"/>
                  <a:gd name="T20" fmla="*/ 30 w 634"/>
                  <a:gd name="T21" fmla="*/ 198 h 337"/>
                  <a:gd name="T22" fmla="*/ 11 w 634"/>
                  <a:gd name="T23" fmla="*/ 186 h 337"/>
                  <a:gd name="T24" fmla="*/ 8 w 634"/>
                  <a:gd name="T25" fmla="*/ 159 h 337"/>
                  <a:gd name="T26" fmla="*/ 14 w 634"/>
                  <a:gd name="T27" fmla="*/ 131 h 337"/>
                  <a:gd name="T28" fmla="*/ 30 w 634"/>
                  <a:gd name="T29" fmla="*/ 122 h 337"/>
                  <a:gd name="T30" fmla="*/ 53 w 634"/>
                  <a:gd name="T31" fmla="*/ 108 h 337"/>
                  <a:gd name="T32" fmla="*/ 72 w 634"/>
                  <a:gd name="T33" fmla="*/ 97 h 337"/>
                  <a:gd name="T34" fmla="*/ 89 w 634"/>
                  <a:gd name="T35" fmla="*/ 95 h 337"/>
                  <a:gd name="T36" fmla="*/ 111 w 634"/>
                  <a:gd name="T37" fmla="*/ 103 h 337"/>
                  <a:gd name="T38" fmla="*/ 128 w 634"/>
                  <a:gd name="T39" fmla="*/ 125 h 337"/>
                  <a:gd name="T40" fmla="*/ 133 w 634"/>
                  <a:gd name="T41" fmla="*/ 120 h 337"/>
                  <a:gd name="T42" fmla="*/ 158 w 634"/>
                  <a:gd name="T43" fmla="*/ 117 h 337"/>
                  <a:gd name="T44" fmla="*/ 183 w 634"/>
                  <a:gd name="T45" fmla="*/ 111 h 337"/>
                  <a:gd name="T46" fmla="*/ 200 w 634"/>
                  <a:gd name="T47" fmla="*/ 125 h 337"/>
                  <a:gd name="T48" fmla="*/ 231 w 634"/>
                  <a:gd name="T49" fmla="*/ 120 h 337"/>
                  <a:gd name="T50" fmla="*/ 211 w 634"/>
                  <a:gd name="T51" fmla="*/ 92 h 337"/>
                  <a:gd name="T52" fmla="*/ 222 w 634"/>
                  <a:gd name="T53" fmla="*/ 69 h 337"/>
                  <a:gd name="T54" fmla="*/ 239 w 634"/>
                  <a:gd name="T55" fmla="*/ 58 h 337"/>
                  <a:gd name="T56" fmla="*/ 231 w 634"/>
                  <a:gd name="T57" fmla="*/ 47 h 337"/>
                  <a:gd name="T58" fmla="*/ 234 w 634"/>
                  <a:gd name="T59" fmla="*/ 36 h 337"/>
                  <a:gd name="T60" fmla="*/ 256 w 634"/>
                  <a:gd name="T61" fmla="*/ 36 h 337"/>
                  <a:gd name="T62" fmla="*/ 275 w 634"/>
                  <a:gd name="T63" fmla="*/ 30 h 337"/>
                  <a:gd name="T64" fmla="*/ 292 w 634"/>
                  <a:gd name="T65" fmla="*/ 22 h 337"/>
                  <a:gd name="T66" fmla="*/ 337 w 634"/>
                  <a:gd name="T67" fmla="*/ 11 h 337"/>
                  <a:gd name="T68" fmla="*/ 348 w 634"/>
                  <a:gd name="T69" fmla="*/ 3 h 337"/>
                  <a:gd name="T70" fmla="*/ 364 w 634"/>
                  <a:gd name="T71" fmla="*/ 3 h 337"/>
                  <a:gd name="T72" fmla="*/ 381 w 634"/>
                  <a:gd name="T73" fmla="*/ 14 h 337"/>
                  <a:gd name="T74" fmla="*/ 389 w 634"/>
                  <a:gd name="T75" fmla="*/ 33 h 337"/>
                  <a:gd name="T76" fmla="*/ 403 w 634"/>
                  <a:gd name="T77" fmla="*/ 33 h 337"/>
                  <a:gd name="T78" fmla="*/ 417 w 634"/>
                  <a:gd name="T79" fmla="*/ 39 h 337"/>
                  <a:gd name="T80" fmla="*/ 417 w 634"/>
                  <a:gd name="T81" fmla="*/ 44 h 337"/>
                  <a:gd name="T82" fmla="*/ 431 w 634"/>
                  <a:gd name="T83" fmla="*/ 47 h 337"/>
                  <a:gd name="T84" fmla="*/ 448 w 634"/>
                  <a:gd name="T85" fmla="*/ 39 h 337"/>
                  <a:gd name="T86" fmla="*/ 473 w 634"/>
                  <a:gd name="T87" fmla="*/ 28 h 337"/>
                  <a:gd name="T88" fmla="*/ 490 w 634"/>
                  <a:gd name="T89" fmla="*/ 58 h 337"/>
                  <a:gd name="T90" fmla="*/ 537 w 634"/>
                  <a:gd name="T91" fmla="*/ 111 h 337"/>
                  <a:gd name="T92" fmla="*/ 559 w 634"/>
                  <a:gd name="T93" fmla="*/ 120 h 337"/>
                  <a:gd name="T94" fmla="*/ 576 w 634"/>
                  <a:gd name="T95" fmla="*/ 114 h 337"/>
                  <a:gd name="T96" fmla="*/ 587 w 634"/>
                  <a:gd name="T97" fmla="*/ 131 h 337"/>
                  <a:gd name="T98" fmla="*/ 604 w 634"/>
                  <a:gd name="T99" fmla="*/ 147 h 337"/>
                  <a:gd name="T100" fmla="*/ 626 w 634"/>
                  <a:gd name="T101" fmla="*/ 147 h 337"/>
                  <a:gd name="T102" fmla="*/ 623 w 634"/>
                  <a:gd name="T103" fmla="*/ 178 h 337"/>
                  <a:gd name="T104" fmla="*/ 582 w 634"/>
                  <a:gd name="T105" fmla="*/ 209 h 337"/>
                  <a:gd name="T106" fmla="*/ 520 w 634"/>
                  <a:gd name="T107" fmla="*/ 259 h 337"/>
                  <a:gd name="T108" fmla="*/ 526 w 634"/>
                  <a:gd name="T109" fmla="*/ 312 h 337"/>
                  <a:gd name="T110" fmla="*/ 476 w 634"/>
                  <a:gd name="T111" fmla="*/ 298 h 337"/>
                  <a:gd name="T112" fmla="*/ 428 w 634"/>
                  <a:gd name="T113" fmla="*/ 295 h 337"/>
                  <a:gd name="T114" fmla="*/ 392 w 634"/>
                  <a:gd name="T115" fmla="*/ 301 h 337"/>
                  <a:gd name="T116" fmla="*/ 373 w 634"/>
                  <a:gd name="T117" fmla="*/ 317 h 337"/>
                  <a:gd name="T118" fmla="*/ 334 w 634"/>
                  <a:gd name="T119" fmla="*/ 334 h 337"/>
                  <a:gd name="T120" fmla="*/ 298 w 634"/>
                  <a:gd name="T121" fmla="*/ 289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4" h="337">
                    <a:moveTo>
                      <a:pt x="147" y="256"/>
                    </a:moveTo>
                    <a:lnTo>
                      <a:pt x="147" y="331"/>
                    </a:lnTo>
                    <a:lnTo>
                      <a:pt x="144" y="334"/>
                    </a:lnTo>
                    <a:lnTo>
                      <a:pt x="139" y="334"/>
                    </a:lnTo>
                    <a:lnTo>
                      <a:pt x="136" y="331"/>
                    </a:lnTo>
                    <a:lnTo>
                      <a:pt x="133" y="323"/>
                    </a:lnTo>
                    <a:lnTo>
                      <a:pt x="131" y="320"/>
                    </a:lnTo>
                    <a:lnTo>
                      <a:pt x="128" y="317"/>
                    </a:lnTo>
                    <a:lnTo>
                      <a:pt x="128" y="315"/>
                    </a:lnTo>
                    <a:lnTo>
                      <a:pt x="119" y="309"/>
                    </a:lnTo>
                    <a:lnTo>
                      <a:pt x="117" y="309"/>
                    </a:lnTo>
                    <a:lnTo>
                      <a:pt x="100" y="315"/>
                    </a:lnTo>
                    <a:lnTo>
                      <a:pt x="92" y="323"/>
                    </a:lnTo>
                    <a:lnTo>
                      <a:pt x="92" y="312"/>
                    </a:lnTo>
                    <a:lnTo>
                      <a:pt x="94" y="309"/>
                    </a:lnTo>
                    <a:lnTo>
                      <a:pt x="94" y="303"/>
                    </a:lnTo>
                    <a:lnTo>
                      <a:pt x="92" y="301"/>
                    </a:lnTo>
                    <a:lnTo>
                      <a:pt x="89" y="301"/>
                    </a:lnTo>
                    <a:lnTo>
                      <a:pt x="83" y="298"/>
                    </a:lnTo>
                    <a:lnTo>
                      <a:pt x="80" y="295"/>
                    </a:lnTo>
                    <a:lnTo>
                      <a:pt x="75" y="295"/>
                    </a:lnTo>
                    <a:lnTo>
                      <a:pt x="75" y="284"/>
                    </a:lnTo>
                    <a:lnTo>
                      <a:pt x="69" y="278"/>
                    </a:lnTo>
                    <a:lnTo>
                      <a:pt x="69" y="276"/>
                    </a:lnTo>
                    <a:lnTo>
                      <a:pt x="66" y="273"/>
                    </a:lnTo>
                    <a:lnTo>
                      <a:pt x="61" y="270"/>
                    </a:lnTo>
                    <a:lnTo>
                      <a:pt x="55" y="264"/>
                    </a:lnTo>
                    <a:lnTo>
                      <a:pt x="58" y="262"/>
                    </a:lnTo>
                    <a:lnTo>
                      <a:pt x="64" y="262"/>
                    </a:lnTo>
                    <a:lnTo>
                      <a:pt x="72" y="264"/>
                    </a:lnTo>
                    <a:lnTo>
                      <a:pt x="75" y="264"/>
                    </a:lnTo>
                    <a:lnTo>
                      <a:pt x="78" y="264"/>
                    </a:lnTo>
                    <a:lnTo>
                      <a:pt x="75" y="259"/>
                    </a:lnTo>
                    <a:lnTo>
                      <a:pt x="75" y="253"/>
                    </a:lnTo>
                    <a:lnTo>
                      <a:pt x="75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80" y="250"/>
                    </a:lnTo>
                    <a:lnTo>
                      <a:pt x="86" y="250"/>
                    </a:lnTo>
                    <a:lnTo>
                      <a:pt x="86" y="248"/>
                    </a:lnTo>
                    <a:lnTo>
                      <a:pt x="89" y="245"/>
                    </a:lnTo>
                    <a:lnTo>
                      <a:pt x="94" y="245"/>
                    </a:lnTo>
                    <a:lnTo>
                      <a:pt x="103" y="250"/>
                    </a:lnTo>
                    <a:lnTo>
                      <a:pt x="105" y="248"/>
                    </a:lnTo>
                    <a:lnTo>
                      <a:pt x="111" y="248"/>
                    </a:lnTo>
                    <a:lnTo>
                      <a:pt x="111" y="248"/>
                    </a:lnTo>
                    <a:lnTo>
                      <a:pt x="111" y="248"/>
                    </a:lnTo>
                    <a:lnTo>
                      <a:pt x="119" y="250"/>
                    </a:lnTo>
                    <a:lnTo>
                      <a:pt x="125" y="250"/>
                    </a:lnTo>
                    <a:lnTo>
                      <a:pt x="128" y="250"/>
                    </a:lnTo>
                    <a:lnTo>
                      <a:pt x="128" y="250"/>
                    </a:lnTo>
                    <a:lnTo>
                      <a:pt x="125" y="245"/>
                    </a:lnTo>
                    <a:lnTo>
                      <a:pt x="128" y="245"/>
                    </a:lnTo>
                    <a:lnTo>
                      <a:pt x="125" y="239"/>
                    </a:lnTo>
                    <a:lnTo>
                      <a:pt x="122" y="237"/>
                    </a:lnTo>
                    <a:lnTo>
                      <a:pt x="119" y="234"/>
                    </a:lnTo>
                    <a:lnTo>
                      <a:pt x="117" y="234"/>
                    </a:lnTo>
                    <a:lnTo>
                      <a:pt x="114" y="228"/>
                    </a:lnTo>
                    <a:lnTo>
                      <a:pt x="111" y="223"/>
                    </a:lnTo>
                    <a:lnTo>
                      <a:pt x="108" y="220"/>
                    </a:lnTo>
                    <a:lnTo>
                      <a:pt x="108" y="220"/>
                    </a:lnTo>
                    <a:lnTo>
                      <a:pt x="105" y="217"/>
                    </a:lnTo>
                    <a:lnTo>
                      <a:pt x="105" y="217"/>
                    </a:lnTo>
                    <a:lnTo>
                      <a:pt x="105" y="211"/>
                    </a:lnTo>
                    <a:lnTo>
                      <a:pt x="100" y="209"/>
                    </a:lnTo>
                    <a:lnTo>
                      <a:pt x="97" y="209"/>
                    </a:lnTo>
                    <a:lnTo>
                      <a:pt x="97" y="206"/>
                    </a:lnTo>
                    <a:lnTo>
                      <a:pt x="92" y="206"/>
                    </a:lnTo>
                    <a:lnTo>
                      <a:pt x="83" y="209"/>
                    </a:lnTo>
                    <a:lnTo>
                      <a:pt x="83" y="206"/>
                    </a:lnTo>
                    <a:lnTo>
                      <a:pt x="69" y="203"/>
                    </a:lnTo>
                    <a:lnTo>
                      <a:pt x="58" y="214"/>
                    </a:lnTo>
                    <a:lnTo>
                      <a:pt x="33" y="220"/>
                    </a:lnTo>
                    <a:lnTo>
                      <a:pt x="39" y="223"/>
                    </a:lnTo>
                    <a:lnTo>
                      <a:pt x="33" y="225"/>
                    </a:lnTo>
                    <a:lnTo>
                      <a:pt x="33" y="225"/>
                    </a:lnTo>
                    <a:lnTo>
                      <a:pt x="30" y="223"/>
                    </a:lnTo>
                    <a:lnTo>
                      <a:pt x="30" y="223"/>
                    </a:lnTo>
                    <a:lnTo>
                      <a:pt x="28" y="223"/>
                    </a:lnTo>
                    <a:lnTo>
                      <a:pt x="25" y="220"/>
                    </a:lnTo>
                    <a:lnTo>
                      <a:pt x="25" y="220"/>
                    </a:lnTo>
                    <a:lnTo>
                      <a:pt x="25" y="217"/>
                    </a:lnTo>
                    <a:lnTo>
                      <a:pt x="25" y="214"/>
                    </a:lnTo>
                    <a:lnTo>
                      <a:pt x="28" y="214"/>
                    </a:lnTo>
                    <a:lnTo>
                      <a:pt x="30" y="217"/>
                    </a:lnTo>
                    <a:lnTo>
                      <a:pt x="33" y="214"/>
                    </a:lnTo>
                    <a:lnTo>
                      <a:pt x="30" y="200"/>
                    </a:lnTo>
                    <a:lnTo>
                      <a:pt x="30" y="198"/>
                    </a:lnTo>
                    <a:lnTo>
                      <a:pt x="28" y="198"/>
                    </a:lnTo>
                    <a:lnTo>
                      <a:pt x="28" y="195"/>
                    </a:lnTo>
                    <a:lnTo>
                      <a:pt x="25" y="192"/>
                    </a:lnTo>
                    <a:lnTo>
                      <a:pt x="16" y="192"/>
                    </a:lnTo>
                    <a:lnTo>
                      <a:pt x="14" y="189"/>
                    </a:lnTo>
                    <a:lnTo>
                      <a:pt x="14" y="192"/>
                    </a:lnTo>
                    <a:lnTo>
                      <a:pt x="11" y="189"/>
                    </a:lnTo>
                    <a:lnTo>
                      <a:pt x="11" y="186"/>
                    </a:lnTo>
                    <a:lnTo>
                      <a:pt x="8" y="186"/>
                    </a:lnTo>
                    <a:lnTo>
                      <a:pt x="11" y="184"/>
                    </a:lnTo>
                    <a:lnTo>
                      <a:pt x="8" y="181"/>
                    </a:lnTo>
                    <a:lnTo>
                      <a:pt x="8" y="178"/>
                    </a:lnTo>
                    <a:lnTo>
                      <a:pt x="0" y="175"/>
                    </a:lnTo>
                    <a:lnTo>
                      <a:pt x="2" y="164"/>
                    </a:lnTo>
                    <a:lnTo>
                      <a:pt x="8" y="161"/>
                    </a:lnTo>
                    <a:lnTo>
                      <a:pt x="8" y="159"/>
                    </a:lnTo>
                    <a:lnTo>
                      <a:pt x="8" y="159"/>
                    </a:lnTo>
                    <a:lnTo>
                      <a:pt x="5" y="153"/>
                    </a:lnTo>
                    <a:lnTo>
                      <a:pt x="8" y="142"/>
                    </a:lnTo>
                    <a:lnTo>
                      <a:pt x="11" y="139"/>
                    </a:lnTo>
                    <a:lnTo>
                      <a:pt x="14" y="136"/>
                    </a:lnTo>
                    <a:lnTo>
                      <a:pt x="11" y="134"/>
                    </a:lnTo>
                    <a:lnTo>
                      <a:pt x="14" y="134"/>
                    </a:lnTo>
                    <a:lnTo>
                      <a:pt x="14" y="131"/>
                    </a:lnTo>
                    <a:lnTo>
                      <a:pt x="16" y="125"/>
                    </a:lnTo>
                    <a:lnTo>
                      <a:pt x="16" y="128"/>
                    </a:lnTo>
                    <a:lnTo>
                      <a:pt x="19" y="131"/>
                    </a:lnTo>
                    <a:lnTo>
                      <a:pt x="22" y="134"/>
                    </a:lnTo>
                    <a:lnTo>
                      <a:pt x="28" y="145"/>
                    </a:lnTo>
                    <a:lnTo>
                      <a:pt x="30" y="145"/>
                    </a:lnTo>
                    <a:lnTo>
                      <a:pt x="36" y="139"/>
                    </a:lnTo>
                    <a:lnTo>
                      <a:pt x="30" y="122"/>
                    </a:lnTo>
                    <a:lnTo>
                      <a:pt x="33" y="125"/>
                    </a:lnTo>
                    <a:lnTo>
                      <a:pt x="44" y="117"/>
                    </a:lnTo>
                    <a:lnTo>
                      <a:pt x="44" y="117"/>
                    </a:lnTo>
                    <a:lnTo>
                      <a:pt x="44" y="111"/>
                    </a:lnTo>
                    <a:lnTo>
                      <a:pt x="47" y="111"/>
                    </a:lnTo>
                    <a:lnTo>
                      <a:pt x="50" y="111"/>
                    </a:lnTo>
                    <a:lnTo>
                      <a:pt x="53" y="111"/>
                    </a:lnTo>
                    <a:lnTo>
                      <a:pt x="53" y="108"/>
                    </a:lnTo>
                    <a:lnTo>
                      <a:pt x="58" y="106"/>
                    </a:lnTo>
                    <a:lnTo>
                      <a:pt x="58" y="106"/>
                    </a:lnTo>
                    <a:lnTo>
                      <a:pt x="61" y="103"/>
                    </a:lnTo>
                    <a:lnTo>
                      <a:pt x="61" y="103"/>
                    </a:lnTo>
                    <a:lnTo>
                      <a:pt x="64" y="100"/>
                    </a:lnTo>
                    <a:lnTo>
                      <a:pt x="64" y="97"/>
                    </a:lnTo>
                    <a:lnTo>
                      <a:pt x="69" y="97"/>
                    </a:lnTo>
                    <a:lnTo>
                      <a:pt x="72" y="97"/>
                    </a:lnTo>
                    <a:lnTo>
                      <a:pt x="75" y="100"/>
                    </a:lnTo>
                    <a:lnTo>
                      <a:pt x="80" y="100"/>
                    </a:lnTo>
                    <a:lnTo>
                      <a:pt x="80" y="103"/>
                    </a:lnTo>
                    <a:lnTo>
                      <a:pt x="83" y="100"/>
                    </a:lnTo>
                    <a:lnTo>
                      <a:pt x="83" y="97"/>
                    </a:lnTo>
                    <a:lnTo>
                      <a:pt x="83" y="97"/>
                    </a:lnTo>
                    <a:lnTo>
                      <a:pt x="86" y="97"/>
                    </a:lnTo>
                    <a:lnTo>
                      <a:pt x="89" y="95"/>
                    </a:lnTo>
                    <a:lnTo>
                      <a:pt x="92" y="95"/>
                    </a:lnTo>
                    <a:lnTo>
                      <a:pt x="92" y="100"/>
                    </a:lnTo>
                    <a:lnTo>
                      <a:pt x="94" y="100"/>
                    </a:lnTo>
                    <a:lnTo>
                      <a:pt x="97" y="100"/>
                    </a:lnTo>
                    <a:lnTo>
                      <a:pt x="100" y="100"/>
                    </a:lnTo>
                    <a:lnTo>
                      <a:pt x="105" y="100"/>
                    </a:lnTo>
                    <a:lnTo>
                      <a:pt x="108" y="100"/>
                    </a:lnTo>
                    <a:lnTo>
                      <a:pt x="111" y="103"/>
                    </a:lnTo>
                    <a:lnTo>
                      <a:pt x="114" y="108"/>
                    </a:lnTo>
                    <a:lnTo>
                      <a:pt x="119" y="111"/>
                    </a:lnTo>
                    <a:lnTo>
                      <a:pt x="119" y="114"/>
                    </a:lnTo>
                    <a:lnTo>
                      <a:pt x="119" y="114"/>
                    </a:lnTo>
                    <a:lnTo>
                      <a:pt x="125" y="120"/>
                    </a:lnTo>
                    <a:lnTo>
                      <a:pt x="125" y="122"/>
                    </a:lnTo>
                    <a:lnTo>
                      <a:pt x="125" y="125"/>
                    </a:lnTo>
                    <a:lnTo>
                      <a:pt x="128" y="125"/>
                    </a:lnTo>
                    <a:lnTo>
                      <a:pt x="128" y="117"/>
                    </a:lnTo>
                    <a:lnTo>
                      <a:pt x="125" y="117"/>
                    </a:lnTo>
                    <a:lnTo>
                      <a:pt x="128" y="114"/>
                    </a:lnTo>
                    <a:lnTo>
                      <a:pt x="131" y="114"/>
                    </a:lnTo>
                    <a:lnTo>
                      <a:pt x="131" y="117"/>
                    </a:lnTo>
                    <a:lnTo>
                      <a:pt x="133" y="117"/>
                    </a:lnTo>
                    <a:lnTo>
                      <a:pt x="133" y="120"/>
                    </a:lnTo>
                    <a:lnTo>
                      <a:pt x="133" y="120"/>
                    </a:lnTo>
                    <a:lnTo>
                      <a:pt x="142" y="125"/>
                    </a:lnTo>
                    <a:lnTo>
                      <a:pt x="144" y="125"/>
                    </a:lnTo>
                    <a:lnTo>
                      <a:pt x="150" y="120"/>
                    </a:lnTo>
                    <a:lnTo>
                      <a:pt x="150" y="117"/>
                    </a:lnTo>
                    <a:lnTo>
                      <a:pt x="153" y="117"/>
                    </a:lnTo>
                    <a:lnTo>
                      <a:pt x="156" y="114"/>
                    </a:lnTo>
                    <a:lnTo>
                      <a:pt x="156" y="114"/>
                    </a:lnTo>
                    <a:lnTo>
                      <a:pt x="158" y="117"/>
                    </a:lnTo>
                    <a:lnTo>
                      <a:pt x="158" y="114"/>
                    </a:lnTo>
                    <a:lnTo>
                      <a:pt x="164" y="114"/>
                    </a:lnTo>
                    <a:lnTo>
                      <a:pt x="167" y="111"/>
                    </a:lnTo>
                    <a:lnTo>
                      <a:pt x="172" y="117"/>
                    </a:lnTo>
                    <a:lnTo>
                      <a:pt x="175" y="114"/>
                    </a:lnTo>
                    <a:lnTo>
                      <a:pt x="175" y="111"/>
                    </a:lnTo>
                    <a:lnTo>
                      <a:pt x="181" y="111"/>
                    </a:lnTo>
                    <a:lnTo>
                      <a:pt x="183" y="111"/>
                    </a:lnTo>
                    <a:lnTo>
                      <a:pt x="186" y="114"/>
                    </a:lnTo>
                    <a:lnTo>
                      <a:pt x="189" y="114"/>
                    </a:lnTo>
                    <a:lnTo>
                      <a:pt x="189" y="120"/>
                    </a:lnTo>
                    <a:lnTo>
                      <a:pt x="192" y="122"/>
                    </a:lnTo>
                    <a:lnTo>
                      <a:pt x="197" y="122"/>
                    </a:lnTo>
                    <a:lnTo>
                      <a:pt x="200" y="122"/>
                    </a:lnTo>
                    <a:lnTo>
                      <a:pt x="200" y="122"/>
                    </a:lnTo>
                    <a:lnTo>
                      <a:pt x="200" y="125"/>
                    </a:lnTo>
                    <a:lnTo>
                      <a:pt x="206" y="125"/>
                    </a:lnTo>
                    <a:lnTo>
                      <a:pt x="208" y="125"/>
                    </a:lnTo>
                    <a:lnTo>
                      <a:pt x="211" y="120"/>
                    </a:lnTo>
                    <a:lnTo>
                      <a:pt x="214" y="120"/>
                    </a:lnTo>
                    <a:lnTo>
                      <a:pt x="217" y="122"/>
                    </a:lnTo>
                    <a:lnTo>
                      <a:pt x="225" y="122"/>
                    </a:lnTo>
                    <a:lnTo>
                      <a:pt x="228" y="120"/>
                    </a:lnTo>
                    <a:lnTo>
                      <a:pt x="231" y="120"/>
                    </a:lnTo>
                    <a:lnTo>
                      <a:pt x="236" y="106"/>
                    </a:lnTo>
                    <a:lnTo>
                      <a:pt x="234" y="103"/>
                    </a:lnTo>
                    <a:lnTo>
                      <a:pt x="225" y="103"/>
                    </a:lnTo>
                    <a:lnTo>
                      <a:pt x="222" y="100"/>
                    </a:lnTo>
                    <a:lnTo>
                      <a:pt x="217" y="97"/>
                    </a:lnTo>
                    <a:lnTo>
                      <a:pt x="217" y="95"/>
                    </a:lnTo>
                    <a:lnTo>
                      <a:pt x="214" y="95"/>
                    </a:lnTo>
                    <a:lnTo>
                      <a:pt x="211" y="92"/>
                    </a:lnTo>
                    <a:lnTo>
                      <a:pt x="211" y="89"/>
                    </a:lnTo>
                    <a:lnTo>
                      <a:pt x="214" y="89"/>
                    </a:lnTo>
                    <a:lnTo>
                      <a:pt x="217" y="86"/>
                    </a:lnTo>
                    <a:lnTo>
                      <a:pt x="225" y="83"/>
                    </a:lnTo>
                    <a:lnTo>
                      <a:pt x="225" y="81"/>
                    </a:lnTo>
                    <a:lnTo>
                      <a:pt x="225" y="78"/>
                    </a:lnTo>
                    <a:lnTo>
                      <a:pt x="220" y="69"/>
                    </a:lnTo>
                    <a:lnTo>
                      <a:pt x="222" y="69"/>
                    </a:lnTo>
                    <a:lnTo>
                      <a:pt x="225" y="67"/>
                    </a:lnTo>
                    <a:lnTo>
                      <a:pt x="225" y="67"/>
                    </a:lnTo>
                    <a:lnTo>
                      <a:pt x="228" y="64"/>
                    </a:lnTo>
                    <a:lnTo>
                      <a:pt x="242" y="64"/>
                    </a:lnTo>
                    <a:lnTo>
                      <a:pt x="242" y="64"/>
                    </a:lnTo>
                    <a:lnTo>
                      <a:pt x="245" y="61"/>
                    </a:lnTo>
                    <a:lnTo>
                      <a:pt x="242" y="58"/>
                    </a:lnTo>
                    <a:lnTo>
                      <a:pt x="239" y="58"/>
                    </a:lnTo>
                    <a:lnTo>
                      <a:pt x="231" y="56"/>
                    </a:lnTo>
                    <a:lnTo>
                      <a:pt x="228" y="53"/>
                    </a:lnTo>
                    <a:lnTo>
                      <a:pt x="228" y="53"/>
                    </a:lnTo>
                    <a:lnTo>
                      <a:pt x="231" y="53"/>
                    </a:lnTo>
                    <a:lnTo>
                      <a:pt x="234" y="50"/>
                    </a:lnTo>
                    <a:lnTo>
                      <a:pt x="234" y="50"/>
                    </a:lnTo>
                    <a:lnTo>
                      <a:pt x="234" y="47"/>
                    </a:lnTo>
                    <a:lnTo>
                      <a:pt x="231" y="47"/>
                    </a:lnTo>
                    <a:lnTo>
                      <a:pt x="225" y="47"/>
                    </a:lnTo>
                    <a:lnTo>
                      <a:pt x="225" y="47"/>
                    </a:lnTo>
                    <a:lnTo>
                      <a:pt x="228" y="44"/>
                    </a:lnTo>
                    <a:lnTo>
                      <a:pt x="228" y="42"/>
                    </a:lnTo>
                    <a:lnTo>
                      <a:pt x="225" y="39"/>
                    </a:lnTo>
                    <a:lnTo>
                      <a:pt x="231" y="39"/>
                    </a:lnTo>
                    <a:lnTo>
                      <a:pt x="231" y="36"/>
                    </a:lnTo>
                    <a:lnTo>
                      <a:pt x="234" y="36"/>
                    </a:lnTo>
                    <a:lnTo>
                      <a:pt x="234" y="39"/>
                    </a:lnTo>
                    <a:lnTo>
                      <a:pt x="236" y="39"/>
                    </a:lnTo>
                    <a:lnTo>
                      <a:pt x="239" y="39"/>
                    </a:lnTo>
                    <a:lnTo>
                      <a:pt x="242" y="39"/>
                    </a:lnTo>
                    <a:lnTo>
                      <a:pt x="247" y="39"/>
                    </a:lnTo>
                    <a:lnTo>
                      <a:pt x="250" y="39"/>
                    </a:lnTo>
                    <a:lnTo>
                      <a:pt x="253" y="36"/>
                    </a:lnTo>
                    <a:lnTo>
                      <a:pt x="256" y="36"/>
                    </a:lnTo>
                    <a:lnTo>
                      <a:pt x="259" y="36"/>
                    </a:lnTo>
                    <a:lnTo>
                      <a:pt x="261" y="33"/>
                    </a:lnTo>
                    <a:lnTo>
                      <a:pt x="264" y="33"/>
                    </a:lnTo>
                    <a:lnTo>
                      <a:pt x="267" y="30"/>
                    </a:lnTo>
                    <a:lnTo>
                      <a:pt x="270" y="30"/>
                    </a:lnTo>
                    <a:lnTo>
                      <a:pt x="270" y="33"/>
                    </a:lnTo>
                    <a:lnTo>
                      <a:pt x="273" y="33"/>
                    </a:lnTo>
                    <a:lnTo>
                      <a:pt x="275" y="30"/>
                    </a:lnTo>
                    <a:lnTo>
                      <a:pt x="278" y="30"/>
                    </a:lnTo>
                    <a:lnTo>
                      <a:pt x="281" y="28"/>
                    </a:lnTo>
                    <a:lnTo>
                      <a:pt x="284" y="28"/>
                    </a:lnTo>
                    <a:lnTo>
                      <a:pt x="284" y="28"/>
                    </a:lnTo>
                    <a:lnTo>
                      <a:pt x="286" y="28"/>
                    </a:lnTo>
                    <a:lnTo>
                      <a:pt x="289" y="28"/>
                    </a:lnTo>
                    <a:lnTo>
                      <a:pt x="292" y="25"/>
                    </a:lnTo>
                    <a:lnTo>
                      <a:pt x="292" y="22"/>
                    </a:lnTo>
                    <a:lnTo>
                      <a:pt x="295" y="19"/>
                    </a:lnTo>
                    <a:lnTo>
                      <a:pt x="298" y="19"/>
                    </a:lnTo>
                    <a:lnTo>
                      <a:pt x="298" y="22"/>
                    </a:lnTo>
                    <a:lnTo>
                      <a:pt x="303" y="19"/>
                    </a:lnTo>
                    <a:lnTo>
                      <a:pt x="303" y="19"/>
                    </a:lnTo>
                    <a:lnTo>
                      <a:pt x="331" y="14"/>
                    </a:lnTo>
                    <a:lnTo>
                      <a:pt x="334" y="11"/>
                    </a:lnTo>
                    <a:lnTo>
                      <a:pt x="337" y="11"/>
                    </a:lnTo>
                    <a:lnTo>
                      <a:pt x="337" y="11"/>
                    </a:lnTo>
                    <a:lnTo>
                      <a:pt x="339" y="11"/>
                    </a:lnTo>
                    <a:lnTo>
                      <a:pt x="339" y="5"/>
                    </a:lnTo>
                    <a:lnTo>
                      <a:pt x="342" y="5"/>
                    </a:lnTo>
                    <a:lnTo>
                      <a:pt x="342" y="5"/>
                    </a:lnTo>
                    <a:lnTo>
                      <a:pt x="345" y="3"/>
                    </a:lnTo>
                    <a:lnTo>
                      <a:pt x="348" y="3"/>
                    </a:lnTo>
                    <a:lnTo>
                      <a:pt x="348" y="3"/>
                    </a:lnTo>
                    <a:lnTo>
                      <a:pt x="350" y="0"/>
                    </a:lnTo>
                    <a:lnTo>
                      <a:pt x="353" y="0"/>
                    </a:lnTo>
                    <a:lnTo>
                      <a:pt x="353" y="0"/>
                    </a:lnTo>
                    <a:lnTo>
                      <a:pt x="356" y="0"/>
                    </a:lnTo>
                    <a:lnTo>
                      <a:pt x="359" y="3"/>
                    </a:lnTo>
                    <a:lnTo>
                      <a:pt x="362" y="0"/>
                    </a:lnTo>
                    <a:lnTo>
                      <a:pt x="364" y="3"/>
                    </a:lnTo>
                    <a:lnTo>
                      <a:pt x="364" y="3"/>
                    </a:lnTo>
                    <a:lnTo>
                      <a:pt x="367" y="5"/>
                    </a:lnTo>
                    <a:lnTo>
                      <a:pt x="370" y="5"/>
                    </a:lnTo>
                    <a:lnTo>
                      <a:pt x="373" y="3"/>
                    </a:lnTo>
                    <a:lnTo>
                      <a:pt x="376" y="3"/>
                    </a:lnTo>
                    <a:lnTo>
                      <a:pt x="378" y="3"/>
                    </a:lnTo>
                    <a:lnTo>
                      <a:pt x="381" y="5"/>
                    </a:lnTo>
                    <a:lnTo>
                      <a:pt x="381" y="8"/>
                    </a:lnTo>
                    <a:lnTo>
                      <a:pt x="381" y="14"/>
                    </a:lnTo>
                    <a:lnTo>
                      <a:pt x="381" y="17"/>
                    </a:lnTo>
                    <a:lnTo>
                      <a:pt x="387" y="19"/>
                    </a:lnTo>
                    <a:lnTo>
                      <a:pt x="384" y="22"/>
                    </a:lnTo>
                    <a:lnTo>
                      <a:pt x="384" y="28"/>
                    </a:lnTo>
                    <a:lnTo>
                      <a:pt x="381" y="30"/>
                    </a:lnTo>
                    <a:lnTo>
                      <a:pt x="384" y="33"/>
                    </a:lnTo>
                    <a:lnTo>
                      <a:pt x="384" y="33"/>
                    </a:lnTo>
                    <a:lnTo>
                      <a:pt x="389" y="33"/>
                    </a:lnTo>
                    <a:lnTo>
                      <a:pt x="389" y="33"/>
                    </a:lnTo>
                    <a:lnTo>
                      <a:pt x="392" y="33"/>
                    </a:lnTo>
                    <a:lnTo>
                      <a:pt x="392" y="30"/>
                    </a:lnTo>
                    <a:lnTo>
                      <a:pt x="395" y="30"/>
                    </a:lnTo>
                    <a:lnTo>
                      <a:pt x="398" y="33"/>
                    </a:lnTo>
                    <a:lnTo>
                      <a:pt x="398" y="28"/>
                    </a:lnTo>
                    <a:lnTo>
                      <a:pt x="401" y="28"/>
                    </a:lnTo>
                    <a:lnTo>
                      <a:pt x="403" y="33"/>
                    </a:lnTo>
                    <a:lnTo>
                      <a:pt x="403" y="33"/>
                    </a:lnTo>
                    <a:lnTo>
                      <a:pt x="403" y="39"/>
                    </a:lnTo>
                    <a:lnTo>
                      <a:pt x="406" y="39"/>
                    </a:lnTo>
                    <a:lnTo>
                      <a:pt x="406" y="36"/>
                    </a:lnTo>
                    <a:lnTo>
                      <a:pt x="406" y="36"/>
                    </a:lnTo>
                    <a:lnTo>
                      <a:pt x="406" y="33"/>
                    </a:lnTo>
                    <a:lnTo>
                      <a:pt x="412" y="36"/>
                    </a:lnTo>
                    <a:lnTo>
                      <a:pt x="417" y="39"/>
                    </a:lnTo>
                    <a:lnTo>
                      <a:pt x="420" y="39"/>
                    </a:lnTo>
                    <a:lnTo>
                      <a:pt x="420" y="36"/>
                    </a:lnTo>
                    <a:lnTo>
                      <a:pt x="423" y="36"/>
                    </a:lnTo>
                    <a:lnTo>
                      <a:pt x="423" y="39"/>
                    </a:lnTo>
                    <a:lnTo>
                      <a:pt x="423" y="42"/>
                    </a:lnTo>
                    <a:lnTo>
                      <a:pt x="420" y="42"/>
                    </a:lnTo>
                    <a:lnTo>
                      <a:pt x="420" y="42"/>
                    </a:lnTo>
                    <a:lnTo>
                      <a:pt x="417" y="44"/>
                    </a:lnTo>
                    <a:lnTo>
                      <a:pt x="417" y="47"/>
                    </a:lnTo>
                    <a:lnTo>
                      <a:pt x="417" y="50"/>
                    </a:lnTo>
                    <a:lnTo>
                      <a:pt x="420" y="53"/>
                    </a:lnTo>
                    <a:lnTo>
                      <a:pt x="420" y="50"/>
                    </a:lnTo>
                    <a:lnTo>
                      <a:pt x="423" y="50"/>
                    </a:lnTo>
                    <a:lnTo>
                      <a:pt x="428" y="47"/>
                    </a:lnTo>
                    <a:lnTo>
                      <a:pt x="428" y="50"/>
                    </a:lnTo>
                    <a:lnTo>
                      <a:pt x="431" y="47"/>
                    </a:lnTo>
                    <a:lnTo>
                      <a:pt x="434" y="50"/>
                    </a:lnTo>
                    <a:lnTo>
                      <a:pt x="437" y="50"/>
                    </a:lnTo>
                    <a:lnTo>
                      <a:pt x="434" y="47"/>
                    </a:lnTo>
                    <a:lnTo>
                      <a:pt x="437" y="47"/>
                    </a:lnTo>
                    <a:lnTo>
                      <a:pt x="440" y="47"/>
                    </a:lnTo>
                    <a:lnTo>
                      <a:pt x="442" y="42"/>
                    </a:lnTo>
                    <a:lnTo>
                      <a:pt x="445" y="42"/>
                    </a:lnTo>
                    <a:lnTo>
                      <a:pt x="448" y="39"/>
                    </a:lnTo>
                    <a:lnTo>
                      <a:pt x="451" y="33"/>
                    </a:lnTo>
                    <a:lnTo>
                      <a:pt x="453" y="33"/>
                    </a:lnTo>
                    <a:lnTo>
                      <a:pt x="456" y="33"/>
                    </a:lnTo>
                    <a:lnTo>
                      <a:pt x="462" y="30"/>
                    </a:lnTo>
                    <a:lnTo>
                      <a:pt x="462" y="30"/>
                    </a:lnTo>
                    <a:lnTo>
                      <a:pt x="467" y="30"/>
                    </a:lnTo>
                    <a:lnTo>
                      <a:pt x="470" y="28"/>
                    </a:lnTo>
                    <a:lnTo>
                      <a:pt x="473" y="28"/>
                    </a:lnTo>
                    <a:lnTo>
                      <a:pt x="473" y="30"/>
                    </a:lnTo>
                    <a:lnTo>
                      <a:pt x="470" y="33"/>
                    </a:lnTo>
                    <a:lnTo>
                      <a:pt x="470" y="33"/>
                    </a:lnTo>
                    <a:lnTo>
                      <a:pt x="467" y="33"/>
                    </a:lnTo>
                    <a:lnTo>
                      <a:pt x="467" y="36"/>
                    </a:lnTo>
                    <a:lnTo>
                      <a:pt x="467" y="39"/>
                    </a:lnTo>
                    <a:lnTo>
                      <a:pt x="470" y="39"/>
                    </a:lnTo>
                    <a:lnTo>
                      <a:pt x="490" y="58"/>
                    </a:lnTo>
                    <a:lnTo>
                      <a:pt x="523" y="120"/>
                    </a:lnTo>
                    <a:lnTo>
                      <a:pt x="529" y="117"/>
                    </a:lnTo>
                    <a:lnTo>
                      <a:pt x="529" y="114"/>
                    </a:lnTo>
                    <a:lnTo>
                      <a:pt x="529" y="111"/>
                    </a:lnTo>
                    <a:lnTo>
                      <a:pt x="531" y="108"/>
                    </a:lnTo>
                    <a:lnTo>
                      <a:pt x="534" y="108"/>
                    </a:lnTo>
                    <a:lnTo>
                      <a:pt x="534" y="111"/>
                    </a:lnTo>
                    <a:lnTo>
                      <a:pt x="537" y="111"/>
                    </a:lnTo>
                    <a:lnTo>
                      <a:pt x="540" y="114"/>
                    </a:lnTo>
                    <a:lnTo>
                      <a:pt x="540" y="114"/>
                    </a:lnTo>
                    <a:lnTo>
                      <a:pt x="543" y="117"/>
                    </a:lnTo>
                    <a:lnTo>
                      <a:pt x="543" y="117"/>
                    </a:lnTo>
                    <a:lnTo>
                      <a:pt x="545" y="122"/>
                    </a:lnTo>
                    <a:lnTo>
                      <a:pt x="551" y="120"/>
                    </a:lnTo>
                    <a:lnTo>
                      <a:pt x="556" y="122"/>
                    </a:lnTo>
                    <a:lnTo>
                      <a:pt x="559" y="120"/>
                    </a:lnTo>
                    <a:lnTo>
                      <a:pt x="562" y="122"/>
                    </a:lnTo>
                    <a:lnTo>
                      <a:pt x="562" y="120"/>
                    </a:lnTo>
                    <a:lnTo>
                      <a:pt x="565" y="117"/>
                    </a:lnTo>
                    <a:lnTo>
                      <a:pt x="568" y="117"/>
                    </a:lnTo>
                    <a:lnTo>
                      <a:pt x="570" y="117"/>
                    </a:lnTo>
                    <a:lnTo>
                      <a:pt x="570" y="114"/>
                    </a:lnTo>
                    <a:lnTo>
                      <a:pt x="573" y="114"/>
                    </a:lnTo>
                    <a:lnTo>
                      <a:pt x="576" y="114"/>
                    </a:lnTo>
                    <a:lnTo>
                      <a:pt x="579" y="117"/>
                    </a:lnTo>
                    <a:lnTo>
                      <a:pt x="579" y="120"/>
                    </a:lnTo>
                    <a:lnTo>
                      <a:pt x="582" y="120"/>
                    </a:lnTo>
                    <a:lnTo>
                      <a:pt x="584" y="122"/>
                    </a:lnTo>
                    <a:lnTo>
                      <a:pt x="587" y="125"/>
                    </a:lnTo>
                    <a:lnTo>
                      <a:pt x="587" y="125"/>
                    </a:lnTo>
                    <a:lnTo>
                      <a:pt x="587" y="128"/>
                    </a:lnTo>
                    <a:lnTo>
                      <a:pt x="587" y="131"/>
                    </a:lnTo>
                    <a:lnTo>
                      <a:pt x="590" y="134"/>
                    </a:lnTo>
                    <a:lnTo>
                      <a:pt x="590" y="134"/>
                    </a:lnTo>
                    <a:lnTo>
                      <a:pt x="598" y="136"/>
                    </a:lnTo>
                    <a:lnTo>
                      <a:pt x="598" y="139"/>
                    </a:lnTo>
                    <a:lnTo>
                      <a:pt x="598" y="142"/>
                    </a:lnTo>
                    <a:lnTo>
                      <a:pt x="601" y="142"/>
                    </a:lnTo>
                    <a:lnTo>
                      <a:pt x="601" y="142"/>
                    </a:lnTo>
                    <a:lnTo>
                      <a:pt x="604" y="147"/>
                    </a:lnTo>
                    <a:lnTo>
                      <a:pt x="607" y="147"/>
                    </a:lnTo>
                    <a:lnTo>
                      <a:pt x="609" y="150"/>
                    </a:lnTo>
                    <a:lnTo>
                      <a:pt x="612" y="150"/>
                    </a:lnTo>
                    <a:lnTo>
                      <a:pt x="618" y="150"/>
                    </a:lnTo>
                    <a:lnTo>
                      <a:pt x="621" y="150"/>
                    </a:lnTo>
                    <a:lnTo>
                      <a:pt x="621" y="147"/>
                    </a:lnTo>
                    <a:lnTo>
                      <a:pt x="626" y="145"/>
                    </a:lnTo>
                    <a:lnTo>
                      <a:pt x="626" y="147"/>
                    </a:lnTo>
                    <a:lnTo>
                      <a:pt x="626" y="150"/>
                    </a:lnTo>
                    <a:lnTo>
                      <a:pt x="629" y="153"/>
                    </a:lnTo>
                    <a:lnTo>
                      <a:pt x="632" y="156"/>
                    </a:lnTo>
                    <a:lnTo>
                      <a:pt x="632" y="156"/>
                    </a:lnTo>
                    <a:lnTo>
                      <a:pt x="634" y="159"/>
                    </a:lnTo>
                    <a:lnTo>
                      <a:pt x="632" y="167"/>
                    </a:lnTo>
                    <a:lnTo>
                      <a:pt x="629" y="173"/>
                    </a:lnTo>
                    <a:lnTo>
                      <a:pt x="623" y="178"/>
                    </a:lnTo>
                    <a:lnTo>
                      <a:pt x="618" y="178"/>
                    </a:lnTo>
                    <a:lnTo>
                      <a:pt x="612" y="178"/>
                    </a:lnTo>
                    <a:lnTo>
                      <a:pt x="609" y="184"/>
                    </a:lnTo>
                    <a:lnTo>
                      <a:pt x="609" y="209"/>
                    </a:lnTo>
                    <a:lnTo>
                      <a:pt x="601" y="211"/>
                    </a:lnTo>
                    <a:lnTo>
                      <a:pt x="598" y="214"/>
                    </a:lnTo>
                    <a:lnTo>
                      <a:pt x="593" y="209"/>
                    </a:lnTo>
                    <a:lnTo>
                      <a:pt x="582" y="209"/>
                    </a:lnTo>
                    <a:lnTo>
                      <a:pt x="576" y="209"/>
                    </a:lnTo>
                    <a:lnTo>
                      <a:pt x="573" y="206"/>
                    </a:lnTo>
                    <a:lnTo>
                      <a:pt x="568" y="206"/>
                    </a:lnTo>
                    <a:lnTo>
                      <a:pt x="556" y="239"/>
                    </a:lnTo>
                    <a:lnTo>
                      <a:pt x="559" y="248"/>
                    </a:lnTo>
                    <a:lnTo>
                      <a:pt x="556" y="250"/>
                    </a:lnTo>
                    <a:lnTo>
                      <a:pt x="523" y="256"/>
                    </a:lnTo>
                    <a:lnTo>
                      <a:pt x="520" y="259"/>
                    </a:lnTo>
                    <a:lnTo>
                      <a:pt x="523" y="259"/>
                    </a:lnTo>
                    <a:lnTo>
                      <a:pt x="531" y="289"/>
                    </a:lnTo>
                    <a:lnTo>
                      <a:pt x="531" y="295"/>
                    </a:lnTo>
                    <a:lnTo>
                      <a:pt x="529" y="298"/>
                    </a:lnTo>
                    <a:lnTo>
                      <a:pt x="529" y="301"/>
                    </a:lnTo>
                    <a:lnTo>
                      <a:pt x="526" y="303"/>
                    </a:lnTo>
                    <a:lnTo>
                      <a:pt x="526" y="306"/>
                    </a:lnTo>
                    <a:lnTo>
                      <a:pt x="526" y="312"/>
                    </a:lnTo>
                    <a:lnTo>
                      <a:pt x="523" y="312"/>
                    </a:lnTo>
                    <a:lnTo>
                      <a:pt x="518" y="309"/>
                    </a:lnTo>
                    <a:lnTo>
                      <a:pt x="515" y="309"/>
                    </a:lnTo>
                    <a:lnTo>
                      <a:pt x="509" y="303"/>
                    </a:lnTo>
                    <a:lnTo>
                      <a:pt x="501" y="301"/>
                    </a:lnTo>
                    <a:lnTo>
                      <a:pt x="498" y="301"/>
                    </a:lnTo>
                    <a:lnTo>
                      <a:pt x="481" y="301"/>
                    </a:lnTo>
                    <a:lnTo>
                      <a:pt x="476" y="298"/>
                    </a:lnTo>
                    <a:lnTo>
                      <a:pt x="473" y="298"/>
                    </a:lnTo>
                    <a:lnTo>
                      <a:pt x="470" y="301"/>
                    </a:lnTo>
                    <a:lnTo>
                      <a:pt x="448" y="298"/>
                    </a:lnTo>
                    <a:lnTo>
                      <a:pt x="445" y="298"/>
                    </a:lnTo>
                    <a:lnTo>
                      <a:pt x="442" y="298"/>
                    </a:lnTo>
                    <a:lnTo>
                      <a:pt x="437" y="298"/>
                    </a:lnTo>
                    <a:lnTo>
                      <a:pt x="431" y="292"/>
                    </a:lnTo>
                    <a:lnTo>
                      <a:pt x="428" y="295"/>
                    </a:lnTo>
                    <a:lnTo>
                      <a:pt x="426" y="295"/>
                    </a:lnTo>
                    <a:lnTo>
                      <a:pt x="423" y="295"/>
                    </a:lnTo>
                    <a:lnTo>
                      <a:pt x="420" y="298"/>
                    </a:lnTo>
                    <a:lnTo>
                      <a:pt x="420" y="301"/>
                    </a:lnTo>
                    <a:lnTo>
                      <a:pt x="420" y="301"/>
                    </a:lnTo>
                    <a:lnTo>
                      <a:pt x="417" y="306"/>
                    </a:lnTo>
                    <a:lnTo>
                      <a:pt x="417" y="309"/>
                    </a:lnTo>
                    <a:lnTo>
                      <a:pt x="392" y="301"/>
                    </a:lnTo>
                    <a:lnTo>
                      <a:pt x="392" y="301"/>
                    </a:lnTo>
                    <a:lnTo>
                      <a:pt x="389" y="301"/>
                    </a:lnTo>
                    <a:lnTo>
                      <a:pt x="381" y="303"/>
                    </a:lnTo>
                    <a:lnTo>
                      <a:pt x="381" y="303"/>
                    </a:lnTo>
                    <a:lnTo>
                      <a:pt x="381" y="306"/>
                    </a:lnTo>
                    <a:lnTo>
                      <a:pt x="376" y="317"/>
                    </a:lnTo>
                    <a:lnTo>
                      <a:pt x="373" y="317"/>
                    </a:lnTo>
                    <a:lnTo>
                      <a:pt x="373" y="317"/>
                    </a:lnTo>
                    <a:lnTo>
                      <a:pt x="370" y="320"/>
                    </a:lnTo>
                    <a:lnTo>
                      <a:pt x="367" y="323"/>
                    </a:lnTo>
                    <a:lnTo>
                      <a:pt x="356" y="328"/>
                    </a:lnTo>
                    <a:lnTo>
                      <a:pt x="356" y="328"/>
                    </a:lnTo>
                    <a:lnTo>
                      <a:pt x="350" y="331"/>
                    </a:lnTo>
                    <a:lnTo>
                      <a:pt x="350" y="337"/>
                    </a:lnTo>
                    <a:lnTo>
                      <a:pt x="345" y="337"/>
                    </a:lnTo>
                    <a:lnTo>
                      <a:pt x="334" y="334"/>
                    </a:lnTo>
                    <a:lnTo>
                      <a:pt x="317" y="334"/>
                    </a:lnTo>
                    <a:lnTo>
                      <a:pt x="314" y="320"/>
                    </a:lnTo>
                    <a:lnTo>
                      <a:pt x="306" y="320"/>
                    </a:lnTo>
                    <a:lnTo>
                      <a:pt x="306" y="312"/>
                    </a:lnTo>
                    <a:lnTo>
                      <a:pt x="306" y="312"/>
                    </a:lnTo>
                    <a:lnTo>
                      <a:pt x="306" y="298"/>
                    </a:lnTo>
                    <a:lnTo>
                      <a:pt x="303" y="298"/>
                    </a:lnTo>
                    <a:lnTo>
                      <a:pt x="298" y="289"/>
                    </a:lnTo>
                    <a:lnTo>
                      <a:pt x="286" y="281"/>
                    </a:lnTo>
                    <a:lnTo>
                      <a:pt x="284" y="284"/>
                    </a:lnTo>
                    <a:lnTo>
                      <a:pt x="242" y="287"/>
                    </a:lnTo>
                    <a:lnTo>
                      <a:pt x="186" y="239"/>
                    </a:lnTo>
                    <a:lnTo>
                      <a:pt x="147" y="2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4" name="Freeform 1168"/>
              <p:cNvSpPr>
                <a:spLocks noChangeAspect="1"/>
              </p:cNvSpPr>
              <p:nvPr>
                <p:custDataLst>
                  <p:tags r:id="rId892"/>
                </p:custDataLst>
              </p:nvPr>
            </p:nvSpPr>
            <p:spPr bwMode="gray">
              <a:xfrm>
                <a:off x="4722547" y="3812082"/>
                <a:ext cx="10628" cy="4730"/>
              </a:xfrm>
              <a:custGeom>
                <a:avLst/>
                <a:gdLst>
                  <a:gd name="T0" fmla="*/ 13719615 w 9"/>
                  <a:gd name="T1" fmla="*/ 7558882 h 3"/>
                  <a:gd name="T2" fmla="*/ 9146409 w 9"/>
                  <a:gd name="T3" fmla="*/ 0 h 3"/>
                  <a:gd name="T4" fmla="*/ 0 w 9"/>
                  <a:gd name="T5" fmla="*/ 0 h 3"/>
                  <a:gd name="T6" fmla="*/ 0 w 9"/>
                  <a:gd name="T7" fmla="*/ 7558882 h 3"/>
                  <a:gd name="T8" fmla="*/ 4573205 w 9"/>
                  <a:gd name="T9" fmla="*/ 7558882 h 3"/>
                  <a:gd name="T10" fmla="*/ 4573205 w 9"/>
                  <a:gd name="T11" fmla="*/ 7558882 h 3"/>
                  <a:gd name="T12" fmla="*/ 13719615 w 9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3"/>
                  <a:gd name="T23" fmla="*/ 9 w 9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3">
                    <a:moveTo>
                      <a:pt x="9" y="3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5" name="Freeform 1169"/>
              <p:cNvSpPr>
                <a:spLocks noChangeAspect="1"/>
              </p:cNvSpPr>
              <p:nvPr>
                <p:custDataLst>
                  <p:tags r:id="rId893"/>
                </p:custDataLst>
              </p:nvPr>
            </p:nvSpPr>
            <p:spPr bwMode="gray">
              <a:xfrm>
                <a:off x="4722547" y="3812082"/>
                <a:ext cx="10628" cy="4730"/>
              </a:xfrm>
              <a:custGeom>
                <a:avLst/>
                <a:gdLst>
                  <a:gd name="T0" fmla="*/ 13719615 w 9"/>
                  <a:gd name="T1" fmla="*/ 7558882 h 3"/>
                  <a:gd name="T2" fmla="*/ 9146409 w 9"/>
                  <a:gd name="T3" fmla="*/ 0 h 3"/>
                  <a:gd name="T4" fmla="*/ 0 w 9"/>
                  <a:gd name="T5" fmla="*/ 0 h 3"/>
                  <a:gd name="T6" fmla="*/ 0 w 9"/>
                  <a:gd name="T7" fmla="*/ 7558882 h 3"/>
                  <a:gd name="T8" fmla="*/ 4573205 w 9"/>
                  <a:gd name="T9" fmla="*/ 7558882 h 3"/>
                  <a:gd name="T10" fmla="*/ 4573205 w 9"/>
                  <a:gd name="T11" fmla="*/ 7558882 h 3"/>
                  <a:gd name="T12" fmla="*/ 13719615 w 9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3"/>
                  <a:gd name="T23" fmla="*/ 9 w 9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3">
                    <a:moveTo>
                      <a:pt x="9" y="3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9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6" name="Rectangle 1170"/>
              <p:cNvSpPr>
                <a:spLocks noChangeAspect="1" noChangeArrowheads="1"/>
              </p:cNvSpPr>
              <p:nvPr>
                <p:custDataLst>
                  <p:tags r:id="rId894"/>
                </p:custDataLst>
              </p:nvPr>
            </p:nvSpPr>
            <p:spPr bwMode="gray">
              <a:xfrm>
                <a:off x="4749879" y="3810507"/>
                <a:ext cx="4555" cy="1577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7" name="Rectangle 1171"/>
              <p:cNvSpPr>
                <a:spLocks noChangeAspect="1" noChangeArrowheads="1"/>
              </p:cNvSpPr>
              <p:nvPr>
                <p:custDataLst>
                  <p:tags r:id="rId895"/>
                </p:custDataLst>
              </p:nvPr>
            </p:nvSpPr>
            <p:spPr bwMode="gray">
              <a:xfrm>
                <a:off x="4749879" y="3810507"/>
                <a:ext cx="4555" cy="1577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8" name="Freeform 1172"/>
              <p:cNvSpPr>
                <a:spLocks noChangeAspect="1"/>
              </p:cNvSpPr>
              <p:nvPr>
                <p:custDataLst>
                  <p:tags r:id="rId896"/>
                </p:custDataLst>
              </p:nvPr>
            </p:nvSpPr>
            <p:spPr bwMode="gray">
              <a:xfrm>
                <a:off x="4749879" y="3824696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0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3360208 h 3"/>
                  <a:gd name="T16" fmla="*/ 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0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9" name="Freeform 1173"/>
              <p:cNvSpPr>
                <a:spLocks noChangeAspect="1"/>
              </p:cNvSpPr>
              <p:nvPr>
                <p:custDataLst>
                  <p:tags r:id="rId897"/>
                </p:custDataLst>
              </p:nvPr>
            </p:nvSpPr>
            <p:spPr bwMode="gray">
              <a:xfrm>
                <a:off x="4749879" y="3824696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0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3360208 h 3"/>
                  <a:gd name="T16" fmla="*/ 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0" y="0"/>
                    </a:moveTo>
                    <a:lnTo>
                      <a:pt x="2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0" name="Freeform 1174"/>
              <p:cNvSpPr>
                <a:spLocks noChangeAspect="1"/>
              </p:cNvSpPr>
              <p:nvPr>
                <p:custDataLst>
                  <p:tags r:id="rId898"/>
                </p:custDataLst>
              </p:nvPr>
            </p:nvSpPr>
            <p:spPr bwMode="gray">
              <a:xfrm>
                <a:off x="4734695" y="3842040"/>
                <a:ext cx="9110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0 w 6"/>
                  <a:gd name="T5" fmla="*/ 10501973 h 6"/>
                  <a:gd name="T6" fmla="*/ 0 w 6"/>
                  <a:gd name="T7" fmla="*/ 10501973 h 6"/>
                  <a:gd name="T8" fmla="*/ 7561263 w 6"/>
                  <a:gd name="T9" fmla="*/ 10501973 h 6"/>
                  <a:gd name="T10" fmla="*/ 15120939 w 6"/>
                  <a:gd name="T11" fmla="*/ 5250987 h 6"/>
                  <a:gd name="T12" fmla="*/ 7561263 w 6"/>
                  <a:gd name="T13" fmla="*/ 0 h 6"/>
                  <a:gd name="T14" fmla="*/ 0 w 6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6"/>
                  <a:gd name="T26" fmla="*/ 6 w 6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1" name="Freeform 1175"/>
              <p:cNvSpPr>
                <a:spLocks noChangeAspect="1"/>
              </p:cNvSpPr>
              <p:nvPr>
                <p:custDataLst>
                  <p:tags r:id="rId899"/>
                </p:custDataLst>
              </p:nvPr>
            </p:nvSpPr>
            <p:spPr bwMode="gray">
              <a:xfrm>
                <a:off x="4734695" y="3842040"/>
                <a:ext cx="9110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0 w 6"/>
                  <a:gd name="T5" fmla="*/ 10501973 h 6"/>
                  <a:gd name="T6" fmla="*/ 0 w 6"/>
                  <a:gd name="T7" fmla="*/ 10501973 h 6"/>
                  <a:gd name="T8" fmla="*/ 7561263 w 6"/>
                  <a:gd name="T9" fmla="*/ 10501973 h 6"/>
                  <a:gd name="T10" fmla="*/ 15120939 w 6"/>
                  <a:gd name="T11" fmla="*/ 5250987 h 6"/>
                  <a:gd name="T12" fmla="*/ 7561263 w 6"/>
                  <a:gd name="T13" fmla="*/ 0 h 6"/>
                  <a:gd name="T14" fmla="*/ 0 w 6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6"/>
                  <a:gd name="T26" fmla="*/ 6 w 6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2" name="Freeform 1176"/>
              <p:cNvSpPr>
                <a:spLocks noChangeAspect="1"/>
              </p:cNvSpPr>
              <p:nvPr>
                <p:custDataLst>
                  <p:tags r:id="rId900"/>
                </p:custDataLst>
              </p:nvPr>
            </p:nvSpPr>
            <p:spPr bwMode="gray">
              <a:xfrm>
                <a:off x="4722547" y="3849926"/>
                <a:ext cx="1518" cy="1577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1259284 h 2"/>
                  <a:gd name="T6" fmla="*/ 0 w 3"/>
                  <a:gd name="T7" fmla="*/ 1259284 h 2"/>
                  <a:gd name="T8" fmla="*/ 0 w 3"/>
                  <a:gd name="T9" fmla="*/ 1259284 h 2"/>
                  <a:gd name="T10" fmla="*/ 839523 w 3"/>
                  <a:gd name="T11" fmla="*/ 0 h 2"/>
                  <a:gd name="T12" fmla="*/ 0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3" name="Freeform 1177"/>
              <p:cNvSpPr>
                <a:spLocks noChangeAspect="1"/>
              </p:cNvSpPr>
              <p:nvPr>
                <p:custDataLst>
                  <p:tags r:id="rId901"/>
                </p:custDataLst>
              </p:nvPr>
            </p:nvSpPr>
            <p:spPr bwMode="gray">
              <a:xfrm>
                <a:off x="4722547" y="3849926"/>
                <a:ext cx="1518" cy="1577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1259284 h 2"/>
                  <a:gd name="T6" fmla="*/ 0 w 3"/>
                  <a:gd name="T7" fmla="*/ 1259284 h 2"/>
                  <a:gd name="T8" fmla="*/ 0 w 3"/>
                  <a:gd name="T9" fmla="*/ 1259284 h 2"/>
                  <a:gd name="T10" fmla="*/ 839523 w 3"/>
                  <a:gd name="T11" fmla="*/ 0 h 2"/>
                  <a:gd name="T12" fmla="*/ 0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4" name="Freeform 1178"/>
              <p:cNvSpPr>
                <a:spLocks noChangeAspect="1"/>
              </p:cNvSpPr>
              <p:nvPr>
                <p:custDataLst>
                  <p:tags r:id="rId902"/>
                </p:custDataLst>
              </p:nvPr>
            </p:nvSpPr>
            <p:spPr bwMode="gray">
              <a:xfrm>
                <a:off x="5490884" y="3085206"/>
                <a:ext cx="60739" cy="47302"/>
              </a:xfrm>
              <a:custGeom>
                <a:avLst/>
                <a:gdLst>
                  <a:gd name="T0" fmla="*/ 39 w 47"/>
                  <a:gd name="T1" fmla="*/ 3 h 37"/>
                  <a:gd name="T2" fmla="*/ 33 w 47"/>
                  <a:gd name="T3" fmla="*/ 3 h 37"/>
                  <a:gd name="T4" fmla="*/ 30 w 47"/>
                  <a:gd name="T5" fmla="*/ 6 h 37"/>
                  <a:gd name="T6" fmla="*/ 19 w 47"/>
                  <a:gd name="T7" fmla="*/ 6 h 37"/>
                  <a:gd name="T8" fmla="*/ 16 w 47"/>
                  <a:gd name="T9" fmla="*/ 12 h 37"/>
                  <a:gd name="T10" fmla="*/ 0 w 47"/>
                  <a:gd name="T11" fmla="*/ 14 h 37"/>
                  <a:gd name="T12" fmla="*/ 0 w 47"/>
                  <a:gd name="T13" fmla="*/ 17 h 37"/>
                  <a:gd name="T14" fmla="*/ 0 w 47"/>
                  <a:gd name="T15" fmla="*/ 17 h 37"/>
                  <a:gd name="T16" fmla="*/ 2 w 47"/>
                  <a:gd name="T17" fmla="*/ 23 h 37"/>
                  <a:gd name="T18" fmla="*/ 2 w 47"/>
                  <a:gd name="T19" fmla="*/ 26 h 37"/>
                  <a:gd name="T20" fmla="*/ 5 w 47"/>
                  <a:gd name="T21" fmla="*/ 28 h 37"/>
                  <a:gd name="T22" fmla="*/ 5 w 47"/>
                  <a:gd name="T23" fmla="*/ 28 h 37"/>
                  <a:gd name="T24" fmla="*/ 5 w 47"/>
                  <a:gd name="T25" fmla="*/ 31 h 37"/>
                  <a:gd name="T26" fmla="*/ 2 w 47"/>
                  <a:gd name="T27" fmla="*/ 31 h 37"/>
                  <a:gd name="T28" fmla="*/ 2 w 47"/>
                  <a:gd name="T29" fmla="*/ 34 h 37"/>
                  <a:gd name="T30" fmla="*/ 8 w 47"/>
                  <a:gd name="T31" fmla="*/ 34 h 37"/>
                  <a:gd name="T32" fmla="*/ 14 w 47"/>
                  <a:gd name="T33" fmla="*/ 34 h 37"/>
                  <a:gd name="T34" fmla="*/ 16 w 47"/>
                  <a:gd name="T35" fmla="*/ 31 h 37"/>
                  <a:gd name="T36" fmla="*/ 22 w 47"/>
                  <a:gd name="T37" fmla="*/ 34 h 37"/>
                  <a:gd name="T38" fmla="*/ 22 w 47"/>
                  <a:gd name="T39" fmla="*/ 34 h 37"/>
                  <a:gd name="T40" fmla="*/ 25 w 47"/>
                  <a:gd name="T41" fmla="*/ 34 h 37"/>
                  <a:gd name="T42" fmla="*/ 25 w 47"/>
                  <a:gd name="T43" fmla="*/ 37 h 37"/>
                  <a:gd name="T44" fmla="*/ 27 w 47"/>
                  <a:gd name="T45" fmla="*/ 31 h 37"/>
                  <a:gd name="T46" fmla="*/ 27 w 47"/>
                  <a:gd name="T47" fmla="*/ 28 h 37"/>
                  <a:gd name="T48" fmla="*/ 33 w 47"/>
                  <a:gd name="T49" fmla="*/ 26 h 37"/>
                  <a:gd name="T50" fmla="*/ 33 w 47"/>
                  <a:gd name="T51" fmla="*/ 20 h 37"/>
                  <a:gd name="T52" fmla="*/ 33 w 47"/>
                  <a:gd name="T53" fmla="*/ 17 h 37"/>
                  <a:gd name="T54" fmla="*/ 39 w 47"/>
                  <a:gd name="T55" fmla="*/ 14 h 37"/>
                  <a:gd name="T56" fmla="*/ 39 w 47"/>
                  <a:gd name="T57" fmla="*/ 12 h 37"/>
                  <a:gd name="T58" fmla="*/ 41 w 47"/>
                  <a:gd name="T59" fmla="*/ 12 h 37"/>
                  <a:gd name="T60" fmla="*/ 41 w 47"/>
                  <a:gd name="T61" fmla="*/ 12 h 37"/>
                  <a:gd name="T62" fmla="*/ 44 w 47"/>
                  <a:gd name="T63" fmla="*/ 9 h 37"/>
                  <a:gd name="T64" fmla="*/ 47 w 47"/>
                  <a:gd name="T65" fmla="*/ 12 h 37"/>
                  <a:gd name="T66" fmla="*/ 47 w 47"/>
                  <a:gd name="T67" fmla="*/ 12 h 37"/>
                  <a:gd name="T68" fmla="*/ 41 w 47"/>
                  <a:gd name="T6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7" h="37">
                    <a:moveTo>
                      <a:pt x="39" y="0"/>
                    </a:moveTo>
                    <a:lnTo>
                      <a:pt x="39" y="3"/>
                    </a:lnTo>
                    <a:lnTo>
                      <a:pt x="36" y="6"/>
                    </a:lnTo>
                    <a:lnTo>
                      <a:pt x="33" y="3"/>
                    </a:lnTo>
                    <a:lnTo>
                      <a:pt x="30" y="3"/>
                    </a:lnTo>
                    <a:lnTo>
                      <a:pt x="30" y="6"/>
                    </a:lnTo>
                    <a:lnTo>
                      <a:pt x="25" y="6"/>
                    </a:lnTo>
                    <a:lnTo>
                      <a:pt x="19" y="6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5" y="26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0" y="34"/>
                    </a:lnTo>
                    <a:lnTo>
                      <a:pt x="2" y="34"/>
                    </a:lnTo>
                    <a:lnTo>
                      <a:pt x="5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4" y="34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9" y="37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5" y="34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7" y="37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7" y="28"/>
                    </a:lnTo>
                    <a:lnTo>
                      <a:pt x="30" y="26"/>
                    </a:lnTo>
                    <a:lnTo>
                      <a:pt x="33" y="26"/>
                    </a:lnTo>
                    <a:lnTo>
                      <a:pt x="33" y="26"/>
                    </a:lnTo>
                    <a:lnTo>
                      <a:pt x="33" y="20"/>
                    </a:lnTo>
                    <a:lnTo>
                      <a:pt x="33" y="20"/>
                    </a:lnTo>
                    <a:lnTo>
                      <a:pt x="33" y="17"/>
                    </a:lnTo>
                    <a:lnTo>
                      <a:pt x="33" y="17"/>
                    </a:lnTo>
                    <a:lnTo>
                      <a:pt x="39" y="14"/>
                    </a:lnTo>
                    <a:lnTo>
                      <a:pt x="39" y="14"/>
                    </a:lnTo>
                    <a:lnTo>
                      <a:pt x="39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9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47" y="12"/>
                    </a:lnTo>
                    <a:lnTo>
                      <a:pt x="47" y="9"/>
                    </a:lnTo>
                    <a:lnTo>
                      <a:pt x="47" y="12"/>
                    </a:lnTo>
                    <a:lnTo>
                      <a:pt x="44" y="3"/>
                    </a:lnTo>
                    <a:lnTo>
                      <a:pt x="41" y="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5" name="Freeform 1179"/>
              <p:cNvSpPr>
                <a:spLocks noChangeAspect="1"/>
              </p:cNvSpPr>
              <p:nvPr>
                <p:custDataLst>
                  <p:tags r:id="rId903"/>
                </p:custDataLst>
              </p:nvPr>
            </p:nvSpPr>
            <p:spPr bwMode="gray">
              <a:xfrm>
                <a:off x="5635140" y="3214501"/>
                <a:ext cx="45554" cy="39419"/>
              </a:xfrm>
              <a:custGeom>
                <a:avLst/>
                <a:gdLst>
                  <a:gd name="T0" fmla="*/ 6 w 36"/>
                  <a:gd name="T1" fmla="*/ 30 h 30"/>
                  <a:gd name="T2" fmla="*/ 0 w 36"/>
                  <a:gd name="T3" fmla="*/ 25 h 30"/>
                  <a:gd name="T4" fmla="*/ 0 w 36"/>
                  <a:gd name="T5" fmla="*/ 19 h 30"/>
                  <a:gd name="T6" fmla="*/ 0 w 36"/>
                  <a:gd name="T7" fmla="*/ 5 h 30"/>
                  <a:gd name="T8" fmla="*/ 0 w 36"/>
                  <a:gd name="T9" fmla="*/ 5 h 30"/>
                  <a:gd name="T10" fmla="*/ 3 w 36"/>
                  <a:gd name="T11" fmla="*/ 5 h 30"/>
                  <a:gd name="T12" fmla="*/ 3 w 36"/>
                  <a:gd name="T13" fmla="*/ 5 h 30"/>
                  <a:gd name="T14" fmla="*/ 3 w 36"/>
                  <a:gd name="T15" fmla="*/ 3 h 30"/>
                  <a:gd name="T16" fmla="*/ 8 w 36"/>
                  <a:gd name="T17" fmla="*/ 0 h 30"/>
                  <a:gd name="T18" fmla="*/ 8 w 36"/>
                  <a:gd name="T19" fmla="*/ 0 h 30"/>
                  <a:gd name="T20" fmla="*/ 11 w 36"/>
                  <a:gd name="T21" fmla="*/ 3 h 30"/>
                  <a:gd name="T22" fmla="*/ 11 w 36"/>
                  <a:gd name="T23" fmla="*/ 3 h 30"/>
                  <a:gd name="T24" fmla="*/ 11 w 36"/>
                  <a:gd name="T25" fmla="*/ 3 h 30"/>
                  <a:gd name="T26" fmla="*/ 14 w 36"/>
                  <a:gd name="T27" fmla="*/ 0 h 30"/>
                  <a:gd name="T28" fmla="*/ 17 w 36"/>
                  <a:gd name="T29" fmla="*/ 3 h 30"/>
                  <a:gd name="T30" fmla="*/ 19 w 36"/>
                  <a:gd name="T31" fmla="*/ 0 h 30"/>
                  <a:gd name="T32" fmla="*/ 22 w 36"/>
                  <a:gd name="T33" fmla="*/ 0 h 30"/>
                  <a:gd name="T34" fmla="*/ 25 w 36"/>
                  <a:gd name="T35" fmla="*/ 0 h 30"/>
                  <a:gd name="T36" fmla="*/ 28 w 36"/>
                  <a:gd name="T37" fmla="*/ 0 h 30"/>
                  <a:gd name="T38" fmla="*/ 33 w 36"/>
                  <a:gd name="T39" fmla="*/ 8 h 30"/>
                  <a:gd name="T40" fmla="*/ 36 w 36"/>
                  <a:gd name="T41" fmla="*/ 19 h 30"/>
                  <a:gd name="T42" fmla="*/ 33 w 36"/>
                  <a:gd name="T43" fmla="*/ 19 h 30"/>
                  <a:gd name="T44" fmla="*/ 31 w 36"/>
                  <a:gd name="T45" fmla="*/ 25 h 30"/>
                  <a:gd name="T46" fmla="*/ 25 w 36"/>
                  <a:gd name="T47" fmla="*/ 25 h 30"/>
                  <a:gd name="T48" fmla="*/ 19 w 36"/>
                  <a:gd name="T49" fmla="*/ 25 h 30"/>
                  <a:gd name="T50" fmla="*/ 17 w 36"/>
                  <a:gd name="T51" fmla="*/ 30 h 30"/>
                  <a:gd name="T52" fmla="*/ 6 w 36"/>
                  <a:gd name="T5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6" h="30">
                    <a:moveTo>
                      <a:pt x="6" y="30"/>
                    </a:moveTo>
                    <a:lnTo>
                      <a:pt x="0" y="25"/>
                    </a:lnTo>
                    <a:lnTo>
                      <a:pt x="0" y="19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3" y="8"/>
                    </a:lnTo>
                    <a:lnTo>
                      <a:pt x="36" y="19"/>
                    </a:lnTo>
                    <a:lnTo>
                      <a:pt x="33" y="19"/>
                    </a:lnTo>
                    <a:lnTo>
                      <a:pt x="31" y="25"/>
                    </a:lnTo>
                    <a:lnTo>
                      <a:pt x="25" y="25"/>
                    </a:lnTo>
                    <a:lnTo>
                      <a:pt x="19" y="25"/>
                    </a:lnTo>
                    <a:lnTo>
                      <a:pt x="17" y="30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6" name="Freeform 1184"/>
              <p:cNvSpPr>
                <a:spLocks noChangeAspect="1"/>
              </p:cNvSpPr>
              <p:nvPr>
                <p:custDataLst>
                  <p:tags r:id="rId904"/>
                </p:custDataLst>
              </p:nvPr>
            </p:nvSpPr>
            <p:spPr bwMode="gray">
              <a:xfrm>
                <a:off x="5626028" y="3045788"/>
                <a:ext cx="194362" cy="132445"/>
              </a:xfrm>
              <a:custGeom>
                <a:avLst/>
                <a:gdLst>
                  <a:gd name="T0" fmla="*/ 128 w 150"/>
                  <a:gd name="T1" fmla="*/ 100 h 103"/>
                  <a:gd name="T2" fmla="*/ 114 w 150"/>
                  <a:gd name="T3" fmla="*/ 95 h 103"/>
                  <a:gd name="T4" fmla="*/ 108 w 150"/>
                  <a:gd name="T5" fmla="*/ 92 h 103"/>
                  <a:gd name="T6" fmla="*/ 47 w 150"/>
                  <a:gd name="T7" fmla="*/ 100 h 103"/>
                  <a:gd name="T8" fmla="*/ 44 w 150"/>
                  <a:gd name="T9" fmla="*/ 92 h 103"/>
                  <a:gd name="T10" fmla="*/ 36 w 150"/>
                  <a:gd name="T11" fmla="*/ 86 h 103"/>
                  <a:gd name="T12" fmla="*/ 36 w 150"/>
                  <a:gd name="T13" fmla="*/ 81 h 103"/>
                  <a:gd name="T14" fmla="*/ 25 w 150"/>
                  <a:gd name="T15" fmla="*/ 81 h 103"/>
                  <a:gd name="T16" fmla="*/ 19 w 150"/>
                  <a:gd name="T17" fmla="*/ 69 h 103"/>
                  <a:gd name="T18" fmla="*/ 14 w 150"/>
                  <a:gd name="T19" fmla="*/ 67 h 103"/>
                  <a:gd name="T20" fmla="*/ 8 w 150"/>
                  <a:gd name="T21" fmla="*/ 56 h 103"/>
                  <a:gd name="T22" fmla="*/ 0 w 150"/>
                  <a:gd name="T23" fmla="*/ 47 h 103"/>
                  <a:gd name="T24" fmla="*/ 16 w 150"/>
                  <a:gd name="T25" fmla="*/ 44 h 103"/>
                  <a:gd name="T26" fmla="*/ 27 w 150"/>
                  <a:gd name="T27" fmla="*/ 25 h 103"/>
                  <a:gd name="T28" fmla="*/ 30 w 150"/>
                  <a:gd name="T29" fmla="*/ 17 h 103"/>
                  <a:gd name="T30" fmla="*/ 33 w 150"/>
                  <a:gd name="T31" fmla="*/ 11 h 103"/>
                  <a:gd name="T32" fmla="*/ 39 w 150"/>
                  <a:gd name="T33" fmla="*/ 11 h 103"/>
                  <a:gd name="T34" fmla="*/ 44 w 150"/>
                  <a:gd name="T35" fmla="*/ 5 h 103"/>
                  <a:gd name="T36" fmla="*/ 75 w 150"/>
                  <a:gd name="T37" fmla="*/ 11 h 103"/>
                  <a:gd name="T38" fmla="*/ 83 w 150"/>
                  <a:gd name="T39" fmla="*/ 5 h 103"/>
                  <a:gd name="T40" fmla="*/ 100 w 150"/>
                  <a:gd name="T41" fmla="*/ 0 h 103"/>
                  <a:gd name="T42" fmla="*/ 114 w 150"/>
                  <a:gd name="T43" fmla="*/ 11 h 103"/>
                  <a:gd name="T44" fmla="*/ 125 w 150"/>
                  <a:gd name="T45" fmla="*/ 33 h 103"/>
                  <a:gd name="T46" fmla="*/ 125 w 150"/>
                  <a:gd name="T47" fmla="*/ 50 h 103"/>
                  <a:gd name="T48" fmla="*/ 128 w 150"/>
                  <a:gd name="T49" fmla="*/ 64 h 103"/>
                  <a:gd name="T50" fmla="*/ 136 w 150"/>
                  <a:gd name="T51" fmla="*/ 67 h 103"/>
                  <a:gd name="T52" fmla="*/ 144 w 150"/>
                  <a:gd name="T53" fmla="*/ 64 h 103"/>
                  <a:gd name="T54" fmla="*/ 150 w 150"/>
                  <a:gd name="T55" fmla="*/ 64 h 103"/>
                  <a:gd name="T56" fmla="*/ 150 w 150"/>
                  <a:gd name="T57" fmla="*/ 75 h 103"/>
                  <a:gd name="T58" fmla="*/ 144 w 150"/>
                  <a:gd name="T59" fmla="*/ 78 h 103"/>
                  <a:gd name="T60" fmla="*/ 136 w 150"/>
                  <a:gd name="T61" fmla="*/ 83 h 103"/>
                  <a:gd name="T62" fmla="*/ 139 w 150"/>
                  <a:gd name="T63" fmla="*/ 78 h 103"/>
                  <a:gd name="T64" fmla="*/ 136 w 150"/>
                  <a:gd name="T65" fmla="*/ 7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0" h="103">
                    <a:moveTo>
                      <a:pt x="133" y="100"/>
                    </a:moveTo>
                    <a:lnTo>
                      <a:pt x="128" y="100"/>
                    </a:lnTo>
                    <a:lnTo>
                      <a:pt x="122" y="97"/>
                    </a:lnTo>
                    <a:lnTo>
                      <a:pt x="114" y="95"/>
                    </a:lnTo>
                    <a:lnTo>
                      <a:pt x="111" y="92"/>
                    </a:lnTo>
                    <a:lnTo>
                      <a:pt x="108" y="92"/>
                    </a:lnTo>
                    <a:lnTo>
                      <a:pt x="83" y="103"/>
                    </a:lnTo>
                    <a:lnTo>
                      <a:pt x="47" y="100"/>
                    </a:lnTo>
                    <a:lnTo>
                      <a:pt x="41" y="97"/>
                    </a:lnTo>
                    <a:lnTo>
                      <a:pt x="44" y="92"/>
                    </a:lnTo>
                    <a:lnTo>
                      <a:pt x="39" y="92"/>
                    </a:lnTo>
                    <a:lnTo>
                      <a:pt x="36" y="86"/>
                    </a:lnTo>
                    <a:lnTo>
                      <a:pt x="39" y="83"/>
                    </a:lnTo>
                    <a:lnTo>
                      <a:pt x="36" y="81"/>
                    </a:lnTo>
                    <a:lnTo>
                      <a:pt x="33" y="83"/>
                    </a:lnTo>
                    <a:lnTo>
                      <a:pt x="25" y="81"/>
                    </a:lnTo>
                    <a:lnTo>
                      <a:pt x="22" y="75"/>
                    </a:lnTo>
                    <a:lnTo>
                      <a:pt x="19" y="69"/>
                    </a:lnTo>
                    <a:lnTo>
                      <a:pt x="19" y="67"/>
                    </a:lnTo>
                    <a:lnTo>
                      <a:pt x="14" y="67"/>
                    </a:lnTo>
                    <a:lnTo>
                      <a:pt x="14" y="64"/>
                    </a:lnTo>
                    <a:lnTo>
                      <a:pt x="8" y="56"/>
                    </a:lnTo>
                    <a:lnTo>
                      <a:pt x="5" y="50"/>
                    </a:lnTo>
                    <a:lnTo>
                      <a:pt x="0" y="47"/>
                    </a:lnTo>
                    <a:lnTo>
                      <a:pt x="2" y="47"/>
                    </a:lnTo>
                    <a:lnTo>
                      <a:pt x="16" y="44"/>
                    </a:lnTo>
                    <a:lnTo>
                      <a:pt x="22" y="28"/>
                    </a:lnTo>
                    <a:lnTo>
                      <a:pt x="27" y="25"/>
                    </a:lnTo>
                    <a:lnTo>
                      <a:pt x="27" y="19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3" y="11"/>
                    </a:lnTo>
                    <a:lnTo>
                      <a:pt x="36" y="11"/>
                    </a:lnTo>
                    <a:lnTo>
                      <a:pt x="39" y="11"/>
                    </a:lnTo>
                    <a:lnTo>
                      <a:pt x="41" y="5"/>
                    </a:lnTo>
                    <a:lnTo>
                      <a:pt x="44" y="5"/>
                    </a:lnTo>
                    <a:lnTo>
                      <a:pt x="69" y="5"/>
                    </a:lnTo>
                    <a:lnTo>
                      <a:pt x="75" y="11"/>
                    </a:lnTo>
                    <a:lnTo>
                      <a:pt x="80" y="8"/>
                    </a:lnTo>
                    <a:lnTo>
                      <a:pt x="83" y="5"/>
                    </a:lnTo>
                    <a:lnTo>
                      <a:pt x="89" y="5"/>
                    </a:lnTo>
                    <a:lnTo>
                      <a:pt x="100" y="0"/>
                    </a:lnTo>
                    <a:lnTo>
                      <a:pt x="103" y="0"/>
                    </a:lnTo>
                    <a:lnTo>
                      <a:pt x="114" y="11"/>
                    </a:lnTo>
                    <a:lnTo>
                      <a:pt x="114" y="14"/>
                    </a:lnTo>
                    <a:lnTo>
                      <a:pt x="125" y="33"/>
                    </a:lnTo>
                    <a:lnTo>
                      <a:pt x="125" y="47"/>
                    </a:lnTo>
                    <a:lnTo>
                      <a:pt x="125" y="50"/>
                    </a:lnTo>
                    <a:lnTo>
                      <a:pt x="125" y="64"/>
                    </a:lnTo>
                    <a:lnTo>
                      <a:pt x="128" y="64"/>
                    </a:lnTo>
                    <a:lnTo>
                      <a:pt x="130" y="67"/>
                    </a:lnTo>
                    <a:lnTo>
                      <a:pt x="136" y="67"/>
                    </a:lnTo>
                    <a:lnTo>
                      <a:pt x="139" y="67"/>
                    </a:lnTo>
                    <a:lnTo>
                      <a:pt x="144" y="64"/>
                    </a:lnTo>
                    <a:lnTo>
                      <a:pt x="147" y="64"/>
                    </a:lnTo>
                    <a:lnTo>
                      <a:pt x="150" y="64"/>
                    </a:lnTo>
                    <a:lnTo>
                      <a:pt x="150" y="67"/>
                    </a:lnTo>
                    <a:lnTo>
                      <a:pt x="150" y="75"/>
                    </a:lnTo>
                    <a:lnTo>
                      <a:pt x="147" y="78"/>
                    </a:lnTo>
                    <a:lnTo>
                      <a:pt x="144" y="78"/>
                    </a:lnTo>
                    <a:lnTo>
                      <a:pt x="136" y="86"/>
                    </a:lnTo>
                    <a:lnTo>
                      <a:pt x="136" y="83"/>
                    </a:lnTo>
                    <a:lnTo>
                      <a:pt x="139" y="81"/>
                    </a:lnTo>
                    <a:lnTo>
                      <a:pt x="139" y="78"/>
                    </a:lnTo>
                    <a:lnTo>
                      <a:pt x="139" y="75"/>
                    </a:lnTo>
                    <a:lnTo>
                      <a:pt x="136" y="75"/>
                    </a:lnTo>
                    <a:lnTo>
                      <a:pt x="133" y="10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7" name="Freeform 1185"/>
              <p:cNvSpPr>
                <a:spLocks noChangeAspect="1"/>
              </p:cNvSpPr>
              <p:nvPr>
                <p:custDataLst>
                  <p:tags r:id="rId905"/>
                </p:custDataLst>
              </p:nvPr>
            </p:nvSpPr>
            <p:spPr bwMode="gray">
              <a:xfrm>
                <a:off x="5659434" y="2694174"/>
                <a:ext cx="25814" cy="25227"/>
              </a:xfrm>
              <a:custGeom>
                <a:avLst/>
                <a:gdLst>
                  <a:gd name="T0" fmla="*/ 17 w 20"/>
                  <a:gd name="T1" fmla="*/ 0 h 19"/>
                  <a:gd name="T2" fmla="*/ 6 w 20"/>
                  <a:gd name="T3" fmla="*/ 0 h 19"/>
                  <a:gd name="T4" fmla="*/ 6 w 20"/>
                  <a:gd name="T5" fmla="*/ 3 h 19"/>
                  <a:gd name="T6" fmla="*/ 3 w 20"/>
                  <a:gd name="T7" fmla="*/ 3 h 19"/>
                  <a:gd name="T8" fmla="*/ 3 w 20"/>
                  <a:gd name="T9" fmla="*/ 6 h 19"/>
                  <a:gd name="T10" fmla="*/ 0 w 20"/>
                  <a:gd name="T11" fmla="*/ 3 h 19"/>
                  <a:gd name="T12" fmla="*/ 0 w 20"/>
                  <a:gd name="T13" fmla="*/ 11 h 19"/>
                  <a:gd name="T14" fmla="*/ 0 w 20"/>
                  <a:gd name="T15" fmla="*/ 11 h 19"/>
                  <a:gd name="T16" fmla="*/ 3 w 20"/>
                  <a:gd name="T17" fmla="*/ 14 h 19"/>
                  <a:gd name="T18" fmla="*/ 3 w 20"/>
                  <a:gd name="T19" fmla="*/ 14 h 19"/>
                  <a:gd name="T20" fmla="*/ 0 w 20"/>
                  <a:gd name="T21" fmla="*/ 17 h 19"/>
                  <a:gd name="T22" fmla="*/ 0 w 20"/>
                  <a:gd name="T23" fmla="*/ 19 h 19"/>
                  <a:gd name="T24" fmla="*/ 6 w 20"/>
                  <a:gd name="T25" fmla="*/ 14 h 19"/>
                  <a:gd name="T26" fmla="*/ 6 w 20"/>
                  <a:gd name="T27" fmla="*/ 8 h 19"/>
                  <a:gd name="T28" fmla="*/ 12 w 20"/>
                  <a:gd name="T29" fmla="*/ 11 h 19"/>
                  <a:gd name="T30" fmla="*/ 12 w 20"/>
                  <a:gd name="T31" fmla="*/ 11 h 19"/>
                  <a:gd name="T32" fmla="*/ 14 w 20"/>
                  <a:gd name="T33" fmla="*/ 11 h 19"/>
                  <a:gd name="T34" fmla="*/ 14 w 20"/>
                  <a:gd name="T35" fmla="*/ 8 h 19"/>
                  <a:gd name="T36" fmla="*/ 17 w 20"/>
                  <a:gd name="T37" fmla="*/ 8 h 19"/>
                  <a:gd name="T38" fmla="*/ 17 w 20"/>
                  <a:gd name="T39" fmla="*/ 6 h 19"/>
                  <a:gd name="T40" fmla="*/ 20 w 20"/>
                  <a:gd name="T41" fmla="*/ 6 h 19"/>
                  <a:gd name="T42" fmla="*/ 20 w 20"/>
                  <a:gd name="T43" fmla="*/ 3 h 19"/>
                  <a:gd name="T44" fmla="*/ 17 w 20"/>
                  <a:gd name="T45" fmla="*/ 0 h 19"/>
                  <a:gd name="T46" fmla="*/ 17 w 20"/>
                  <a:gd name="T47" fmla="*/ 0 h 19"/>
                  <a:gd name="T48" fmla="*/ 17 w 20"/>
                  <a:gd name="T4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" h="19">
                    <a:moveTo>
                      <a:pt x="17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6" y="14"/>
                    </a:lnTo>
                    <a:lnTo>
                      <a:pt x="6" y="8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4" y="8"/>
                    </a:lnTo>
                    <a:lnTo>
                      <a:pt x="17" y="8"/>
                    </a:lnTo>
                    <a:lnTo>
                      <a:pt x="17" y="6"/>
                    </a:lnTo>
                    <a:lnTo>
                      <a:pt x="20" y="6"/>
                    </a:lnTo>
                    <a:lnTo>
                      <a:pt x="20" y="3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8" name="Freeform 1186"/>
              <p:cNvSpPr>
                <a:spLocks noChangeAspect="1"/>
              </p:cNvSpPr>
              <p:nvPr>
                <p:custDataLst>
                  <p:tags r:id="rId906"/>
                </p:custDataLst>
              </p:nvPr>
            </p:nvSpPr>
            <p:spPr bwMode="gray">
              <a:xfrm>
                <a:off x="5663991" y="2675255"/>
                <a:ext cx="16702" cy="15767"/>
              </a:xfrm>
              <a:custGeom>
                <a:avLst/>
                <a:gdLst>
                  <a:gd name="T0" fmla="*/ 3 w 14"/>
                  <a:gd name="T1" fmla="*/ 3 h 11"/>
                  <a:gd name="T2" fmla="*/ 0 w 14"/>
                  <a:gd name="T3" fmla="*/ 6 h 11"/>
                  <a:gd name="T4" fmla="*/ 0 w 14"/>
                  <a:gd name="T5" fmla="*/ 6 h 11"/>
                  <a:gd name="T6" fmla="*/ 0 w 14"/>
                  <a:gd name="T7" fmla="*/ 6 h 11"/>
                  <a:gd name="T8" fmla="*/ 3 w 14"/>
                  <a:gd name="T9" fmla="*/ 6 h 11"/>
                  <a:gd name="T10" fmla="*/ 6 w 14"/>
                  <a:gd name="T11" fmla="*/ 11 h 11"/>
                  <a:gd name="T12" fmla="*/ 9 w 14"/>
                  <a:gd name="T13" fmla="*/ 11 h 11"/>
                  <a:gd name="T14" fmla="*/ 9 w 14"/>
                  <a:gd name="T15" fmla="*/ 8 h 11"/>
                  <a:gd name="T16" fmla="*/ 14 w 14"/>
                  <a:gd name="T17" fmla="*/ 6 h 11"/>
                  <a:gd name="T18" fmla="*/ 14 w 14"/>
                  <a:gd name="T19" fmla="*/ 3 h 11"/>
                  <a:gd name="T20" fmla="*/ 11 w 14"/>
                  <a:gd name="T21" fmla="*/ 3 h 11"/>
                  <a:gd name="T22" fmla="*/ 11 w 14"/>
                  <a:gd name="T23" fmla="*/ 3 h 11"/>
                  <a:gd name="T24" fmla="*/ 9 w 14"/>
                  <a:gd name="T25" fmla="*/ 0 h 11"/>
                  <a:gd name="T26" fmla="*/ 9 w 14"/>
                  <a:gd name="T27" fmla="*/ 0 h 11"/>
                  <a:gd name="T28" fmla="*/ 6 w 14"/>
                  <a:gd name="T29" fmla="*/ 3 h 11"/>
                  <a:gd name="T30" fmla="*/ 3 w 14"/>
                  <a:gd name="T31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11">
                    <a:moveTo>
                      <a:pt x="3" y="3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1"/>
                    </a:lnTo>
                    <a:lnTo>
                      <a:pt x="9" y="8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9" name="Freeform 1187"/>
              <p:cNvSpPr>
                <a:spLocks noChangeAspect="1"/>
              </p:cNvSpPr>
              <p:nvPr>
                <p:custDataLst>
                  <p:tags r:id="rId907"/>
                </p:custDataLst>
              </p:nvPr>
            </p:nvSpPr>
            <p:spPr bwMode="gray">
              <a:xfrm>
                <a:off x="5691322" y="2654756"/>
                <a:ext cx="100218" cy="80413"/>
              </a:xfrm>
              <a:custGeom>
                <a:avLst/>
                <a:gdLst>
                  <a:gd name="T0" fmla="*/ 36 w 78"/>
                  <a:gd name="T1" fmla="*/ 0 h 62"/>
                  <a:gd name="T2" fmla="*/ 41 w 78"/>
                  <a:gd name="T3" fmla="*/ 0 h 62"/>
                  <a:gd name="T4" fmla="*/ 53 w 78"/>
                  <a:gd name="T5" fmla="*/ 6 h 62"/>
                  <a:gd name="T6" fmla="*/ 69 w 78"/>
                  <a:gd name="T7" fmla="*/ 6 h 62"/>
                  <a:gd name="T8" fmla="*/ 72 w 78"/>
                  <a:gd name="T9" fmla="*/ 3 h 62"/>
                  <a:gd name="T10" fmla="*/ 78 w 78"/>
                  <a:gd name="T11" fmla="*/ 6 h 62"/>
                  <a:gd name="T12" fmla="*/ 75 w 78"/>
                  <a:gd name="T13" fmla="*/ 9 h 62"/>
                  <a:gd name="T14" fmla="*/ 69 w 78"/>
                  <a:gd name="T15" fmla="*/ 23 h 62"/>
                  <a:gd name="T16" fmla="*/ 69 w 78"/>
                  <a:gd name="T17" fmla="*/ 31 h 62"/>
                  <a:gd name="T18" fmla="*/ 69 w 78"/>
                  <a:gd name="T19" fmla="*/ 37 h 62"/>
                  <a:gd name="T20" fmla="*/ 67 w 78"/>
                  <a:gd name="T21" fmla="*/ 42 h 62"/>
                  <a:gd name="T22" fmla="*/ 67 w 78"/>
                  <a:gd name="T23" fmla="*/ 45 h 62"/>
                  <a:gd name="T24" fmla="*/ 75 w 78"/>
                  <a:gd name="T25" fmla="*/ 50 h 62"/>
                  <a:gd name="T26" fmla="*/ 72 w 78"/>
                  <a:gd name="T27" fmla="*/ 53 h 62"/>
                  <a:gd name="T28" fmla="*/ 67 w 78"/>
                  <a:gd name="T29" fmla="*/ 53 h 62"/>
                  <a:gd name="T30" fmla="*/ 64 w 78"/>
                  <a:gd name="T31" fmla="*/ 62 h 62"/>
                  <a:gd name="T32" fmla="*/ 61 w 78"/>
                  <a:gd name="T33" fmla="*/ 59 h 62"/>
                  <a:gd name="T34" fmla="*/ 53 w 78"/>
                  <a:gd name="T35" fmla="*/ 62 h 62"/>
                  <a:gd name="T36" fmla="*/ 44 w 78"/>
                  <a:gd name="T37" fmla="*/ 56 h 62"/>
                  <a:gd name="T38" fmla="*/ 39 w 78"/>
                  <a:gd name="T39" fmla="*/ 50 h 62"/>
                  <a:gd name="T40" fmla="*/ 30 w 78"/>
                  <a:gd name="T41" fmla="*/ 48 h 62"/>
                  <a:gd name="T42" fmla="*/ 19 w 78"/>
                  <a:gd name="T43" fmla="*/ 50 h 62"/>
                  <a:gd name="T44" fmla="*/ 16 w 78"/>
                  <a:gd name="T45" fmla="*/ 53 h 62"/>
                  <a:gd name="T46" fmla="*/ 19 w 78"/>
                  <a:gd name="T47" fmla="*/ 39 h 62"/>
                  <a:gd name="T48" fmla="*/ 14 w 78"/>
                  <a:gd name="T49" fmla="*/ 39 h 62"/>
                  <a:gd name="T50" fmla="*/ 8 w 78"/>
                  <a:gd name="T51" fmla="*/ 39 h 62"/>
                  <a:gd name="T52" fmla="*/ 5 w 78"/>
                  <a:gd name="T53" fmla="*/ 39 h 62"/>
                  <a:gd name="T54" fmla="*/ 3 w 78"/>
                  <a:gd name="T55" fmla="*/ 34 h 62"/>
                  <a:gd name="T56" fmla="*/ 3 w 78"/>
                  <a:gd name="T57" fmla="*/ 28 h 62"/>
                  <a:gd name="T58" fmla="*/ 5 w 78"/>
                  <a:gd name="T59" fmla="*/ 25 h 62"/>
                  <a:gd name="T60" fmla="*/ 3 w 78"/>
                  <a:gd name="T61" fmla="*/ 23 h 62"/>
                  <a:gd name="T62" fmla="*/ 3 w 78"/>
                  <a:gd name="T63" fmla="*/ 20 h 62"/>
                  <a:gd name="T64" fmla="*/ 3 w 78"/>
                  <a:gd name="T65" fmla="*/ 14 h 62"/>
                  <a:gd name="T66" fmla="*/ 11 w 78"/>
                  <a:gd name="T67" fmla="*/ 9 h 62"/>
                  <a:gd name="T68" fmla="*/ 11 w 78"/>
                  <a:gd name="T69" fmla="*/ 9 h 62"/>
                  <a:gd name="T70" fmla="*/ 16 w 78"/>
                  <a:gd name="T71" fmla="*/ 6 h 62"/>
                  <a:gd name="T72" fmla="*/ 22 w 78"/>
                  <a:gd name="T73" fmla="*/ 3 h 62"/>
                  <a:gd name="T74" fmla="*/ 30 w 78"/>
                  <a:gd name="T75" fmla="*/ 3 h 62"/>
                  <a:gd name="T76" fmla="*/ 33 w 78"/>
                  <a:gd name="T7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8" h="62">
                    <a:moveTo>
                      <a:pt x="36" y="0"/>
                    </a:moveTo>
                    <a:lnTo>
                      <a:pt x="36" y="0"/>
                    </a:lnTo>
                    <a:lnTo>
                      <a:pt x="39" y="0"/>
                    </a:lnTo>
                    <a:lnTo>
                      <a:pt x="41" y="0"/>
                    </a:lnTo>
                    <a:lnTo>
                      <a:pt x="53" y="3"/>
                    </a:lnTo>
                    <a:lnTo>
                      <a:pt x="53" y="6"/>
                    </a:lnTo>
                    <a:lnTo>
                      <a:pt x="55" y="6"/>
                    </a:lnTo>
                    <a:lnTo>
                      <a:pt x="69" y="6"/>
                    </a:lnTo>
                    <a:lnTo>
                      <a:pt x="72" y="6"/>
                    </a:lnTo>
                    <a:lnTo>
                      <a:pt x="72" y="3"/>
                    </a:lnTo>
                    <a:lnTo>
                      <a:pt x="75" y="3"/>
                    </a:lnTo>
                    <a:lnTo>
                      <a:pt x="78" y="6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72" y="14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69" y="31"/>
                    </a:lnTo>
                    <a:lnTo>
                      <a:pt x="69" y="34"/>
                    </a:lnTo>
                    <a:lnTo>
                      <a:pt x="69" y="37"/>
                    </a:lnTo>
                    <a:lnTo>
                      <a:pt x="69" y="37"/>
                    </a:lnTo>
                    <a:lnTo>
                      <a:pt x="67" y="42"/>
                    </a:lnTo>
                    <a:lnTo>
                      <a:pt x="64" y="42"/>
                    </a:lnTo>
                    <a:lnTo>
                      <a:pt x="67" y="45"/>
                    </a:lnTo>
                    <a:lnTo>
                      <a:pt x="72" y="45"/>
                    </a:lnTo>
                    <a:lnTo>
                      <a:pt x="75" y="50"/>
                    </a:lnTo>
                    <a:lnTo>
                      <a:pt x="75" y="53"/>
                    </a:lnTo>
                    <a:lnTo>
                      <a:pt x="72" y="53"/>
                    </a:lnTo>
                    <a:lnTo>
                      <a:pt x="67" y="48"/>
                    </a:lnTo>
                    <a:lnTo>
                      <a:pt x="67" y="53"/>
                    </a:lnTo>
                    <a:lnTo>
                      <a:pt x="64" y="59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61" y="59"/>
                    </a:lnTo>
                    <a:lnTo>
                      <a:pt x="55" y="62"/>
                    </a:lnTo>
                    <a:lnTo>
                      <a:pt x="53" y="62"/>
                    </a:lnTo>
                    <a:lnTo>
                      <a:pt x="50" y="62"/>
                    </a:lnTo>
                    <a:lnTo>
                      <a:pt x="44" y="56"/>
                    </a:lnTo>
                    <a:lnTo>
                      <a:pt x="44" y="53"/>
                    </a:lnTo>
                    <a:lnTo>
                      <a:pt x="39" y="50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2" y="48"/>
                    </a:lnTo>
                    <a:lnTo>
                      <a:pt x="19" y="50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9" y="39"/>
                    </a:lnTo>
                    <a:lnTo>
                      <a:pt x="19" y="39"/>
                    </a:lnTo>
                    <a:lnTo>
                      <a:pt x="14" y="39"/>
                    </a:lnTo>
                    <a:lnTo>
                      <a:pt x="14" y="39"/>
                    </a:lnTo>
                    <a:lnTo>
                      <a:pt x="11" y="42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5" y="39"/>
                    </a:lnTo>
                    <a:lnTo>
                      <a:pt x="5" y="37"/>
                    </a:lnTo>
                    <a:lnTo>
                      <a:pt x="3" y="34"/>
                    </a:lnTo>
                    <a:lnTo>
                      <a:pt x="3" y="31"/>
                    </a:lnTo>
                    <a:lnTo>
                      <a:pt x="3" y="28"/>
                    </a:lnTo>
                    <a:lnTo>
                      <a:pt x="5" y="28"/>
                    </a:lnTo>
                    <a:lnTo>
                      <a:pt x="5" y="25"/>
                    </a:lnTo>
                    <a:lnTo>
                      <a:pt x="3" y="25"/>
                    </a:lnTo>
                    <a:lnTo>
                      <a:pt x="3" y="23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0" y="20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22" y="6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3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0" name="Freeform 1188"/>
              <p:cNvSpPr>
                <a:spLocks noChangeAspect="1"/>
              </p:cNvSpPr>
              <p:nvPr>
                <p:custDataLst>
                  <p:tags r:id="rId908"/>
                </p:custDataLst>
              </p:nvPr>
            </p:nvSpPr>
            <p:spPr bwMode="gray">
              <a:xfrm>
                <a:off x="5339040" y="2831352"/>
                <a:ext cx="179178" cy="242818"/>
              </a:xfrm>
              <a:custGeom>
                <a:avLst/>
                <a:gdLst>
                  <a:gd name="T0" fmla="*/ 75 w 139"/>
                  <a:gd name="T1" fmla="*/ 22 h 189"/>
                  <a:gd name="T2" fmla="*/ 75 w 139"/>
                  <a:gd name="T3" fmla="*/ 14 h 189"/>
                  <a:gd name="T4" fmla="*/ 69 w 139"/>
                  <a:gd name="T5" fmla="*/ 14 h 189"/>
                  <a:gd name="T6" fmla="*/ 64 w 139"/>
                  <a:gd name="T7" fmla="*/ 14 h 189"/>
                  <a:gd name="T8" fmla="*/ 58 w 139"/>
                  <a:gd name="T9" fmla="*/ 11 h 189"/>
                  <a:gd name="T10" fmla="*/ 58 w 139"/>
                  <a:gd name="T11" fmla="*/ 3 h 189"/>
                  <a:gd name="T12" fmla="*/ 53 w 139"/>
                  <a:gd name="T13" fmla="*/ 0 h 189"/>
                  <a:gd name="T14" fmla="*/ 41 w 139"/>
                  <a:gd name="T15" fmla="*/ 0 h 189"/>
                  <a:gd name="T16" fmla="*/ 41 w 139"/>
                  <a:gd name="T17" fmla="*/ 14 h 189"/>
                  <a:gd name="T18" fmla="*/ 44 w 139"/>
                  <a:gd name="T19" fmla="*/ 16 h 189"/>
                  <a:gd name="T20" fmla="*/ 44 w 139"/>
                  <a:gd name="T21" fmla="*/ 19 h 189"/>
                  <a:gd name="T22" fmla="*/ 44 w 139"/>
                  <a:gd name="T23" fmla="*/ 22 h 189"/>
                  <a:gd name="T24" fmla="*/ 47 w 139"/>
                  <a:gd name="T25" fmla="*/ 28 h 189"/>
                  <a:gd name="T26" fmla="*/ 39 w 139"/>
                  <a:gd name="T27" fmla="*/ 36 h 189"/>
                  <a:gd name="T28" fmla="*/ 36 w 139"/>
                  <a:gd name="T29" fmla="*/ 36 h 189"/>
                  <a:gd name="T30" fmla="*/ 33 w 139"/>
                  <a:gd name="T31" fmla="*/ 36 h 189"/>
                  <a:gd name="T32" fmla="*/ 19 w 139"/>
                  <a:gd name="T33" fmla="*/ 33 h 189"/>
                  <a:gd name="T34" fmla="*/ 16 w 139"/>
                  <a:gd name="T35" fmla="*/ 39 h 189"/>
                  <a:gd name="T36" fmla="*/ 22 w 139"/>
                  <a:gd name="T37" fmla="*/ 44 h 189"/>
                  <a:gd name="T38" fmla="*/ 22 w 139"/>
                  <a:gd name="T39" fmla="*/ 44 h 189"/>
                  <a:gd name="T40" fmla="*/ 11 w 139"/>
                  <a:gd name="T41" fmla="*/ 61 h 189"/>
                  <a:gd name="T42" fmla="*/ 16 w 139"/>
                  <a:gd name="T43" fmla="*/ 69 h 189"/>
                  <a:gd name="T44" fmla="*/ 11 w 139"/>
                  <a:gd name="T45" fmla="*/ 78 h 189"/>
                  <a:gd name="T46" fmla="*/ 2 w 139"/>
                  <a:gd name="T47" fmla="*/ 78 h 189"/>
                  <a:gd name="T48" fmla="*/ 0 w 139"/>
                  <a:gd name="T49" fmla="*/ 100 h 189"/>
                  <a:gd name="T50" fmla="*/ 0 w 139"/>
                  <a:gd name="T51" fmla="*/ 108 h 189"/>
                  <a:gd name="T52" fmla="*/ 2 w 139"/>
                  <a:gd name="T53" fmla="*/ 114 h 189"/>
                  <a:gd name="T54" fmla="*/ 2 w 139"/>
                  <a:gd name="T55" fmla="*/ 122 h 189"/>
                  <a:gd name="T56" fmla="*/ 5 w 139"/>
                  <a:gd name="T57" fmla="*/ 131 h 189"/>
                  <a:gd name="T58" fmla="*/ 8 w 139"/>
                  <a:gd name="T59" fmla="*/ 142 h 189"/>
                  <a:gd name="T60" fmla="*/ 30 w 139"/>
                  <a:gd name="T61" fmla="*/ 153 h 189"/>
                  <a:gd name="T62" fmla="*/ 22 w 139"/>
                  <a:gd name="T63" fmla="*/ 181 h 189"/>
                  <a:gd name="T64" fmla="*/ 44 w 139"/>
                  <a:gd name="T65" fmla="*/ 181 h 189"/>
                  <a:gd name="T66" fmla="*/ 58 w 139"/>
                  <a:gd name="T67" fmla="*/ 184 h 189"/>
                  <a:gd name="T68" fmla="*/ 66 w 139"/>
                  <a:gd name="T69" fmla="*/ 189 h 189"/>
                  <a:gd name="T70" fmla="*/ 69 w 139"/>
                  <a:gd name="T71" fmla="*/ 184 h 189"/>
                  <a:gd name="T72" fmla="*/ 80 w 139"/>
                  <a:gd name="T73" fmla="*/ 186 h 189"/>
                  <a:gd name="T74" fmla="*/ 97 w 139"/>
                  <a:gd name="T75" fmla="*/ 181 h 189"/>
                  <a:gd name="T76" fmla="*/ 105 w 139"/>
                  <a:gd name="T77" fmla="*/ 184 h 189"/>
                  <a:gd name="T78" fmla="*/ 105 w 139"/>
                  <a:gd name="T79" fmla="*/ 175 h 189"/>
                  <a:gd name="T80" fmla="*/ 114 w 139"/>
                  <a:gd name="T81" fmla="*/ 164 h 189"/>
                  <a:gd name="T82" fmla="*/ 122 w 139"/>
                  <a:gd name="T83" fmla="*/ 156 h 189"/>
                  <a:gd name="T84" fmla="*/ 94 w 139"/>
                  <a:gd name="T85" fmla="*/ 125 h 189"/>
                  <a:gd name="T86" fmla="*/ 92 w 139"/>
                  <a:gd name="T87" fmla="*/ 117 h 189"/>
                  <a:gd name="T88" fmla="*/ 100 w 139"/>
                  <a:gd name="T89" fmla="*/ 117 h 189"/>
                  <a:gd name="T90" fmla="*/ 125 w 139"/>
                  <a:gd name="T91" fmla="*/ 106 h 189"/>
                  <a:gd name="T92" fmla="*/ 133 w 139"/>
                  <a:gd name="T93" fmla="*/ 106 h 189"/>
                  <a:gd name="T94" fmla="*/ 139 w 139"/>
                  <a:gd name="T95" fmla="*/ 89 h 189"/>
                  <a:gd name="T96" fmla="*/ 125 w 139"/>
                  <a:gd name="T97" fmla="*/ 55 h 189"/>
                  <a:gd name="T98" fmla="*/ 131 w 139"/>
                  <a:gd name="T99" fmla="*/ 39 h 189"/>
                  <a:gd name="T100" fmla="*/ 119 w 139"/>
                  <a:gd name="T101" fmla="*/ 25 h 189"/>
                  <a:gd name="T102" fmla="*/ 114 w 139"/>
                  <a:gd name="T103" fmla="*/ 19 h 189"/>
                  <a:gd name="T104" fmla="*/ 108 w 139"/>
                  <a:gd name="T105" fmla="*/ 16 h 189"/>
                  <a:gd name="T106" fmla="*/ 100 w 139"/>
                  <a:gd name="T107" fmla="*/ 16 h 189"/>
                  <a:gd name="T108" fmla="*/ 103 w 139"/>
                  <a:gd name="T109" fmla="*/ 11 h 189"/>
                  <a:gd name="T110" fmla="*/ 94 w 139"/>
                  <a:gd name="T111" fmla="*/ 19 h 189"/>
                  <a:gd name="T112" fmla="*/ 89 w 139"/>
                  <a:gd name="T113" fmla="*/ 19 h 189"/>
                  <a:gd name="T114" fmla="*/ 80 w 139"/>
                  <a:gd name="T115" fmla="*/ 25 h 189"/>
                  <a:gd name="T116" fmla="*/ 72 w 139"/>
                  <a:gd name="T117" fmla="*/ 2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9" h="189">
                    <a:moveTo>
                      <a:pt x="72" y="25"/>
                    </a:moveTo>
                    <a:lnTo>
                      <a:pt x="72" y="25"/>
                    </a:lnTo>
                    <a:lnTo>
                      <a:pt x="75" y="22"/>
                    </a:lnTo>
                    <a:lnTo>
                      <a:pt x="78" y="19"/>
                    </a:lnTo>
                    <a:lnTo>
                      <a:pt x="78" y="16"/>
                    </a:lnTo>
                    <a:lnTo>
                      <a:pt x="75" y="14"/>
                    </a:lnTo>
                    <a:lnTo>
                      <a:pt x="72" y="16"/>
                    </a:lnTo>
                    <a:lnTo>
                      <a:pt x="69" y="16"/>
                    </a:lnTo>
                    <a:lnTo>
                      <a:pt x="69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58" y="11"/>
                    </a:lnTo>
                    <a:lnTo>
                      <a:pt x="61" y="8"/>
                    </a:lnTo>
                    <a:lnTo>
                      <a:pt x="61" y="5"/>
                    </a:lnTo>
                    <a:lnTo>
                      <a:pt x="58" y="3"/>
                    </a:lnTo>
                    <a:lnTo>
                      <a:pt x="55" y="3"/>
                    </a:lnTo>
                    <a:lnTo>
                      <a:pt x="53" y="3"/>
                    </a:lnTo>
                    <a:lnTo>
                      <a:pt x="53" y="0"/>
                    </a:lnTo>
                    <a:lnTo>
                      <a:pt x="50" y="3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41" y="3"/>
                    </a:lnTo>
                    <a:lnTo>
                      <a:pt x="47" y="11"/>
                    </a:lnTo>
                    <a:lnTo>
                      <a:pt x="41" y="14"/>
                    </a:lnTo>
                    <a:lnTo>
                      <a:pt x="41" y="14"/>
                    </a:lnTo>
                    <a:lnTo>
                      <a:pt x="41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9"/>
                    </a:lnTo>
                    <a:lnTo>
                      <a:pt x="44" y="19"/>
                    </a:lnTo>
                    <a:lnTo>
                      <a:pt x="47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5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1" y="28"/>
                    </a:lnTo>
                    <a:lnTo>
                      <a:pt x="39" y="30"/>
                    </a:lnTo>
                    <a:lnTo>
                      <a:pt x="39" y="36"/>
                    </a:lnTo>
                    <a:lnTo>
                      <a:pt x="41" y="42"/>
                    </a:lnTo>
                    <a:lnTo>
                      <a:pt x="39" y="36"/>
                    </a:lnTo>
                    <a:lnTo>
                      <a:pt x="36" y="36"/>
                    </a:lnTo>
                    <a:lnTo>
                      <a:pt x="36" y="39"/>
                    </a:lnTo>
                    <a:lnTo>
                      <a:pt x="33" y="39"/>
                    </a:lnTo>
                    <a:lnTo>
                      <a:pt x="33" y="36"/>
                    </a:lnTo>
                    <a:lnTo>
                      <a:pt x="30" y="33"/>
                    </a:lnTo>
                    <a:lnTo>
                      <a:pt x="28" y="33"/>
                    </a:lnTo>
                    <a:lnTo>
                      <a:pt x="19" y="33"/>
                    </a:lnTo>
                    <a:lnTo>
                      <a:pt x="19" y="36"/>
                    </a:lnTo>
                    <a:lnTo>
                      <a:pt x="16" y="36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9" y="42"/>
                    </a:lnTo>
                    <a:lnTo>
                      <a:pt x="22" y="44"/>
                    </a:lnTo>
                    <a:lnTo>
                      <a:pt x="22" y="47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6" y="44"/>
                    </a:lnTo>
                    <a:lnTo>
                      <a:pt x="14" y="58"/>
                    </a:lnTo>
                    <a:lnTo>
                      <a:pt x="11" y="61"/>
                    </a:lnTo>
                    <a:lnTo>
                      <a:pt x="11" y="64"/>
                    </a:lnTo>
                    <a:lnTo>
                      <a:pt x="16" y="64"/>
                    </a:lnTo>
                    <a:lnTo>
                      <a:pt x="16" y="69"/>
                    </a:lnTo>
                    <a:lnTo>
                      <a:pt x="14" y="72"/>
                    </a:lnTo>
                    <a:lnTo>
                      <a:pt x="11" y="72"/>
                    </a:lnTo>
                    <a:lnTo>
                      <a:pt x="11" y="78"/>
                    </a:lnTo>
                    <a:lnTo>
                      <a:pt x="8" y="81"/>
                    </a:lnTo>
                    <a:lnTo>
                      <a:pt x="5" y="81"/>
                    </a:lnTo>
                    <a:lnTo>
                      <a:pt x="2" y="78"/>
                    </a:lnTo>
                    <a:lnTo>
                      <a:pt x="0" y="78"/>
                    </a:lnTo>
                    <a:lnTo>
                      <a:pt x="0" y="97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2" y="108"/>
                    </a:lnTo>
                    <a:lnTo>
                      <a:pt x="2" y="111"/>
                    </a:lnTo>
                    <a:lnTo>
                      <a:pt x="2" y="114"/>
                    </a:lnTo>
                    <a:lnTo>
                      <a:pt x="2" y="117"/>
                    </a:lnTo>
                    <a:lnTo>
                      <a:pt x="0" y="122"/>
                    </a:lnTo>
                    <a:lnTo>
                      <a:pt x="2" y="122"/>
                    </a:lnTo>
                    <a:lnTo>
                      <a:pt x="2" y="125"/>
                    </a:lnTo>
                    <a:lnTo>
                      <a:pt x="2" y="128"/>
                    </a:lnTo>
                    <a:lnTo>
                      <a:pt x="5" y="131"/>
                    </a:lnTo>
                    <a:lnTo>
                      <a:pt x="5" y="133"/>
                    </a:lnTo>
                    <a:lnTo>
                      <a:pt x="2" y="136"/>
                    </a:lnTo>
                    <a:lnTo>
                      <a:pt x="8" y="142"/>
                    </a:lnTo>
                    <a:lnTo>
                      <a:pt x="11" y="145"/>
                    </a:lnTo>
                    <a:lnTo>
                      <a:pt x="33" y="150"/>
                    </a:lnTo>
                    <a:lnTo>
                      <a:pt x="30" y="153"/>
                    </a:lnTo>
                    <a:lnTo>
                      <a:pt x="25" y="159"/>
                    </a:lnTo>
                    <a:lnTo>
                      <a:pt x="22" y="170"/>
                    </a:lnTo>
                    <a:lnTo>
                      <a:pt x="22" y="181"/>
                    </a:lnTo>
                    <a:lnTo>
                      <a:pt x="25" y="181"/>
                    </a:lnTo>
                    <a:lnTo>
                      <a:pt x="25" y="184"/>
                    </a:lnTo>
                    <a:lnTo>
                      <a:pt x="44" y="181"/>
                    </a:lnTo>
                    <a:lnTo>
                      <a:pt x="53" y="184"/>
                    </a:lnTo>
                    <a:lnTo>
                      <a:pt x="55" y="184"/>
                    </a:lnTo>
                    <a:lnTo>
                      <a:pt x="58" y="184"/>
                    </a:lnTo>
                    <a:lnTo>
                      <a:pt x="61" y="184"/>
                    </a:lnTo>
                    <a:lnTo>
                      <a:pt x="64" y="186"/>
                    </a:lnTo>
                    <a:lnTo>
                      <a:pt x="66" y="189"/>
                    </a:lnTo>
                    <a:lnTo>
                      <a:pt x="66" y="186"/>
                    </a:lnTo>
                    <a:lnTo>
                      <a:pt x="69" y="186"/>
                    </a:lnTo>
                    <a:lnTo>
                      <a:pt x="69" y="184"/>
                    </a:lnTo>
                    <a:lnTo>
                      <a:pt x="75" y="184"/>
                    </a:lnTo>
                    <a:lnTo>
                      <a:pt x="78" y="186"/>
                    </a:lnTo>
                    <a:lnTo>
                      <a:pt x="80" y="186"/>
                    </a:lnTo>
                    <a:lnTo>
                      <a:pt x="86" y="184"/>
                    </a:lnTo>
                    <a:lnTo>
                      <a:pt x="97" y="181"/>
                    </a:lnTo>
                    <a:lnTo>
                      <a:pt x="97" y="181"/>
                    </a:lnTo>
                    <a:lnTo>
                      <a:pt x="100" y="181"/>
                    </a:lnTo>
                    <a:lnTo>
                      <a:pt x="105" y="181"/>
                    </a:lnTo>
                    <a:lnTo>
                      <a:pt x="105" y="184"/>
                    </a:lnTo>
                    <a:lnTo>
                      <a:pt x="108" y="181"/>
                    </a:lnTo>
                    <a:lnTo>
                      <a:pt x="108" y="181"/>
                    </a:lnTo>
                    <a:lnTo>
                      <a:pt x="105" y="175"/>
                    </a:lnTo>
                    <a:lnTo>
                      <a:pt x="105" y="170"/>
                    </a:lnTo>
                    <a:lnTo>
                      <a:pt x="108" y="167"/>
                    </a:lnTo>
                    <a:lnTo>
                      <a:pt x="114" y="164"/>
                    </a:lnTo>
                    <a:lnTo>
                      <a:pt x="117" y="159"/>
                    </a:lnTo>
                    <a:lnTo>
                      <a:pt x="119" y="159"/>
                    </a:lnTo>
                    <a:lnTo>
                      <a:pt x="122" y="156"/>
                    </a:lnTo>
                    <a:lnTo>
                      <a:pt x="100" y="133"/>
                    </a:lnTo>
                    <a:lnTo>
                      <a:pt x="97" y="125"/>
                    </a:lnTo>
                    <a:lnTo>
                      <a:pt x="94" y="125"/>
                    </a:lnTo>
                    <a:lnTo>
                      <a:pt x="92" y="122"/>
                    </a:lnTo>
                    <a:lnTo>
                      <a:pt x="92" y="120"/>
                    </a:lnTo>
                    <a:lnTo>
                      <a:pt x="92" y="117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100" y="117"/>
                    </a:lnTo>
                    <a:lnTo>
                      <a:pt x="114" y="111"/>
                    </a:lnTo>
                    <a:lnTo>
                      <a:pt x="117" y="108"/>
                    </a:lnTo>
                    <a:lnTo>
                      <a:pt x="125" y="106"/>
                    </a:lnTo>
                    <a:lnTo>
                      <a:pt x="128" y="97"/>
                    </a:lnTo>
                    <a:lnTo>
                      <a:pt x="131" y="97"/>
                    </a:lnTo>
                    <a:lnTo>
                      <a:pt x="133" y="106"/>
                    </a:lnTo>
                    <a:lnTo>
                      <a:pt x="136" y="106"/>
                    </a:lnTo>
                    <a:lnTo>
                      <a:pt x="139" y="92"/>
                    </a:lnTo>
                    <a:lnTo>
                      <a:pt x="139" y="89"/>
                    </a:lnTo>
                    <a:lnTo>
                      <a:pt x="133" y="86"/>
                    </a:lnTo>
                    <a:lnTo>
                      <a:pt x="131" y="58"/>
                    </a:lnTo>
                    <a:lnTo>
                      <a:pt x="125" y="55"/>
                    </a:lnTo>
                    <a:lnTo>
                      <a:pt x="125" y="53"/>
                    </a:lnTo>
                    <a:lnTo>
                      <a:pt x="128" y="47"/>
                    </a:lnTo>
                    <a:lnTo>
                      <a:pt x="131" y="39"/>
                    </a:lnTo>
                    <a:lnTo>
                      <a:pt x="128" y="30"/>
                    </a:lnTo>
                    <a:lnTo>
                      <a:pt x="119" y="28"/>
                    </a:lnTo>
                    <a:lnTo>
                      <a:pt x="119" y="25"/>
                    </a:lnTo>
                    <a:lnTo>
                      <a:pt x="117" y="22"/>
                    </a:lnTo>
                    <a:lnTo>
                      <a:pt x="114" y="22"/>
                    </a:lnTo>
                    <a:lnTo>
                      <a:pt x="114" y="19"/>
                    </a:lnTo>
                    <a:lnTo>
                      <a:pt x="111" y="19"/>
                    </a:lnTo>
                    <a:lnTo>
                      <a:pt x="111" y="16"/>
                    </a:lnTo>
                    <a:lnTo>
                      <a:pt x="108" y="16"/>
                    </a:lnTo>
                    <a:lnTo>
                      <a:pt x="108" y="14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3" y="14"/>
                    </a:lnTo>
                    <a:lnTo>
                      <a:pt x="103" y="11"/>
                    </a:lnTo>
                    <a:lnTo>
                      <a:pt x="100" y="14"/>
                    </a:lnTo>
                    <a:lnTo>
                      <a:pt x="94" y="16"/>
                    </a:lnTo>
                    <a:lnTo>
                      <a:pt x="94" y="19"/>
                    </a:lnTo>
                    <a:lnTo>
                      <a:pt x="92" y="22"/>
                    </a:lnTo>
                    <a:lnTo>
                      <a:pt x="92" y="19"/>
                    </a:lnTo>
                    <a:lnTo>
                      <a:pt x="89" y="19"/>
                    </a:lnTo>
                    <a:lnTo>
                      <a:pt x="83" y="25"/>
                    </a:lnTo>
                    <a:lnTo>
                      <a:pt x="83" y="25"/>
                    </a:lnTo>
                    <a:lnTo>
                      <a:pt x="80" y="25"/>
                    </a:lnTo>
                    <a:lnTo>
                      <a:pt x="78" y="25"/>
                    </a:lnTo>
                    <a:lnTo>
                      <a:pt x="75" y="28"/>
                    </a:lnTo>
                    <a:lnTo>
                      <a:pt x="72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1" name="Freeform 1189"/>
              <p:cNvSpPr>
                <a:spLocks noChangeAspect="1"/>
              </p:cNvSpPr>
              <p:nvPr>
                <p:custDataLst>
                  <p:tags r:id="rId909"/>
                </p:custDataLst>
              </p:nvPr>
            </p:nvSpPr>
            <p:spPr bwMode="gray">
              <a:xfrm>
                <a:off x="5483293" y="2837660"/>
                <a:ext cx="9110" cy="14190"/>
              </a:xfrm>
              <a:custGeom>
                <a:avLst/>
                <a:gdLst>
                  <a:gd name="T0" fmla="*/ 6 w 8"/>
                  <a:gd name="T1" fmla="*/ 6 h 11"/>
                  <a:gd name="T2" fmla="*/ 6 w 8"/>
                  <a:gd name="T3" fmla="*/ 9 h 11"/>
                  <a:gd name="T4" fmla="*/ 8 w 8"/>
                  <a:gd name="T5" fmla="*/ 11 h 11"/>
                  <a:gd name="T6" fmla="*/ 8 w 8"/>
                  <a:gd name="T7" fmla="*/ 11 h 11"/>
                  <a:gd name="T8" fmla="*/ 6 w 8"/>
                  <a:gd name="T9" fmla="*/ 11 h 11"/>
                  <a:gd name="T10" fmla="*/ 3 w 8"/>
                  <a:gd name="T11" fmla="*/ 11 h 11"/>
                  <a:gd name="T12" fmla="*/ 3 w 8"/>
                  <a:gd name="T13" fmla="*/ 11 h 11"/>
                  <a:gd name="T14" fmla="*/ 0 w 8"/>
                  <a:gd name="T15" fmla="*/ 11 h 11"/>
                  <a:gd name="T16" fmla="*/ 0 w 8"/>
                  <a:gd name="T17" fmla="*/ 9 h 11"/>
                  <a:gd name="T18" fmla="*/ 0 w 8"/>
                  <a:gd name="T19" fmla="*/ 9 h 11"/>
                  <a:gd name="T20" fmla="*/ 0 w 8"/>
                  <a:gd name="T21" fmla="*/ 9 h 11"/>
                  <a:gd name="T22" fmla="*/ 0 w 8"/>
                  <a:gd name="T23" fmla="*/ 6 h 11"/>
                  <a:gd name="T24" fmla="*/ 0 w 8"/>
                  <a:gd name="T25" fmla="*/ 6 h 11"/>
                  <a:gd name="T26" fmla="*/ 3 w 8"/>
                  <a:gd name="T27" fmla="*/ 6 h 11"/>
                  <a:gd name="T28" fmla="*/ 3 w 8"/>
                  <a:gd name="T29" fmla="*/ 6 h 11"/>
                  <a:gd name="T30" fmla="*/ 3 w 8"/>
                  <a:gd name="T31" fmla="*/ 3 h 11"/>
                  <a:gd name="T32" fmla="*/ 0 w 8"/>
                  <a:gd name="T33" fmla="*/ 3 h 11"/>
                  <a:gd name="T34" fmla="*/ 0 w 8"/>
                  <a:gd name="T35" fmla="*/ 0 h 11"/>
                  <a:gd name="T36" fmla="*/ 3 w 8"/>
                  <a:gd name="T37" fmla="*/ 3 h 11"/>
                  <a:gd name="T38" fmla="*/ 3 w 8"/>
                  <a:gd name="T39" fmla="*/ 3 h 11"/>
                  <a:gd name="T40" fmla="*/ 6 w 8"/>
                  <a:gd name="T41" fmla="*/ 3 h 11"/>
                  <a:gd name="T42" fmla="*/ 6 w 8"/>
                  <a:gd name="T43" fmla="*/ 3 h 11"/>
                  <a:gd name="T44" fmla="*/ 6 w 8"/>
                  <a:gd name="T4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" h="11">
                    <a:moveTo>
                      <a:pt x="6" y="6"/>
                    </a:moveTo>
                    <a:lnTo>
                      <a:pt x="6" y="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2" name="Freeform 1190"/>
              <p:cNvSpPr>
                <a:spLocks noChangeAspect="1"/>
              </p:cNvSpPr>
              <p:nvPr>
                <p:custDataLst>
                  <p:tags r:id="rId910"/>
                </p:custDataLst>
              </p:nvPr>
            </p:nvSpPr>
            <p:spPr bwMode="gray">
              <a:xfrm>
                <a:off x="5483293" y="2837660"/>
                <a:ext cx="9110" cy="14190"/>
              </a:xfrm>
              <a:custGeom>
                <a:avLst/>
                <a:gdLst>
                  <a:gd name="T0" fmla="*/ 6 w 8"/>
                  <a:gd name="T1" fmla="*/ 6 h 11"/>
                  <a:gd name="T2" fmla="*/ 6 w 8"/>
                  <a:gd name="T3" fmla="*/ 9 h 11"/>
                  <a:gd name="T4" fmla="*/ 8 w 8"/>
                  <a:gd name="T5" fmla="*/ 11 h 11"/>
                  <a:gd name="T6" fmla="*/ 8 w 8"/>
                  <a:gd name="T7" fmla="*/ 11 h 11"/>
                  <a:gd name="T8" fmla="*/ 6 w 8"/>
                  <a:gd name="T9" fmla="*/ 11 h 11"/>
                  <a:gd name="T10" fmla="*/ 3 w 8"/>
                  <a:gd name="T11" fmla="*/ 11 h 11"/>
                  <a:gd name="T12" fmla="*/ 3 w 8"/>
                  <a:gd name="T13" fmla="*/ 11 h 11"/>
                  <a:gd name="T14" fmla="*/ 0 w 8"/>
                  <a:gd name="T15" fmla="*/ 11 h 11"/>
                  <a:gd name="T16" fmla="*/ 0 w 8"/>
                  <a:gd name="T17" fmla="*/ 9 h 11"/>
                  <a:gd name="T18" fmla="*/ 0 w 8"/>
                  <a:gd name="T19" fmla="*/ 9 h 11"/>
                  <a:gd name="T20" fmla="*/ 0 w 8"/>
                  <a:gd name="T21" fmla="*/ 9 h 11"/>
                  <a:gd name="T22" fmla="*/ 0 w 8"/>
                  <a:gd name="T23" fmla="*/ 6 h 11"/>
                  <a:gd name="T24" fmla="*/ 0 w 8"/>
                  <a:gd name="T25" fmla="*/ 6 h 11"/>
                  <a:gd name="T26" fmla="*/ 3 w 8"/>
                  <a:gd name="T27" fmla="*/ 6 h 11"/>
                  <a:gd name="T28" fmla="*/ 3 w 8"/>
                  <a:gd name="T29" fmla="*/ 6 h 11"/>
                  <a:gd name="T30" fmla="*/ 3 w 8"/>
                  <a:gd name="T31" fmla="*/ 3 h 11"/>
                  <a:gd name="T32" fmla="*/ 0 w 8"/>
                  <a:gd name="T33" fmla="*/ 3 h 11"/>
                  <a:gd name="T34" fmla="*/ 0 w 8"/>
                  <a:gd name="T35" fmla="*/ 0 h 11"/>
                  <a:gd name="T36" fmla="*/ 3 w 8"/>
                  <a:gd name="T37" fmla="*/ 3 h 11"/>
                  <a:gd name="T38" fmla="*/ 3 w 8"/>
                  <a:gd name="T39" fmla="*/ 3 h 11"/>
                  <a:gd name="T40" fmla="*/ 6 w 8"/>
                  <a:gd name="T41" fmla="*/ 3 h 11"/>
                  <a:gd name="T42" fmla="*/ 6 w 8"/>
                  <a:gd name="T43" fmla="*/ 3 h 11"/>
                  <a:gd name="T44" fmla="*/ 6 w 8"/>
                  <a:gd name="T4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" h="11">
                    <a:moveTo>
                      <a:pt x="6" y="6"/>
                    </a:moveTo>
                    <a:lnTo>
                      <a:pt x="6" y="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3" name="Freeform 1195"/>
              <p:cNvSpPr>
                <a:spLocks noChangeAspect="1"/>
              </p:cNvSpPr>
              <p:nvPr>
                <p:custDataLst>
                  <p:tags r:id="rId911"/>
                </p:custDataLst>
              </p:nvPr>
            </p:nvSpPr>
            <p:spPr bwMode="gray">
              <a:xfrm>
                <a:off x="5465071" y="4047016"/>
                <a:ext cx="388725" cy="368957"/>
              </a:xfrm>
              <a:custGeom>
                <a:avLst/>
                <a:gdLst>
                  <a:gd name="T0" fmla="*/ 281 w 298"/>
                  <a:gd name="T1" fmla="*/ 195 h 287"/>
                  <a:gd name="T2" fmla="*/ 270 w 298"/>
                  <a:gd name="T3" fmla="*/ 181 h 287"/>
                  <a:gd name="T4" fmla="*/ 267 w 298"/>
                  <a:gd name="T5" fmla="*/ 167 h 287"/>
                  <a:gd name="T6" fmla="*/ 265 w 298"/>
                  <a:gd name="T7" fmla="*/ 145 h 287"/>
                  <a:gd name="T8" fmla="*/ 267 w 298"/>
                  <a:gd name="T9" fmla="*/ 125 h 287"/>
                  <a:gd name="T10" fmla="*/ 273 w 298"/>
                  <a:gd name="T11" fmla="*/ 100 h 287"/>
                  <a:gd name="T12" fmla="*/ 290 w 298"/>
                  <a:gd name="T13" fmla="*/ 55 h 287"/>
                  <a:gd name="T14" fmla="*/ 298 w 298"/>
                  <a:gd name="T15" fmla="*/ 47 h 287"/>
                  <a:gd name="T16" fmla="*/ 295 w 298"/>
                  <a:gd name="T17" fmla="*/ 44 h 287"/>
                  <a:gd name="T18" fmla="*/ 292 w 298"/>
                  <a:gd name="T19" fmla="*/ 28 h 287"/>
                  <a:gd name="T20" fmla="*/ 290 w 298"/>
                  <a:gd name="T21" fmla="*/ 25 h 287"/>
                  <a:gd name="T22" fmla="*/ 265 w 298"/>
                  <a:gd name="T23" fmla="*/ 11 h 287"/>
                  <a:gd name="T24" fmla="*/ 253 w 298"/>
                  <a:gd name="T25" fmla="*/ 14 h 287"/>
                  <a:gd name="T26" fmla="*/ 242 w 298"/>
                  <a:gd name="T27" fmla="*/ 3 h 287"/>
                  <a:gd name="T28" fmla="*/ 228 w 298"/>
                  <a:gd name="T29" fmla="*/ 3 h 287"/>
                  <a:gd name="T30" fmla="*/ 220 w 298"/>
                  <a:gd name="T31" fmla="*/ 0 h 287"/>
                  <a:gd name="T32" fmla="*/ 203 w 298"/>
                  <a:gd name="T33" fmla="*/ 3 h 287"/>
                  <a:gd name="T34" fmla="*/ 195 w 298"/>
                  <a:gd name="T35" fmla="*/ 3 h 287"/>
                  <a:gd name="T36" fmla="*/ 192 w 298"/>
                  <a:gd name="T37" fmla="*/ 0 h 287"/>
                  <a:gd name="T38" fmla="*/ 167 w 298"/>
                  <a:gd name="T39" fmla="*/ 5 h 287"/>
                  <a:gd name="T40" fmla="*/ 159 w 298"/>
                  <a:gd name="T41" fmla="*/ 14 h 287"/>
                  <a:gd name="T42" fmla="*/ 134 w 298"/>
                  <a:gd name="T43" fmla="*/ 8 h 287"/>
                  <a:gd name="T44" fmla="*/ 125 w 298"/>
                  <a:gd name="T45" fmla="*/ 5 h 287"/>
                  <a:gd name="T46" fmla="*/ 114 w 298"/>
                  <a:gd name="T47" fmla="*/ 0 h 287"/>
                  <a:gd name="T48" fmla="*/ 103 w 298"/>
                  <a:gd name="T49" fmla="*/ 11 h 287"/>
                  <a:gd name="T50" fmla="*/ 100 w 298"/>
                  <a:gd name="T51" fmla="*/ 22 h 287"/>
                  <a:gd name="T52" fmla="*/ 86 w 298"/>
                  <a:gd name="T53" fmla="*/ 92 h 287"/>
                  <a:gd name="T54" fmla="*/ 61 w 298"/>
                  <a:gd name="T55" fmla="*/ 133 h 287"/>
                  <a:gd name="T56" fmla="*/ 36 w 298"/>
                  <a:gd name="T57" fmla="*/ 156 h 287"/>
                  <a:gd name="T58" fmla="*/ 31 w 298"/>
                  <a:gd name="T59" fmla="*/ 147 h 287"/>
                  <a:gd name="T60" fmla="*/ 20 w 298"/>
                  <a:gd name="T61" fmla="*/ 156 h 287"/>
                  <a:gd name="T62" fmla="*/ 11 w 298"/>
                  <a:gd name="T63" fmla="*/ 153 h 287"/>
                  <a:gd name="T64" fmla="*/ 0 w 298"/>
                  <a:gd name="T65" fmla="*/ 172 h 287"/>
                  <a:gd name="T66" fmla="*/ 0 w 298"/>
                  <a:gd name="T67" fmla="*/ 178 h 287"/>
                  <a:gd name="T68" fmla="*/ 34 w 298"/>
                  <a:gd name="T69" fmla="*/ 170 h 287"/>
                  <a:gd name="T70" fmla="*/ 64 w 298"/>
                  <a:gd name="T71" fmla="*/ 170 h 287"/>
                  <a:gd name="T72" fmla="*/ 67 w 298"/>
                  <a:gd name="T73" fmla="*/ 172 h 287"/>
                  <a:gd name="T74" fmla="*/ 86 w 298"/>
                  <a:gd name="T75" fmla="*/ 206 h 287"/>
                  <a:gd name="T76" fmla="*/ 111 w 298"/>
                  <a:gd name="T77" fmla="*/ 203 h 287"/>
                  <a:gd name="T78" fmla="*/ 114 w 298"/>
                  <a:gd name="T79" fmla="*/ 189 h 287"/>
                  <a:gd name="T80" fmla="*/ 134 w 298"/>
                  <a:gd name="T81" fmla="*/ 186 h 287"/>
                  <a:gd name="T82" fmla="*/ 148 w 298"/>
                  <a:gd name="T83" fmla="*/ 197 h 287"/>
                  <a:gd name="T84" fmla="*/ 150 w 298"/>
                  <a:gd name="T85" fmla="*/ 231 h 287"/>
                  <a:gd name="T86" fmla="*/ 150 w 298"/>
                  <a:gd name="T87" fmla="*/ 253 h 287"/>
                  <a:gd name="T88" fmla="*/ 153 w 298"/>
                  <a:gd name="T89" fmla="*/ 253 h 287"/>
                  <a:gd name="T90" fmla="*/ 156 w 298"/>
                  <a:gd name="T91" fmla="*/ 256 h 287"/>
                  <a:gd name="T92" fmla="*/ 162 w 298"/>
                  <a:gd name="T93" fmla="*/ 250 h 287"/>
                  <a:gd name="T94" fmla="*/ 181 w 298"/>
                  <a:gd name="T95" fmla="*/ 250 h 287"/>
                  <a:gd name="T96" fmla="*/ 184 w 298"/>
                  <a:gd name="T97" fmla="*/ 250 h 287"/>
                  <a:gd name="T98" fmla="*/ 189 w 298"/>
                  <a:gd name="T99" fmla="*/ 250 h 287"/>
                  <a:gd name="T100" fmla="*/ 192 w 298"/>
                  <a:gd name="T101" fmla="*/ 256 h 287"/>
                  <a:gd name="T102" fmla="*/ 203 w 298"/>
                  <a:gd name="T103" fmla="*/ 253 h 287"/>
                  <a:gd name="T104" fmla="*/ 206 w 298"/>
                  <a:gd name="T105" fmla="*/ 259 h 287"/>
                  <a:gd name="T106" fmla="*/ 231 w 298"/>
                  <a:gd name="T107" fmla="*/ 264 h 287"/>
                  <a:gd name="T108" fmla="*/ 245 w 298"/>
                  <a:gd name="T109" fmla="*/ 273 h 287"/>
                  <a:gd name="T110" fmla="*/ 253 w 298"/>
                  <a:gd name="T111" fmla="*/ 278 h 287"/>
                  <a:gd name="T112" fmla="*/ 267 w 298"/>
                  <a:gd name="T113" fmla="*/ 287 h 287"/>
                  <a:gd name="T114" fmla="*/ 270 w 298"/>
                  <a:gd name="T115" fmla="*/ 287 h 287"/>
                  <a:gd name="T116" fmla="*/ 273 w 298"/>
                  <a:gd name="T117" fmla="*/ 287 h 287"/>
                  <a:gd name="T118" fmla="*/ 270 w 298"/>
                  <a:gd name="T119" fmla="*/ 270 h 287"/>
                  <a:gd name="T120" fmla="*/ 259 w 298"/>
                  <a:gd name="T121" fmla="*/ 270 h 287"/>
                  <a:gd name="T122" fmla="*/ 262 w 298"/>
                  <a:gd name="T123" fmla="*/ 236 h 287"/>
                  <a:gd name="T124" fmla="*/ 265 w 298"/>
                  <a:gd name="T125" fmla="*/ 211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98" h="287">
                    <a:moveTo>
                      <a:pt x="287" y="209"/>
                    </a:moveTo>
                    <a:lnTo>
                      <a:pt x="284" y="197"/>
                    </a:lnTo>
                    <a:lnTo>
                      <a:pt x="281" y="195"/>
                    </a:lnTo>
                    <a:lnTo>
                      <a:pt x="276" y="192"/>
                    </a:lnTo>
                    <a:lnTo>
                      <a:pt x="270" y="186"/>
                    </a:lnTo>
                    <a:lnTo>
                      <a:pt x="270" y="181"/>
                    </a:lnTo>
                    <a:lnTo>
                      <a:pt x="267" y="181"/>
                    </a:lnTo>
                    <a:lnTo>
                      <a:pt x="267" y="175"/>
                    </a:lnTo>
                    <a:lnTo>
                      <a:pt x="267" y="167"/>
                    </a:lnTo>
                    <a:lnTo>
                      <a:pt x="265" y="158"/>
                    </a:lnTo>
                    <a:lnTo>
                      <a:pt x="265" y="147"/>
                    </a:lnTo>
                    <a:lnTo>
                      <a:pt x="265" y="145"/>
                    </a:lnTo>
                    <a:lnTo>
                      <a:pt x="265" y="147"/>
                    </a:lnTo>
                    <a:lnTo>
                      <a:pt x="267" y="131"/>
                    </a:lnTo>
                    <a:lnTo>
                      <a:pt x="267" y="125"/>
                    </a:lnTo>
                    <a:lnTo>
                      <a:pt x="262" y="119"/>
                    </a:lnTo>
                    <a:lnTo>
                      <a:pt x="262" y="117"/>
                    </a:lnTo>
                    <a:lnTo>
                      <a:pt x="273" y="100"/>
                    </a:lnTo>
                    <a:lnTo>
                      <a:pt x="273" y="100"/>
                    </a:lnTo>
                    <a:lnTo>
                      <a:pt x="276" y="72"/>
                    </a:lnTo>
                    <a:lnTo>
                      <a:pt x="290" y="55"/>
                    </a:lnTo>
                    <a:lnTo>
                      <a:pt x="295" y="53"/>
                    </a:lnTo>
                    <a:lnTo>
                      <a:pt x="295" y="50"/>
                    </a:lnTo>
                    <a:lnTo>
                      <a:pt x="298" y="47"/>
                    </a:lnTo>
                    <a:lnTo>
                      <a:pt x="298" y="47"/>
                    </a:lnTo>
                    <a:lnTo>
                      <a:pt x="295" y="44"/>
                    </a:lnTo>
                    <a:lnTo>
                      <a:pt x="295" y="44"/>
                    </a:lnTo>
                    <a:lnTo>
                      <a:pt x="292" y="42"/>
                    </a:lnTo>
                    <a:lnTo>
                      <a:pt x="290" y="39"/>
                    </a:lnTo>
                    <a:lnTo>
                      <a:pt x="292" y="28"/>
                    </a:lnTo>
                    <a:lnTo>
                      <a:pt x="292" y="25"/>
                    </a:lnTo>
                    <a:lnTo>
                      <a:pt x="292" y="25"/>
                    </a:lnTo>
                    <a:lnTo>
                      <a:pt x="290" y="25"/>
                    </a:lnTo>
                    <a:lnTo>
                      <a:pt x="273" y="8"/>
                    </a:lnTo>
                    <a:lnTo>
                      <a:pt x="267" y="11"/>
                    </a:lnTo>
                    <a:lnTo>
                      <a:pt x="265" y="11"/>
                    </a:lnTo>
                    <a:lnTo>
                      <a:pt x="259" y="11"/>
                    </a:lnTo>
                    <a:lnTo>
                      <a:pt x="256" y="11"/>
                    </a:lnTo>
                    <a:lnTo>
                      <a:pt x="253" y="14"/>
                    </a:lnTo>
                    <a:lnTo>
                      <a:pt x="248" y="11"/>
                    </a:lnTo>
                    <a:lnTo>
                      <a:pt x="245" y="5"/>
                    </a:lnTo>
                    <a:lnTo>
                      <a:pt x="242" y="3"/>
                    </a:lnTo>
                    <a:lnTo>
                      <a:pt x="240" y="0"/>
                    </a:lnTo>
                    <a:lnTo>
                      <a:pt x="231" y="0"/>
                    </a:lnTo>
                    <a:lnTo>
                      <a:pt x="228" y="3"/>
                    </a:lnTo>
                    <a:lnTo>
                      <a:pt x="226" y="0"/>
                    </a:lnTo>
                    <a:lnTo>
                      <a:pt x="223" y="3"/>
                    </a:lnTo>
                    <a:lnTo>
                      <a:pt x="220" y="0"/>
                    </a:lnTo>
                    <a:lnTo>
                      <a:pt x="209" y="0"/>
                    </a:lnTo>
                    <a:lnTo>
                      <a:pt x="203" y="0"/>
                    </a:lnTo>
                    <a:lnTo>
                      <a:pt x="203" y="3"/>
                    </a:lnTo>
                    <a:lnTo>
                      <a:pt x="198" y="3"/>
                    </a:lnTo>
                    <a:lnTo>
                      <a:pt x="198" y="3"/>
                    </a:lnTo>
                    <a:lnTo>
                      <a:pt x="195" y="3"/>
                    </a:lnTo>
                    <a:lnTo>
                      <a:pt x="195" y="3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73" y="8"/>
                    </a:lnTo>
                    <a:lnTo>
                      <a:pt x="173" y="5"/>
                    </a:lnTo>
                    <a:lnTo>
                      <a:pt x="167" y="5"/>
                    </a:lnTo>
                    <a:lnTo>
                      <a:pt x="162" y="8"/>
                    </a:lnTo>
                    <a:lnTo>
                      <a:pt x="162" y="14"/>
                    </a:lnTo>
                    <a:lnTo>
                      <a:pt x="159" y="14"/>
                    </a:lnTo>
                    <a:lnTo>
                      <a:pt x="145" y="14"/>
                    </a:lnTo>
                    <a:lnTo>
                      <a:pt x="139" y="11"/>
                    </a:lnTo>
                    <a:lnTo>
                      <a:pt x="134" y="8"/>
                    </a:lnTo>
                    <a:lnTo>
                      <a:pt x="134" y="11"/>
                    </a:lnTo>
                    <a:lnTo>
                      <a:pt x="131" y="11"/>
                    </a:lnTo>
                    <a:lnTo>
                      <a:pt x="125" y="5"/>
                    </a:lnTo>
                    <a:lnTo>
                      <a:pt x="123" y="3"/>
                    </a:lnTo>
                    <a:lnTo>
                      <a:pt x="123" y="0"/>
                    </a:lnTo>
                    <a:lnTo>
                      <a:pt x="114" y="0"/>
                    </a:lnTo>
                    <a:lnTo>
                      <a:pt x="109" y="5"/>
                    </a:lnTo>
                    <a:lnTo>
                      <a:pt x="106" y="8"/>
                    </a:lnTo>
                    <a:lnTo>
                      <a:pt x="103" y="11"/>
                    </a:lnTo>
                    <a:lnTo>
                      <a:pt x="103" y="19"/>
                    </a:lnTo>
                    <a:lnTo>
                      <a:pt x="103" y="22"/>
                    </a:lnTo>
                    <a:lnTo>
                      <a:pt x="100" y="22"/>
                    </a:lnTo>
                    <a:lnTo>
                      <a:pt x="100" y="28"/>
                    </a:lnTo>
                    <a:lnTo>
                      <a:pt x="89" y="50"/>
                    </a:lnTo>
                    <a:lnTo>
                      <a:pt x="86" y="92"/>
                    </a:lnTo>
                    <a:lnTo>
                      <a:pt x="75" y="97"/>
                    </a:lnTo>
                    <a:lnTo>
                      <a:pt x="64" y="114"/>
                    </a:lnTo>
                    <a:lnTo>
                      <a:pt x="61" y="133"/>
                    </a:lnTo>
                    <a:lnTo>
                      <a:pt x="53" y="145"/>
                    </a:lnTo>
                    <a:lnTo>
                      <a:pt x="42" y="153"/>
                    </a:lnTo>
                    <a:lnTo>
                      <a:pt x="36" y="156"/>
                    </a:lnTo>
                    <a:lnTo>
                      <a:pt x="34" y="153"/>
                    </a:lnTo>
                    <a:lnTo>
                      <a:pt x="34" y="150"/>
                    </a:lnTo>
                    <a:lnTo>
                      <a:pt x="31" y="147"/>
                    </a:lnTo>
                    <a:lnTo>
                      <a:pt x="25" y="150"/>
                    </a:lnTo>
                    <a:lnTo>
                      <a:pt x="22" y="150"/>
                    </a:lnTo>
                    <a:lnTo>
                      <a:pt x="20" y="156"/>
                    </a:lnTo>
                    <a:lnTo>
                      <a:pt x="17" y="156"/>
                    </a:lnTo>
                    <a:lnTo>
                      <a:pt x="11" y="153"/>
                    </a:lnTo>
                    <a:lnTo>
                      <a:pt x="11" y="153"/>
                    </a:lnTo>
                    <a:lnTo>
                      <a:pt x="6" y="158"/>
                    </a:lnTo>
                    <a:lnTo>
                      <a:pt x="3" y="170"/>
                    </a:lnTo>
                    <a:lnTo>
                      <a:pt x="0" y="172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0" y="178"/>
                    </a:lnTo>
                    <a:lnTo>
                      <a:pt x="3" y="175"/>
                    </a:lnTo>
                    <a:lnTo>
                      <a:pt x="17" y="170"/>
                    </a:lnTo>
                    <a:lnTo>
                      <a:pt x="34" y="170"/>
                    </a:lnTo>
                    <a:lnTo>
                      <a:pt x="36" y="170"/>
                    </a:lnTo>
                    <a:lnTo>
                      <a:pt x="61" y="170"/>
                    </a:lnTo>
                    <a:lnTo>
                      <a:pt x="64" y="170"/>
                    </a:lnTo>
                    <a:lnTo>
                      <a:pt x="64" y="172"/>
                    </a:lnTo>
                    <a:lnTo>
                      <a:pt x="67" y="172"/>
                    </a:lnTo>
                    <a:lnTo>
                      <a:pt x="67" y="172"/>
                    </a:lnTo>
                    <a:lnTo>
                      <a:pt x="72" y="195"/>
                    </a:lnTo>
                    <a:lnTo>
                      <a:pt x="84" y="206"/>
                    </a:lnTo>
                    <a:lnTo>
                      <a:pt x="86" y="206"/>
                    </a:lnTo>
                    <a:lnTo>
                      <a:pt x="89" y="206"/>
                    </a:lnTo>
                    <a:lnTo>
                      <a:pt x="100" y="203"/>
                    </a:lnTo>
                    <a:lnTo>
                      <a:pt x="111" y="203"/>
                    </a:lnTo>
                    <a:lnTo>
                      <a:pt x="111" y="197"/>
                    </a:lnTo>
                    <a:lnTo>
                      <a:pt x="111" y="197"/>
                    </a:lnTo>
                    <a:lnTo>
                      <a:pt x="114" y="189"/>
                    </a:lnTo>
                    <a:lnTo>
                      <a:pt x="125" y="189"/>
                    </a:lnTo>
                    <a:lnTo>
                      <a:pt x="125" y="186"/>
                    </a:lnTo>
                    <a:lnTo>
                      <a:pt x="134" y="186"/>
                    </a:lnTo>
                    <a:lnTo>
                      <a:pt x="134" y="192"/>
                    </a:lnTo>
                    <a:lnTo>
                      <a:pt x="148" y="195"/>
                    </a:lnTo>
                    <a:lnTo>
                      <a:pt x="148" y="197"/>
                    </a:lnTo>
                    <a:lnTo>
                      <a:pt x="150" y="220"/>
                    </a:lnTo>
                    <a:lnTo>
                      <a:pt x="150" y="222"/>
                    </a:lnTo>
                    <a:lnTo>
                      <a:pt x="150" y="231"/>
                    </a:lnTo>
                    <a:lnTo>
                      <a:pt x="156" y="245"/>
                    </a:lnTo>
                    <a:lnTo>
                      <a:pt x="156" y="248"/>
                    </a:lnTo>
                    <a:lnTo>
                      <a:pt x="150" y="253"/>
                    </a:lnTo>
                    <a:lnTo>
                      <a:pt x="150" y="253"/>
                    </a:lnTo>
                    <a:lnTo>
                      <a:pt x="150" y="253"/>
                    </a:lnTo>
                    <a:lnTo>
                      <a:pt x="153" y="253"/>
                    </a:lnTo>
                    <a:lnTo>
                      <a:pt x="153" y="253"/>
                    </a:lnTo>
                    <a:lnTo>
                      <a:pt x="156" y="256"/>
                    </a:lnTo>
                    <a:lnTo>
                      <a:pt x="156" y="256"/>
                    </a:lnTo>
                    <a:lnTo>
                      <a:pt x="159" y="256"/>
                    </a:lnTo>
                    <a:lnTo>
                      <a:pt x="159" y="253"/>
                    </a:lnTo>
                    <a:lnTo>
                      <a:pt x="162" y="250"/>
                    </a:lnTo>
                    <a:lnTo>
                      <a:pt x="176" y="250"/>
                    </a:lnTo>
                    <a:lnTo>
                      <a:pt x="178" y="250"/>
                    </a:lnTo>
                    <a:lnTo>
                      <a:pt x="181" y="250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4" y="250"/>
                    </a:lnTo>
                    <a:lnTo>
                      <a:pt x="187" y="248"/>
                    </a:lnTo>
                    <a:lnTo>
                      <a:pt x="189" y="248"/>
                    </a:lnTo>
                    <a:lnTo>
                      <a:pt x="189" y="250"/>
                    </a:lnTo>
                    <a:lnTo>
                      <a:pt x="189" y="256"/>
                    </a:lnTo>
                    <a:lnTo>
                      <a:pt x="189" y="256"/>
                    </a:lnTo>
                    <a:lnTo>
                      <a:pt x="192" y="256"/>
                    </a:lnTo>
                    <a:lnTo>
                      <a:pt x="198" y="253"/>
                    </a:lnTo>
                    <a:lnTo>
                      <a:pt x="198" y="253"/>
                    </a:lnTo>
                    <a:lnTo>
                      <a:pt x="203" y="253"/>
                    </a:lnTo>
                    <a:lnTo>
                      <a:pt x="203" y="256"/>
                    </a:lnTo>
                    <a:lnTo>
                      <a:pt x="203" y="259"/>
                    </a:lnTo>
                    <a:lnTo>
                      <a:pt x="206" y="259"/>
                    </a:lnTo>
                    <a:lnTo>
                      <a:pt x="217" y="264"/>
                    </a:lnTo>
                    <a:lnTo>
                      <a:pt x="223" y="267"/>
                    </a:lnTo>
                    <a:lnTo>
                      <a:pt x="231" y="264"/>
                    </a:lnTo>
                    <a:lnTo>
                      <a:pt x="231" y="264"/>
                    </a:lnTo>
                    <a:lnTo>
                      <a:pt x="237" y="270"/>
                    </a:lnTo>
                    <a:lnTo>
                      <a:pt x="245" y="273"/>
                    </a:lnTo>
                    <a:lnTo>
                      <a:pt x="248" y="273"/>
                    </a:lnTo>
                    <a:lnTo>
                      <a:pt x="251" y="273"/>
                    </a:lnTo>
                    <a:lnTo>
                      <a:pt x="253" y="278"/>
                    </a:lnTo>
                    <a:lnTo>
                      <a:pt x="259" y="284"/>
                    </a:lnTo>
                    <a:lnTo>
                      <a:pt x="265" y="287"/>
                    </a:lnTo>
                    <a:lnTo>
                      <a:pt x="267" y="287"/>
                    </a:lnTo>
                    <a:lnTo>
                      <a:pt x="267" y="287"/>
                    </a:lnTo>
                    <a:lnTo>
                      <a:pt x="270" y="287"/>
                    </a:lnTo>
                    <a:lnTo>
                      <a:pt x="270" y="287"/>
                    </a:lnTo>
                    <a:lnTo>
                      <a:pt x="273" y="287"/>
                    </a:lnTo>
                    <a:lnTo>
                      <a:pt x="273" y="287"/>
                    </a:lnTo>
                    <a:lnTo>
                      <a:pt x="273" y="287"/>
                    </a:lnTo>
                    <a:lnTo>
                      <a:pt x="273" y="273"/>
                    </a:lnTo>
                    <a:lnTo>
                      <a:pt x="273" y="270"/>
                    </a:lnTo>
                    <a:lnTo>
                      <a:pt x="270" y="270"/>
                    </a:lnTo>
                    <a:lnTo>
                      <a:pt x="267" y="273"/>
                    </a:lnTo>
                    <a:lnTo>
                      <a:pt x="262" y="270"/>
                    </a:lnTo>
                    <a:lnTo>
                      <a:pt x="259" y="270"/>
                    </a:lnTo>
                    <a:lnTo>
                      <a:pt x="253" y="264"/>
                    </a:lnTo>
                    <a:lnTo>
                      <a:pt x="253" y="261"/>
                    </a:lnTo>
                    <a:lnTo>
                      <a:pt x="262" y="236"/>
                    </a:lnTo>
                    <a:lnTo>
                      <a:pt x="259" y="222"/>
                    </a:lnTo>
                    <a:lnTo>
                      <a:pt x="262" y="214"/>
                    </a:lnTo>
                    <a:lnTo>
                      <a:pt x="265" y="211"/>
                    </a:lnTo>
                    <a:lnTo>
                      <a:pt x="287" y="20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4" name="Freeform 1337"/>
              <p:cNvSpPr>
                <a:spLocks noChangeAspect="1"/>
              </p:cNvSpPr>
              <p:nvPr>
                <p:custDataLst>
                  <p:tags r:id="rId912"/>
                </p:custDataLst>
              </p:nvPr>
            </p:nvSpPr>
            <p:spPr bwMode="gray">
              <a:xfrm>
                <a:off x="5919093" y="3468354"/>
                <a:ext cx="429723" cy="348458"/>
              </a:xfrm>
              <a:custGeom>
                <a:avLst/>
                <a:gdLst>
                  <a:gd name="T0" fmla="*/ 262 w 329"/>
                  <a:gd name="T1" fmla="*/ 137 h 271"/>
                  <a:gd name="T2" fmla="*/ 262 w 329"/>
                  <a:gd name="T3" fmla="*/ 140 h 271"/>
                  <a:gd name="T4" fmla="*/ 265 w 329"/>
                  <a:gd name="T5" fmla="*/ 145 h 271"/>
                  <a:gd name="T6" fmla="*/ 323 w 329"/>
                  <a:gd name="T7" fmla="*/ 168 h 271"/>
                  <a:gd name="T8" fmla="*/ 318 w 329"/>
                  <a:gd name="T9" fmla="*/ 212 h 271"/>
                  <a:gd name="T10" fmla="*/ 226 w 329"/>
                  <a:gd name="T11" fmla="*/ 237 h 271"/>
                  <a:gd name="T12" fmla="*/ 201 w 329"/>
                  <a:gd name="T13" fmla="*/ 259 h 271"/>
                  <a:gd name="T14" fmla="*/ 189 w 329"/>
                  <a:gd name="T15" fmla="*/ 257 h 271"/>
                  <a:gd name="T16" fmla="*/ 139 w 329"/>
                  <a:gd name="T17" fmla="*/ 262 h 271"/>
                  <a:gd name="T18" fmla="*/ 131 w 329"/>
                  <a:gd name="T19" fmla="*/ 268 h 271"/>
                  <a:gd name="T20" fmla="*/ 128 w 329"/>
                  <a:gd name="T21" fmla="*/ 271 h 271"/>
                  <a:gd name="T22" fmla="*/ 125 w 329"/>
                  <a:gd name="T23" fmla="*/ 268 h 271"/>
                  <a:gd name="T24" fmla="*/ 120 w 329"/>
                  <a:gd name="T25" fmla="*/ 259 h 271"/>
                  <a:gd name="T26" fmla="*/ 111 w 329"/>
                  <a:gd name="T27" fmla="*/ 248 h 271"/>
                  <a:gd name="T28" fmla="*/ 103 w 329"/>
                  <a:gd name="T29" fmla="*/ 234 h 271"/>
                  <a:gd name="T30" fmla="*/ 84 w 329"/>
                  <a:gd name="T31" fmla="*/ 206 h 271"/>
                  <a:gd name="T32" fmla="*/ 75 w 329"/>
                  <a:gd name="T33" fmla="*/ 201 h 271"/>
                  <a:gd name="T34" fmla="*/ 70 w 329"/>
                  <a:gd name="T35" fmla="*/ 179 h 271"/>
                  <a:gd name="T36" fmla="*/ 67 w 329"/>
                  <a:gd name="T37" fmla="*/ 168 h 271"/>
                  <a:gd name="T38" fmla="*/ 53 w 329"/>
                  <a:gd name="T39" fmla="*/ 142 h 271"/>
                  <a:gd name="T40" fmla="*/ 47 w 329"/>
                  <a:gd name="T41" fmla="*/ 140 h 271"/>
                  <a:gd name="T42" fmla="*/ 45 w 329"/>
                  <a:gd name="T43" fmla="*/ 140 h 271"/>
                  <a:gd name="T44" fmla="*/ 42 w 329"/>
                  <a:gd name="T45" fmla="*/ 131 h 271"/>
                  <a:gd name="T46" fmla="*/ 34 w 329"/>
                  <a:gd name="T47" fmla="*/ 115 h 271"/>
                  <a:gd name="T48" fmla="*/ 28 w 329"/>
                  <a:gd name="T49" fmla="*/ 106 h 271"/>
                  <a:gd name="T50" fmla="*/ 22 w 329"/>
                  <a:gd name="T51" fmla="*/ 98 h 271"/>
                  <a:gd name="T52" fmla="*/ 8 w 329"/>
                  <a:gd name="T53" fmla="*/ 76 h 271"/>
                  <a:gd name="T54" fmla="*/ 3 w 329"/>
                  <a:gd name="T55" fmla="*/ 73 h 271"/>
                  <a:gd name="T56" fmla="*/ 3 w 329"/>
                  <a:gd name="T57" fmla="*/ 67 h 271"/>
                  <a:gd name="T58" fmla="*/ 6 w 329"/>
                  <a:gd name="T59" fmla="*/ 51 h 271"/>
                  <a:gd name="T60" fmla="*/ 28 w 329"/>
                  <a:gd name="T61" fmla="*/ 51 h 271"/>
                  <a:gd name="T62" fmla="*/ 47 w 329"/>
                  <a:gd name="T63" fmla="*/ 34 h 271"/>
                  <a:gd name="T64" fmla="*/ 36 w 329"/>
                  <a:gd name="T65" fmla="*/ 14 h 271"/>
                  <a:gd name="T66" fmla="*/ 131 w 329"/>
                  <a:gd name="T67" fmla="*/ 28 h 271"/>
                  <a:gd name="T68" fmla="*/ 142 w 329"/>
                  <a:gd name="T69" fmla="*/ 34 h 271"/>
                  <a:gd name="T70" fmla="*/ 159 w 329"/>
                  <a:gd name="T71" fmla="*/ 56 h 271"/>
                  <a:gd name="T72" fmla="*/ 203 w 329"/>
                  <a:gd name="T73" fmla="*/ 62 h 271"/>
                  <a:gd name="T74" fmla="*/ 220 w 329"/>
                  <a:gd name="T75" fmla="*/ 78 h 271"/>
                  <a:gd name="T76" fmla="*/ 228 w 329"/>
                  <a:gd name="T77" fmla="*/ 87 h 271"/>
                  <a:gd name="T78" fmla="*/ 228 w 329"/>
                  <a:gd name="T79" fmla="*/ 90 h 271"/>
                  <a:gd name="T80" fmla="*/ 240 w 329"/>
                  <a:gd name="T81" fmla="*/ 98 h 271"/>
                  <a:gd name="T82" fmla="*/ 242 w 329"/>
                  <a:gd name="T83" fmla="*/ 106 h 271"/>
                  <a:gd name="T84" fmla="*/ 242 w 329"/>
                  <a:gd name="T85" fmla="*/ 112 h 271"/>
                  <a:gd name="T86" fmla="*/ 251 w 329"/>
                  <a:gd name="T87" fmla="*/ 129 h 271"/>
                  <a:gd name="T88" fmla="*/ 251 w 329"/>
                  <a:gd name="T89" fmla="*/ 131 h 271"/>
                  <a:gd name="T90" fmla="*/ 256 w 329"/>
                  <a:gd name="T91" fmla="*/ 137 h 271"/>
                  <a:gd name="T92" fmla="*/ 262 w 329"/>
                  <a:gd name="T93" fmla="*/ 134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9" h="271">
                    <a:moveTo>
                      <a:pt x="262" y="134"/>
                    </a:moveTo>
                    <a:lnTo>
                      <a:pt x="262" y="137"/>
                    </a:lnTo>
                    <a:lnTo>
                      <a:pt x="262" y="137"/>
                    </a:lnTo>
                    <a:lnTo>
                      <a:pt x="262" y="137"/>
                    </a:lnTo>
                    <a:lnTo>
                      <a:pt x="262" y="140"/>
                    </a:lnTo>
                    <a:lnTo>
                      <a:pt x="262" y="140"/>
                    </a:lnTo>
                    <a:lnTo>
                      <a:pt x="265" y="140"/>
                    </a:lnTo>
                    <a:lnTo>
                      <a:pt x="265" y="142"/>
                    </a:lnTo>
                    <a:lnTo>
                      <a:pt x="265" y="145"/>
                    </a:lnTo>
                    <a:lnTo>
                      <a:pt x="281" y="165"/>
                    </a:lnTo>
                    <a:lnTo>
                      <a:pt x="320" y="170"/>
                    </a:lnTo>
                    <a:lnTo>
                      <a:pt x="323" y="168"/>
                    </a:lnTo>
                    <a:lnTo>
                      <a:pt x="323" y="168"/>
                    </a:lnTo>
                    <a:lnTo>
                      <a:pt x="329" y="179"/>
                    </a:lnTo>
                    <a:lnTo>
                      <a:pt x="318" y="212"/>
                    </a:lnTo>
                    <a:lnTo>
                      <a:pt x="273" y="229"/>
                    </a:lnTo>
                    <a:lnTo>
                      <a:pt x="273" y="229"/>
                    </a:lnTo>
                    <a:lnTo>
                      <a:pt x="226" y="237"/>
                    </a:lnTo>
                    <a:lnTo>
                      <a:pt x="212" y="243"/>
                    </a:lnTo>
                    <a:lnTo>
                      <a:pt x="203" y="254"/>
                    </a:lnTo>
                    <a:lnTo>
                      <a:pt x="201" y="259"/>
                    </a:lnTo>
                    <a:lnTo>
                      <a:pt x="198" y="262"/>
                    </a:lnTo>
                    <a:lnTo>
                      <a:pt x="195" y="262"/>
                    </a:lnTo>
                    <a:lnTo>
                      <a:pt x="189" y="257"/>
                    </a:lnTo>
                    <a:lnTo>
                      <a:pt x="153" y="254"/>
                    </a:lnTo>
                    <a:lnTo>
                      <a:pt x="145" y="259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7" y="265"/>
                    </a:lnTo>
                    <a:lnTo>
                      <a:pt x="131" y="268"/>
                    </a:lnTo>
                    <a:lnTo>
                      <a:pt x="131" y="268"/>
                    </a:lnTo>
                    <a:lnTo>
                      <a:pt x="131" y="271"/>
                    </a:lnTo>
                    <a:lnTo>
                      <a:pt x="128" y="271"/>
                    </a:lnTo>
                    <a:lnTo>
                      <a:pt x="128" y="271"/>
                    </a:lnTo>
                    <a:lnTo>
                      <a:pt x="125" y="271"/>
                    </a:lnTo>
                    <a:lnTo>
                      <a:pt x="125" y="268"/>
                    </a:lnTo>
                    <a:lnTo>
                      <a:pt x="123" y="262"/>
                    </a:lnTo>
                    <a:lnTo>
                      <a:pt x="123" y="259"/>
                    </a:lnTo>
                    <a:lnTo>
                      <a:pt x="120" y="259"/>
                    </a:lnTo>
                    <a:lnTo>
                      <a:pt x="120" y="254"/>
                    </a:lnTo>
                    <a:lnTo>
                      <a:pt x="114" y="248"/>
                    </a:lnTo>
                    <a:lnTo>
                      <a:pt x="111" y="248"/>
                    </a:lnTo>
                    <a:lnTo>
                      <a:pt x="103" y="234"/>
                    </a:lnTo>
                    <a:lnTo>
                      <a:pt x="103" y="234"/>
                    </a:lnTo>
                    <a:lnTo>
                      <a:pt x="103" y="234"/>
                    </a:lnTo>
                    <a:lnTo>
                      <a:pt x="100" y="226"/>
                    </a:lnTo>
                    <a:lnTo>
                      <a:pt x="92" y="212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78" y="204"/>
                    </a:lnTo>
                    <a:lnTo>
                      <a:pt x="75" y="201"/>
                    </a:lnTo>
                    <a:lnTo>
                      <a:pt x="70" y="184"/>
                    </a:lnTo>
                    <a:lnTo>
                      <a:pt x="70" y="181"/>
                    </a:lnTo>
                    <a:lnTo>
                      <a:pt x="70" y="179"/>
                    </a:lnTo>
                    <a:lnTo>
                      <a:pt x="70" y="179"/>
                    </a:lnTo>
                    <a:lnTo>
                      <a:pt x="70" y="173"/>
                    </a:lnTo>
                    <a:lnTo>
                      <a:pt x="67" y="168"/>
                    </a:lnTo>
                    <a:lnTo>
                      <a:pt x="67" y="165"/>
                    </a:lnTo>
                    <a:lnTo>
                      <a:pt x="59" y="148"/>
                    </a:lnTo>
                    <a:lnTo>
                      <a:pt x="53" y="142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47" y="140"/>
                    </a:lnTo>
                    <a:lnTo>
                      <a:pt x="47" y="140"/>
                    </a:lnTo>
                    <a:lnTo>
                      <a:pt x="45" y="140"/>
                    </a:lnTo>
                    <a:lnTo>
                      <a:pt x="45" y="140"/>
                    </a:lnTo>
                    <a:lnTo>
                      <a:pt x="45" y="137"/>
                    </a:lnTo>
                    <a:lnTo>
                      <a:pt x="42" y="134"/>
                    </a:lnTo>
                    <a:lnTo>
                      <a:pt x="42" y="131"/>
                    </a:lnTo>
                    <a:lnTo>
                      <a:pt x="42" y="131"/>
                    </a:lnTo>
                    <a:lnTo>
                      <a:pt x="36" y="117"/>
                    </a:lnTo>
                    <a:lnTo>
                      <a:pt x="34" y="115"/>
                    </a:lnTo>
                    <a:lnTo>
                      <a:pt x="31" y="115"/>
                    </a:lnTo>
                    <a:lnTo>
                      <a:pt x="31" y="112"/>
                    </a:lnTo>
                    <a:lnTo>
                      <a:pt x="28" y="106"/>
                    </a:lnTo>
                    <a:lnTo>
                      <a:pt x="25" y="101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7" y="92"/>
                    </a:lnTo>
                    <a:lnTo>
                      <a:pt x="17" y="90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3" y="76"/>
                    </a:lnTo>
                    <a:lnTo>
                      <a:pt x="3" y="73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3" y="67"/>
                    </a:lnTo>
                    <a:lnTo>
                      <a:pt x="6" y="59"/>
                    </a:lnTo>
                    <a:lnTo>
                      <a:pt x="6" y="56"/>
                    </a:lnTo>
                    <a:lnTo>
                      <a:pt x="6" y="51"/>
                    </a:lnTo>
                    <a:lnTo>
                      <a:pt x="6" y="53"/>
                    </a:lnTo>
                    <a:lnTo>
                      <a:pt x="22" y="56"/>
                    </a:lnTo>
                    <a:lnTo>
                      <a:pt x="28" y="51"/>
                    </a:lnTo>
                    <a:lnTo>
                      <a:pt x="34" y="42"/>
                    </a:lnTo>
                    <a:lnTo>
                      <a:pt x="45" y="42"/>
                    </a:lnTo>
                    <a:lnTo>
                      <a:pt x="47" y="34"/>
                    </a:lnTo>
                    <a:lnTo>
                      <a:pt x="53" y="31"/>
                    </a:lnTo>
                    <a:lnTo>
                      <a:pt x="53" y="31"/>
                    </a:lnTo>
                    <a:lnTo>
                      <a:pt x="36" y="14"/>
                    </a:lnTo>
                    <a:lnTo>
                      <a:pt x="67" y="6"/>
                    </a:lnTo>
                    <a:lnTo>
                      <a:pt x="73" y="0"/>
                    </a:lnTo>
                    <a:lnTo>
                      <a:pt x="131" y="28"/>
                    </a:lnTo>
                    <a:lnTo>
                      <a:pt x="134" y="34"/>
                    </a:lnTo>
                    <a:lnTo>
                      <a:pt x="139" y="34"/>
                    </a:lnTo>
                    <a:lnTo>
                      <a:pt x="142" y="34"/>
                    </a:lnTo>
                    <a:lnTo>
                      <a:pt x="142" y="45"/>
                    </a:lnTo>
                    <a:lnTo>
                      <a:pt x="142" y="48"/>
                    </a:lnTo>
                    <a:lnTo>
                      <a:pt x="159" y="56"/>
                    </a:lnTo>
                    <a:lnTo>
                      <a:pt x="187" y="56"/>
                    </a:lnTo>
                    <a:lnTo>
                      <a:pt x="201" y="62"/>
                    </a:lnTo>
                    <a:lnTo>
                      <a:pt x="203" y="62"/>
                    </a:lnTo>
                    <a:lnTo>
                      <a:pt x="206" y="67"/>
                    </a:lnTo>
                    <a:lnTo>
                      <a:pt x="215" y="67"/>
                    </a:lnTo>
                    <a:lnTo>
                      <a:pt x="220" y="78"/>
                    </a:lnTo>
                    <a:lnTo>
                      <a:pt x="223" y="81"/>
                    </a:lnTo>
                    <a:lnTo>
                      <a:pt x="226" y="84"/>
                    </a:lnTo>
                    <a:lnTo>
                      <a:pt x="228" y="87"/>
                    </a:lnTo>
                    <a:lnTo>
                      <a:pt x="228" y="87"/>
                    </a:lnTo>
                    <a:lnTo>
                      <a:pt x="228" y="87"/>
                    </a:lnTo>
                    <a:lnTo>
                      <a:pt x="228" y="90"/>
                    </a:lnTo>
                    <a:lnTo>
                      <a:pt x="231" y="92"/>
                    </a:lnTo>
                    <a:lnTo>
                      <a:pt x="234" y="92"/>
                    </a:lnTo>
                    <a:lnTo>
                      <a:pt x="240" y="98"/>
                    </a:lnTo>
                    <a:lnTo>
                      <a:pt x="242" y="101"/>
                    </a:lnTo>
                    <a:lnTo>
                      <a:pt x="242" y="103"/>
                    </a:lnTo>
                    <a:lnTo>
                      <a:pt x="242" y="106"/>
                    </a:lnTo>
                    <a:lnTo>
                      <a:pt x="242" y="109"/>
                    </a:lnTo>
                    <a:lnTo>
                      <a:pt x="242" y="109"/>
                    </a:lnTo>
                    <a:lnTo>
                      <a:pt x="242" y="112"/>
                    </a:lnTo>
                    <a:lnTo>
                      <a:pt x="242" y="115"/>
                    </a:lnTo>
                    <a:lnTo>
                      <a:pt x="248" y="123"/>
                    </a:lnTo>
                    <a:lnTo>
                      <a:pt x="251" y="129"/>
                    </a:lnTo>
                    <a:lnTo>
                      <a:pt x="251" y="129"/>
                    </a:lnTo>
                    <a:lnTo>
                      <a:pt x="251" y="131"/>
                    </a:lnTo>
                    <a:lnTo>
                      <a:pt x="251" y="131"/>
                    </a:lnTo>
                    <a:lnTo>
                      <a:pt x="253" y="134"/>
                    </a:lnTo>
                    <a:lnTo>
                      <a:pt x="253" y="134"/>
                    </a:lnTo>
                    <a:lnTo>
                      <a:pt x="256" y="137"/>
                    </a:lnTo>
                    <a:lnTo>
                      <a:pt x="256" y="137"/>
                    </a:lnTo>
                    <a:lnTo>
                      <a:pt x="262" y="134"/>
                    </a:lnTo>
                    <a:lnTo>
                      <a:pt x="262" y="1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5" name="Freeform 1339"/>
              <p:cNvSpPr>
                <a:spLocks noChangeAspect="1"/>
              </p:cNvSpPr>
              <p:nvPr>
                <p:custDataLst>
                  <p:tags r:id="rId913"/>
                </p:custDataLst>
              </p:nvPr>
            </p:nvSpPr>
            <p:spPr bwMode="gray">
              <a:xfrm>
                <a:off x="5765728" y="4740780"/>
                <a:ext cx="47072" cy="52033"/>
              </a:xfrm>
              <a:custGeom>
                <a:avLst/>
                <a:gdLst>
                  <a:gd name="T0" fmla="*/ 36 w 36"/>
                  <a:gd name="T1" fmla="*/ 17 h 39"/>
                  <a:gd name="T2" fmla="*/ 36 w 36"/>
                  <a:gd name="T3" fmla="*/ 14 h 39"/>
                  <a:gd name="T4" fmla="*/ 36 w 36"/>
                  <a:gd name="T5" fmla="*/ 17 h 39"/>
                  <a:gd name="T6" fmla="*/ 31 w 36"/>
                  <a:gd name="T7" fmla="*/ 28 h 39"/>
                  <a:gd name="T8" fmla="*/ 22 w 36"/>
                  <a:gd name="T9" fmla="*/ 33 h 39"/>
                  <a:gd name="T10" fmla="*/ 20 w 36"/>
                  <a:gd name="T11" fmla="*/ 36 h 39"/>
                  <a:gd name="T12" fmla="*/ 17 w 36"/>
                  <a:gd name="T13" fmla="*/ 39 h 39"/>
                  <a:gd name="T14" fmla="*/ 14 w 36"/>
                  <a:gd name="T15" fmla="*/ 39 h 39"/>
                  <a:gd name="T16" fmla="*/ 3 w 36"/>
                  <a:gd name="T17" fmla="*/ 31 h 39"/>
                  <a:gd name="T18" fmla="*/ 0 w 36"/>
                  <a:gd name="T19" fmla="*/ 22 h 39"/>
                  <a:gd name="T20" fmla="*/ 3 w 36"/>
                  <a:gd name="T21" fmla="*/ 19 h 39"/>
                  <a:gd name="T22" fmla="*/ 11 w 36"/>
                  <a:gd name="T23" fmla="*/ 6 h 39"/>
                  <a:gd name="T24" fmla="*/ 20 w 36"/>
                  <a:gd name="T25" fmla="*/ 3 h 39"/>
                  <a:gd name="T26" fmla="*/ 25 w 36"/>
                  <a:gd name="T27" fmla="*/ 0 h 39"/>
                  <a:gd name="T28" fmla="*/ 28 w 36"/>
                  <a:gd name="T29" fmla="*/ 3 h 39"/>
                  <a:gd name="T30" fmla="*/ 36 w 36"/>
                  <a:gd name="T31" fmla="*/ 14 h 39"/>
                  <a:gd name="T32" fmla="*/ 36 w 36"/>
                  <a:gd name="T33" fmla="*/ 1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39">
                    <a:moveTo>
                      <a:pt x="36" y="17"/>
                    </a:moveTo>
                    <a:lnTo>
                      <a:pt x="36" y="14"/>
                    </a:lnTo>
                    <a:lnTo>
                      <a:pt x="36" y="17"/>
                    </a:lnTo>
                    <a:lnTo>
                      <a:pt x="31" y="28"/>
                    </a:lnTo>
                    <a:lnTo>
                      <a:pt x="22" y="33"/>
                    </a:lnTo>
                    <a:lnTo>
                      <a:pt x="20" y="36"/>
                    </a:lnTo>
                    <a:lnTo>
                      <a:pt x="17" y="39"/>
                    </a:lnTo>
                    <a:lnTo>
                      <a:pt x="14" y="39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11" y="6"/>
                    </a:lnTo>
                    <a:lnTo>
                      <a:pt x="20" y="3"/>
                    </a:lnTo>
                    <a:lnTo>
                      <a:pt x="25" y="0"/>
                    </a:lnTo>
                    <a:lnTo>
                      <a:pt x="28" y="3"/>
                    </a:lnTo>
                    <a:lnTo>
                      <a:pt x="36" y="14"/>
                    </a:lnTo>
                    <a:lnTo>
                      <a:pt x="36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6" name="Freeform 1347"/>
              <p:cNvSpPr>
                <a:spLocks noChangeAspect="1"/>
              </p:cNvSpPr>
              <p:nvPr>
                <p:custDataLst>
                  <p:tags r:id="rId914"/>
                </p:custDataLst>
              </p:nvPr>
            </p:nvSpPr>
            <p:spPr bwMode="gray">
              <a:xfrm>
                <a:off x="5944905" y="4059630"/>
                <a:ext cx="16704" cy="44148"/>
              </a:xfrm>
              <a:custGeom>
                <a:avLst/>
                <a:gdLst>
                  <a:gd name="T0" fmla="*/ 3 w 12"/>
                  <a:gd name="T1" fmla="*/ 0 h 33"/>
                  <a:gd name="T2" fmla="*/ 6 w 12"/>
                  <a:gd name="T3" fmla="*/ 5 h 33"/>
                  <a:gd name="T4" fmla="*/ 6 w 12"/>
                  <a:gd name="T5" fmla="*/ 8 h 33"/>
                  <a:gd name="T6" fmla="*/ 6 w 12"/>
                  <a:gd name="T7" fmla="*/ 11 h 33"/>
                  <a:gd name="T8" fmla="*/ 6 w 12"/>
                  <a:gd name="T9" fmla="*/ 14 h 33"/>
                  <a:gd name="T10" fmla="*/ 6 w 12"/>
                  <a:gd name="T11" fmla="*/ 22 h 33"/>
                  <a:gd name="T12" fmla="*/ 12 w 12"/>
                  <a:gd name="T13" fmla="*/ 28 h 33"/>
                  <a:gd name="T14" fmla="*/ 12 w 12"/>
                  <a:gd name="T15" fmla="*/ 33 h 33"/>
                  <a:gd name="T16" fmla="*/ 12 w 12"/>
                  <a:gd name="T17" fmla="*/ 33 h 33"/>
                  <a:gd name="T18" fmla="*/ 9 w 12"/>
                  <a:gd name="T19" fmla="*/ 28 h 33"/>
                  <a:gd name="T20" fmla="*/ 3 w 12"/>
                  <a:gd name="T21" fmla="*/ 22 h 33"/>
                  <a:gd name="T22" fmla="*/ 0 w 12"/>
                  <a:gd name="T23" fmla="*/ 8 h 33"/>
                  <a:gd name="T24" fmla="*/ 0 w 12"/>
                  <a:gd name="T25" fmla="*/ 0 h 33"/>
                  <a:gd name="T26" fmla="*/ 3 w 12"/>
                  <a:gd name="T2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33">
                    <a:moveTo>
                      <a:pt x="3" y="0"/>
                    </a:moveTo>
                    <a:lnTo>
                      <a:pt x="6" y="5"/>
                    </a:lnTo>
                    <a:lnTo>
                      <a:pt x="6" y="8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6" y="22"/>
                    </a:lnTo>
                    <a:lnTo>
                      <a:pt x="12" y="28"/>
                    </a:lnTo>
                    <a:lnTo>
                      <a:pt x="12" y="33"/>
                    </a:lnTo>
                    <a:lnTo>
                      <a:pt x="12" y="33"/>
                    </a:lnTo>
                    <a:lnTo>
                      <a:pt x="9" y="28"/>
                    </a:lnTo>
                    <a:lnTo>
                      <a:pt x="3" y="22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7" name="Freeform 1348"/>
              <p:cNvSpPr>
                <a:spLocks noChangeAspect="1"/>
              </p:cNvSpPr>
              <p:nvPr>
                <p:custDataLst>
                  <p:tags r:id="rId915"/>
                </p:custDataLst>
              </p:nvPr>
            </p:nvSpPr>
            <p:spPr bwMode="gray">
              <a:xfrm>
                <a:off x="6398925" y="3088360"/>
                <a:ext cx="71367" cy="94604"/>
              </a:xfrm>
              <a:custGeom>
                <a:avLst/>
                <a:gdLst>
                  <a:gd name="T0" fmla="*/ 27 w 55"/>
                  <a:gd name="T1" fmla="*/ 73 h 73"/>
                  <a:gd name="T2" fmla="*/ 36 w 55"/>
                  <a:gd name="T3" fmla="*/ 70 h 73"/>
                  <a:gd name="T4" fmla="*/ 36 w 55"/>
                  <a:gd name="T5" fmla="*/ 67 h 73"/>
                  <a:gd name="T6" fmla="*/ 39 w 55"/>
                  <a:gd name="T7" fmla="*/ 64 h 73"/>
                  <a:gd name="T8" fmla="*/ 39 w 55"/>
                  <a:gd name="T9" fmla="*/ 62 h 73"/>
                  <a:gd name="T10" fmla="*/ 41 w 55"/>
                  <a:gd name="T11" fmla="*/ 59 h 73"/>
                  <a:gd name="T12" fmla="*/ 44 w 55"/>
                  <a:gd name="T13" fmla="*/ 56 h 73"/>
                  <a:gd name="T14" fmla="*/ 47 w 55"/>
                  <a:gd name="T15" fmla="*/ 48 h 73"/>
                  <a:gd name="T16" fmla="*/ 53 w 55"/>
                  <a:gd name="T17" fmla="*/ 48 h 73"/>
                  <a:gd name="T18" fmla="*/ 55 w 55"/>
                  <a:gd name="T19" fmla="*/ 45 h 73"/>
                  <a:gd name="T20" fmla="*/ 55 w 55"/>
                  <a:gd name="T21" fmla="*/ 39 h 73"/>
                  <a:gd name="T22" fmla="*/ 53 w 55"/>
                  <a:gd name="T23" fmla="*/ 31 h 73"/>
                  <a:gd name="T24" fmla="*/ 50 w 55"/>
                  <a:gd name="T25" fmla="*/ 28 h 73"/>
                  <a:gd name="T26" fmla="*/ 47 w 55"/>
                  <a:gd name="T27" fmla="*/ 25 h 73"/>
                  <a:gd name="T28" fmla="*/ 44 w 55"/>
                  <a:gd name="T29" fmla="*/ 23 h 73"/>
                  <a:gd name="T30" fmla="*/ 44 w 55"/>
                  <a:gd name="T31" fmla="*/ 17 h 73"/>
                  <a:gd name="T32" fmla="*/ 44 w 55"/>
                  <a:gd name="T33" fmla="*/ 17 h 73"/>
                  <a:gd name="T34" fmla="*/ 53 w 55"/>
                  <a:gd name="T35" fmla="*/ 3 h 73"/>
                  <a:gd name="T36" fmla="*/ 55 w 55"/>
                  <a:gd name="T37" fmla="*/ 0 h 73"/>
                  <a:gd name="T38" fmla="*/ 53 w 55"/>
                  <a:gd name="T39" fmla="*/ 0 h 73"/>
                  <a:gd name="T40" fmla="*/ 41 w 55"/>
                  <a:gd name="T41" fmla="*/ 9 h 73"/>
                  <a:gd name="T42" fmla="*/ 41 w 55"/>
                  <a:gd name="T43" fmla="*/ 3 h 73"/>
                  <a:gd name="T44" fmla="*/ 39 w 55"/>
                  <a:gd name="T45" fmla="*/ 3 h 73"/>
                  <a:gd name="T46" fmla="*/ 39 w 55"/>
                  <a:gd name="T47" fmla="*/ 6 h 73"/>
                  <a:gd name="T48" fmla="*/ 36 w 55"/>
                  <a:gd name="T49" fmla="*/ 6 h 73"/>
                  <a:gd name="T50" fmla="*/ 33 w 55"/>
                  <a:gd name="T51" fmla="*/ 3 h 73"/>
                  <a:gd name="T52" fmla="*/ 30 w 55"/>
                  <a:gd name="T53" fmla="*/ 9 h 73"/>
                  <a:gd name="T54" fmla="*/ 30 w 55"/>
                  <a:gd name="T55" fmla="*/ 11 h 73"/>
                  <a:gd name="T56" fmla="*/ 33 w 55"/>
                  <a:gd name="T57" fmla="*/ 11 h 73"/>
                  <a:gd name="T58" fmla="*/ 41 w 55"/>
                  <a:gd name="T59" fmla="*/ 11 h 73"/>
                  <a:gd name="T60" fmla="*/ 41 w 55"/>
                  <a:gd name="T61" fmla="*/ 14 h 73"/>
                  <a:gd name="T62" fmla="*/ 39 w 55"/>
                  <a:gd name="T63" fmla="*/ 17 h 73"/>
                  <a:gd name="T64" fmla="*/ 36 w 55"/>
                  <a:gd name="T65" fmla="*/ 14 h 73"/>
                  <a:gd name="T66" fmla="*/ 33 w 55"/>
                  <a:gd name="T67" fmla="*/ 14 h 73"/>
                  <a:gd name="T68" fmla="*/ 33 w 55"/>
                  <a:gd name="T69" fmla="*/ 14 h 73"/>
                  <a:gd name="T70" fmla="*/ 27 w 55"/>
                  <a:gd name="T71" fmla="*/ 14 h 73"/>
                  <a:gd name="T72" fmla="*/ 27 w 55"/>
                  <a:gd name="T73" fmla="*/ 11 h 73"/>
                  <a:gd name="T74" fmla="*/ 27 w 55"/>
                  <a:gd name="T75" fmla="*/ 11 h 73"/>
                  <a:gd name="T76" fmla="*/ 25 w 55"/>
                  <a:gd name="T77" fmla="*/ 11 h 73"/>
                  <a:gd name="T78" fmla="*/ 22 w 55"/>
                  <a:gd name="T79" fmla="*/ 17 h 73"/>
                  <a:gd name="T80" fmla="*/ 22 w 55"/>
                  <a:gd name="T81" fmla="*/ 20 h 73"/>
                  <a:gd name="T82" fmla="*/ 19 w 55"/>
                  <a:gd name="T83" fmla="*/ 23 h 73"/>
                  <a:gd name="T84" fmla="*/ 19 w 55"/>
                  <a:gd name="T85" fmla="*/ 20 h 73"/>
                  <a:gd name="T86" fmla="*/ 19 w 55"/>
                  <a:gd name="T87" fmla="*/ 17 h 73"/>
                  <a:gd name="T88" fmla="*/ 11 w 55"/>
                  <a:gd name="T89" fmla="*/ 23 h 73"/>
                  <a:gd name="T90" fmla="*/ 5 w 55"/>
                  <a:gd name="T91" fmla="*/ 34 h 73"/>
                  <a:gd name="T92" fmla="*/ 2 w 55"/>
                  <a:gd name="T93" fmla="*/ 39 h 73"/>
                  <a:gd name="T94" fmla="*/ 0 w 55"/>
                  <a:gd name="T95" fmla="*/ 45 h 73"/>
                  <a:gd name="T96" fmla="*/ 2 w 55"/>
                  <a:gd name="T97" fmla="*/ 48 h 73"/>
                  <a:gd name="T98" fmla="*/ 2 w 55"/>
                  <a:gd name="T99" fmla="*/ 53 h 73"/>
                  <a:gd name="T100" fmla="*/ 5 w 55"/>
                  <a:gd name="T101" fmla="*/ 67 h 73"/>
                  <a:gd name="T102" fmla="*/ 5 w 55"/>
                  <a:gd name="T103" fmla="*/ 70 h 73"/>
                  <a:gd name="T104" fmla="*/ 8 w 55"/>
                  <a:gd name="T105" fmla="*/ 67 h 73"/>
                  <a:gd name="T106" fmla="*/ 11 w 55"/>
                  <a:gd name="T107" fmla="*/ 67 h 73"/>
                  <a:gd name="T108" fmla="*/ 16 w 55"/>
                  <a:gd name="T109" fmla="*/ 70 h 73"/>
                  <a:gd name="T110" fmla="*/ 19 w 55"/>
                  <a:gd name="T111" fmla="*/ 67 h 73"/>
                  <a:gd name="T112" fmla="*/ 22 w 55"/>
                  <a:gd name="T113" fmla="*/ 67 h 73"/>
                  <a:gd name="T114" fmla="*/ 25 w 55"/>
                  <a:gd name="T115" fmla="*/ 73 h 73"/>
                  <a:gd name="T116" fmla="*/ 27 w 55"/>
                  <a:gd name="T11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5" h="73">
                    <a:moveTo>
                      <a:pt x="27" y="73"/>
                    </a:moveTo>
                    <a:lnTo>
                      <a:pt x="36" y="70"/>
                    </a:lnTo>
                    <a:lnTo>
                      <a:pt x="36" y="67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1" y="59"/>
                    </a:lnTo>
                    <a:lnTo>
                      <a:pt x="44" y="56"/>
                    </a:lnTo>
                    <a:lnTo>
                      <a:pt x="47" y="48"/>
                    </a:lnTo>
                    <a:lnTo>
                      <a:pt x="53" y="48"/>
                    </a:lnTo>
                    <a:lnTo>
                      <a:pt x="55" y="45"/>
                    </a:lnTo>
                    <a:lnTo>
                      <a:pt x="55" y="39"/>
                    </a:lnTo>
                    <a:lnTo>
                      <a:pt x="53" y="31"/>
                    </a:lnTo>
                    <a:lnTo>
                      <a:pt x="50" y="28"/>
                    </a:lnTo>
                    <a:lnTo>
                      <a:pt x="47" y="25"/>
                    </a:lnTo>
                    <a:lnTo>
                      <a:pt x="44" y="23"/>
                    </a:lnTo>
                    <a:lnTo>
                      <a:pt x="44" y="17"/>
                    </a:lnTo>
                    <a:lnTo>
                      <a:pt x="44" y="17"/>
                    </a:lnTo>
                    <a:lnTo>
                      <a:pt x="53" y="3"/>
                    </a:lnTo>
                    <a:lnTo>
                      <a:pt x="55" y="0"/>
                    </a:lnTo>
                    <a:lnTo>
                      <a:pt x="53" y="0"/>
                    </a:lnTo>
                    <a:lnTo>
                      <a:pt x="41" y="9"/>
                    </a:lnTo>
                    <a:lnTo>
                      <a:pt x="41" y="3"/>
                    </a:lnTo>
                    <a:lnTo>
                      <a:pt x="39" y="3"/>
                    </a:lnTo>
                    <a:lnTo>
                      <a:pt x="39" y="6"/>
                    </a:lnTo>
                    <a:lnTo>
                      <a:pt x="36" y="6"/>
                    </a:lnTo>
                    <a:lnTo>
                      <a:pt x="33" y="3"/>
                    </a:lnTo>
                    <a:lnTo>
                      <a:pt x="30" y="9"/>
                    </a:lnTo>
                    <a:lnTo>
                      <a:pt x="30" y="11"/>
                    </a:lnTo>
                    <a:lnTo>
                      <a:pt x="33" y="11"/>
                    </a:lnTo>
                    <a:lnTo>
                      <a:pt x="41" y="11"/>
                    </a:lnTo>
                    <a:lnTo>
                      <a:pt x="41" y="14"/>
                    </a:lnTo>
                    <a:lnTo>
                      <a:pt x="39" y="17"/>
                    </a:lnTo>
                    <a:lnTo>
                      <a:pt x="36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2" y="17"/>
                    </a:lnTo>
                    <a:lnTo>
                      <a:pt x="22" y="20"/>
                    </a:lnTo>
                    <a:lnTo>
                      <a:pt x="19" y="23"/>
                    </a:lnTo>
                    <a:lnTo>
                      <a:pt x="19" y="20"/>
                    </a:lnTo>
                    <a:lnTo>
                      <a:pt x="19" y="17"/>
                    </a:lnTo>
                    <a:lnTo>
                      <a:pt x="11" y="23"/>
                    </a:lnTo>
                    <a:lnTo>
                      <a:pt x="5" y="34"/>
                    </a:lnTo>
                    <a:lnTo>
                      <a:pt x="2" y="39"/>
                    </a:lnTo>
                    <a:lnTo>
                      <a:pt x="0" y="45"/>
                    </a:lnTo>
                    <a:lnTo>
                      <a:pt x="2" y="48"/>
                    </a:lnTo>
                    <a:lnTo>
                      <a:pt x="2" y="53"/>
                    </a:lnTo>
                    <a:lnTo>
                      <a:pt x="5" y="67"/>
                    </a:lnTo>
                    <a:lnTo>
                      <a:pt x="5" y="70"/>
                    </a:lnTo>
                    <a:lnTo>
                      <a:pt x="8" y="67"/>
                    </a:lnTo>
                    <a:lnTo>
                      <a:pt x="11" y="67"/>
                    </a:lnTo>
                    <a:lnTo>
                      <a:pt x="16" y="70"/>
                    </a:lnTo>
                    <a:lnTo>
                      <a:pt x="19" y="67"/>
                    </a:lnTo>
                    <a:lnTo>
                      <a:pt x="22" y="67"/>
                    </a:lnTo>
                    <a:lnTo>
                      <a:pt x="25" y="73"/>
                    </a:lnTo>
                    <a:lnTo>
                      <a:pt x="27" y="7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8" name="Freeform 1349"/>
              <p:cNvSpPr>
                <a:spLocks noChangeAspect="1"/>
              </p:cNvSpPr>
              <p:nvPr>
                <p:custDataLst>
                  <p:tags r:id="rId916"/>
                </p:custDataLst>
              </p:nvPr>
            </p:nvSpPr>
            <p:spPr bwMode="gray">
              <a:xfrm>
                <a:off x="6710209" y="3088360"/>
                <a:ext cx="112366" cy="58340"/>
              </a:xfrm>
              <a:custGeom>
                <a:avLst/>
                <a:gdLst>
                  <a:gd name="T0" fmla="*/ 2147483647 w 86"/>
                  <a:gd name="T1" fmla="*/ 0 h 45"/>
                  <a:gd name="T2" fmla="*/ 2147483647 w 86"/>
                  <a:gd name="T3" fmla="*/ 2147483647 h 45"/>
                  <a:gd name="T4" fmla="*/ 2147483647 w 86"/>
                  <a:gd name="T5" fmla="*/ 0 h 45"/>
                  <a:gd name="T6" fmla="*/ 2147483647 w 86"/>
                  <a:gd name="T7" fmla="*/ 2147483647 h 45"/>
                  <a:gd name="T8" fmla="*/ 2147483647 w 86"/>
                  <a:gd name="T9" fmla="*/ 2147483647 h 45"/>
                  <a:gd name="T10" fmla="*/ 2147483647 w 86"/>
                  <a:gd name="T11" fmla="*/ 2147483647 h 45"/>
                  <a:gd name="T12" fmla="*/ 2147483647 w 86"/>
                  <a:gd name="T13" fmla="*/ 0 h 45"/>
                  <a:gd name="T14" fmla="*/ 2147483647 w 86"/>
                  <a:gd name="T15" fmla="*/ 0 h 45"/>
                  <a:gd name="T16" fmla="*/ 2147483647 w 86"/>
                  <a:gd name="T17" fmla="*/ 0 h 45"/>
                  <a:gd name="T18" fmla="*/ 2147483647 w 86"/>
                  <a:gd name="T19" fmla="*/ 2147483647 h 45"/>
                  <a:gd name="T20" fmla="*/ 2147483647 w 86"/>
                  <a:gd name="T21" fmla="*/ 2147483647 h 45"/>
                  <a:gd name="T22" fmla="*/ 2147483647 w 86"/>
                  <a:gd name="T23" fmla="*/ 2147483647 h 45"/>
                  <a:gd name="T24" fmla="*/ 2147483647 w 86"/>
                  <a:gd name="T25" fmla="*/ 2147483647 h 45"/>
                  <a:gd name="T26" fmla="*/ 2147483647 w 86"/>
                  <a:gd name="T27" fmla="*/ 2147483647 h 45"/>
                  <a:gd name="T28" fmla="*/ 2147483647 w 86"/>
                  <a:gd name="T29" fmla="*/ 2147483647 h 45"/>
                  <a:gd name="T30" fmla="*/ 2147483647 w 86"/>
                  <a:gd name="T31" fmla="*/ 2147483647 h 45"/>
                  <a:gd name="T32" fmla="*/ 2147483647 w 86"/>
                  <a:gd name="T33" fmla="*/ 2147483647 h 45"/>
                  <a:gd name="T34" fmla="*/ 2147483647 w 86"/>
                  <a:gd name="T35" fmla="*/ 2147483647 h 45"/>
                  <a:gd name="T36" fmla="*/ 2147483647 w 86"/>
                  <a:gd name="T37" fmla="*/ 2147483647 h 45"/>
                  <a:gd name="T38" fmla="*/ 2147483647 w 86"/>
                  <a:gd name="T39" fmla="*/ 2147483647 h 45"/>
                  <a:gd name="T40" fmla="*/ 2147483647 w 86"/>
                  <a:gd name="T41" fmla="*/ 2147483647 h 45"/>
                  <a:gd name="T42" fmla="*/ 2147483647 w 86"/>
                  <a:gd name="T43" fmla="*/ 2147483647 h 45"/>
                  <a:gd name="T44" fmla="*/ 2147483647 w 86"/>
                  <a:gd name="T45" fmla="*/ 2147483647 h 45"/>
                  <a:gd name="T46" fmla="*/ 2147483647 w 86"/>
                  <a:gd name="T47" fmla="*/ 2147483647 h 45"/>
                  <a:gd name="T48" fmla="*/ 2147483647 w 86"/>
                  <a:gd name="T49" fmla="*/ 2147483647 h 45"/>
                  <a:gd name="T50" fmla="*/ 2147483647 w 86"/>
                  <a:gd name="T51" fmla="*/ 2147483647 h 45"/>
                  <a:gd name="T52" fmla="*/ 2147483647 w 86"/>
                  <a:gd name="T53" fmla="*/ 2147483647 h 45"/>
                  <a:gd name="T54" fmla="*/ 2147483647 w 86"/>
                  <a:gd name="T55" fmla="*/ 2147483647 h 45"/>
                  <a:gd name="T56" fmla="*/ 2147483647 w 86"/>
                  <a:gd name="T57" fmla="*/ 2147483647 h 45"/>
                  <a:gd name="T58" fmla="*/ 2147483647 w 86"/>
                  <a:gd name="T59" fmla="*/ 2147483647 h 45"/>
                  <a:gd name="T60" fmla="*/ 2147483647 w 86"/>
                  <a:gd name="T61" fmla="*/ 2147483647 h 45"/>
                  <a:gd name="T62" fmla="*/ 2147483647 w 86"/>
                  <a:gd name="T63" fmla="*/ 2147483647 h 45"/>
                  <a:gd name="T64" fmla="*/ 0 w 86"/>
                  <a:gd name="T65" fmla="*/ 2147483647 h 45"/>
                  <a:gd name="T66" fmla="*/ 0 w 86"/>
                  <a:gd name="T67" fmla="*/ 2147483647 h 45"/>
                  <a:gd name="T68" fmla="*/ 0 w 86"/>
                  <a:gd name="T69" fmla="*/ 2147483647 h 45"/>
                  <a:gd name="T70" fmla="*/ 2147483647 w 86"/>
                  <a:gd name="T71" fmla="*/ 2147483647 h 45"/>
                  <a:gd name="T72" fmla="*/ 2147483647 w 86"/>
                  <a:gd name="T73" fmla="*/ 0 h 45"/>
                  <a:gd name="T74" fmla="*/ 2147483647 w 86"/>
                  <a:gd name="T75" fmla="*/ 0 h 4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86"/>
                  <a:gd name="T115" fmla="*/ 0 h 45"/>
                  <a:gd name="T116" fmla="*/ 86 w 86"/>
                  <a:gd name="T117" fmla="*/ 45 h 4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86" h="45">
                    <a:moveTo>
                      <a:pt x="22" y="0"/>
                    </a:moveTo>
                    <a:lnTo>
                      <a:pt x="25" y="3"/>
                    </a:lnTo>
                    <a:lnTo>
                      <a:pt x="36" y="0"/>
                    </a:lnTo>
                    <a:lnTo>
                      <a:pt x="59" y="6"/>
                    </a:lnTo>
                    <a:lnTo>
                      <a:pt x="67" y="3"/>
                    </a:lnTo>
                    <a:lnTo>
                      <a:pt x="72" y="6"/>
                    </a:lnTo>
                    <a:lnTo>
                      <a:pt x="81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3"/>
                    </a:lnTo>
                    <a:lnTo>
                      <a:pt x="86" y="6"/>
                    </a:lnTo>
                    <a:lnTo>
                      <a:pt x="84" y="9"/>
                    </a:lnTo>
                    <a:lnTo>
                      <a:pt x="81" y="11"/>
                    </a:lnTo>
                    <a:lnTo>
                      <a:pt x="78" y="9"/>
                    </a:lnTo>
                    <a:lnTo>
                      <a:pt x="75" y="11"/>
                    </a:lnTo>
                    <a:lnTo>
                      <a:pt x="70" y="11"/>
                    </a:lnTo>
                    <a:lnTo>
                      <a:pt x="61" y="9"/>
                    </a:lnTo>
                    <a:lnTo>
                      <a:pt x="33" y="9"/>
                    </a:lnTo>
                    <a:lnTo>
                      <a:pt x="31" y="6"/>
                    </a:lnTo>
                    <a:lnTo>
                      <a:pt x="28" y="3"/>
                    </a:lnTo>
                    <a:lnTo>
                      <a:pt x="28" y="9"/>
                    </a:lnTo>
                    <a:lnTo>
                      <a:pt x="25" y="9"/>
                    </a:lnTo>
                    <a:lnTo>
                      <a:pt x="22" y="9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11" y="20"/>
                    </a:lnTo>
                    <a:lnTo>
                      <a:pt x="8" y="31"/>
                    </a:lnTo>
                    <a:lnTo>
                      <a:pt x="11" y="42"/>
                    </a:lnTo>
                    <a:lnTo>
                      <a:pt x="14" y="45"/>
                    </a:lnTo>
                    <a:lnTo>
                      <a:pt x="8" y="45"/>
                    </a:lnTo>
                    <a:lnTo>
                      <a:pt x="3" y="34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7"/>
                    </a:lnTo>
                    <a:lnTo>
                      <a:pt x="6" y="14"/>
                    </a:lnTo>
                    <a:lnTo>
                      <a:pt x="2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9" name="Freeform 1350"/>
              <p:cNvSpPr>
                <a:spLocks noChangeAspect="1"/>
              </p:cNvSpPr>
              <p:nvPr>
                <p:custDataLst>
                  <p:tags r:id="rId917"/>
                </p:custDataLst>
              </p:nvPr>
            </p:nvSpPr>
            <p:spPr bwMode="gray">
              <a:xfrm>
                <a:off x="5827987" y="2571188"/>
                <a:ext cx="53146" cy="72530"/>
              </a:xfrm>
              <a:custGeom>
                <a:avLst/>
                <a:gdLst>
                  <a:gd name="T0" fmla="*/ 13 w 41"/>
                  <a:gd name="T1" fmla="*/ 0 h 56"/>
                  <a:gd name="T2" fmla="*/ 13 w 41"/>
                  <a:gd name="T3" fmla="*/ 0 h 56"/>
                  <a:gd name="T4" fmla="*/ 16 w 41"/>
                  <a:gd name="T5" fmla="*/ 0 h 56"/>
                  <a:gd name="T6" fmla="*/ 19 w 41"/>
                  <a:gd name="T7" fmla="*/ 3 h 56"/>
                  <a:gd name="T8" fmla="*/ 27 w 41"/>
                  <a:gd name="T9" fmla="*/ 11 h 56"/>
                  <a:gd name="T10" fmla="*/ 33 w 41"/>
                  <a:gd name="T11" fmla="*/ 14 h 56"/>
                  <a:gd name="T12" fmla="*/ 36 w 41"/>
                  <a:gd name="T13" fmla="*/ 17 h 56"/>
                  <a:gd name="T14" fmla="*/ 39 w 41"/>
                  <a:gd name="T15" fmla="*/ 25 h 56"/>
                  <a:gd name="T16" fmla="*/ 41 w 41"/>
                  <a:gd name="T17" fmla="*/ 25 h 56"/>
                  <a:gd name="T18" fmla="*/ 41 w 41"/>
                  <a:gd name="T19" fmla="*/ 31 h 56"/>
                  <a:gd name="T20" fmla="*/ 41 w 41"/>
                  <a:gd name="T21" fmla="*/ 31 h 56"/>
                  <a:gd name="T22" fmla="*/ 41 w 41"/>
                  <a:gd name="T23" fmla="*/ 37 h 56"/>
                  <a:gd name="T24" fmla="*/ 39 w 41"/>
                  <a:gd name="T25" fmla="*/ 37 h 56"/>
                  <a:gd name="T26" fmla="*/ 39 w 41"/>
                  <a:gd name="T27" fmla="*/ 42 h 56"/>
                  <a:gd name="T28" fmla="*/ 36 w 41"/>
                  <a:gd name="T29" fmla="*/ 48 h 56"/>
                  <a:gd name="T30" fmla="*/ 33 w 41"/>
                  <a:gd name="T31" fmla="*/ 48 h 56"/>
                  <a:gd name="T32" fmla="*/ 30 w 41"/>
                  <a:gd name="T33" fmla="*/ 48 h 56"/>
                  <a:gd name="T34" fmla="*/ 30 w 41"/>
                  <a:gd name="T35" fmla="*/ 45 h 56"/>
                  <a:gd name="T36" fmla="*/ 25 w 41"/>
                  <a:gd name="T37" fmla="*/ 48 h 56"/>
                  <a:gd name="T38" fmla="*/ 22 w 41"/>
                  <a:gd name="T39" fmla="*/ 48 h 56"/>
                  <a:gd name="T40" fmla="*/ 22 w 41"/>
                  <a:gd name="T41" fmla="*/ 50 h 56"/>
                  <a:gd name="T42" fmla="*/ 22 w 41"/>
                  <a:gd name="T43" fmla="*/ 53 h 56"/>
                  <a:gd name="T44" fmla="*/ 19 w 41"/>
                  <a:gd name="T45" fmla="*/ 56 h 56"/>
                  <a:gd name="T46" fmla="*/ 16 w 41"/>
                  <a:gd name="T47" fmla="*/ 56 h 56"/>
                  <a:gd name="T48" fmla="*/ 13 w 41"/>
                  <a:gd name="T49" fmla="*/ 56 h 56"/>
                  <a:gd name="T50" fmla="*/ 11 w 41"/>
                  <a:gd name="T51" fmla="*/ 37 h 56"/>
                  <a:gd name="T52" fmla="*/ 5 w 41"/>
                  <a:gd name="T53" fmla="*/ 31 h 56"/>
                  <a:gd name="T54" fmla="*/ 5 w 41"/>
                  <a:gd name="T55" fmla="*/ 28 h 56"/>
                  <a:gd name="T56" fmla="*/ 2 w 41"/>
                  <a:gd name="T57" fmla="*/ 23 h 56"/>
                  <a:gd name="T58" fmla="*/ 2 w 41"/>
                  <a:gd name="T59" fmla="*/ 20 h 56"/>
                  <a:gd name="T60" fmla="*/ 0 w 41"/>
                  <a:gd name="T61" fmla="*/ 20 h 56"/>
                  <a:gd name="T62" fmla="*/ 0 w 41"/>
                  <a:gd name="T63" fmla="*/ 20 h 56"/>
                  <a:gd name="T64" fmla="*/ 0 w 41"/>
                  <a:gd name="T65" fmla="*/ 11 h 56"/>
                  <a:gd name="T66" fmla="*/ 0 w 41"/>
                  <a:gd name="T67" fmla="*/ 9 h 56"/>
                  <a:gd name="T68" fmla="*/ 0 w 41"/>
                  <a:gd name="T69" fmla="*/ 6 h 56"/>
                  <a:gd name="T70" fmla="*/ 2 w 41"/>
                  <a:gd name="T71" fmla="*/ 6 h 56"/>
                  <a:gd name="T72" fmla="*/ 5 w 41"/>
                  <a:gd name="T73" fmla="*/ 6 h 56"/>
                  <a:gd name="T74" fmla="*/ 5 w 41"/>
                  <a:gd name="T75" fmla="*/ 3 h 56"/>
                  <a:gd name="T76" fmla="*/ 8 w 41"/>
                  <a:gd name="T77" fmla="*/ 0 h 56"/>
                  <a:gd name="T78" fmla="*/ 13 w 41"/>
                  <a:gd name="T7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1" h="56">
                    <a:moveTo>
                      <a:pt x="13" y="0"/>
                    </a:moveTo>
                    <a:lnTo>
                      <a:pt x="13" y="0"/>
                    </a:lnTo>
                    <a:lnTo>
                      <a:pt x="16" y="0"/>
                    </a:lnTo>
                    <a:lnTo>
                      <a:pt x="19" y="3"/>
                    </a:lnTo>
                    <a:lnTo>
                      <a:pt x="27" y="11"/>
                    </a:lnTo>
                    <a:lnTo>
                      <a:pt x="33" y="14"/>
                    </a:lnTo>
                    <a:lnTo>
                      <a:pt x="36" y="17"/>
                    </a:lnTo>
                    <a:lnTo>
                      <a:pt x="39" y="25"/>
                    </a:lnTo>
                    <a:lnTo>
                      <a:pt x="41" y="25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37"/>
                    </a:lnTo>
                    <a:lnTo>
                      <a:pt x="39" y="37"/>
                    </a:lnTo>
                    <a:lnTo>
                      <a:pt x="39" y="42"/>
                    </a:lnTo>
                    <a:lnTo>
                      <a:pt x="36" y="48"/>
                    </a:lnTo>
                    <a:lnTo>
                      <a:pt x="33" y="48"/>
                    </a:lnTo>
                    <a:lnTo>
                      <a:pt x="30" y="48"/>
                    </a:lnTo>
                    <a:lnTo>
                      <a:pt x="30" y="45"/>
                    </a:lnTo>
                    <a:lnTo>
                      <a:pt x="25" y="48"/>
                    </a:lnTo>
                    <a:lnTo>
                      <a:pt x="22" y="48"/>
                    </a:lnTo>
                    <a:lnTo>
                      <a:pt x="22" y="50"/>
                    </a:lnTo>
                    <a:lnTo>
                      <a:pt x="22" y="53"/>
                    </a:lnTo>
                    <a:lnTo>
                      <a:pt x="19" y="56"/>
                    </a:lnTo>
                    <a:lnTo>
                      <a:pt x="16" y="56"/>
                    </a:lnTo>
                    <a:lnTo>
                      <a:pt x="13" y="56"/>
                    </a:lnTo>
                    <a:lnTo>
                      <a:pt x="11" y="37"/>
                    </a:lnTo>
                    <a:lnTo>
                      <a:pt x="5" y="31"/>
                    </a:lnTo>
                    <a:lnTo>
                      <a:pt x="5" y="28"/>
                    </a:lnTo>
                    <a:lnTo>
                      <a:pt x="2" y="23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0" name="Freeform 1351"/>
              <p:cNvSpPr>
                <a:spLocks noChangeAspect="1"/>
              </p:cNvSpPr>
              <p:nvPr>
                <p:custDataLst>
                  <p:tags r:id="rId918"/>
                </p:custDataLst>
              </p:nvPr>
            </p:nvSpPr>
            <p:spPr bwMode="gray">
              <a:xfrm>
                <a:off x="7326703" y="2804545"/>
                <a:ext cx="118440" cy="145060"/>
              </a:xfrm>
              <a:custGeom>
                <a:avLst/>
                <a:gdLst>
                  <a:gd name="T0" fmla="*/ 2147483647 w 92"/>
                  <a:gd name="T1" fmla="*/ 0 h 112"/>
                  <a:gd name="T2" fmla="*/ 2147483647 w 92"/>
                  <a:gd name="T3" fmla="*/ 0 h 112"/>
                  <a:gd name="T4" fmla="*/ 2147483647 w 92"/>
                  <a:gd name="T5" fmla="*/ 0 h 112"/>
                  <a:gd name="T6" fmla="*/ 2147483647 w 92"/>
                  <a:gd name="T7" fmla="*/ 2147483647 h 112"/>
                  <a:gd name="T8" fmla="*/ 2147483647 w 92"/>
                  <a:gd name="T9" fmla="*/ 2147483647 h 112"/>
                  <a:gd name="T10" fmla="*/ 2147483647 w 92"/>
                  <a:gd name="T11" fmla="*/ 2147483647 h 112"/>
                  <a:gd name="T12" fmla="*/ 2147483647 w 92"/>
                  <a:gd name="T13" fmla="*/ 2147483647 h 112"/>
                  <a:gd name="T14" fmla="*/ 2147483647 w 92"/>
                  <a:gd name="T15" fmla="*/ 2147483647 h 112"/>
                  <a:gd name="T16" fmla="*/ 2147483647 w 92"/>
                  <a:gd name="T17" fmla="*/ 2147483647 h 112"/>
                  <a:gd name="T18" fmla="*/ 2147483647 w 92"/>
                  <a:gd name="T19" fmla="*/ 2147483647 h 112"/>
                  <a:gd name="T20" fmla="*/ 2147483647 w 92"/>
                  <a:gd name="T21" fmla="*/ 2147483647 h 112"/>
                  <a:gd name="T22" fmla="*/ 2147483647 w 92"/>
                  <a:gd name="T23" fmla="*/ 2147483647 h 112"/>
                  <a:gd name="T24" fmla="*/ 2147483647 w 92"/>
                  <a:gd name="T25" fmla="*/ 2147483647 h 112"/>
                  <a:gd name="T26" fmla="*/ 2147483647 w 92"/>
                  <a:gd name="T27" fmla="*/ 2147483647 h 112"/>
                  <a:gd name="T28" fmla="*/ 2147483647 w 92"/>
                  <a:gd name="T29" fmla="*/ 2147483647 h 112"/>
                  <a:gd name="T30" fmla="*/ 2147483647 w 92"/>
                  <a:gd name="T31" fmla="*/ 2147483647 h 112"/>
                  <a:gd name="T32" fmla="*/ 2147483647 w 92"/>
                  <a:gd name="T33" fmla="*/ 2147483647 h 112"/>
                  <a:gd name="T34" fmla="*/ 2147483647 w 92"/>
                  <a:gd name="T35" fmla="*/ 2147483647 h 112"/>
                  <a:gd name="T36" fmla="*/ 2147483647 w 92"/>
                  <a:gd name="T37" fmla="*/ 2147483647 h 112"/>
                  <a:gd name="T38" fmla="*/ 2147483647 w 92"/>
                  <a:gd name="T39" fmla="*/ 2147483647 h 112"/>
                  <a:gd name="T40" fmla="*/ 2147483647 w 92"/>
                  <a:gd name="T41" fmla="*/ 2147483647 h 112"/>
                  <a:gd name="T42" fmla="*/ 0 w 92"/>
                  <a:gd name="T43" fmla="*/ 2147483647 h 112"/>
                  <a:gd name="T44" fmla="*/ 0 w 92"/>
                  <a:gd name="T45" fmla="*/ 2147483647 h 112"/>
                  <a:gd name="T46" fmla="*/ 2147483647 w 92"/>
                  <a:gd name="T47" fmla="*/ 2147483647 h 112"/>
                  <a:gd name="T48" fmla="*/ 2147483647 w 92"/>
                  <a:gd name="T49" fmla="*/ 2147483647 h 112"/>
                  <a:gd name="T50" fmla="*/ 2147483647 w 92"/>
                  <a:gd name="T51" fmla="*/ 2147483647 h 112"/>
                  <a:gd name="T52" fmla="*/ 2147483647 w 92"/>
                  <a:gd name="T53" fmla="*/ 2147483647 h 112"/>
                  <a:gd name="T54" fmla="*/ 2147483647 w 92"/>
                  <a:gd name="T55" fmla="*/ 2147483647 h 112"/>
                  <a:gd name="T56" fmla="*/ 2147483647 w 92"/>
                  <a:gd name="T57" fmla="*/ 2147483647 h 112"/>
                  <a:gd name="T58" fmla="*/ 2147483647 w 92"/>
                  <a:gd name="T59" fmla="*/ 2147483647 h 112"/>
                  <a:gd name="T60" fmla="*/ 2147483647 w 92"/>
                  <a:gd name="T61" fmla="*/ 2147483647 h 112"/>
                  <a:gd name="T62" fmla="*/ 2147483647 w 92"/>
                  <a:gd name="T63" fmla="*/ 2147483647 h 112"/>
                  <a:gd name="T64" fmla="*/ 2147483647 w 92"/>
                  <a:gd name="T65" fmla="*/ 2147483647 h 112"/>
                  <a:gd name="T66" fmla="*/ 2147483647 w 92"/>
                  <a:gd name="T67" fmla="*/ 2147483647 h 112"/>
                  <a:gd name="T68" fmla="*/ 2147483647 w 92"/>
                  <a:gd name="T69" fmla="*/ 0 h 112"/>
                  <a:gd name="T70" fmla="*/ 2147483647 w 92"/>
                  <a:gd name="T71" fmla="*/ 0 h 112"/>
                  <a:gd name="T72" fmla="*/ 2147483647 w 92"/>
                  <a:gd name="T73" fmla="*/ 0 h 11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92"/>
                  <a:gd name="T112" fmla="*/ 0 h 112"/>
                  <a:gd name="T113" fmla="*/ 92 w 92"/>
                  <a:gd name="T114" fmla="*/ 112 h 11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92" h="112">
                    <a:moveTo>
                      <a:pt x="89" y="0"/>
                    </a:moveTo>
                    <a:lnTo>
                      <a:pt x="89" y="0"/>
                    </a:lnTo>
                    <a:lnTo>
                      <a:pt x="92" y="0"/>
                    </a:lnTo>
                    <a:lnTo>
                      <a:pt x="87" y="48"/>
                    </a:lnTo>
                    <a:lnTo>
                      <a:pt x="81" y="56"/>
                    </a:lnTo>
                    <a:lnTo>
                      <a:pt x="81" y="50"/>
                    </a:lnTo>
                    <a:lnTo>
                      <a:pt x="78" y="53"/>
                    </a:lnTo>
                    <a:lnTo>
                      <a:pt x="76" y="59"/>
                    </a:lnTo>
                    <a:lnTo>
                      <a:pt x="78" y="59"/>
                    </a:lnTo>
                    <a:lnTo>
                      <a:pt x="78" y="64"/>
                    </a:lnTo>
                    <a:lnTo>
                      <a:pt x="73" y="70"/>
                    </a:lnTo>
                    <a:lnTo>
                      <a:pt x="70" y="75"/>
                    </a:lnTo>
                    <a:lnTo>
                      <a:pt x="64" y="78"/>
                    </a:lnTo>
                    <a:lnTo>
                      <a:pt x="50" y="84"/>
                    </a:lnTo>
                    <a:lnTo>
                      <a:pt x="48" y="87"/>
                    </a:lnTo>
                    <a:lnTo>
                      <a:pt x="42" y="89"/>
                    </a:lnTo>
                    <a:lnTo>
                      <a:pt x="34" y="103"/>
                    </a:lnTo>
                    <a:lnTo>
                      <a:pt x="28" y="106"/>
                    </a:lnTo>
                    <a:lnTo>
                      <a:pt x="14" y="112"/>
                    </a:lnTo>
                    <a:lnTo>
                      <a:pt x="3" y="109"/>
                    </a:lnTo>
                    <a:lnTo>
                      <a:pt x="0" y="106"/>
                    </a:lnTo>
                    <a:lnTo>
                      <a:pt x="12" y="103"/>
                    </a:lnTo>
                    <a:lnTo>
                      <a:pt x="14" y="103"/>
                    </a:lnTo>
                    <a:lnTo>
                      <a:pt x="17" y="101"/>
                    </a:lnTo>
                    <a:lnTo>
                      <a:pt x="23" y="101"/>
                    </a:lnTo>
                    <a:lnTo>
                      <a:pt x="62" y="64"/>
                    </a:lnTo>
                    <a:lnTo>
                      <a:pt x="53" y="70"/>
                    </a:lnTo>
                    <a:lnTo>
                      <a:pt x="48" y="70"/>
                    </a:lnTo>
                    <a:lnTo>
                      <a:pt x="50" y="64"/>
                    </a:lnTo>
                    <a:lnTo>
                      <a:pt x="56" y="62"/>
                    </a:lnTo>
                    <a:lnTo>
                      <a:pt x="84" y="11"/>
                    </a:lnTo>
                    <a:lnTo>
                      <a:pt x="87" y="3"/>
                    </a:lnTo>
                    <a:lnTo>
                      <a:pt x="87" y="0"/>
                    </a:lnTo>
                    <a:lnTo>
                      <a:pt x="8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1" name="Freeform 1352"/>
              <p:cNvSpPr>
                <a:spLocks noChangeAspect="1"/>
              </p:cNvSpPr>
              <p:nvPr>
                <p:custDataLst>
                  <p:tags r:id="rId919"/>
                </p:custDataLst>
              </p:nvPr>
            </p:nvSpPr>
            <p:spPr bwMode="gray">
              <a:xfrm>
                <a:off x="5911501" y="2517582"/>
                <a:ext cx="45554" cy="89874"/>
              </a:xfrm>
              <a:custGeom>
                <a:avLst/>
                <a:gdLst>
                  <a:gd name="T0" fmla="*/ 30 w 36"/>
                  <a:gd name="T1" fmla="*/ 61 h 69"/>
                  <a:gd name="T2" fmla="*/ 36 w 36"/>
                  <a:gd name="T3" fmla="*/ 58 h 69"/>
                  <a:gd name="T4" fmla="*/ 33 w 36"/>
                  <a:gd name="T5" fmla="*/ 55 h 69"/>
                  <a:gd name="T6" fmla="*/ 33 w 36"/>
                  <a:gd name="T7" fmla="*/ 52 h 69"/>
                  <a:gd name="T8" fmla="*/ 33 w 36"/>
                  <a:gd name="T9" fmla="*/ 50 h 69"/>
                  <a:gd name="T10" fmla="*/ 30 w 36"/>
                  <a:gd name="T11" fmla="*/ 47 h 69"/>
                  <a:gd name="T12" fmla="*/ 27 w 36"/>
                  <a:gd name="T13" fmla="*/ 41 h 69"/>
                  <a:gd name="T14" fmla="*/ 27 w 36"/>
                  <a:gd name="T15" fmla="*/ 39 h 69"/>
                  <a:gd name="T16" fmla="*/ 25 w 36"/>
                  <a:gd name="T17" fmla="*/ 36 h 69"/>
                  <a:gd name="T18" fmla="*/ 25 w 36"/>
                  <a:gd name="T19" fmla="*/ 33 h 69"/>
                  <a:gd name="T20" fmla="*/ 25 w 36"/>
                  <a:gd name="T21" fmla="*/ 30 h 69"/>
                  <a:gd name="T22" fmla="*/ 22 w 36"/>
                  <a:gd name="T23" fmla="*/ 30 h 69"/>
                  <a:gd name="T24" fmla="*/ 22 w 36"/>
                  <a:gd name="T25" fmla="*/ 27 h 69"/>
                  <a:gd name="T26" fmla="*/ 25 w 36"/>
                  <a:gd name="T27" fmla="*/ 16 h 69"/>
                  <a:gd name="T28" fmla="*/ 25 w 36"/>
                  <a:gd name="T29" fmla="*/ 13 h 69"/>
                  <a:gd name="T30" fmla="*/ 19 w 36"/>
                  <a:gd name="T31" fmla="*/ 8 h 69"/>
                  <a:gd name="T32" fmla="*/ 11 w 36"/>
                  <a:gd name="T33" fmla="*/ 5 h 69"/>
                  <a:gd name="T34" fmla="*/ 8 w 36"/>
                  <a:gd name="T35" fmla="*/ 2 h 69"/>
                  <a:gd name="T36" fmla="*/ 5 w 36"/>
                  <a:gd name="T37" fmla="*/ 0 h 69"/>
                  <a:gd name="T38" fmla="*/ 5 w 36"/>
                  <a:gd name="T39" fmla="*/ 2 h 69"/>
                  <a:gd name="T40" fmla="*/ 11 w 36"/>
                  <a:gd name="T41" fmla="*/ 11 h 69"/>
                  <a:gd name="T42" fmla="*/ 11 w 36"/>
                  <a:gd name="T43" fmla="*/ 8 h 69"/>
                  <a:gd name="T44" fmla="*/ 16 w 36"/>
                  <a:gd name="T45" fmla="*/ 11 h 69"/>
                  <a:gd name="T46" fmla="*/ 22 w 36"/>
                  <a:gd name="T47" fmla="*/ 22 h 69"/>
                  <a:gd name="T48" fmla="*/ 19 w 36"/>
                  <a:gd name="T49" fmla="*/ 25 h 69"/>
                  <a:gd name="T50" fmla="*/ 13 w 36"/>
                  <a:gd name="T51" fmla="*/ 22 h 69"/>
                  <a:gd name="T52" fmla="*/ 13 w 36"/>
                  <a:gd name="T53" fmla="*/ 22 h 69"/>
                  <a:gd name="T54" fmla="*/ 16 w 36"/>
                  <a:gd name="T55" fmla="*/ 27 h 69"/>
                  <a:gd name="T56" fmla="*/ 13 w 36"/>
                  <a:gd name="T57" fmla="*/ 27 h 69"/>
                  <a:gd name="T58" fmla="*/ 11 w 36"/>
                  <a:gd name="T59" fmla="*/ 25 h 69"/>
                  <a:gd name="T60" fmla="*/ 8 w 36"/>
                  <a:gd name="T61" fmla="*/ 16 h 69"/>
                  <a:gd name="T62" fmla="*/ 5 w 36"/>
                  <a:gd name="T63" fmla="*/ 11 h 69"/>
                  <a:gd name="T64" fmla="*/ 2 w 36"/>
                  <a:gd name="T65" fmla="*/ 13 h 69"/>
                  <a:gd name="T66" fmla="*/ 5 w 36"/>
                  <a:gd name="T67" fmla="*/ 22 h 69"/>
                  <a:gd name="T68" fmla="*/ 8 w 36"/>
                  <a:gd name="T69" fmla="*/ 27 h 69"/>
                  <a:gd name="T70" fmla="*/ 8 w 36"/>
                  <a:gd name="T71" fmla="*/ 30 h 69"/>
                  <a:gd name="T72" fmla="*/ 2 w 36"/>
                  <a:gd name="T73" fmla="*/ 25 h 69"/>
                  <a:gd name="T74" fmla="*/ 0 w 36"/>
                  <a:gd name="T75" fmla="*/ 25 h 69"/>
                  <a:gd name="T76" fmla="*/ 5 w 36"/>
                  <a:gd name="T77" fmla="*/ 30 h 69"/>
                  <a:gd name="T78" fmla="*/ 5 w 36"/>
                  <a:gd name="T79" fmla="*/ 33 h 69"/>
                  <a:gd name="T80" fmla="*/ 5 w 36"/>
                  <a:gd name="T81" fmla="*/ 39 h 69"/>
                  <a:gd name="T82" fmla="*/ 2 w 36"/>
                  <a:gd name="T83" fmla="*/ 36 h 69"/>
                  <a:gd name="T84" fmla="*/ 2 w 36"/>
                  <a:gd name="T85" fmla="*/ 36 h 69"/>
                  <a:gd name="T86" fmla="*/ 5 w 36"/>
                  <a:gd name="T87" fmla="*/ 41 h 69"/>
                  <a:gd name="T88" fmla="*/ 16 w 36"/>
                  <a:gd name="T89" fmla="*/ 47 h 69"/>
                  <a:gd name="T90" fmla="*/ 22 w 36"/>
                  <a:gd name="T91" fmla="*/ 55 h 69"/>
                  <a:gd name="T92" fmla="*/ 22 w 36"/>
                  <a:gd name="T93" fmla="*/ 61 h 69"/>
                  <a:gd name="T94" fmla="*/ 19 w 36"/>
                  <a:gd name="T95" fmla="*/ 64 h 69"/>
                  <a:gd name="T96" fmla="*/ 19 w 36"/>
                  <a:gd name="T97" fmla="*/ 66 h 69"/>
                  <a:gd name="T98" fmla="*/ 25 w 36"/>
                  <a:gd name="T99" fmla="*/ 66 h 69"/>
                  <a:gd name="T100" fmla="*/ 25 w 36"/>
                  <a:gd name="T101" fmla="*/ 69 h 69"/>
                  <a:gd name="T102" fmla="*/ 27 w 36"/>
                  <a:gd name="T103" fmla="*/ 61 h 69"/>
                  <a:gd name="T104" fmla="*/ 30 w 36"/>
                  <a:gd name="T105" fmla="*/ 6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" h="69">
                    <a:moveTo>
                      <a:pt x="30" y="61"/>
                    </a:moveTo>
                    <a:lnTo>
                      <a:pt x="36" y="58"/>
                    </a:lnTo>
                    <a:lnTo>
                      <a:pt x="33" y="55"/>
                    </a:lnTo>
                    <a:lnTo>
                      <a:pt x="33" y="52"/>
                    </a:lnTo>
                    <a:lnTo>
                      <a:pt x="33" y="50"/>
                    </a:lnTo>
                    <a:lnTo>
                      <a:pt x="30" y="47"/>
                    </a:lnTo>
                    <a:lnTo>
                      <a:pt x="27" y="41"/>
                    </a:lnTo>
                    <a:lnTo>
                      <a:pt x="27" y="39"/>
                    </a:lnTo>
                    <a:lnTo>
                      <a:pt x="25" y="36"/>
                    </a:lnTo>
                    <a:lnTo>
                      <a:pt x="25" y="33"/>
                    </a:lnTo>
                    <a:lnTo>
                      <a:pt x="25" y="30"/>
                    </a:lnTo>
                    <a:lnTo>
                      <a:pt x="22" y="30"/>
                    </a:lnTo>
                    <a:lnTo>
                      <a:pt x="22" y="27"/>
                    </a:lnTo>
                    <a:lnTo>
                      <a:pt x="25" y="16"/>
                    </a:lnTo>
                    <a:lnTo>
                      <a:pt x="25" y="13"/>
                    </a:lnTo>
                    <a:lnTo>
                      <a:pt x="19" y="8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16" y="11"/>
                    </a:lnTo>
                    <a:lnTo>
                      <a:pt x="22" y="22"/>
                    </a:lnTo>
                    <a:lnTo>
                      <a:pt x="19" y="25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6" y="27"/>
                    </a:lnTo>
                    <a:lnTo>
                      <a:pt x="13" y="27"/>
                    </a:lnTo>
                    <a:lnTo>
                      <a:pt x="11" y="25"/>
                    </a:lnTo>
                    <a:lnTo>
                      <a:pt x="8" y="16"/>
                    </a:lnTo>
                    <a:lnTo>
                      <a:pt x="5" y="11"/>
                    </a:lnTo>
                    <a:lnTo>
                      <a:pt x="2" y="13"/>
                    </a:lnTo>
                    <a:lnTo>
                      <a:pt x="5" y="22"/>
                    </a:lnTo>
                    <a:lnTo>
                      <a:pt x="8" y="27"/>
                    </a:lnTo>
                    <a:lnTo>
                      <a:pt x="8" y="30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5" y="39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5" y="41"/>
                    </a:lnTo>
                    <a:lnTo>
                      <a:pt x="16" y="47"/>
                    </a:lnTo>
                    <a:lnTo>
                      <a:pt x="22" y="55"/>
                    </a:lnTo>
                    <a:lnTo>
                      <a:pt x="22" y="61"/>
                    </a:lnTo>
                    <a:lnTo>
                      <a:pt x="19" y="64"/>
                    </a:lnTo>
                    <a:lnTo>
                      <a:pt x="19" y="66"/>
                    </a:lnTo>
                    <a:lnTo>
                      <a:pt x="25" y="66"/>
                    </a:lnTo>
                    <a:lnTo>
                      <a:pt x="25" y="69"/>
                    </a:lnTo>
                    <a:lnTo>
                      <a:pt x="27" y="61"/>
                    </a:lnTo>
                    <a:lnTo>
                      <a:pt x="30" y="6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2" name="Freeform 1362"/>
              <p:cNvSpPr>
                <a:spLocks noChangeAspect="1"/>
              </p:cNvSpPr>
              <p:nvPr>
                <p:custDataLst>
                  <p:tags r:id="rId920"/>
                </p:custDataLst>
              </p:nvPr>
            </p:nvSpPr>
            <p:spPr bwMode="gray">
              <a:xfrm>
                <a:off x="5478741" y="3860963"/>
                <a:ext cx="44034" cy="39419"/>
              </a:xfrm>
              <a:custGeom>
                <a:avLst/>
                <a:gdLst>
                  <a:gd name="T0" fmla="*/ 0 w 34"/>
                  <a:gd name="T1" fmla="*/ 6 h 31"/>
                  <a:gd name="T2" fmla="*/ 3 w 34"/>
                  <a:gd name="T3" fmla="*/ 3 h 31"/>
                  <a:gd name="T4" fmla="*/ 6 w 34"/>
                  <a:gd name="T5" fmla="*/ 0 h 31"/>
                  <a:gd name="T6" fmla="*/ 6 w 34"/>
                  <a:gd name="T7" fmla="*/ 0 h 31"/>
                  <a:gd name="T8" fmla="*/ 6 w 34"/>
                  <a:gd name="T9" fmla="*/ 0 h 31"/>
                  <a:gd name="T10" fmla="*/ 11 w 34"/>
                  <a:gd name="T11" fmla="*/ 3 h 31"/>
                  <a:gd name="T12" fmla="*/ 14 w 34"/>
                  <a:gd name="T13" fmla="*/ 3 h 31"/>
                  <a:gd name="T14" fmla="*/ 14 w 34"/>
                  <a:gd name="T15" fmla="*/ 6 h 31"/>
                  <a:gd name="T16" fmla="*/ 17 w 34"/>
                  <a:gd name="T17" fmla="*/ 6 h 31"/>
                  <a:gd name="T18" fmla="*/ 17 w 34"/>
                  <a:gd name="T19" fmla="*/ 14 h 31"/>
                  <a:gd name="T20" fmla="*/ 23 w 34"/>
                  <a:gd name="T21" fmla="*/ 14 h 31"/>
                  <a:gd name="T22" fmla="*/ 25 w 34"/>
                  <a:gd name="T23" fmla="*/ 14 h 31"/>
                  <a:gd name="T24" fmla="*/ 31 w 34"/>
                  <a:gd name="T25" fmla="*/ 14 h 31"/>
                  <a:gd name="T26" fmla="*/ 31 w 34"/>
                  <a:gd name="T27" fmla="*/ 14 h 31"/>
                  <a:gd name="T28" fmla="*/ 34 w 34"/>
                  <a:gd name="T29" fmla="*/ 17 h 31"/>
                  <a:gd name="T30" fmla="*/ 34 w 34"/>
                  <a:gd name="T31" fmla="*/ 19 h 31"/>
                  <a:gd name="T32" fmla="*/ 34 w 34"/>
                  <a:gd name="T33" fmla="*/ 22 h 31"/>
                  <a:gd name="T34" fmla="*/ 31 w 34"/>
                  <a:gd name="T35" fmla="*/ 25 h 31"/>
                  <a:gd name="T36" fmla="*/ 23 w 34"/>
                  <a:gd name="T37" fmla="*/ 25 h 31"/>
                  <a:gd name="T38" fmla="*/ 20 w 34"/>
                  <a:gd name="T39" fmla="*/ 31 h 31"/>
                  <a:gd name="T40" fmla="*/ 17 w 34"/>
                  <a:gd name="T41" fmla="*/ 31 h 31"/>
                  <a:gd name="T42" fmla="*/ 14 w 34"/>
                  <a:gd name="T43" fmla="*/ 28 h 31"/>
                  <a:gd name="T44" fmla="*/ 11 w 34"/>
                  <a:gd name="T45" fmla="*/ 22 h 31"/>
                  <a:gd name="T46" fmla="*/ 11 w 34"/>
                  <a:gd name="T47" fmla="*/ 19 h 31"/>
                  <a:gd name="T48" fmla="*/ 9 w 34"/>
                  <a:gd name="T49" fmla="*/ 17 h 31"/>
                  <a:gd name="T50" fmla="*/ 3 w 34"/>
                  <a:gd name="T51" fmla="*/ 8 h 31"/>
                  <a:gd name="T52" fmla="*/ 3 w 34"/>
                  <a:gd name="T53" fmla="*/ 8 h 31"/>
                  <a:gd name="T54" fmla="*/ 0 w 34"/>
                  <a:gd name="T55" fmla="*/ 6 h 31"/>
                  <a:gd name="T56" fmla="*/ 0 w 34"/>
                  <a:gd name="T5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4" h="31">
                    <a:moveTo>
                      <a:pt x="0" y="6"/>
                    </a:moveTo>
                    <a:lnTo>
                      <a:pt x="3" y="3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7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4" y="17"/>
                    </a:lnTo>
                    <a:lnTo>
                      <a:pt x="34" y="19"/>
                    </a:lnTo>
                    <a:lnTo>
                      <a:pt x="34" y="22"/>
                    </a:lnTo>
                    <a:lnTo>
                      <a:pt x="31" y="25"/>
                    </a:lnTo>
                    <a:lnTo>
                      <a:pt x="23" y="25"/>
                    </a:lnTo>
                    <a:lnTo>
                      <a:pt x="20" y="31"/>
                    </a:lnTo>
                    <a:lnTo>
                      <a:pt x="17" y="31"/>
                    </a:lnTo>
                    <a:lnTo>
                      <a:pt x="14" y="28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9" y="17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3" name="Freeform 1363"/>
              <p:cNvSpPr>
                <a:spLocks noChangeAspect="1"/>
              </p:cNvSpPr>
              <p:nvPr>
                <p:custDataLst>
                  <p:tags r:id="rId921"/>
                </p:custDataLst>
              </p:nvPr>
            </p:nvSpPr>
            <p:spPr bwMode="gray">
              <a:xfrm>
                <a:off x="5903910" y="4340292"/>
                <a:ext cx="27332" cy="100911"/>
              </a:xfrm>
              <a:custGeom>
                <a:avLst/>
                <a:gdLst>
                  <a:gd name="T0" fmla="*/ 17 w 22"/>
                  <a:gd name="T1" fmla="*/ 72 h 78"/>
                  <a:gd name="T2" fmla="*/ 17 w 22"/>
                  <a:gd name="T3" fmla="*/ 72 h 78"/>
                  <a:gd name="T4" fmla="*/ 17 w 22"/>
                  <a:gd name="T5" fmla="*/ 72 h 78"/>
                  <a:gd name="T6" fmla="*/ 14 w 22"/>
                  <a:gd name="T7" fmla="*/ 75 h 78"/>
                  <a:gd name="T8" fmla="*/ 14 w 22"/>
                  <a:gd name="T9" fmla="*/ 75 h 78"/>
                  <a:gd name="T10" fmla="*/ 11 w 22"/>
                  <a:gd name="T11" fmla="*/ 75 h 78"/>
                  <a:gd name="T12" fmla="*/ 11 w 22"/>
                  <a:gd name="T13" fmla="*/ 75 h 78"/>
                  <a:gd name="T14" fmla="*/ 11 w 22"/>
                  <a:gd name="T15" fmla="*/ 72 h 78"/>
                  <a:gd name="T16" fmla="*/ 11 w 22"/>
                  <a:gd name="T17" fmla="*/ 72 h 78"/>
                  <a:gd name="T18" fmla="*/ 11 w 22"/>
                  <a:gd name="T19" fmla="*/ 70 h 78"/>
                  <a:gd name="T20" fmla="*/ 11 w 22"/>
                  <a:gd name="T21" fmla="*/ 67 h 78"/>
                  <a:gd name="T22" fmla="*/ 8 w 22"/>
                  <a:gd name="T23" fmla="*/ 64 h 78"/>
                  <a:gd name="T24" fmla="*/ 8 w 22"/>
                  <a:gd name="T25" fmla="*/ 59 h 78"/>
                  <a:gd name="T26" fmla="*/ 8 w 22"/>
                  <a:gd name="T27" fmla="*/ 59 h 78"/>
                  <a:gd name="T28" fmla="*/ 3 w 22"/>
                  <a:gd name="T29" fmla="*/ 45 h 78"/>
                  <a:gd name="T30" fmla="*/ 3 w 22"/>
                  <a:gd name="T31" fmla="*/ 45 h 78"/>
                  <a:gd name="T32" fmla="*/ 3 w 22"/>
                  <a:gd name="T33" fmla="*/ 42 h 78"/>
                  <a:gd name="T34" fmla="*/ 6 w 22"/>
                  <a:gd name="T35" fmla="*/ 39 h 78"/>
                  <a:gd name="T36" fmla="*/ 6 w 22"/>
                  <a:gd name="T37" fmla="*/ 33 h 78"/>
                  <a:gd name="T38" fmla="*/ 6 w 22"/>
                  <a:gd name="T39" fmla="*/ 20 h 78"/>
                  <a:gd name="T40" fmla="*/ 6 w 22"/>
                  <a:gd name="T41" fmla="*/ 17 h 78"/>
                  <a:gd name="T42" fmla="*/ 6 w 22"/>
                  <a:gd name="T43" fmla="*/ 14 h 78"/>
                  <a:gd name="T44" fmla="*/ 6 w 22"/>
                  <a:gd name="T45" fmla="*/ 14 h 78"/>
                  <a:gd name="T46" fmla="*/ 3 w 22"/>
                  <a:gd name="T47" fmla="*/ 11 h 78"/>
                  <a:gd name="T48" fmla="*/ 3 w 22"/>
                  <a:gd name="T49" fmla="*/ 11 h 78"/>
                  <a:gd name="T50" fmla="*/ 0 w 22"/>
                  <a:gd name="T51" fmla="*/ 8 h 78"/>
                  <a:gd name="T52" fmla="*/ 0 w 22"/>
                  <a:gd name="T53" fmla="*/ 3 h 78"/>
                  <a:gd name="T54" fmla="*/ 3 w 22"/>
                  <a:gd name="T55" fmla="*/ 0 h 78"/>
                  <a:gd name="T56" fmla="*/ 6 w 22"/>
                  <a:gd name="T57" fmla="*/ 3 h 78"/>
                  <a:gd name="T58" fmla="*/ 8 w 22"/>
                  <a:gd name="T59" fmla="*/ 6 h 78"/>
                  <a:gd name="T60" fmla="*/ 14 w 22"/>
                  <a:gd name="T61" fmla="*/ 20 h 78"/>
                  <a:gd name="T62" fmla="*/ 14 w 22"/>
                  <a:gd name="T63" fmla="*/ 25 h 78"/>
                  <a:gd name="T64" fmla="*/ 14 w 22"/>
                  <a:gd name="T65" fmla="*/ 25 h 78"/>
                  <a:gd name="T66" fmla="*/ 17 w 22"/>
                  <a:gd name="T67" fmla="*/ 28 h 78"/>
                  <a:gd name="T68" fmla="*/ 17 w 22"/>
                  <a:gd name="T69" fmla="*/ 31 h 78"/>
                  <a:gd name="T70" fmla="*/ 17 w 22"/>
                  <a:gd name="T71" fmla="*/ 33 h 78"/>
                  <a:gd name="T72" fmla="*/ 14 w 22"/>
                  <a:gd name="T73" fmla="*/ 47 h 78"/>
                  <a:gd name="T74" fmla="*/ 14 w 22"/>
                  <a:gd name="T75" fmla="*/ 50 h 78"/>
                  <a:gd name="T76" fmla="*/ 14 w 22"/>
                  <a:gd name="T77" fmla="*/ 50 h 78"/>
                  <a:gd name="T78" fmla="*/ 17 w 22"/>
                  <a:gd name="T79" fmla="*/ 64 h 78"/>
                  <a:gd name="T80" fmla="*/ 17 w 22"/>
                  <a:gd name="T81" fmla="*/ 64 h 78"/>
                  <a:gd name="T82" fmla="*/ 17 w 22"/>
                  <a:gd name="T83" fmla="*/ 64 h 78"/>
                  <a:gd name="T84" fmla="*/ 17 w 22"/>
                  <a:gd name="T85" fmla="*/ 67 h 78"/>
                  <a:gd name="T86" fmla="*/ 17 w 22"/>
                  <a:gd name="T87" fmla="*/ 67 h 78"/>
                  <a:gd name="T88" fmla="*/ 17 w 22"/>
                  <a:gd name="T89" fmla="*/ 70 h 78"/>
                  <a:gd name="T90" fmla="*/ 19 w 22"/>
                  <a:gd name="T91" fmla="*/ 70 h 78"/>
                  <a:gd name="T92" fmla="*/ 22 w 22"/>
                  <a:gd name="T93" fmla="*/ 75 h 78"/>
                  <a:gd name="T94" fmla="*/ 22 w 22"/>
                  <a:gd name="T95" fmla="*/ 78 h 78"/>
                  <a:gd name="T96" fmla="*/ 22 w 22"/>
                  <a:gd name="T97" fmla="*/ 78 h 78"/>
                  <a:gd name="T98" fmla="*/ 19 w 22"/>
                  <a:gd name="T99" fmla="*/ 78 h 78"/>
                  <a:gd name="T100" fmla="*/ 19 w 22"/>
                  <a:gd name="T101" fmla="*/ 75 h 78"/>
                  <a:gd name="T102" fmla="*/ 17 w 22"/>
                  <a:gd name="T103" fmla="*/ 75 h 78"/>
                  <a:gd name="T104" fmla="*/ 17 w 22"/>
                  <a:gd name="T105" fmla="*/ 7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" h="78">
                    <a:moveTo>
                      <a:pt x="17" y="72"/>
                    </a:moveTo>
                    <a:lnTo>
                      <a:pt x="17" y="72"/>
                    </a:lnTo>
                    <a:lnTo>
                      <a:pt x="17" y="72"/>
                    </a:lnTo>
                    <a:lnTo>
                      <a:pt x="14" y="75"/>
                    </a:lnTo>
                    <a:lnTo>
                      <a:pt x="14" y="75"/>
                    </a:lnTo>
                    <a:lnTo>
                      <a:pt x="11" y="75"/>
                    </a:lnTo>
                    <a:lnTo>
                      <a:pt x="11" y="75"/>
                    </a:lnTo>
                    <a:lnTo>
                      <a:pt x="11" y="72"/>
                    </a:lnTo>
                    <a:lnTo>
                      <a:pt x="11" y="72"/>
                    </a:lnTo>
                    <a:lnTo>
                      <a:pt x="11" y="70"/>
                    </a:lnTo>
                    <a:lnTo>
                      <a:pt x="11" y="67"/>
                    </a:lnTo>
                    <a:lnTo>
                      <a:pt x="8" y="64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3" y="42"/>
                    </a:lnTo>
                    <a:lnTo>
                      <a:pt x="6" y="39"/>
                    </a:lnTo>
                    <a:lnTo>
                      <a:pt x="6" y="33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8" y="6"/>
                    </a:lnTo>
                    <a:lnTo>
                      <a:pt x="14" y="20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7" y="28"/>
                    </a:lnTo>
                    <a:lnTo>
                      <a:pt x="17" y="31"/>
                    </a:lnTo>
                    <a:lnTo>
                      <a:pt x="17" y="33"/>
                    </a:lnTo>
                    <a:lnTo>
                      <a:pt x="14" y="47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17" y="67"/>
                    </a:lnTo>
                    <a:lnTo>
                      <a:pt x="17" y="67"/>
                    </a:lnTo>
                    <a:lnTo>
                      <a:pt x="17" y="70"/>
                    </a:lnTo>
                    <a:lnTo>
                      <a:pt x="19" y="70"/>
                    </a:lnTo>
                    <a:lnTo>
                      <a:pt x="22" y="75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19" y="78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7" y="7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4" name="Freeform 1364"/>
              <p:cNvSpPr>
                <a:spLocks noChangeAspect="1"/>
              </p:cNvSpPr>
              <p:nvPr>
                <p:custDataLst>
                  <p:tags r:id="rId922"/>
                </p:custDataLst>
              </p:nvPr>
            </p:nvSpPr>
            <p:spPr bwMode="gray">
              <a:xfrm>
                <a:off x="5809764" y="4215731"/>
                <a:ext cx="37961" cy="110372"/>
              </a:xfrm>
              <a:custGeom>
                <a:avLst/>
                <a:gdLst>
                  <a:gd name="T0" fmla="*/ 19 w 30"/>
                  <a:gd name="T1" fmla="*/ 66 h 86"/>
                  <a:gd name="T2" fmla="*/ 16 w 30"/>
                  <a:gd name="T3" fmla="*/ 64 h 86"/>
                  <a:gd name="T4" fmla="*/ 11 w 30"/>
                  <a:gd name="T5" fmla="*/ 61 h 86"/>
                  <a:gd name="T6" fmla="*/ 5 w 30"/>
                  <a:gd name="T7" fmla="*/ 55 h 86"/>
                  <a:gd name="T8" fmla="*/ 5 w 30"/>
                  <a:gd name="T9" fmla="*/ 50 h 86"/>
                  <a:gd name="T10" fmla="*/ 2 w 30"/>
                  <a:gd name="T11" fmla="*/ 50 h 86"/>
                  <a:gd name="T12" fmla="*/ 2 w 30"/>
                  <a:gd name="T13" fmla="*/ 44 h 86"/>
                  <a:gd name="T14" fmla="*/ 2 w 30"/>
                  <a:gd name="T15" fmla="*/ 36 h 86"/>
                  <a:gd name="T16" fmla="*/ 0 w 30"/>
                  <a:gd name="T17" fmla="*/ 27 h 86"/>
                  <a:gd name="T18" fmla="*/ 0 w 30"/>
                  <a:gd name="T19" fmla="*/ 16 h 86"/>
                  <a:gd name="T20" fmla="*/ 0 w 30"/>
                  <a:gd name="T21" fmla="*/ 14 h 86"/>
                  <a:gd name="T22" fmla="*/ 0 w 30"/>
                  <a:gd name="T23" fmla="*/ 16 h 86"/>
                  <a:gd name="T24" fmla="*/ 2 w 30"/>
                  <a:gd name="T25" fmla="*/ 0 h 86"/>
                  <a:gd name="T26" fmla="*/ 2 w 30"/>
                  <a:gd name="T27" fmla="*/ 2 h 86"/>
                  <a:gd name="T28" fmla="*/ 5 w 30"/>
                  <a:gd name="T29" fmla="*/ 14 h 86"/>
                  <a:gd name="T30" fmla="*/ 8 w 30"/>
                  <a:gd name="T31" fmla="*/ 16 h 86"/>
                  <a:gd name="T32" fmla="*/ 8 w 30"/>
                  <a:gd name="T33" fmla="*/ 27 h 86"/>
                  <a:gd name="T34" fmla="*/ 8 w 30"/>
                  <a:gd name="T35" fmla="*/ 27 h 86"/>
                  <a:gd name="T36" fmla="*/ 11 w 30"/>
                  <a:gd name="T37" fmla="*/ 30 h 86"/>
                  <a:gd name="T38" fmla="*/ 11 w 30"/>
                  <a:gd name="T39" fmla="*/ 41 h 86"/>
                  <a:gd name="T40" fmla="*/ 11 w 30"/>
                  <a:gd name="T41" fmla="*/ 44 h 86"/>
                  <a:gd name="T42" fmla="*/ 8 w 30"/>
                  <a:gd name="T43" fmla="*/ 44 h 86"/>
                  <a:gd name="T44" fmla="*/ 11 w 30"/>
                  <a:gd name="T45" fmla="*/ 50 h 86"/>
                  <a:gd name="T46" fmla="*/ 16 w 30"/>
                  <a:gd name="T47" fmla="*/ 53 h 86"/>
                  <a:gd name="T48" fmla="*/ 22 w 30"/>
                  <a:gd name="T49" fmla="*/ 58 h 86"/>
                  <a:gd name="T50" fmla="*/ 22 w 30"/>
                  <a:gd name="T51" fmla="*/ 64 h 86"/>
                  <a:gd name="T52" fmla="*/ 30 w 30"/>
                  <a:gd name="T53" fmla="*/ 83 h 86"/>
                  <a:gd name="T54" fmla="*/ 27 w 30"/>
                  <a:gd name="T55" fmla="*/ 86 h 86"/>
                  <a:gd name="T56" fmla="*/ 25 w 30"/>
                  <a:gd name="T57" fmla="*/ 83 h 86"/>
                  <a:gd name="T58" fmla="*/ 22 w 30"/>
                  <a:gd name="T59" fmla="*/ 83 h 86"/>
                  <a:gd name="T60" fmla="*/ 22 w 30"/>
                  <a:gd name="T61" fmla="*/ 83 h 86"/>
                  <a:gd name="T62" fmla="*/ 22 w 30"/>
                  <a:gd name="T63" fmla="*/ 80 h 86"/>
                  <a:gd name="T64" fmla="*/ 22 w 30"/>
                  <a:gd name="T65" fmla="*/ 78 h 86"/>
                  <a:gd name="T66" fmla="*/ 19 w 30"/>
                  <a:gd name="T67" fmla="*/ 6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0" h="86">
                    <a:moveTo>
                      <a:pt x="19" y="66"/>
                    </a:moveTo>
                    <a:lnTo>
                      <a:pt x="16" y="64"/>
                    </a:lnTo>
                    <a:lnTo>
                      <a:pt x="11" y="61"/>
                    </a:lnTo>
                    <a:lnTo>
                      <a:pt x="5" y="55"/>
                    </a:lnTo>
                    <a:lnTo>
                      <a:pt x="5" y="50"/>
                    </a:lnTo>
                    <a:lnTo>
                      <a:pt x="2" y="50"/>
                    </a:lnTo>
                    <a:lnTo>
                      <a:pt x="2" y="44"/>
                    </a:lnTo>
                    <a:lnTo>
                      <a:pt x="2" y="36"/>
                    </a:lnTo>
                    <a:lnTo>
                      <a:pt x="0" y="2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5" y="14"/>
                    </a:lnTo>
                    <a:lnTo>
                      <a:pt x="8" y="16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1" y="30"/>
                    </a:lnTo>
                    <a:lnTo>
                      <a:pt x="11" y="41"/>
                    </a:lnTo>
                    <a:lnTo>
                      <a:pt x="11" y="44"/>
                    </a:lnTo>
                    <a:lnTo>
                      <a:pt x="8" y="44"/>
                    </a:lnTo>
                    <a:lnTo>
                      <a:pt x="11" y="50"/>
                    </a:lnTo>
                    <a:lnTo>
                      <a:pt x="16" y="53"/>
                    </a:lnTo>
                    <a:lnTo>
                      <a:pt x="22" y="58"/>
                    </a:lnTo>
                    <a:lnTo>
                      <a:pt x="22" y="64"/>
                    </a:lnTo>
                    <a:lnTo>
                      <a:pt x="30" y="83"/>
                    </a:lnTo>
                    <a:lnTo>
                      <a:pt x="27" y="86"/>
                    </a:lnTo>
                    <a:lnTo>
                      <a:pt x="25" y="83"/>
                    </a:lnTo>
                    <a:lnTo>
                      <a:pt x="22" y="83"/>
                    </a:lnTo>
                    <a:lnTo>
                      <a:pt x="22" y="83"/>
                    </a:lnTo>
                    <a:lnTo>
                      <a:pt x="22" y="80"/>
                    </a:lnTo>
                    <a:lnTo>
                      <a:pt x="22" y="78"/>
                    </a:lnTo>
                    <a:lnTo>
                      <a:pt x="19" y="6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5" name="Freeform 1365"/>
              <p:cNvSpPr>
                <a:spLocks noChangeAspect="1"/>
              </p:cNvSpPr>
              <p:nvPr>
                <p:custDataLst>
                  <p:tags r:id="rId923"/>
                </p:custDataLst>
              </p:nvPr>
            </p:nvSpPr>
            <p:spPr bwMode="gray">
              <a:xfrm>
                <a:off x="5859874" y="4143202"/>
                <a:ext cx="62257" cy="64646"/>
              </a:xfrm>
              <a:custGeom>
                <a:avLst/>
                <a:gdLst>
                  <a:gd name="T0" fmla="*/ 2 w 47"/>
                  <a:gd name="T1" fmla="*/ 8 h 50"/>
                  <a:gd name="T2" fmla="*/ 11 w 47"/>
                  <a:gd name="T3" fmla="*/ 3 h 50"/>
                  <a:gd name="T4" fmla="*/ 14 w 47"/>
                  <a:gd name="T5" fmla="*/ 3 h 50"/>
                  <a:gd name="T6" fmla="*/ 16 w 47"/>
                  <a:gd name="T7" fmla="*/ 3 h 50"/>
                  <a:gd name="T8" fmla="*/ 22 w 47"/>
                  <a:gd name="T9" fmla="*/ 5 h 50"/>
                  <a:gd name="T10" fmla="*/ 30 w 47"/>
                  <a:gd name="T11" fmla="*/ 3 h 50"/>
                  <a:gd name="T12" fmla="*/ 36 w 47"/>
                  <a:gd name="T13" fmla="*/ 3 h 50"/>
                  <a:gd name="T14" fmla="*/ 36 w 47"/>
                  <a:gd name="T15" fmla="*/ 5 h 50"/>
                  <a:gd name="T16" fmla="*/ 39 w 47"/>
                  <a:gd name="T17" fmla="*/ 11 h 50"/>
                  <a:gd name="T18" fmla="*/ 41 w 47"/>
                  <a:gd name="T19" fmla="*/ 8 h 50"/>
                  <a:gd name="T20" fmla="*/ 47 w 47"/>
                  <a:gd name="T21" fmla="*/ 11 h 50"/>
                  <a:gd name="T22" fmla="*/ 41 w 47"/>
                  <a:gd name="T23" fmla="*/ 14 h 50"/>
                  <a:gd name="T24" fmla="*/ 39 w 47"/>
                  <a:gd name="T25" fmla="*/ 17 h 50"/>
                  <a:gd name="T26" fmla="*/ 36 w 47"/>
                  <a:gd name="T27" fmla="*/ 22 h 50"/>
                  <a:gd name="T28" fmla="*/ 36 w 47"/>
                  <a:gd name="T29" fmla="*/ 25 h 50"/>
                  <a:gd name="T30" fmla="*/ 36 w 47"/>
                  <a:gd name="T31" fmla="*/ 25 h 50"/>
                  <a:gd name="T32" fmla="*/ 33 w 47"/>
                  <a:gd name="T33" fmla="*/ 28 h 50"/>
                  <a:gd name="T34" fmla="*/ 30 w 47"/>
                  <a:gd name="T35" fmla="*/ 31 h 50"/>
                  <a:gd name="T36" fmla="*/ 27 w 47"/>
                  <a:gd name="T37" fmla="*/ 33 h 50"/>
                  <a:gd name="T38" fmla="*/ 27 w 47"/>
                  <a:gd name="T39" fmla="*/ 33 h 50"/>
                  <a:gd name="T40" fmla="*/ 25 w 47"/>
                  <a:gd name="T41" fmla="*/ 36 h 50"/>
                  <a:gd name="T42" fmla="*/ 33 w 47"/>
                  <a:gd name="T43" fmla="*/ 39 h 50"/>
                  <a:gd name="T44" fmla="*/ 33 w 47"/>
                  <a:gd name="T45" fmla="*/ 39 h 50"/>
                  <a:gd name="T46" fmla="*/ 27 w 47"/>
                  <a:gd name="T47" fmla="*/ 44 h 50"/>
                  <a:gd name="T48" fmla="*/ 22 w 47"/>
                  <a:gd name="T49" fmla="*/ 44 h 50"/>
                  <a:gd name="T50" fmla="*/ 19 w 47"/>
                  <a:gd name="T51" fmla="*/ 50 h 50"/>
                  <a:gd name="T52" fmla="*/ 19 w 47"/>
                  <a:gd name="T53" fmla="*/ 44 h 50"/>
                  <a:gd name="T54" fmla="*/ 14 w 47"/>
                  <a:gd name="T55" fmla="*/ 44 h 50"/>
                  <a:gd name="T56" fmla="*/ 8 w 47"/>
                  <a:gd name="T57" fmla="*/ 42 h 50"/>
                  <a:gd name="T58" fmla="*/ 5 w 47"/>
                  <a:gd name="T59" fmla="*/ 44 h 50"/>
                  <a:gd name="T60" fmla="*/ 2 w 47"/>
                  <a:gd name="T61" fmla="*/ 47 h 50"/>
                  <a:gd name="T62" fmla="*/ 2 w 47"/>
                  <a:gd name="T63" fmla="*/ 44 h 50"/>
                  <a:gd name="T64" fmla="*/ 2 w 47"/>
                  <a:gd name="T65" fmla="*/ 19 h 50"/>
                  <a:gd name="T66" fmla="*/ 5 w 47"/>
                  <a:gd name="T67" fmla="*/ 1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7" h="50">
                    <a:moveTo>
                      <a:pt x="2" y="8"/>
                    </a:moveTo>
                    <a:lnTo>
                      <a:pt x="2" y="8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6" y="3"/>
                    </a:lnTo>
                    <a:lnTo>
                      <a:pt x="19" y="3"/>
                    </a:lnTo>
                    <a:lnTo>
                      <a:pt x="22" y="5"/>
                    </a:lnTo>
                    <a:lnTo>
                      <a:pt x="25" y="0"/>
                    </a:lnTo>
                    <a:lnTo>
                      <a:pt x="30" y="3"/>
                    </a:lnTo>
                    <a:lnTo>
                      <a:pt x="33" y="3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9" y="8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1" y="8"/>
                    </a:lnTo>
                    <a:lnTo>
                      <a:pt x="47" y="8"/>
                    </a:lnTo>
                    <a:lnTo>
                      <a:pt x="47" y="11"/>
                    </a:lnTo>
                    <a:lnTo>
                      <a:pt x="44" y="11"/>
                    </a:lnTo>
                    <a:lnTo>
                      <a:pt x="41" y="14"/>
                    </a:lnTo>
                    <a:lnTo>
                      <a:pt x="39" y="14"/>
                    </a:lnTo>
                    <a:lnTo>
                      <a:pt x="39" y="17"/>
                    </a:lnTo>
                    <a:lnTo>
                      <a:pt x="39" y="19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6" y="25"/>
                    </a:lnTo>
                    <a:lnTo>
                      <a:pt x="33" y="28"/>
                    </a:lnTo>
                    <a:lnTo>
                      <a:pt x="33" y="28"/>
                    </a:lnTo>
                    <a:lnTo>
                      <a:pt x="33" y="31"/>
                    </a:lnTo>
                    <a:lnTo>
                      <a:pt x="30" y="31"/>
                    </a:lnTo>
                    <a:lnTo>
                      <a:pt x="30" y="33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7" y="39"/>
                    </a:lnTo>
                    <a:lnTo>
                      <a:pt x="33" y="39"/>
                    </a:lnTo>
                    <a:lnTo>
                      <a:pt x="33" y="39"/>
                    </a:lnTo>
                    <a:lnTo>
                      <a:pt x="33" y="39"/>
                    </a:lnTo>
                    <a:lnTo>
                      <a:pt x="30" y="42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9" y="47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4"/>
                    </a:lnTo>
                    <a:lnTo>
                      <a:pt x="5" y="44"/>
                    </a:lnTo>
                    <a:lnTo>
                      <a:pt x="5" y="47"/>
                    </a:lnTo>
                    <a:lnTo>
                      <a:pt x="2" y="47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36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5" y="11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6" name="Freeform 1366"/>
              <p:cNvSpPr>
                <a:spLocks noChangeAspect="1"/>
              </p:cNvSpPr>
              <p:nvPr>
                <p:custDataLst>
                  <p:tags r:id="rId924"/>
                </p:custDataLst>
              </p:nvPr>
            </p:nvSpPr>
            <p:spPr bwMode="gray">
              <a:xfrm>
                <a:off x="5761174" y="4482199"/>
                <a:ext cx="40997" cy="31534"/>
              </a:xfrm>
              <a:custGeom>
                <a:avLst/>
                <a:gdLst>
                  <a:gd name="T0" fmla="*/ 31 w 31"/>
                  <a:gd name="T1" fmla="*/ 6 h 23"/>
                  <a:gd name="T2" fmla="*/ 28 w 31"/>
                  <a:gd name="T3" fmla="*/ 6 h 23"/>
                  <a:gd name="T4" fmla="*/ 28 w 31"/>
                  <a:gd name="T5" fmla="*/ 6 h 23"/>
                  <a:gd name="T6" fmla="*/ 25 w 31"/>
                  <a:gd name="T7" fmla="*/ 6 h 23"/>
                  <a:gd name="T8" fmla="*/ 25 w 31"/>
                  <a:gd name="T9" fmla="*/ 6 h 23"/>
                  <a:gd name="T10" fmla="*/ 23 w 31"/>
                  <a:gd name="T11" fmla="*/ 6 h 23"/>
                  <a:gd name="T12" fmla="*/ 23 w 31"/>
                  <a:gd name="T13" fmla="*/ 6 h 23"/>
                  <a:gd name="T14" fmla="*/ 23 w 31"/>
                  <a:gd name="T15" fmla="*/ 6 h 23"/>
                  <a:gd name="T16" fmla="*/ 23 w 31"/>
                  <a:gd name="T17" fmla="*/ 6 h 23"/>
                  <a:gd name="T18" fmla="*/ 20 w 31"/>
                  <a:gd name="T19" fmla="*/ 6 h 23"/>
                  <a:gd name="T20" fmla="*/ 20 w 31"/>
                  <a:gd name="T21" fmla="*/ 6 h 23"/>
                  <a:gd name="T22" fmla="*/ 20 w 31"/>
                  <a:gd name="T23" fmla="*/ 6 h 23"/>
                  <a:gd name="T24" fmla="*/ 17 w 31"/>
                  <a:gd name="T25" fmla="*/ 9 h 23"/>
                  <a:gd name="T26" fmla="*/ 17 w 31"/>
                  <a:gd name="T27" fmla="*/ 9 h 23"/>
                  <a:gd name="T28" fmla="*/ 17 w 31"/>
                  <a:gd name="T29" fmla="*/ 9 h 23"/>
                  <a:gd name="T30" fmla="*/ 17 w 31"/>
                  <a:gd name="T31" fmla="*/ 9 h 23"/>
                  <a:gd name="T32" fmla="*/ 17 w 31"/>
                  <a:gd name="T33" fmla="*/ 12 h 23"/>
                  <a:gd name="T34" fmla="*/ 17 w 31"/>
                  <a:gd name="T35" fmla="*/ 9 h 23"/>
                  <a:gd name="T36" fmla="*/ 14 w 31"/>
                  <a:gd name="T37" fmla="*/ 12 h 23"/>
                  <a:gd name="T38" fmla="*/ 14 w 31"/>
                  <a:gd name="T39" fmla="*/ 12 h 23"/>
                  <a:gd name="T40" fmla="*/ 14 w 31"/>
                  <a:gd name="T41" fmla="*/ 12 h 23"/>
                  <a:gd name="T42" fmla="*/ 12 w 31"/>
                  <a:gd name="T43" fmla="*/ 14 h 23"/>
                  <a:gd name="T44" fmla="*/ 9 w 31"/>
                  <a:gd name="T45" fmla="*/ 17 h 23"/>
                  <a:gd name="T46" fmla="*/ 9 w 31"/>
                  <a:gd name="T47" fmla="*/ 17 h 23"/>
                  <a:gd name="T48" fmla="*/ 9 w 31"/>
                  <a:gd name="T49" fmla="*/ 17 h 23"/>
                  <a:gd name="T50" fmla="*/ 6 w 31"/>
                  <a:gd name="T51" fmla="*/ 17 h 23"/>
                  <a:gd name="T52" fmla="*/ 6 w 31"/>
                  <a:gd name="T53" fmla="*/ 20 h 23"/>
                  <a:gd name="T54" fmla="*/ 3 w 31"/>
                  <a:gd name="T55" fmla="*/ 23 h 23"/>
                  <a:gd name="T56" fmla="*/ 0 w 31"/>
                  <a:gd name="T57" fmla="*/ 23 h 23"/>
                  <a:gd name="T58" fmla="*/ 6 w 31"/>
                  <a:gd name="T59" fmla="*/ 17 h 23"/>
                  <a:gd name="T60" fmla="*/ 6 w 31"/>
                  <a:gd name="T61" fmla="*/ 14 h 23"/>
                  <a:gd name="T62" fmla="*/ 6 w 31"/>
                  <a:gd name="T63" fmla="*/ 14 h 23"/>
                  <a:gd name="T64" fmla="*/ 9 w 31"/>
                  <a:gd name="T65" fmla="*/ 12 h 23"/>
                  <a:gd name="T66" fmla="*/ 12 w 31"/>
                  <a:gd name="T67" fmla="*/ 9 h 23"/>
                  <a:gd name="T68" fmla="*/ 12 w 31"/>
                  <a:gd name="T69" fmla="*/ 6 h 23"/>
                  <a:gd name="T70" fmla="*/ 12 w 31"/>
                  <a:gd name="T71" fmla="*/ 6 h 23"/>
                  <a:gd name="T72" fmla="*/ 14 w 31"/>
                  <a:gd name="T73" fmla="*/ 6 h 23"/>
                  <a:gd name="T74" fmla="*/ 14 w 31"/>
                  <a:gd name="T75" fmla="*/ 6 h 23"/>
                  <a:gd name="T76" fmla="*/ 17 w 31"/>
                  <a:gd name="T77" fmla="*/ 6 h 23"/>
                  <a:gd name="T78" fmla="*/ 20 w 31"/>
                  <a:gd name="T79" fmla="*/ 3 h 23"/>
                  <a:gd name="T80" fmla="*/ 20 w 31"/>
                  <a:gd name="T81" fmla="*/ 3 h 23"/>
                  <a:gd name="T82" fmla="*/ 20 w 31"/>
                  <a:gd name="T83" fmla="*/ 0 h 23"/>
                  <a:gd name="T84" fmla="*/ 23 w 31"/>
                  <a:gd name="T85" fmla="*/ 0 h 23"/>
                  <a:gd name="T86" fmla="*/ 28 w 31"/>
                  <a:gd name="T87" fmla="*/ 0 h 23"/>
                  <a:gd name="T88" fmla="*/ 31 w 31"/>
                  <a:gd name="T89" fmla="*/ 3 h 23"/>
                  <a:gd name="T90" fmla="*/ 31 w 31"/>
                  <a:gd name="T91" fmla="*/ 3 h 23"/>
                  <a:gd name="T92" fmla="*/ 31 w 31"/>
                  <a:gd name="T93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" h="23">
                    <a:moveTo>
                      <a:pt x="31" y="6"/>
                    </a:moveTo>
                    <a:lnTo>
                      <a:pt x="28" y="6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3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7" y="9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6" y="20"/>
                    </a:lnTo>
                    <a:lnTo>
                      <a:pt x="3" y="23"/>
                    </a:lnTo>
                    <a:lnTo>
                      <a:pt x="0" y="23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9" y="12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20" y="3"/>
                    </a:lnTo>
                    <a:lnTo>
                      <a:pt x="20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3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7" name="Freeform 1367"/>
              <p:cNvSpPr>
                <a:spLocks noChangeAspect="1"/>
              </p:cNvSpPr>
              <p:nvPr>
                <p:custDataLst>
                  <p:tags r:id="rId925"/>
                </p:custDataLst>
              </p:nvPr>
            </p:nvSpPr>
            <p:spPr bwMode="gray">
              <a:xfrm>
                <a:off x="6165083" y="3074171"/>
                <a:ext cx="163993" cy="286966"/>
              </a:xfrm>
              <a:custGeom>
                <a:avLst/>
                <a:gdLst>
                  <a:gd name="T0" fmla="*/ 109 w 126"/>
                  <a:gd name="T1" fmla="*/ 217 h 223"/>
                  <a:gd name="T2" fmla="*/ 67 w 126"/>
                  <a:gd name="T3" fmla="*/ 220 h 223"/>
                  <a:gd name="T4" fmla="*/ 53 w 126"/>
                  <a:gd name="T5" fmla="*/ 209 h 223"/>
                  <a:gd name="T6" fmla="*/ 37 w 126"/>
                  <a:gd name="T7" fmla="*/ 203 h 223"/>
                  <a:gd name="T8" fmla="*/ 37 w 126"/>
                  <a:gd name="T9" fmla="*/ 173 h 223"/>
                  <a:gd name="T10" fmla="*/ 48 w 126"/>
                  <a:gd name="T11" fmla="*/ 150 h 223"/>
                  <a:gd name="T12" fmla="*/ 56 w 126"/>
                  <a:gd name="T13" fmla="*/ 150 h 223"/>
                  <a:gd name="T14" fmla="*/ 51 w 126"/>
                  <a:gd name="T15" fmla="*/ 142 h 223"/>
                  <a:gd name="T16" fmla="*/ 28 w 126"/>
                  <a:gd name="T17" fmla="*/ 117 h 223"/>
                  <a:gd name="T18" fmla="*/ 14 w 126"/>
                  <a:gd name="T19" fmla="*/ 86 h 223"/>
                  <a:gd name="T20" fmla="*/ 12 w 126"/>
                  <a:gd name="T21" fmla="*/ 81 h 223"/>
                  <a:gd name="T22" fmla="*/ 3 w 126"/>
                  <a:gd name="T23" fmla="*/ 64 h 223"/>
                  <a:gd name="T24" fmla="*/ 3 w 126"/>
                  <a:gd name="T25" fmla="*/ 56 h 223"/>
                  <a:gd name="T26" fmla="*/ 6 w 126"/>
                  <a:gd name="T27" fmla="*/ 50 h 223"/>
                  <a:gd name="T28" fmla="*/ 9 w 126"/>
                  <a:gd name="T29" fmla="*/ 45 h 223"/>
                  <a:gd name="T30" fmla="*/ 14 w 126"/>
                  <a:gd name="T31" fmla="*/ 25 h 223"/>
                  <a:gd name="T32" fmla="*/ 20 w 126"/>
                  <a:gd name="T33" fmla="*/ 25 h 223"/>
                  <a:gd name="T34" fmla="*/ 26 w 126"/>
                  <a:gd name="T35" fmla="*/ 31 h 223"/>
                  <a:gd name="T36" fmla="*/ 37 w 126"/>
                  <a:gd name="T37" fmla="*/ 20 h 223"/>
                  <a:gd name="T38" fmla="*/ 67 w 126"/>
                  <a:gd name="T39" fmla="*/ 0 h 223"/>
                  <a:gd name="T40" fmla="*/ 81 w 126"/>
                  <a:gd name="T41" fmla="*/ 3 h 223"/>
                  <a:gd name="T42" fmla="*/ 95 w 126"/>
                  <a:gd name="T43" fmla="*/ 3 h 223"/>
                  <a:gd name="T44" fmla="*/ 103 w 126"/>
                  <a:gd name="T45" fmla="*/ 8 h 223"/>
                  <a:gd name="T46" fmla="*/ 106 w 126"/>
                  <a:gd name="T47" fmla="*/ 17 h 223"/>
                  <a:gd name="T48" fmla="*/ 112 w 126"/>
                  <a:gd name="T49" fmla="*/ 25 h 223"/>
                  <a:gd name="T50" fmla="*/ 120 w 126"/>
                  <a:gd name="T51" fmla="*/ 34 h 223"/>
                  <a:gd name="T52" fmla="*/ 123 w 126"/>
                  <a:gd name="T53" fmla="*/ 42 h 223"/>
                  <a:gd name="T54" fmla="*/ 123 w 126"/>
                  <a:gd name="T55" fmla="*/ 47 h 223"/>
                  <a:gd name="T56" fmla="*/ 109 w 126"/>
                  <a:gd name="T57" fmla="*/ 45 h 223"/>
                  <a:gd name="T58" fmla="*/ 101 w 126"/>
                  <a:gd name="T59" fmla="*/ 47 h 223"/>
                  <a:gd name="T60" fmla="*/ 84 w 126"/>
                  <a:gd name="T61" fmla="*/ 45 h 223"/>
                  <a:gd name="T62" fmla="*/ 76 w 126"/>
                  <a:gd name="T63" fmla="*/ 47 h 223"/>
                  <a:gd name="T64" fmla="*/ 73 w 126"/>
                  <a:gd name="T65" fmla="*/ 50 h 223"/>
                  <a:gd name="T66" fmla="*/ 73 w 126"/>
                  <a:gd name="T67" fmla="*/ 61 h 223"/>
                  <a:gd name="T68" fmla="*/ 56 w 126"/>
                  <a:gd name="T69" fmla="*/ 59 h 223"/>
                  <a:gd name="T70" fmla="*/ 64 w 126"/>
                  <a:gd name="T71" fmla="*/ 70 h 223"/>
                  <a:gd name="T72" fmla="*/ 73 w 126"/>
                  <a:gd name="T73" fmla="*/ 81 h 223"/>
                  <a:gd name="T74" fmla="*/ 81 w 126"/>
                  <a:gd name="T75" fmla="*/ 95 h 223"/>
                  <a:gd name="T76" fmla="*/ 92 w 126"/>
                  <a:gd name="T77" fmla="*/ 100 h 223"/>
                  <a:gd name="T78" fmla="*/ 92 w 126"/>
                  <a:gd name="T79" fmla="*/ 125 h 223"/>
                  <a:gd name="T80" fmla="*/ 95 w 126"/>
                  <a:gd name="T81" fmla="*/ 125 h 223"/>
                  <a:gd name="T82" fmla="*/ 98 w 126"/>
                  <a:gd name="T83" fmla="*/ 117 h 223"/>
                  <a:gd name="T84" fmla="*/ 115 w 126"/>
                  <a:gd name="T85" fmla="*/ 120 h 223"/>
                  <a:gd name="T86" fmla="*/ 123 w 126"/>
                  <a:gd name="T87" fmla="*/ 139 h 223"/>
                  <a:gd name="T88" fmla="*/ 120 w 126"/>
                  <a:gd name="T89" fmla="*/ 142 h 223"/>
                  <a:gd name="T90" fmla="*/ 112 w 126"/>
                  <a:gd name="T91" fmla="*/ 142 h 223"/>
                  <a:gd name="T92" fmla="*/ 98 w 126"/>
                  <a:gd name="T93" fmla="*/ 134 h 223"/>
                  <a:gd name="T94" fmla="*/ 95 w 126"/>
                  <a:gd name="T95" fmla="*/ 150 h 223"/>
                  <a:gd name="T96" fmla="*/ 101 w 126"/>
                  <a:gd name="T97" fmla="*/ 156 h 223"/>
                  <a:gd name="T98" fmla="*/ 112 w 126"/>
                  <a:gd name="T99" fmla="*/ 162 h 223"/>
                  <a:gd name="T100" fmla="*/ 109 w 126"/>
                  <a:gd name="T101" fmla="*/ 164 h 223"/>
                  <a:gd name="T102" fmla="*/ 103 w 126"/>
                  <a:gd name="T103" fmla="*/ 170 h 223"/>
                  <a:gd name="T104" fmla="*/ 115 w 126"/>
                  <a:gd name="T105" fmla="*/ 176 h 223"/>
                  <a:gd name="T106" fmla="*/ 115 w 126"/>
                  <a:gd name="T107" fmla="*/ 212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6" h="223">
                    <a:moveTo>
                      <a:pt x="109" y="220"/>
                    </a:moveTo>
                    <a:lnTo>
                      <a:pt x="103" y="220"/>
                    </a:lnTo>
                    <a:lnTo>
                      <a:pt x="109" y="217"/>
                    </a:lnTo>
                    <a:lnTo>
                      <a:pt x="109" y="217"/>
                    </a:lnTo>
                    <a:lnTo>
                      <a:pt x="81" y="223"/>
                    </a:lnTo>
                    <a:lnTo>
                      <a:pt x="67" y="220"/>
                    </a:lnTo>
                    <a:lnTo>
                      <a:pt x="59" y="215"/>
                    </a:lnTo>
                    <a:lnTo>
                      <a:pt x="56" y="209"/>
                    </a:lnTo>
                    <a:lnTo>
                      <a:pt x="53" y="209"/>
                    </a:lnTo>
                    <a:lnTo>
                      <a:pt x="48" y="209"/>
                    </a:lnTo>
                    <a:lnTo>
                      <a:pt x="42" y="206"/>
                    </a:lnTo>
                    <a:lnTo>
                      <a:pt x="37" y="203"/>
                    </a:lnTo>
                    <a:lnTo>
                      <a:pt x="34" y="181"/>
                    </a:lnTo>
                    <a:lnTo>
                      <a:pt x="34" y="173"/>
                    </a:lnTo>
                    <a:lnTo>
                      <a:pt x="37" y="173"/>
                    </a:lnTo>
                    <a:lnTo>
                      <a:pt x="39" y="176"/>
                    </a:lnTo>
                    <a:lnTo>
                      <a:pt x="45" y="153"/>
                    </a:lnTo>
                    <a:lnTo>
                      <a:pt x="48" y="150"/>
                    </a:lnTo>
                    <a:lnTo>
                      <a:pt x="51" y="148"/>
                    </a:lnTo>
                    <a:lnTo>
                      <a:pt x="53" y="148"/>
                    </a:lnTo>
                    <a:lnTo>
                      <a:pt x="56" y="150"/>
                    </a:lnTo>
                    <a:lnTo>
                      <a:pt x="56" y="145"/>
                    </a:lnTo>
                    <a:lnTo>
                      <a:pt x="53" y="145"/>
                    </a:lnTo>
                    <a:lnTo>
                      <a:pt x="51" y="142"/>
                    </a:lnTo>
                    <a:lnTo>
                      <a:pt x="48" y="145"/>
                    </a:lnTo>
                    <a:lnTo>
                      <a:pt x="45" y="142"/>
                    </a:lnTo>
                    <a:lnTo>
                      <a:pt x="28" y="117"/>
                    </a:lnTo>
                    <a:lnTo>
                      <a:pt x="26" y="117"/>
                    </a:lnTo>
                    <a:lnTo>
                      <a:pt x="14" y="92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4" y="75"/>
                    </a:lnTo>
                    <a:lnTo>
                      <a:pt x="12" y="81"/>
                    </a:lnTo>
                    <a:lnTo>
                      <a:pt x="12" y="78"/>
                    </a:lnTo>
                    <a:lnTo>
                      <a:pt x="12" y="75"/>
                    </a:lnTo>
                    <a:lnTo>
                      <a:pt x="3" y="64"/>
                    </a:lnTo>
                    <a:lnTo>
                      <a:pt x="0" y="64"/>
                    </a:lnTo>
                    <a:lnTo>
                      <a:pt x="0" y="61"/>
                    </a:lnTo>
                    <a:lnTo>
                      <a:pt x="3" y="56"/>
                    </a:lnTo>
                    <a:lnTo>
                      <a:pt x="3" y="53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47"/>
                    </a:lnTo>
                    <a:lnTo>
                      <a:pt x="9" y="45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4" y="25"/>
                    </a:lnTo>
                    <a:lnTo>
                      <a:pt x="12" y="22"/>
                    </a:lnTo>
                    <a:lnTo>
                      <a:pt x="20" y="22"/>
                    </a:lnTo>
                    <a:lnTo>
                      <a:pt x="20" y="25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31" y="22"/>
                    </a:lnTo>
                    <a:lnTo>
                      <a:pt x="37" y="20"/>
                    </a:lnTo>
                    <a:lnTo>
                      <a:pt x="31" y="17"/>
                    </a:lnTo>
                    <a:lnTo>
                      <a:pt x="56" y="11"/>
                    </a:lnTo>
                    <a:lnTo>
                      <a:pt x="67" y="0"/>
                    </a:lnTo>
                    <a:lnTo>
                      <a:pt x="76" y="3"/>
                    </a:lnTo>
                    <a:lnTo>
                      <a:pt x="76" y="3"/>
                    </a:lnTo>
                    <a:lnTo>
                      <a:pt x="81" y="3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5" y="3"/>
                    </a:lnTo>
                    <a:lnTo>
                      <a:pt x="95" y="6"/>
                    </a:lnTo>
                    <a:lnTo>
                      <a:pt x="98" y="6"/>
                    </a:lnTo>
                    <a:lnTo>
                      <a:pt x="103" y="8"/>
                    </a:lnTo>
                    <a:lnTo>
                      <a:pt x="103" y="14"/>
                    </a:lnTo>
                    <a:lnTo>
                      <a:pt x="103" y="14"/>
                    </a:lnTo>
                    <a:lnTo>
                      <a:pt x="106" y="17"/>
                    </a:lnTo>
                    <a:lnTo>
                      <a:pt x="106" y="17"/>
                    </a:lnTo>
                    <a:lnTo>
                      <a:pt x="109" y="20"/>
                    </a:lnTo>
                    <a:lnTo>
                      <a:pt x="112" y="25"/>
                    </a:lnTo>
                    <a:lnTo>
                      <a:pt x="115" y="31"/>
                    </a:lnTo>
                    <a:lnTo>
                      <a:pt x="117" y="31"/>
                    </a:lnTo>
                    <a:lnTo>
                      <a:pt x="120" y="34"/>
                    </a:lnTo>
                    <a:lnTo>
                      <a:pt x="123" y="36"/>
                    </a:lnTo>
                    <a:lnTo>
                      <a:pt x="126" y="42"/>
                    </a:lnTo>
                    <a:lnTo>
                      <a:pt x="123" y="42"/>
                    </a:lnTo>
                    <a:lnTo>
                      <a:pt x="126" y="47"/>
                    </a:lnTo>
                    <a:lnTo>
                      <a:pt x="126" y="47"/>
                    </a:lnTo>
                    <a:lnTo>
                      <a:pt x="123" y="47"/>
                    </a:lnTo>
                    <a:lnTo>
                      <a:pt x="117" y="47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9" y="45"/>
                    </a:lnTo>
                    <a:lnTo>
                      <a:pt x="103" y="45"/>
                    </a:lnTo>
                    <a:lnTo>
                      <a:pt x="101" y="47"/>
                    </a:lnTo>
                    <a:lnTo>
                      <a:pt x="92" y="42"/>
                    </a:lnTo>
                    <a:lnTo>
                      <a:pt x="87" y="42"/>
                    </a:lnTo>
                    <a:lnTo>
                      <a:pt x="84" y="45"/>
                    </a:lnTo>
                    <a:lnTo>
                      <a:pt x="84" y="47"/>
                    </a:lnTo>
                    <a:lnTo>
                      <a:pt x="78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3" y="47"/>
                    </a:lnTo>
                    <a:lnTo>
                      <a:pt x="73" y="50"/>
                    </a:lnTo>
                    <a:lnTo>
                      <a:pt x="73" y="59"/>
                    </a:lnTo>
                    <a:lnTo>
                      <a:pt x="76" y="61"/>
                    </a:lnTo>
                    <a:lnTo>
                      <a:pt x="73" y="61"/>
                    </a:lnTo>
                    <a:lnTo>
                      <a:pt x="70" y="61"/>
                    </a:lnTo>
                    <a:lnTo>
                      <a:pt x="62" y="59"/>
                    </a:lnTo>
                    <a:lnTo>
                      <a:pt x="56" y="59"/>
                    </a:lnTo>
                    <a:lnTo>
                      <a:pt x="53" y="61"/>
                    </a:lnTo>
                    <a:lnTo>
                      <a:pt x="59" y="67"/>
                    </a:lnTo>
                    <a:lnTo>
                      <a:pt x="64" y="70"/>
                    </a:lnTo>
                    <a:lnTo>
                      <a:pt x="67" y="73"/>
                    </a:lnTo>
                    <a:lnTo>
                      <a:pt x="67" y="75"/>
                    </a:lnTo>
                    <a:lnTo>
                      <a:pt x="73" y="81"/>
                    </a:lnTo>
                    <a:lnTo>
                      <a:pt x="73" y="92"/>
                    </a:lnTo>
                    <a:lnTo>
                      <a:pt x="78" y="92"/>
                    </a:lnTo>
                    <a:lnTo>
                      <a:pt x="81" y="95"/>
                    </a:lnTo>
                    <a:lnTo>
                      <a:pt x="87" y="98"/>
                    </a:lnTo>
                    <a:lnTo>
                      <a:pt x="90" y="98"/>
                    </a:lnTo>
                    <a:lnTo>
                      <a:pt x="92" y="100"/>
                    </a:lnTo>
                    <a:lnTo>
                      <a:pt x="92" y="106"/>
                    </a:lnTo>
                    <a:lnTo>
                      <a:pt x="90" y="109"/>
                    </a:lnTo>
                    <a:lnTo>
                      <a:pt x="92" y="125"/>
                    </a:lnTo>
                    <a:lnTo>
                      <a:pt x="95" y="131"/>
                    </a:lnTo>
                    <a:lnTo>
                      <a:pt x="95" y="131"/>
                    </a:lnTo>
                    <a:lnTo>
                      <a:pt x="95" y="125"/>
                    </a:lnTo>
                    <a:lnTo>
                      <a:pt x="95" y="125"/>
                    </a:lnTo>
                    <a:lnTo>
                      <a:pt x="95" y="123"/>
                    </a:lnTo>
                    <a:lnTo>
                      <a:pt x="98" y="117"/>
                    </a:lnTo>
                    <a:lnTo>
                      <a:pt x="106" y="114"/>
                    </a:lnTo>
                    <a:lnTo>
                      <a:pt x="109" y="114"/>
                    </a:lnTo>
                    <a:lnTo>
                      <a:pt x="115" y="120"/>
                    </a:lnTo>
                    <a:lnTo>
                      <a:pt x="115" y="125"/>
                    </a:lnTo>
                    <a:lnTo>
                      <a:pt x="126" y="134"/>
                    </a:lnTo>
                    <a:lnTo>
                      <a:pt x="123" y="139"/>
                    </a:lnTo>
                    <a:lnTo>
                      <a:pt x="117" y="139"/>
                    </a:lnTo>
                    <a:lnTo>
                      <a:pt x="117" y="142"/>
                    </a:lnTo>
                    <a:lnTo>
                      <a:pt x="120" y="142"/>
                    </a:lnTo>
                    <a:lnTo>
                      <a:pt x="117" y="145"/>
                    </a:lnTo>
                    <a:lnTo>
                      <a:pt x="115" y="142"/>
                    </a:lnTo>
                    <a:lnTo>
                      <a:pt x="112" y="142"/>
                    </a:lnTo>
                    <a:lnTo>
                      <a:pt x="106" y="142"/>
                    </a:lnTo>
                    <a:lnTo>
                      <a:pt x="101" y="142"/>
                    </a:lnTo>
                    <a:lnTo>
                      <a:pt x="98" y="134"/>
                    </a:lnTo>
                    <a:lnTo>
                      <a:pt x="98" y="142"/>
                    </a:lnTo>
                    <a:lnTo>
                      <a:pt x="95" y="145"/>
                    </a:lnTo>
                    <a:lnTo>
                      <a:pt x="95" y="150"/>
                    </a:lnTo>
                    <a:lnTo>
                      <a:pt x="95" y="159"/>
                    </a:lnTo>
                    <a:lnTo>
                      <a:pt x="98" y="159"/>
                    </a:lnTo>
                    <a:lnTo>
                      <a:pt x="101" y="156"/>
                    </a:lnTo>
                    <a:lnTo>
                      <a:pt x="106" y="156"/>
                    </a:lnTo>
                    <a:lnTo>
                      <a:pt x="112" y="156"/>
                    </a:lnTo>
                    <a:lnTo>
                      <a:pt x="112" y="162"/>
                    </a:lnTo>
                    <a:lnTo>
                      <a:pt x="109" y="159"/>
                    </a:lnTo>
                    <a:lnTo>
                      <a:pt x="103" y="162"/>
                    </a:lnTo>
                    <a:lnTo>
                      <a:pt x="109" y="164"/>
                    </a:lnTo>
                    <a:lnTo>
                      <a:pt x="112" y="164"/>
                    </a:lnTo>
                    <a:lnTo>
                      <a:pt x="103" y="170"/>
                    </a:lnTo>
                    <a:lnTo>
                      <a:pt x="103" y="170"/>
                    </a:lnTo>
                    <a:lnTo>
                      <a:pt x="106" y="170"/>
                    </a:lnTo>
                    <a:lnTo>
                      <a:pt x="112" y="176"/>
                    </a:lnTo>
                    <a:lnTo>
                      <a:pt x="115" y="176"/>
                    </a:lnTo>
                    <a:lnTo>
                      <a:pt x="112" y="181"/>
                    </a:lnTo>
                    <a:lnTo>
                      <a:pt x="112" y="206"/>
                    </a:lnTo>
                    <a:lnTo>
                      <a:pt x="115" y="212"/>
                    </a:lnTo>
                    <a:lnTo>
                      <a:pt x="115" y="217"/>
                    </a:lnTo>
                    <a:lnTo>
                      <a:pt x="109" y="22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898" name="Group 1370"/>
              <p:cNvGrpSpPr>
                <a:grpSpLocks noChangeAspect="1"/>
              </p:cNvGrpSpPr>
              <p:nvPr>
                <p:custDataLst>
                  <p:tags r:id="rId926"/>
                </p:custDataLst>
              </p:nvPr>
            </p:nvGrpSpPr>
            <p:grpSpPr bwMode="gray">
              <a:xfrm>
                <a:off x="5479339" y="3860610"/>
                <a:ext cx="482403" cy="652883"/>
                <a:chOff x="3571" y="3063"/>
                <a:chExt cx="371" cy="507"/>
              </a:xfrm>
              <a:grpFill/>
            </p:grpSpPr>
            <p:sp>
              <p:nvSpPr>
                <p:cNvPr id="906" name="Freeform 1371"/>
                <p:cNvSpPr>
                  <a:spLocks noChangeAspect="1"/>
                </p:cNvSpPr>
                <p:nvPr/>
              </p:nvSpPr>
              <p:spPr bwMode="gray">
                <a:xfrm>
                  <a:off x="3930" y="3219"/>
                  <a:ext cx="12" cy="33"/>
                </a:xfrm>
                <a:custGeom>
                  <a:avLst/>
                  <a:gdLst>
                    <a:gd name="T0" fmla="*/ 3 w 12"/>
                    <a:gd name="T1" fmla="*/ 0 h 33"/>
                    <a:gd name="T2" fmla="*/ 6 w 12"/>
                    <a:gd name="T3" fmla="*/ 5 h 33"/>
                    <a:gd name="T4" fmla="*/ 6 w 12"/>
                    <a:gd name="T5" fmla="*/ 8 h 33"/>
                    <a:gd name="T6" fmla="*/ 6 w 12"/>
                    <a:gd name="T7" fmla="*/ 11 h 33"/>
                    <a:gd name="T8" fmla="*/ 6 w 12"/>
                    <a:gd name="T9" fmla="*/ 14 h 33"/>
                    <a:gd name="T10" fmla="*/ 6 w 12"/>
                    <a:gd name="T11" fmla="*/ 22 h 33"/>
                    <a:gd name="T12" fmla="*/ 12 w 12"/>
                    <a:gd name="T13" fmla="*/ 28 h 33"/>
                    <a:gd name="T14" fmla="*/ 12 w 12"/>
                    <a:gd name="T15" fmla="*/ 33 h 33"/>
                    <a:gd name="T16" fmla="*/ 12 w 12"/>
                    <a:gd name="T17" fmla="*/ 33 h 33"/>
                    <a:gd name="T18" fmla="*/ 9 w 12"/>
                    <a:gd name="T19" fmla="*/ 28 h 33"/>
                    <a:gd name="T20" fmla="*/ 3 w 12"/>
                    <a:gd name="T21" fmla="*/ 22 h 33"/>
                    <a:gd name="T22" fmla="*/ 0 w 12"/>
                    <a:gd name="T23" fmla="*/ 8 h 33"/>
                    <a:gd name="T24" fmla="*/ 0 w 12"/>
                    <a:gd name="T25" fmla="*/ 0 h 33"/>
                    <a:gd name="T26" fmla="*/ 3 w 12"/>
                    <a:gd name="T27" fmla="*/ 0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33">
                      <a:moveTo>
                        <a:pt x="3" y="0"/>
                      </a:moveTo>
                      <a:lnTo>
                        <a:pt x="6" y="5"/>
                      </a:lnTo>
                      <a:lnTo>
                        <a:pt x="6" y="8"/>
                      </a:lnTo>
                      <a:lnTo>
                        <a:pt x="6" y="11"/>
                      </a:lnTo>
                      <a:lnTo>
                        <a:pt x="6" y="14"/>
                      </a:lnTo>
                      <a:lnTo>
                        <a:pt x="6" y="22"/>
                      </a:lnTo>
                      <a:lnTo>
                        <a:pt x="12" y="28"/>
                      </a:lnTo>
                      <a:lnTo>
                        <a:pt x="12" y="33"/>
                      </a:lnTo>
                      <a:lnTo>
                        <a:pt x="12" y="33"/>
                      </a:lnTo>
                      <a:lnTo>
                        <a:pt x="9" y="28"/>
                      </a:lnTo>
                      <a:lnTo>
                        <a:pt x="3" y="2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7" name="Freeform 1372"/>
                <p:cNvSpPr>
                  <a:spLocks noChangeAspect="1"/>
                </p:cNvSpPr>
                <p:nvPr/>
              </p:nvSpPr>
              <p:spPr bwMode="gray">
                <a:xfrm>
                  <a:off x="3788" y="3547"/>
                  <a:ext cx="31" cy="23"/>
                </a:xfrm>
                <a:custGeom>
                  <a:avLst/>
                  <a:gdLst>
                    <a:gd name="T0" fmla="*/ 31 w 31"/>
                    <a:gd name="T1" fmla="*/ 6 h 23"/>
                    <a:gd name="T2" fmla="*/ 28 w 31"/>
                    <a:gd name="T3" fmla="*/ 6 h 23"/>
                    <a:gd name="T4" fmla="*/ 28 w 31"/>
                    <a:gd name="T5" fmla="*/ 6 h 23"/>
                    <a:gd name="T6" fmla="*/ 25 w 31"/>
                    <a:gd name="T7" fmla="*/ 6 h 23"/>
                    <a:gd name="T8" fmla="*/ 25 w 31"/>
                    <a:gd name="T9" fmla="*/ 6 h 23"/>
                    <a:gd name="T10" fmla="*/ 23 w 31"/>
                    <a:gd name="T11" fmla="*/ 6 h 23"/>
                    <a:gd name="T12" fmla="*/ 23 w 31"/>
                    <a:gd name="T13" fmla="*/ 6 h 23"/>
                    <a:gd name="T14" fmla="*/ 23 w 31"/>
                    <a:gd name="T15" fmla="*/ 6 h 23"/>
                    <a:gd name="T16" fmla="*/ 23 w 31"/>
                    <a:gd name="T17" fmla="*/ 6 h 23"/>
                    <a:gd name="T18" fmla="*/ 20 w 31"/>
                    <a:gd name="T19" fmla="*/ 6 h 23"/>
                    <a:gd name="T20" fmla="*/ 20 w 31"/>
                    <a:gd name="T21" fmla="*/ 6 h 23"/>
                    <a:gd name="T22" fmla="*/ 20 w 31"/>
                    <a:gd name="T23" fmla="*/ 6 h 23"/>
                    <a:gd name="T24" fmla="*/ 17 w 31"/>
                    <a:gd name="T25" fmla="*/ 9 h 23"/>
                    <a:gd name="T26" fmla="*/ 17 w 31"/>
                    <a:gd name="T27" fmla="*/ 9 h 23"/>
                    <a:gd name="T28" fmla="*/ 17 w 31"/>
                    <a:gd name="T29" fmla="*/ 9 h 23"/>
                    <a:gd name="T30" fmla="*/ 17 w 31"/>
                    <a:gd name="T31" fmla="*/ 9 h 23"/>
                    <a:gd name="T32" fmla="*/ 17 w 31"/>
                    <a:gd name="T33" fmla="*/ 12 h 23"/>
                    <a:gd name="T34" fmla="*/ 17 w 31"/>
                    <a:gd name="T35" fmla="*/ 9 h 23"/>
                    <a:gd name="T36" fmla="*/ 14 w 31"/>
                    <a:gd name="T37" fmla="*/ 12 h 23"/>
                    <a:gd name="T38" fmla="*/ 14 w 31"/>
                    <a:gd name="T39" fmla="*/ 12 h 23"/>
                    <a:gd name="T40" fmla="*/ 14 w 31"/>
                    <a:gd name="T41" fmla="*/ 12 h 23"/>
                    <a:gd name="T42" fmla="*/ 12 w 31"/>
                    <a:gd name="T43" fmla="*/ 14 h 23"/>
                    <a:gd name="T44" fmla="*/ 9 w 31"/>
                    <a:gd name="T45" fmla="*/ 17 h 23"/>
                    <a:gd name="T46" fmla="*/ 9 w 31"/>
                    <a:gd name="T47" fmla="*/ 17 h 23"/>
                    <a:gd name="T48" fmla="*/ 9 w 31"/>
                    <a:gd name="T49" fmla="*/ 17 h 23"/>
                    <a:gd name="T50" fmla="*/ 6 w 31"/>
                    <a:gd name="T51" fmla="*/ 17 h 23"/>
                    <a:gd name="T52" fmla="*/ 6 w 31"/>
                    <a:gd name="T53" fmla="*/ 20 h 23"/>
                    <a:gd name="T54" fmla="*/ 3 w 31"/>
                    <a:gd name="T55" fmla="*/ 23 h 23"/>
                    <a:gd name="T56" fmla="*/ 0 w 31"/>
                    <a:gd name="T57" fmla="*/ 23 h 23"/>
                    <a:gd name="T58" fmla="*/ 6 w 31"/>
                    <a:gd name="T59" fmla="*/ 17 h 23"/>
                    <a:gd name="T60" fmla="*/ 6 w 31"/>
                    <a:gd name="T61" fmla="*/ 14 h 23"/>
                    <a:gd name="T62" fmla="*/ 6 w 31"/>
                    <a:gd name="T63" fmla="*/ 14 h 23"/>
                    <a:gd name="T64" fmla="*/ 9 w 31"/>
                    <a:gd name="T65" fmla="*/ 12 h 23"/>
                    <a:gd name="T66" fmla="*/ 12 w 31"/>
                    <a:gd name="T67" fmla="*/ 9 h 23"/>
                    <a:gd name="T68" fmla="*/ 12 w 31"/>
                    <a:gd name="T69" fmla="*/ 6 h 23"/>
                    <a:gd name="T70" fmla="*/ 12 w 31"/>
                    <a:gd name="T71" fmla="*/ 6 h 23"/>
                    <a:gd name="T72" fmla="*/ 14 w 31"/>
                    <a:gd name="T73" fmla="*/ 6 h 23"/>
                    <a:gd name="T74" fmla="*/ 14 w 31"/>
                    <a:gd name="T75" fmla="*/ 6 h 23"/>
                    <a:gd name="T76" fmla="*/ 17 w 31"/>
                    <a:gd name="T77" fmla="*/ 6 h 23"/>
                    <a:gd name="T78" fmla="*/ 20 w 31"/>
                    <a:gd name="T79" fmla="*/ 3 h 23"/>
                    <a:gd name="T80" fmla="*/ 20 w 31"/>
                    <a:gd name="T81" fmla="*/ 3 h 23"/>
                    <a:gd name="T82" fmla="*/ 20 w 31"/>
                    <a:gd name="T83" fmla="*/ 0 h 23"/>
                    <a:gd name="T84" fmla="*/ 23 w 31"/>
                    <a:gd name="T85" fmla="*/ 0 h 23"/>
                    <a:gd name="T86" fmla="*/ 28 w 31"/>
                    <a:gd name="T87" fmla="*/ 0 h 23"/>
                    <a:gd name="T88" fmla="*/ 31 w 31"/>
                    <a:gd name="T89" fmla="*/ 3 h 23"/>
                    <a:gd name="T90" fmla="*/ 31 w 31"/>
                    <a:gd name="T91" fmla="*/ 3 h 23"/>
                    <a:gd name="T92" fmla="*/ 31 w 31"/>
                    <a:gd name="T93" fmla="*/ 6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1" h="23">
                      <a:moveTo>
                        <a:pt x="31" y="6"/>
                      </a:moveTo>
                      <a:lnTo>
                        <a:pt x="28" y="6"/>
                      </a:lnTo>
                      <a:lnTo>
                        <a:pt x="28" y="6"/>
                      </a:lnTo>
                      <a:lnTo>
                        <a:pt x="25" y="6"/>
                      </a:lnTo>
                      <a:lnTo>
                        <a:pt x="25" y="6"/>
                      </a:lnTo>
                      <a:lnTo>
                        <a:pt x="23" y="6"/>
                      </a:lnTo>
                      <a:lnTo>
                        <a:pt x="23" y="6"/>
                      </a:lnTo>
                      <a:lnTo>
                        <a:pt x="23" y="6"/>
                      </a:lnTo>
                      <a:lnTo>
                        <a:pt x="23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17" y="9"/>
                      </a:lnTo>
                      <a:lnTo>
                        <a:pt x="17" y="9"/>
                      </a:lnTo>
                      <a:lnTo>
                        <a:pt x="17" y="9"/>
                      </a:lnTo>
                      <a:lnTo>
                        <a:pt x="17" y="9"/>
                      </a:lnTo>
                      <a:lnTo>
                        <a:pt x="17" y="12"/>
                      </a:lnTo>
                      <a:lnTo>
                        <a:pt x="17" y="9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4" y="12"/>
                      </a:lnTo>
                      <a:lnTo>
                        <a:pt x="12" y="14"/>
                      </a:lnTo>
                      <a:lnTo>
                        <a:pt x="9" y="17"/>
                      </a:lnTo>
                      <a:lnTo>
                        <a:pt x="9" y="17"/>
                      </a:lnTo>
                      <a:lnTo>
                        <a:pt x="9" y="17"/>
                      </a:lnTo>
                      <a:lnTo>
                        <a:pt x="6" y="17"/>
                      </a:lnTo>
                      <a:lnTo>
                        <a:pt x="6" y="20"/>
                      </a:lnTo>
                      <a:lnTo>
                        <a:pt x="3" y="23"/>
                      </a:lnTo>
                      <a:lnTo>
                        <a:pt x="0" y="23"/>
                      </a:lnTo>
                      <a:lnTo>
                        <a:pt x="6" y="17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9" y="12"/>
                      </a:lnTo>
                      <a:lnTo>
                        <a:pt x="12" y="9"/>
                      </a:lnTo>
                      <a:lnTo>
                        <a:pt x="12" y="6"/>
                      </a:lnTo>
                      <a:lnTo>
                        <a:pt x="12" y="6"/>
                      </a:lnTo>
                      <a:lnTo>
                        <a:pt x="14" y="6"/>
                      </a:lnTo>
                      <a:lnTo>
                        <a:pt x="14" y="6"/>
                      </a:lnTo>
                      <a:lnTo>
                        <a:pt x="17" y="6"/>
                      </a:lnTo>
                      <a:lnTo>
                        <a:pt x="20" y="3"/>
                      </a:lnTo>
                      <a:lnTo>
                        <a:pt x="20" y="3"/>
                      </a:lnTo>
                      <a:lnTo>
                        <a:pt x="20" y="0"/>
                      </a:lnTo>
                      <a:lnTo>
                        <a:pt x="23" y="0"/>
                      </a:lnTo>
                      <a:lnTo>
                        <a:pt x="28" y="0"/>
                      </a:lnTo>
                      <a:lnTo>
                        <a:pt x="31" y="3"/>
                      </a:lnTo>
                      <a:lnTo>
                        <a:pt x="31" y="3"/>
                      </a:lnTo>
                      <a:lnTo>
                        <a:pt x="31" y="6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8" name="Freeform 1373"/>
                <p:cNvSpPr>
                  <a:spLocks noChangeAspect="1"/>
                </p:cNvSpPr>
                <p:nvPr/>
              </p:nvSpPr>
              <p:spPr bwMode="gray">
                <a:xfrm>
                  <a:off x="3571" y="3063"/>
                  <a:ext cx="34" cy="31"/>
                </a:xfrm>
                <a:custGeom>
                  <a:avLst/>
                  <a:gdLst>
                    <a:gd name="T0" fmla="*/ 0 w 34"/>
                    <a:gd name="T1" fmla="*/ 6 h 31"/>
                    <a:gd name="T2" fmla="*/ 3 w 34"/>
                    <a:gd name="T3" fmla="*/ 3 h 31"/>
                    <a:gd name="T4" fmla="*/ 6 w 34"/>
                    <a:gd name="T5" fmla="*/ 0 h 31"/>
                    <a:gd name="T6" fmla="*/ 6 w 34"/>
                    <a:gd name="T7" fmla="*/ 0 h 31"/>
                    <a:gd name="T8" fmla="*/ 6 w 34"/>
                    <a:gd name="T9" fmla="*/ 0 h 31"/>
                    <a:gd name="T10" fmla="*/ 11 w 34"/>
                    <a:gd name="T11" fmla="*/ 3 h 31"/>
                    <a:gd name="T12" fmla="*/ 14 w 34"/>
                    <a:gd name="T13" fmla="*/ 3 h 31"/>
                    <a:gd name="T14" fmla="*/ 14 w 34"/>
                    <a:gd name="T15" fmla="*/ 6 h 31"/>
                    <a:gd name="T16" fmla="*/ 17 w 34"/>
                    <a:gd name="T17" fmla="*/ 6 h 31"/>
                    <a:gd name="T18" fmla="*/ 17 w 34"/>
                    <a:gd name="T19" fmla="*/ 14 h 31"/>
                    <a:gd name="T20" fmla="*/ 23 w 34"/>
                    <a:gd name="T21" fmla="*/ 14 h 31"/>
                    <a:gd name="T22" fmla="*/ 25 w 34"/>
                    <a:gd name="T23" fmla="*/ 14 h 31"/>
                    <a:gd name="T24" fmla="*/ 31 w 34"/>
                    <a:gd name="T25" fmla="*/ 14 h 31"/>
                    <a:gd name="T26" fmla="*/ 31 w 34"/>
                    <a:gd name="T27" fmla="*/ 14 h 31"/>
                    <a:gd name="T28" fmla="*/ 34 w 34"/>
                    <a:gd name="T29" fmla="*/ 17 h 31"/>
                    <a:gd name="T30" fmla="*/ 34 w 34"/>
                    <a:gd name="T31" fmla="*/ 19 h 31"/>
                    <a:gd name="T32" fmla="*/ 34 w 34"/>
                    <a:gd name="T33" fmla="*/ 22 h 31"/>
                    <a:gd name="T34" fmla="*/ 31 w 34"/>
                    <a:gd name="T35" fmla="*/ 25 h 31"/>
                    <a:gd name="T36" fmla="*/ 23 w 34"/>
                    <a:gd name="T37" fmla="*/ 25 h 31"/>
                    <a:gd name="T38" fmla="*/ 20 w 34"/>
                    <a:gd name="T39" fmla="*/ 31 h 31"/>
                    <a:gd name="T40" fmla="*/ 17 w 34"/>
                    <a:gd name="T41" fmla="*/ 31 h 31"/>
                    <a:gd name="T42" fmla="*/ 14 w 34"/>
                    <a:gd name="T43" fmla="*/ 28 h 31"/>
                    <a:gd name="T44" fmla="*/ 11 w 34"/>
                    <a:gd name="T45" fmla="*/ 22 h 31"/>
                    <a:gd name="T46" fmla="*/ 11 w 34"/>
                    <a:gd name="T47" fmla="*/ 19 h 31"/>
                    <a:gd name="T48" fmla="*/ 9 w 34"/>
                    <a:gd name="T49" fmla="*/ 17 h 31"/>
                    <a:gd name="T50" fmla="*/ 3 w 34"/>
                    <a:gd name="T51" fmla="*/ 8 h 31"/>
                    <a:gd name="T52" fmla="*/ 3 w 34"/>
                    <a:gd name="T53" fmla="*/ 8 h 31"/>
                    <a:gd name="T54" fmla="*/ 0 w 34"/>
                    <a:gd name="T55" fmla="*/ 6 h 31"/>
                    <a:gd name="T56" fmla="*/ 0 w 34"/>
                    <a:gd name="T57" fmla="*/ 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31">
                      <a:moveTo>
                        <a:pt x="0" y="6"/>
                      </a:moveTo>
                      <a:lnTo>
                        <a:pt x="3" y="3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11" y="3"/>
                      </a:lnTo>
                      <a:lnTo>
                        <a:pt x="14" y="3"/>
                      </a:lnTo>
                      <a:lnTo>
                        <a:pt x="14" y="6"/>
                      </a:lnTo>
                      <a:lnTo>
                        <a:pt x="17" y="6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25" y="14"/>
                      </a:lnTo>
                      <a:lnTo>
                        <a:pt x="31" y="14"/>
                      </a:lnTo>
                      <a:lnTo>
                        <a:pt x="31" y="14"/>
                      </a:lnTo>
                      <a:lnTo>
                        <a:pt x="34" y="17"/>
                      </a:lnTo>
                      <a:lnTo>
                        <a:pt x="34" y="19"/>
                      </a:lnTo>
                      <a:lnTo>
                        <a:pt x="34" y="22"/>
                      </a:lnTo>
                      <a:lnTo>
                        <a:pt x="31" y="25"/>
                      </a:lnTo>
                      <a:lnTo>
                        <a:pt x="23" y="25"/>
                      </a:lnTo>
                      <a:lnTo>
                        <a:pt x="20" y="31"/>
                      </a:lnTo>
                      <a:lnTo>
                        <a:pt x="17" y="31"/>
                      </a:lnTo>
                      <a:lnTo>
                        <a:pt x="14" y="28"/>
                      </a:lnTo>
                      <a:lnTo>
                        <a:pt x="11" y="22"/>
                      </a:lnTo>
                      <a:lnTo>
                        <a:pt x="11" y="19"/>
                      </a:lnTo>
                      <a:lnTo>
                        <a:pt x="9" y="17"/>
                      </a:lnTo>
                      <a:lnTo>
                        <a:pt x="3" y="8"/>
                      </a:lnTo>
                      <a:lnTo>
                        <a:pt x="3" y="8"/>
                      </a:lnTo>
                      <a:lnTo>
                        <a:pt x="0" y="6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9" name="Freeform 1374"/>
                <p:cNvSpPr>
                  <a:spLocks noChangeAspect="1"/>
                </p:cNvSpPr>
                <p:nvPr/>
              </p:nvSpPr>
              <p:spPr bwMode="gray">
                <a:xfrm>
                  <a:off x="3897" y="3436"/>
                  <a:ext cx="22" cy="78"/>
                </a:xfrm>
                <a:custGeom>
                  <a:avLst/>
                  <a:gdLst>
                    <a:gd name="T0" fmla="*/ 17 w 22"/>
                    <a:gd name="T1" fmla="*/ 72 h 78"/>
                    <a:gd name="T2" fmla="*/ 17 w 22"/>
                    <a:gd name="T3" fmla="*/ 72 h 78"/>
                    <a:gd name="T4" fmla="*/ 17 w 22"/>
                    <a:gd name="T5" fmla="*/ 72 h 78"/>
                    <a:gd name="T6" fmla="*/ 14 w 22"/>
                    <a:gd name="T7" fmla="*/ 75 h 78"/>
                    <a:gd name="T8" fmla="*/ 14 w 22"/>
                    <a:gd name="T9" fmla="*/ 75 h 78"/>
                    <a:gd name="T10" fmla="*/ 11 w 22"/>
                    <a:gd name="T11" fmla="*/ 75 h 78"/>
                    <a:gd name="T12" fmla="*/ 11 w 22"/>
                    <a:gd name="T13" fmla="*/ 75 h 78"/>
                    <a:gd name="T14" fmla="*/ 11 w 22"/>
                    <a:gd name="T15" fmla="*/ 72 h 78"/>
                    <a:gd name="T16" fmla="*/ 11 w 22"/>
                    <a:gd name="T17" fmla="*/ 72 h 78"/>
                    <a:gd name="T18" fmla="*/ 11 w 22"/>
                    <a:gd name="T19" fmla="*/ 70 h 78"/>
                    <a:gd name="T20" fmla="*/ 11 w 22"/>
                    <a:gd name="T21" fmla="*/ 67 h 78"/>
                    <a:gd name="T22" fmla="*/ 8 w 22"/>
                    <a:gd name="T23" fmla="*/ 64 h 78"/>
                    <a:gd name="T24" fmla="*/ 8 w 22"/>
                    <a:gd name="T25" fmla="*/ 59 h 78"/>
                    <a:gd name="T26" fmla="*/ 8 w 22"/>
                    <a:gd name="T27" fmla="*/ 59 h 78"/>
                    <a:gd name="T28" fmla="*/ 3 w 22"/>
                    <a:gd name="T29" fmla="*/ 45 h 78"/>
                    <a:gd name="T30" fmla="*/ 3 w 22"/>
                    <a:gd name="T31" fmla="*/ 45 h 78"/>
                    <a:gd name="T32" fmla="*/ 3 w 22"/>
                    <a:gd name="T33" fmla="*/ 42 h 78"/>
                    <a:gd name="T34" fmla="*/ 6 w 22"/>
                    <a:gd name="T35" fmla="*/ 39 h 78"/>
                    <a:gd name="T36" fmla="*/ 6 w 22"/>
                    <a:gd name="T37" fmla="*/ 33 h 78"/>
                    <a:gd name="T38" fmla="*/ 6 w 22"/>
                    <a:gd name="T39" fmla="*/ 20 h 78"/>
                    <a:gd name="T40" fmla="*/ 6 w 22"/>
                    <a:gd name="T41" fmla="*/ 17 h 78"/>
                    <a:gd name="T42" fmla="*/ 6 w 22"/>
                    <a:gd name="T43" fmla="*/ 14 h 78"/>
                    <a:gd name="T44" fmla="*/ 6 w 22"/>
                    <a:gd name="T45" fmla="*/ 14 h 78"/>
                    <a:gd name="T46" fmla="*/ 3 w 22"/>
                    <a:gd name="T47" fmla="*/ 11 h 78"/>
                    <a:gd name="T48" fmla="*/ 3 w 22"/>
                    <a:gd name="T49" fmla="*/ 11 h 78"/>
                    <a:gd name="T50" fmla="*/ 0 w 22"/>
                    <a:gd name="T51" fmla="*/ 8 h 78"/>
                    <a:gd name="T52" fmla="*/ 0 w 22"/>
                    <a:gd name="T53" fmla="*/ 3 h 78"/>
                    <a:gd name="T54" fmla="*/ 3 w 22"/>
                    <a:gd name="T55" fmla="*/ 0 h 78"/>
                    <a:gd name="T56" fmla="*/ 6 w 22"/>
                    <a:gd name="T57" fmla="*/ 3 h 78"/>
                    <a:gd name="T58" fmla="*/ 8 w 22"/>
                    <a:gd name="T59" fmla="*/ 6 h 78"/>
                    <a:gd name="T60" fmla="*/ 14 w 22"/>
                    <a:gd name="T61" fmla="*/ 20 h 78"/>
                    <a:gd name="T62" fmla="*/ 14 w 22"/>
                    <a:gd name="T63" fmla="*/ 25 h 78"/>
                    <a:gd name="T64" fmla="*/ 14 w 22"/>
                    <a:gd name="T65" fmla="*/ 25 h 78"/>
                    <a:gd name="T66" fmla="*/ 17 w 22"/>
                    <a:gd name="T67" fmla="*/ 28 h 78"/>
                    <a:gd name="T68" fmla="*/ 17 w 22"/>
                    <a:gd name="T69" fmla="*/ 31 h 78"/>
                    <a:gd name="T70" fmla="*/ 17 w 22"/>
                    <a:gd name="T71" fmla="*/ 33 h 78"/>
                    <a:gd name="T72" fmla="*/ 14 w 22"/>
                    <a:gd name="T73" fmla="*/ 47 h 78"/>
                    <a:gd name="T74" fmla="*/ 14 w 22"/>
                    <a:gd name="T75" fmla="*/ 50 h 78"/>
                    <a:gd name="T76" fmla="*/ 14 w 22"/>
                    <a:gd name="T77" fmla="*/ 50 h 78"/>
                    <a:gd name="T78" fmla="*/ 17 w 22"/>
                    <a:gd name="T79" fmla="*/ 64 h 78"/>
                    <a:gd name="T80" fmla="*/ 17 w 22"/>
                    <a:gd name="T81" fmla="*/ 64 h 78"/>
                    <a:gd name="T82" fmla="*/ 17 w 22"/>
                    <a:gd name="T83" fmla="*/ 64 h 78"/>
                    <a:gd name="T84" fmla="*/ 17 w 22"/>
                    <a:gd name="T85" fmla="*/ 67 h 78"/>
                    <a:gd name="T86" fmla="*/ 17 w 22"/>
                    <a:gd name="T87" fmla="*/ 67 h 78"/>
                    <a:gd name="T88" fmla="*/ 17 w 22"/>
                    <a:gd name="T89" fmla="*/ 70 h 78"/>
                    <a:gd name="T90" fmla="*/ 19 w 22"/>
                    <a:gd name="T91" fmla="*/ 70 h 78"/>
                    <a:gd name="T92" fmla="*/ 22 w 22"/>
                    <a:gd name="T93" fmla="*/ 75 h 78"/>
                    <a:gd name="T94" fmla="*/ 22 w 22"/>
                    <a:gd name="T95" fmla="*/ 78 h 78"/>
                    <a:gd name="T96" fmla="*/ 22 w 22"/>
                    <a:gd name="T97" fmla="*/ 78 h 78"/>
                    <a:gd name="T98" fmla="*/ 19 w 22"/>
                    <a:gd name="T99" fmla="*/ 78 h 78"/>
                    <a:gd name="T100" fmla="*/ 19 w 22"/>
                    <a:gd name="T101" fmla="*/ 75 h 78"/>
                    <a:gd name="T102" fmla="*/ 17 w 22"/>
                    <a:gd name="T103" fmla="*/ 75 h 78"/>
                    <a:gd name="T104" fmla="*/ 17 w 22"/>
                    <a:gd name="T105" fmla="*/ 72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2" h="78">
                      <a:moveTo>
                        <a:pt x="17" y="72"/>
                      </a:moveTo>
                      <a:lnTo>
                        <a:pt x="17" y="72"/>
                      </a:lnTo>
                      <a:lnTo>
                        <a:pt x="17" y="72"/>
                      </a:lnTo>
                      <a:lnTo>
                        <a:pt x="14" y="75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1" y="75"/>
                      </a:lnTo>
                      <a:lnTo>
                        <a:pt x="11" y="72"/>
                      </a:lnTo>
                      <a:lnTo>
                        <a:pt x="11" y="72"/>
                      </a:lnTo>
                      <a:lnTo>
                        <a:pt x="11" y="70"/>
                      </a:lnTo>
                      <a:lnTo>
                        <a:pt x="11" y="67"/>
                      </a:lnTo>
                      <a:lnTo>
                        <a:pt x="8" y="64"/>
                      </a:lnTo>
                      <a:lnTo>
                        <a:pt x="8" y="59"/>
                      </a:lnTo>
                      <a:lnTo>
                        <a:pt x="8" y="59"/>
                      </a:lnTo>
                      <a:lnTo>
                        <a:pt x="3" y="45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6" y="39"/>
                      </a:lnTo>
                      <a:lnTo>
                        <a:pt x="6" y="33"/>
                      </a:lnTo>
                      <a:lnTo>
                        <a:pt x="6" y="20"/>
                      </a:lnTo>
                      <a:lnTo>
                        <a:pt x="6" y="17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3" y="11"/>
                      </a:lnTo>
                      <a:lnTo>
                        <a:pt x="3" y="11"/>
                      </a:ln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3" y="0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14" y="20"/>
                      </a:lnTo>
                      <a:lnTo>
                        <a:pt x="14" y="25"/>
                      </a:lnTo>
                      <a:lnTo>
                        <a:pt x="14" y="25"/>
                      </a:lnTo>
                      <a:lnTo>
                        <a:pt x="17" y="28"/>
                      </a:lnTo>
                      <a:lnTo>
                        <a:pt x="17" y="31"/>
                      </a:lnTo>
                      <a:lnTo>
                        <a:pt x="17" y="33"/>
                      </a:lnTo>
                      <a:lnTo>
                        <a:pt x="14" y="47"/>
                      </a:lnTo>
                      <a:lnTo>
                        <a:pt x="14" y="50"/>
                      </a:lnTo>
                      <a:lnTo>
                        <a:pt x="14" y="50"/>
                      </a:lnTo>
                      <a:lnTo>
                        <a:pt x="17" y="64"/>
                      </a:lnTo>
                      <a:lnTo>
                        <a:pt x="17" y="64"/>
                      </a:lnTo>
                      <a:lnTo>
                        <a:pt x="17" y="64"/>
                      </a:lnTo>
                      <a:lnTo>
                        <a:pt x="17" y="67"/>
                      </a:lnTo>
                      <a:lnTo>
                        <a:pt x="17" y="67"/>
                      </a:lnTo>
                      <a:lnTo>
                        <a:pt x="17" y="70"/>
                      </a:lnTo>
                      <a:lnTo>
                        <a:pt x="19" y="70"/>
                      </a:lnTo>
                      <a:lnTo>
                        <a:pt x="22" y="75"/>
                      </a:lnTo>
                      <a:lnTo>
                        <a:pt x="22" y="78"/>
                      </a:lnTo>
                      <a:lnTo>
                        <a:pt x="22" y="78"/>
                      </a:lnTo>
                      <a:lnTo>
                        <a:pt x="19" y="78"/>
                      </a:lnTo>
                      <a:lnTo>
                        <a:pt x="19" y="75"/>
                      </a:lnTo>
                      <a:lnTo>
                        <a:pt x="17" y="75"/>
                      </a:lnTo>
                      <a:lnTo>
                        <a:pt x="17" y="72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0" name="Freeform 1375"/>
                <p:cNvSpPr>
                  <a:spLocks noChangeAspect="1"/>
                </p:cNvSpPr>
                <p:nvPr/>
              </p:nvSpPr>
              <p:spPr bwMode="gray">
                <a:xfrm>
                  <a:off x="3825" y="3339"/>
                  <a:ext cx="30" cy="86"/>
                </a:xfrm>
                <a:custGeom>
                  <a:avLst/>
                  <a:gdLst>
                    <a:gd name="T0" fmla="*/ 19 w 30"/>
                    <a:gd name="T1" fmla="*/ 66 h 86"/>
                    <a:gd name="T2" fmla="*/ 16 w 30"/>
                    <a:gd name="T3" fmla="*/ 64 h 86"/>
                    <a:gd name="T4" fmla="*/ 11 w 30"/>
                    <a:gd name="T5" fmla="*/ 61 h 86"/>
                    <a:gd name="T6" fmla="*/ 5 w 30"/>
                    <a:gd name="T7" fmla="*/ 55 h 86"/>
                    <a:gd name="T8" fmla="*/ 5 w 30"/>
                    <a:gd name="T9" fmla="*/ 50 h 86"/>
                    <a:gd name="T10" fmla="*/ 2 w 30"/>
                    <a:gd name="T11" fmla="*/ 50 h 86"/>
                    <a:gd name="T12" fmla="*/ 2 w 30"/>
                    <a:gd name="T13" fmla="*/ 44 h 86"/>
                    <a:gd name="T14" fmla="*/ 2 w 30"/>
                    <a:gd name="T15" fmla="*/ 36 h 86"/>
                    <a:gd name="T16" fmla="*/ 0 w 30"/>
                    <a:gd name="T17" fmla="*/ 27 h 86"/>
                    <a:gd name="T18" fmla="*/ 0 w 30"/>
                    <a:gd name="T19" fmla="*/ 16 h 86"/>
                    <a:gd name="T20" fmla="*/ 0 w 30"/>
                    <a:gd name="T21" fmla="*/ 14 h 86"/>
                    <a:gd name="T22" fmla="*/ 0 w 30"/>
                    <a:gd name="T23" fmla="*/ 16 h 86"/>
                    <a:gd name="T24" fmla="*/ 2 w 30"/>
                    <a:gd name="T25" fmla="*/ 0 h 86"/>
                    <a:gd name="T26" fmla="*/ 2 w 30"/>
                    <a:gd name="T27" fmla="*/ 2 h 86"/>
                    <a:gd name="T28" fmla="*/ 5 w 30"/>
                    <a:gd name="T29" fmla="*/ 14 h 86"/>
                    <a:gd name="T30" fmla="*/ 8 w 30"/>
                    <a:gd name="T31" fmla="*/ 16 h 86"/>
                    <a:gd name="T32" fmla="*/ 8 w 30"/>
                    <a:gd name="T33" fmla="*/ 27 h 86"/>
                    <a:gd name="T34" fmla="*/ 8 w 30"/>
                    <a:gd name="T35" fmla="*/ 27 h 86"/>
                    <a:gd name="T36" fmla="*/ 11 w 30"/>
                    <a:gd name="T37" fmla="*/ 30 h 86"/>
                    <a:gd name="T38" fmla="*/ 11 w 30"/>
                    <a:gd name="T39" fmla="*/ 41 h 86"/>
                    <a:gd name="T40" fmla="*/ 11 w 30"/>
                    <a:gd name="T41" fmla="*/ 44 h 86"/>
                    <a:gd name="T42" fmla="*/ 8 w 30"/>
                    <a:gd name="T43" fmla="*/ 44 h 86"/>
                    <a:gd name="T44" fmla="*/ 11 w 30"/>
                    <a:gd name="T45" fmla="*/ 50 h 86"/>
                    <a:gd name="T46" fmla="*/ 16 w 30"/>
                    <a:gd name="T47" fmla="*/ 53 h 86"/>
                    <a:gd name="T48" fmla="*/ 22 w 30"/>
                    <a:gd name="T49" fmla="*/ 58 h 86"/>
                    <a:gd name="T50" fmla="*/ 22 w 30"/>
                    <a:gd name="T51" fmla="*/ 64 h 86"/>
                    <a:gd name="T52" fmla="*/ 30 w 30"/>
                    <a:gd name="T53" fmla="*/ 83 h 86"/>
                    <a:gd name="T54" fmla="*/ 27 w 30"/>
                    <a:gd name="T55" fmla="*/ 86 h 86"/>
                    <a:gd name="T56" fmla="*/ 25 w 30"/>
                    <a:gd name="T57" fmla="*/ 83 h 86"/>
                    <a:gd name="T58" fmla="*/ 22 w 30"/>
                    <a:gd name="T59" fmla="*/ 83 h 86"/>
                    <a:gd name="T60" fmla="*/ 22 w 30"/>
                    <a:gd name="T61" fmla="*/ 83 h 86"/>
                    <a:gd name="T62" fmla="*/ 22 w 30"/>
                    <a:gd name="T63" fmla="*/ 80 h 86"/>
                    <a:gd name="T64" fmla="*/ 22 w 30"/>
                    <a:gd name="T65" fmla="*/ 78 h 86"/>
                    <a:gd name="T66" fmla="*/ 19 w 30"/>
                    <a:gd name="T67" fmla="*/ 6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0" h="86">
                      <a:moveTo>
                        <a:pt x="19" y="66"/>
                      </a:moveTo>
                      <a:lnTo>
                        <a:pt x="16" y="64"/>
                      </a:lnTo>
                      <a:lnTo>
                        <a:pt x="11" y="61"/>
                      </a:lnTo>
                      <a:lnTo>
                        <a:pt x="5" y="55"/>
                      </a:lnTo>
                      <a:lnTo>
                        <a:pt x="5" y="50"/>
                      </a:lnTo>
                      <a:lnTo>
                        <a:pt x="2" y="50"/>
                      </a:lnTo>
                      <a:lnTo>
                        <a:pt x="2" y="44"/>
                      </a:lnTo>
                      <a:lnTo>
                        <a:pt x="2" y="36"/>
                      </a:lnTo>
                      <a:lnTo>
                        <a:pt x="0" y="27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5" y="14"/>
                      </a:lnTo>
                      <a:lnTo>
                        <a:pt x="8" y="16"/>
                      </a:lnTo>
                      <a:lnTo>
                        <a:pt x="8" y="27"/>
                      </a:lnTo>
                      <a:lnTo>
                        <a:pt x="8" y="27"/>
                      </a:lnTo>
                      <a:lnTo>
                        <a:pt x="11" y="30"/>
                      </a:lnTo>
                      <a:lnTo>
                        <a:pt x="11" y="41"/>
                      </a:lnTo>
                      <a:lnTo>
                        <a:pt x="11" y="44"/>
                      </a:lnTo>
                      <a:lnTo>
                        <a:pt x="8" y="44"/>
                      </a:lnTo>
                      <a:lnTo>
                        <a:pt x="11" y="50"/>
                      </a:lnTo>
                      <a:lnTo>
                        <a:pt x="16" y="53"/>
                      </a:lnTo>
                      <a:lnTo>
                        <a:pt x="22" y="58"/>
                      </a:lnTo>
                      <a:lnTo>
                        <a:pt x="22" y="64"/>
                      </a:lnTo>
                      <a:lnTo>
                        <a:pt x="30" y="83"/>
                      </a:lnTo>
                      <a:lnTo>
                        <a:pt x="27" y="86"/>
                      </a:lnTo>
                      <a:lnTo>
                        <a:pt x="25" y="83"/>
                      </a:lnTo>
                      <a:lnTo>
                        <a:pt x="22" y="83"/>
                      </a:lnTo>
                      <a:lnTo>
                        <a:pt x="22" y="83"/>
                      </a:lnTo>
                      <a:lnTo>
                        <a:pt x="22" y="80"/>
                      </a:lnTo>
                      <a:lnTo>
                        <a:pt x="22" y="78"/>
                      </a:lnTo>
                      <a:lnTo>
                        <a:pt x="19" y="66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11" name="Freeform 1376"/>
                <p:cNvSpPr>
                  <a:spLocks noChangeAspect="1"/>
                </p:cNvSpPr>
                <p:nvPr/>
              </p:nvSpPr>
              <p:spPr bwMode="gray">
                <a:xfrm>
                  <a:off x="3864" y="3283"/>
                  <a:ext cx="47" cy="50"/>
                </a:xfrm>
                <a:custGeom>
                  <a:avLst/>
                  <a:gdLst>
                    <a:gd name="T0" fmla="*/ 2 w 47"/>
                    <a:gd name="T1" fmla="*/ 8 h 50"/>
                    <a:gd name="T2" fmla="*/ 11 w 47"/>
                    <a:gd name="T3" fmla="*/ 3 h 50"/>
                    <a:gd name="T4" fmla="*/ 14 w 47"/>
                    <a:gd name="T5" fmla="*/ 3 h 50"/>
                    <a:gd name="T6" fmla="*/ 16 w 47"/>
                    <a:gd name="T7" fmla="*/ 3 h 50"/>
                    <a:gd name="T8" fmla="*/ 22 w 47"/>
                    <a:gd name="T9" fmla="*/ 5 h 50"/>
                    <a:gd name="T10" fmla="*/ 30 w 47"/>
                    <a:gd name="T11" fmla="*/ 3 h 50"/>
                    <a:gd name="T12" fmla="*/ 36 w 47"/>
                    <a:gd name="T13" fmla="*/ 3 h 50"/>
                    <a:gd name="T14" fmla="*/ 36 w 47"/>
                    <a:gd name="T15" fmla="*/ 5 h 50"/>
                    <a:gd name="T16" fmla="*/ 39 w 47"/>
                    <a:gd name="T17" fmla="*/ 11 h 50"/>
                    <a:gd name="T18" fmla="*/ 41 w 47"/>
                    <a:gd name="T19" fmla="*/ 8 h 50"/>
                    <a:gd name="T20" fmla="*/ 47 w 47"/>
                    <a:gd name="T21" fmla="*/ 11 h 50"/>
                    <a:gd name="T22" fmla="*/ 41 w 47"/>
                    <a:gd name="T23" fmla="*/ 14 h 50"/>
                    <a:gd name="T24" fmla="*/ 39 w 47"/>
                    <a:gd name="T25" fmla="*/ 17 h 50"/>
                    <a:gd name="T26" fmla="*/ 36 w 47"/>
                    <a:gd name="T27" fmla="*/ 22 h 50"/>
                    <a:gd name="T28" fmla="*/ 36 w 47"/>
                    <a:gd name="T29" fmla="*/ 25 h 50"/>
                    <a:gd name="T30" fmla="*/ 36 w 47"/>
                    <a:gd name="T31" fmla="*/ 25 h 50"/>
                    <a:gd name="T32" fmla="*/ 33 w 47"/>
                    <a:gd name="T33" fmla="*/ 28 h 50"/>
                    <a:gd name="T34" fmla="*/ 30 w 47"/>
                    <a:gd name="T35" fmla="*/ 31 h 50"/>
                    <a:gd name="T36" fmla="*/ 27 w 47"/>
                    <a:gd name="T37" fmla="*/ 33 h 50"/>
                    <a:gd name="T38" fmla="*/ 27 w 47"/>
                    <a:gd name="T39" fmla="*/ 33 h 50"/>
                    <a:gd name="T40" fmla="*/ 25 w 47"/>
                    <a:gd name="T41" fmla="*/ 36 h 50"/>
                    <a:gd name="T42" fmla="*/ 33 w 47"/>
                    <a:gd name="T43" fmla="*/ 39 h 50"/>
                    <a:gd name="T44" fmla="*/ 33 w 47"/>
                    <a:gd name="T45" fmla="*/ 39 h 50"/>
                    <a:gd name="T46" fmla="*/ 27 w 47"/>
                    <a:gd name="T47" fmla="*/ 44 h 50"/>
                    <a:gd name="T48" fmla="*/ 22 w 47"/>
                    <a:gd name="T49" fmla="*/ 44 h 50"/>
                    <a:gd name="T50" fmla="*/ 19 w 47"/>
                    <a:gd name="T51" fmla="*/ 50 h 50"/>
                    <a:gd name="T52" fmla="*/ 19 w 47"/>
                    <a:gd name="T53" fmla="*/ 44 h 50"/>
                    <a:gd name="T54" fmla="*/ 14 w 47"/>
                    <a:gd name="T55" fmla="*/ 44 h 50"/>
                    <a:gd name="T56" fmla="*/ 8 w 47"/>
                    <a:gd name="T57" fmla="*/ 42 h 50"/>
                    <a:gd name="T58" fmla="*/ 5 w 47"/>
                    <a:gd name="T59" fmla="*/ 44 h 50"/>
                    <a:gd name="T60" fmla="*/ 2 w 47"/>
                    <a:gd name="T61" fmla="*/ 47 h 50"/>
                    <a:gd name="T62" fmla="*/ 2 w 47"/>
                    <a:gd name="T63" fmla="*/ 44 h 50"/>
                    <a:gd name="T64" fmla="*/ 2 w 47"/>
                    <a:gd name="T65" fmla="*/ 19 h 50"/>
                    <a:gd name="T66" fmla="*/ 5 w 47"/>
                    <a:gd name="T67" fmla="*/ 11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7" h="50">
                      <a:moveTo>
                        <a:pt x="2" y="8"/>
                      </a:moveTo>
                      <a:lnTo>
                        <a:pt x="2" y="8"/>
                      </a:lnTo>
                      <a:lnTo>
                        <a:pt x="11" y="5"/>
                      </a:lnTo>
                      <a:lnTo>
                        <a:pt x="11" y="3"/>
                      </a:lnTo>
                      <a:lnTo>
                        <a:pt x="14" y="5"/>
                      </a:lnTo>
                      <a:lnTo>
                        <a:pt x="14" y="3"/>
                      </a:lnTo>
                      <a:lnTo>
                        <a:pt x="14" y="3"/>
                      </a:lnTo>
                      <a:lnTo>
                        <a:pt x="16" y="3"/>
                      </a:lnTo>
                      <a:lnTo>
                        <a:pt x="19" y="3"/>
                      </a:lnTo>
                      <a:lnTo>
                        <a:pt x="22" y="5"/>
                      </a:lnTo>
                      <a:lnTo>
                        <a:pt x="25" y="0"/>
                      </a:lnTo>
                      <a:lnTo>
                        <a:pt x="30" y="3"/>
                      </a:lnTo>
                      <a:lnTo>
                        <a:pt x="33" y="3"/>
                      </a:lnTo>
                      <a:lnTo>
                        <a:pt x="36" y="3"/>
                      </a:lnTo>
                      <a:lnTo>
                        <a:pt x="36" y="3"/>
                      </a:lnTo>
                      <a:lnTo>
                        <a:pt x="36" y="5"/>
                      </a:lnTo>
                      <a:lnTo>
                        <a:pt x="39" y="8"/>
                      </a:lnTo>
                      <a:lnTo>
                        <a:pt x="39" y="11"/>
                      </a:lnTo>
                      <a:lnTo>
                        <a:pt x="41" y="11"/>
                      </a:lnTo>
                      <a:lnTo>
                        <a:pt x="41" y="8"/>
                      </a:lnTo>
                      <a:lnTo>
                        <a:pt x="47" y="8"/>
                      </a:lnTo>
                      <a:lnTo>
                        <a:pt x="47" y="11"/>
                      </a:lnTo>
                      <a:lnTo>
                        <a:pt x="44" y="11"/>
                      </a:lnTo>
                      <a:lnTo>
                        <a:pt x="41" y="14"/>
                      </a:lnTo>
                      <a:lnTo>
                        <a:pt x="39" y="14"/>
                      </a:lnTo>
                      <a:lnTo>
                        <a:pt x="39" y="17"/>
                      </a:lnTo>
                      <a:lnTo>
                        <a:pt x="39" y="19"/>
                      </a:lnTo>
                      <a:lnTo>
                        <a:pt x="36" y="22"/>
                      </a:lnTo>
                      <a:lnTo>
                        <a:pt x="36" y="22"/>
                      </a:lnTo>
                      <a:lnTo>
                        <a:pt x="36" y="25"/>
                      </a:lnTo>
                      <a:lnTo>
                        <a:pt x="36" y="25"/>
                      </a:lnTo>
                      <a:lnTo>
                        <a:pt x="36" y="25"/>
                      </a:lnTo>
                      <a:lnTo>
                        <a:pt x="33" y="28"/>
                      </a:lnTo>
                      <a:lnTo>
                        <a:pt x="33" y="28"/>
                      </a:lnTo>
                      <a:lnTo>
                        <a:pt x="33" y="31"/>
                      </a:lnTo>
                      <a:lnTo>
                        <a:pt x="30" y="31"/>
                      </a:lnTo>
                      <a:lnTo>
                        <a:pt x="30" y="33"/>
                      </a:lnTo>
                      <a:lnTo>
                        <a:pt x="27" y="33"/>
                      </a:lnTo>
                      <a:lnTo>
                        <a:pt x="27" y="33"/>
                      </a:lnTo>
                      <a:lnTo>
                        <a:pt x="27" y="33"/>
                      </a:lnTo>
                      <a:lnTo>
                        <a:pt x="25" y="36"/>
                      </a:lnTo>
                      <a:lnTo>
                        <a:pt x="25" y="36"/>
                      </a:lnTo>
                      <a:lnTo>
                        <a:pt x="27" y="39"/>
                      </a:lnTo>
                      <a:lnTo>
                        <a:pt x="33" y="39"/>
                      </a:lnTo>
                      <a:lnTo>
                        <a:pt x="33" y="39"/>
                      </a:lnTo>
                      <a:lnTo>
                        <a:pt x="33" y="39"/>
                      </a:lnTo>
                      <a:lnTo>
                        <a:pt x="30" y="42"/>
                      </a:lnTo>
                      <a:lnTo>
                        <a:pt x="27" y="44"/>
                      </a:lnTo>
                      <a:lnTo>
                        <a:pt x="22" y="44"/>
                      </a:lnTo>
                      <a:lnTo>
                        <a:pt x="22" y="44"/>
                      </a:lnTo>
                      <a:lnTo>
                        <a:pt x="19" y="47"/>
                      </a:lnTo>
                      <a:lnTo>
                        <a:pt x="19" y="50"/>
                      </a:lnTo>
                      <a:lnTo>
                        <a:pt x="19" y="50"/>
                      </a:lnTo>
                      <a:lnTo>
                        <a:pt x="19" y="44"/>
                      </a:lnTo>
                      <a:lnTo>
                        <a:pt x="16" y="44"/>
                      </a:lnTo>
                      <a:lnTo>
                        <a:pt x="14" y="44"/>
                      </a:lnTo>
                      <a:lnTo>
                        <a:pt x="8" y="42"/>
                      </a:lnTo>
                      <a:lnTo>
                        <a:pt x="8" y="42"/>
                      </a:lnTo>
                      <a:lnTo>
                        <a:pt x="8" y="44"/>
                      </a:lnTo>
                      <a:lnTo>
                        <a:pt x="5" y="44"/>
                      </a:lnTo>
                      <a:lnTo>
                        <a:pt x="5" y="47"/>
                      </a:lnTo>
                      <a:lnTo>
                        <a:pt x="2" y="47"/>
                      </a:lnTo>
                      <a:lnTo>
                        <a:pt x="2" y="44"/>
                      </a:lnTo>
                      <a:lnTo>
                        <a:pt x="2" y="44"/>
                      </a:lnTo>
                      <a:lnTo>
                        <a:pt x="0" y="36"/>
                      </a:lnTo>
                      <a:lnTo>
                        <a:pt x="2" y="19"/>
                      </a:lnTo>
                      <a:lnTo>
                        <a:pt x="0" y="19"/>
                      </a:lnTo>
                      <a:lnTo>
                        <a:pt x="5" y="11"/>
                      </a:lnTo>
                      <a:lnTo>
                        <a:pt x="2" y="8"/>
                      </a:lnTo>
                    </a:path>
                  </a:pathLst>
                </a:custGeom>
                <a:grpFill/>
                <a:ln w="3175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99" name="Group 1377"/>
              <p:cNvGrpSpPr>
                <a:grpSpLocks noChangeAspect="1"/>
              </p:cNvGrpSpPr>
              <p:nvPr>
                <p:custDataLst>
                  <p:tags r:id="rId927"/>
                </p:custDataLst>
              </p:nvPr>
            </p:nvGrpSpPr>
            <p:grpSpPr bwMode="gray">
              <a:xfrm>
                <a:off x="5827597" y="2519663"/>
                <a:ext cx="1618096" cy="841432"/>
                <a:chOff x="3839" y="2022"/>
                <a:chExt cx="1241" cy="654"/>
              </a:xfrm>
              <a:grpFill/>
            </p:grpSpPr>
            <p:sp>
              <p:nvSpPr>
                <p:cNvPr id="900" name="Freeform 1378"/>
                <p:cNvSpPr>
                  <a:spLocks noChangeAspect="1"/>
                </p:cNvSpPr>
                <p:nvPr/>
              </p:nvSpPr>
              <p:spPr bwMode="gray">
                <a:xfrm>
                  <a:off x="4988" y="2244"/>
                  <a:ext cx="92" cy="112"/>
                </a:xfrm>
                <a:custGeom>
                  <a:avLst/>
                  <a:gdLst>
                    <a:gd name="T0" fmla="*/ 89 w 92"/>
                    <a:gd name="T1" fmla="*/ 0 h 112"/>
                    <a:gd name="T2" fmla="*/ 89 w 92"/>
                    <a:gd name="T3" fmla="*/ 0 h 112"/>
                    <a:gd name="T4" fmla="*/ 92 w 92"/>
                    <a:gd name="T5" fmla="*/ 0 h 112"/>
                    <a:gd name="T6" fmla="*/ 87 w 92"/>
                    <a:gd name="T7" fmla="val 16549090"/>
                    <a:gd name="T8" fmla="*/ 81 w 92"/>
                    <a:gd name="T9" fmla="*/ 56 h 112"/>
                    <a:gd name="T10" fmla="*/ 81 w 92"/>
                    <a:gd name="T11" fmla="*/ 50 h 112"/>
                    <a:gd name="T12" fmla="*/ 78 w 92"/>
                    <a:gd name="T13" fmla="*/ 53 h 112"/>
                    <a:gd name="T14" fmla="*/ 76 w 92"/>
                    <a:gd name="T15" fmla="*/ 59 h 112"/>
                    <a:gd name="T16" fmla="*/ 76 w 92"/>
                    <a:gd name="T17" fmla="*/ 59 h 112"/>
                    <a:gd name="T18" fmla="*/ 78 w 92"/>
                    <a:gd name="T19" fmla="*/ 59 h 112"/>
                    <a:gd name="T20" fmla="*/ 78 w 92"/>
                    <a:gd name="T21" fmla="*/ 64 h 112"/>
                    <a:gd name="T22" fmla="*/ 73 w 92"/>
                    <a:gd name="T23" fmla="*/ 70 h 112"/>
                    <a:gd name="T24" fmla="*/ 70 w 92"/>
                    <a:gd name="T25" fmla="*/ 75 h 112"/>
                    <a:gd name="T26" fmla="*/ 64 w 92"/>
                    <a:gd name="T27" fmla="*/ 78 h 112"/>
                    <a:gd name="T28" fmla="*/ 50 w 92"/>
                    <a:gd name="T29" fmla="*/ 84 h 112"/>
                    <a:gd name="T30" fmla="*/ 48 w 92"/>
                    <a:gd name="T31" fmla="*/ 87 h 112"/>
                    <a:gd name="T32" fmla="*/ 42 w 92"/>
                    <a:gd name="T33" fmla="*/ 89 h 112"/>
                    <a:gd name="T34" fmla="*/ 34 w 92"/>
                    <a:gd name="T35" fmla="*/ 103 h 112"/>
                    <a:gd name="T36" fmla="*/ 28 w 92"/>
                    <a:gd name="T37" fmla="*/ 106 h 112"/>
                    <a:gd name="T38" fmla="*/ 14 w 92"/>
                    <a:gd name="T39" fmla="*/ 112 h 112"/>
                    <a:gd name="T40" fmla="*/ 3 w 92"/>
                    <a:gd name="T41" fmla="*/ 109 h 112"/>
                    <a:gd name="T42" fmla="*/ 0 w 92"/>
                    <a:gd name="T43" fmla="*/ 106 h 112"/>
                    <a:gd name="T44" fmla="*/ 0 w 92"/>
                    <a:gd name="T45" fmla="*/ 106 h 112"/>
                    <a:gd name="T46" fmla="*/ 12 w 92"/>
                    <a:gd name="T47" fmla="*/ 103 h 112"/>
                    <a:gd name="T48" fmla="*/ 14 w 92"/>
                    <a:gd name="T49" fmla="*/ 103 h 112"/>
                    <a:gd name="T50" fmla="*/ 17 w 92"/>
                    <a:gd name="T51" fmla="*/ 101 h 112"/>
                    <a:gd name="T52" fmla="*/ 23 w 92"/>
                    <a:gd name="T53" fmla="*/ 101 h 112"/>
                    <a:gd name="T54" fmla="*/ 62 w 92"/>
                    <a:gd name="T55" fmla="*/ 64 h 112"/>
                    <a:gd name="T56" fmla="*/ 53 w 92"/>
                    <a:gd name="T57" fmla="*/ 70 h 112"/>
                    <a:gd name="T58" fmla="*/ 48 w 92"/>
                    <a:gd name="T59" fmla="*/ 70 h 112"/>
                    <a:gd name="T60" fmla="*/ 50 w 92"/>
                    <a:gd name="T61" fmla="*/ 64 h 112"/>
                    <a:gd name="T62" fmla="*/ 56 w 92"/>
                    <a:gd name="T63" fmla="*/ 62 h 112"/>
                    <a:gd name="T64" fmla="*/ 84 w 92"/>
                    <a:gd name="T65" fmla="*/ 11 h 112"/>
                    <a:gd name="T66" fmla="*/ 87 w 92"/>
                    <a:gd name="T67" fmla="*/ 3 h 112"/>
                    <a:gd name="T68" fmla="*/ 87 w 92"/>
                    <a:gd name="T69" fmla="*/ 0 h 112"/>
                    <a:gd name="T70" fmla="*/ 89 w 92"/>
                    <a:gd name="T71" fmla="*/ 0 h 112"/>
                    <a:gd name="T72" fmla="*/ 89 w 92"/>
                    <a:gd name="T73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2" h="112">
                      <a:moveTo>
                        <a:pt x="89" y="0"/>
                      </a:moveTo>
                      <a:lnTo>
                        <a:pt x="89" y="0"/>
                      </a:lnTo>
                      <a:lnTo>
                        <a:pt x="92" y="0"/>
                      </a:lnTo>
                      <a:lnTo>
                        <a:pt x="87" y="48"/>
                      </a:lnTo>
                      <a:lnTo>
                        <a:pt x="81" y="56"/>
                      </a:lnTo>
                      <a:lnTo>
                        <a:pt x="81" y="50"/>
                      </a:lnTo>
                      <a:lnTo>
                        <a:pt x="78" y="53"/>
                      </a:lnTo>
                      <a:lnTo>
                        <a:pt x="76" y="59"/>
                      </a:lnTo>
                      <a:lnTo>
                        <a:pt x="76" y="59"/>
                      </a:lnTo>
                      <a:lnTo>
                        <a:pt x="78" y="59"/>
                      </a:lnTo>
                      <a:lnTo>
                        <a:pt x="78" y="64"/>
                      </a:lnTo>
                      <a:lnTo>
                        <a:pt x="73" y="70"/>
                      </a:lnTo>
                      <a:lnTo>
                        <a:pt x="70" y="75"/>
                      </a:lnTo>
                      <a:lnTo>
                        <a:pt x="64" y="78"/>
                      </a:lnTo>
                      <a:lnTo>
                        <a:pt x="50" y="84"/>
                      </a:lnTo>
                      <a:lnTo>
                        <a:pt x="48" y="87"/>
                      </a:lnTo>
                      <a:lnTo>
                        <a:pt x="42" y="89"/>
                      </a:lnTo>
                      <a:lnTo>
                        <a:pt x="34" y="103"/>
                      </a:lnTo>
                      <a:lnTo>
                        <a:pt x="28" y="106"/>
                      </a:lnTo>
                      <a:lnTo>
                        <a:pt x="14" y="112"/>
                      </a:lnTo>
                      <a:lnTo>
                        <a:pt x="3" y="109"/>
                      </a:lnTo>
                      <a:lnTo>
                        <a:pt x="0" y="106"/>
                      </a:lnTo>
                      <a:lnTo>
                        <a:pt x="0" y="106"/>
                      </a:lnTo>
                      <a:lnTo>
                        <a:pt x="12" y="103"/>
                      </a:lnTo>
                      <a:lnTo>
                        <a:pt x="14" y="103"/>
                      </a:lnTo>
                      <a:lnTo>
                        <a:pt x="17" y="101"/>
                      </a:lnTo>
                      <a:lnTo>
                        <a:pt x="23" y="101"/>
                      </a:lnTo>
                      <a:lnTo>
                        <a:pt x="62" y="64"/>
                      </a:lnTo>
                      <a:lnTo>
                        <a:pt x="53" y="70"/>
                      </a:lnTo>
                      <a:lnTo>
                        <a:pt x="48" y="70"/>
                      </a:lnTo>
                      <a:lnTo>
                        <a:pt x="50" y="64"/>
                      </a:lnTo>
                      <a:lnTo>
                        <a:pt x="56" y="62"/>
                      </a:lnTo>
                      <a:lnTo>
                        <a:pt x="84" y="11"/>
                      </a:lnTo>
                      <a:lnTo>
                        <a:pt x="87" y="3"/>
                      </a:lnTo>
                      <a:lnTo>
                        <a:pt x="87" y="0"/>
                      </a:lnTo>
                      <a:lnTo>
                        <a:pt x="89" y="0"/>
                      </a:lnTo>
                      <a:lnTo>
                        <a:pt x="89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1" name="Freeform 1379"/>
                <p:cNvSpPr>
                  <a:spLocks noChangeAspect="1"/>
                </p:cNvSpPr>
                <p:nvPr/>
              </p:nvSpPr>
              <p:spPr bwMode="gray">
                <a:xfrm>
                  <a:off x="4276" y="2464"/>
                  <a:ext cx="55" cy="73"/>
                </a:xfrm>
                <a:custGeom>
                  <a:avLst/>
                  <a:gdLst>
                    <a:gd name="T0" fmla="*/ 27 w 55"/>
                    <a:gd name="T1" fmla="*/ 73 h 73"/>
                    <a:gd name="T2" fmla="*/ 36 w 55"/>
                    <a:gd name="T3" fmla="*/ 70 h 73"/>
                    <a:gd name="T4" fmla="*/ 36 w 55"/>
                    <a:gd name="T5" fmla="*/ 67 h 73"/>
                    <a:gd name="T6" fmla="*/ 39 w 55"/>
                    <a:gd name="T7" fmla="*/ 64 h 73"/>
                    <a:gd name="T8" fmla="*/ 39 w 55"/>
                    <a:gd name="T9" fmla="*/ 62 h 73"/>
                    <a:gd name="T10" fmla="*/ 41 w 55"/>
                    <a:gd name="T11" fmla="*/ 59 h 73"/>
                    <a:gd name="T12" fmla="*/ 44 w 55"/>
                    <a:gd name="T13" fmla="*/ 56 h 73"/>
                    <a:gd name="T14" fmla="*/ 47 w 55"/>
                    <a:gd name="T15" fmla="*/ 48 h 73"/>
                    <a:gd name="T16" fmla="*/ 53 w 55"/>
                    <a:gd name="T17" fmla="*/ 48 h 73"/>
                    <a:gd name="T18" fmla="*/ 55 w 55"/>
                    <a:gd name="T19" fmla="*/ 45 h 73"/>
                    <a:gd name="T20" fmla="*/ 55 w 55"/>
                    <a:gd name="T21" fmla="*/ 39 h 73"/>
                    <a:gd name="T22" fmla="*/ 53 w 55"/>
                    <a:gd name="T23" fmla="*/ 31 h 73"/>
                    <a:gd name="T24" fmla="*/ 50 w 55"/>
                    <a:gd name="T25" fmla="*/ 28 h 73"/>
                    <a:gd name="T26" fmla="*/ 47 w 55"/>
                    <a:gd name="T27" fmla="*/ 25 h 73"/>
                    <a:gd name="T28" fmla="*/ 44 w 55"/>
                    <a:gd name="T29" fmla="*/ 23 h 73"/>
                    <a:gd name="T30" fmla="*/ 44 w 55"/>
                    <a:gd name="T31" fmla="*/ 17 h 73"/>
                    <a:gd name="T32" fmla="*/ 44 w 55"/>
                    <a:gd name="T33" fmla="*/ 17 h 73"/>
                    <a:gd name="T34" fmla="*/ 53 w 55"/>
                    <a:gd name="T35" fmla="*/ 3 h 73"/>
                    <a:gd name="T36" fmla="*/ 55 w 55"/>
                    <a:gd name="T37" fmla="*/ 0 h 73"/>
                    <a:gd name="T38" fmla="*/ 53 w 55"/>
                    <a:gd name="T39" fmla="*/ 0 h 73"/>
                    <a:gd name="T40" fmla="*/ 41 w 55"/>
                    <a:gd name="T41" fmla="*/ 9 h 73"/>
                    <a:gd name="T42" fmla="*/ 41 w 55"/>
                    <a:gd name="T43" fmla="*/ 3 h 73"/>
                    <a:gd name="T44" fmla="*/ 39 w 55"/>
                    <a:gd name="T45" fmla="*/ 3 h 73"/>
                    <a:gd name="T46" fmla="*/ 39 w 55"/>
                    <a:gd name="T47" fmla="*/ 6 h 73"/>
                    <a:gd name="T48" fmla="*/ 36 w 55"/>
                    <a:gd name="T49" fmla="*/ 6 h 73"/>
                    <a:gd name="T50" fmla="*/ 33 w 55"/>
                    <a:gd name="T51" fmla="*/ 3 h 73"/>
                    <a:gd name="T52" fmla="*/ 30 w 55"/>
                    <a:gd name="T53" fmla="*/ 9 h 73"/>
                    <a:gd name="T54" fmla="*/ 30 w 55"/>
                    <a:gd name="T55" fmla="*/ 11 h 73"/>
                    <a:gd name="T56" fmla="*/ 33 w 55"/>
                    <a:gd name="T57" fmla="*/ 11 h 73"/>
                    <a:gd name="T58" fmla="*/ 41 w 55"/>
                    <a:gd name="T59" fmla="*/ 11 h 73"/>
                    <a:gd name="T60" fmla="*/ 41 w 55"/>
                    <a:gd name="T61" fmla="*/ 14 h 73"/>
                    <a:gd name="T62" fmla="*/ 39 w 55"/>
                    <a:gd name="T63" fmla="*/ 17 h 73"/>
                    <a:gd name="T64" fmla="*/ 36 w 55"/>
                    <a:gd name="T65" fmla="*/ 14 h 73"/>
                    <a:gd name="T66" fmla="*/ 33 w 55"/>
                    <a:gd name="T67" fmla="*/ 14 h 73"/>
                    <a:gd name="T68" fmla="*/ 33 w 55"/>
                    <a:gd name="T69" fmla="*/ 14 h 73"/>
                    <a:gd name="T70" fmla="*/ 27 w 55"/>
                    <a:gd name="T71" fmla="*/ 14 h 73"/>
                    <a:gd name="T72" fmla="*/ 27 w 55"/>
                    <a:gd name="T73" fmla="*/ 11 h 73"/>
                    <a:gd name="T74" fmla="*/ 27 w 55"/>
                    <a:gd name="T75" fmla="*/ 11 h 73"/>
                    <a:gd name="T76" fmla="*/ 25 w 55"/>
                    <a:gd name="T77" fmla="*/ 11 h 73"/>
                    <a:gd name="T78" fmla="*/ 22 w 55"/>
                    <a:gd name="T79" fmla="*/ 17 h 73"/>
                    <a:gd name="T80" fmla="*/ 22 w 55"/>
                    <a:gd name="T81" fmla="*/ 20 h 73"/>
                    <a:gd name="T82" fmla="*/ 19 w 55"/>
                    <a:gd name="T83" fmla="*/ 23 h 73"/>
                    <a:gd name="T84" fmla="*/ 19 w 55"/>
                    <a:gd name="T85" fmla="*/ 20 h 73"/>
                    <a:gd name="T86" fmla="*/ 19 w 55"/>
                    <a:gd name="T87" fmla="*/ 17 h 73"/>
                    <a:gd name="T88" fmla="*/ 11 w 55"/>
                    <a:gd name="T89" fmla="*/ 23 h 73"/>
                    <a:gd name="T90" fmla="*/ 5 w 55"/>
                    <a:gd name="T91" fmla="*/ 34 h 73"/>
                    <a:gd name="T92" fmla="*/ 2 w 55"/>
                    <a:gd name="T93" fmla="*/ 39 h 73"/>
                    <a:gd name="T94" fmla="*/ 0 w 55"/>
                    <a:gd name="T95" fmla="*/ 45 h 73"/>
                    <a:gd name="T96" fmla="*/ 2 w 55"/>
                    <a:gd name="T97" fmla="*/ 48 h 73"/>
                    <a:gd name="T98" fmla="*/ 2 w 55"/>
                    <a:gd name="T99" fmla="*/ 53 h 73"/>
                    <a:gd name="T100" fmla="*/ 5 w 55"/>
                    <a:gd name="T101" fmla="*/ 67 h 73"/>
                    <a:gd name="T102" fmla="*/ 5 w 55"/>
                    <a:gd name="T103" fmla="*/ 70 h 73"/>
                    <a:gd name="T104" fmla="*/ 8 w 55"/>
                    <a:gd name="T105" fmla="*/ 67 h 73"/>
                    <a:gd name="T106" fmla="*/ 11 w 55"/>
                    <a:gd name="T107" fmla="*/ 67 h 73"/>
                    <a:gd name="T108" fmla="*/ 16 w 55"/>
                    <a:gd name="T109" fmla="*/ 70 h 73"/>
                    <a:gd name="T110" fmla="*/ 19 w 55"/>
                    <a:gd name="T111" fmla="*/ 67 h 73"/>
                    <a:gd name="T112" fmla="*/ 22 w 55"/>
                    <a:gd name="T113" fmla="*/ 67 h 73"/>
                    <a:gd name="T114" fmla="*/ 25 w 55"/>
                    <a:gd name="T115" fmla="*/ 73 h 73"/>
                    <a:gd name="T116" fmla="*/ 27 w 55"/>
                    <a:gd name="T117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5" h="73">
                      <a:moveTo>
                        <a:pt x="27" y="73"/>
                      </a:moveTo>
                      <a:lnTo>
                        <a:pt x="36" y="70"/>
                      </a:lnTo>
                      <a:lnTo>
                        <a:pt x="36" y="67"/>
                      </a:lnTo>
                      <a:lnTo>
                        <a:pt x="39" y="64"/>
                      </a:lnTo>
                      <a:lnTo>
                        <a:pt x="39" y="62"/>
                      </a:lnTo>
                      <a:lnTo>
                        <a:pt x="41" y="59"/>
                      </a:lnTo>
                      <a:lnTo>
                        <a:pt x="44" y="56"/>
                      </a:lnTo>
                      <a:lnTo>
                        <a:pt x="47" y="48"/>
                      </a:lnTo>
                      <a:lnTo>
                        <a:pt x="53" y="48"/>
                      </a:lnTo>
                      <a:lnTo>
                        <a:pt x="55" y="45"/>
                      </a:lnTo>
                      <a:lnTo>
                        <a:pt x="55" y="39"/>
                      </a:lnTo>
                      <a:lnTo>
                        <a:pt x="53" y="31"/>
                      </a:lnTo>
                      <a:lnTo>
                        <a:pt x="50" y="28"/>
                      </a:lnTo>
                      <a:lnTo>
                        <a:pt x="47" y="25"/>
                      </a:lnTo>
                      <a:lnTo>
                        <a:pt x="44" y="23"/>
                      </a:lnTo>
                      <a:lnTo>
                        <a:pt x="44" y="17"/>
                      </a:lnTo>
                      <a:lnTo>
                        <a:pt x="44" y="17"/>
                      </a:lnTo>
                      <a:lnTo>
                        <a:pt x="53" y="3"/>
                      </a:lnTo>
                      <a:lnTo>
                        <a:pt x="55" y="0"/>
                      </a:lnTo>
                      <a:lnTo>
                        <a:pt x="53" y="0"/>
                      </a:lnTo>
                      <a:lnTo>
                        <a:pt x="41" y="9"/>
                      </a:lnTo>
                      <a:lnTo>
                        <a:pt x="41" y="3"/>
                      </a:lnTo>
                      <a:lnTo>
                        <a:pt x="39" y="3"/>
                      </a:lnTo>
                      <a:lnTo>
                        <a:pt x="39" y="6"/>
                      </a:lnTo>
                      <a:lnTo>
                        <a:pt x="36" y="6"/>
                      </a:lnTo>
                      <a:lnTo>
                        <a:pt x="33" y="3"/>
                      </a:lnTo>
                      <a:lnTo>
                        <a:pt x="30" y="9"/>
                      </a:lnTo>
                      <a:lnTo>
                        <a:pt x="30" y="11"/>
                      </a:lnTo>
                      <a:lnTo>
                        <a:pt x="33" y="11"/>
                      </a:lnTo>
                      <a:lnTo>
                        <a:pt x="41" y="11"/>
                      </a:lnTo>
                      <a:lnTo>
                        <a:pt x="41" y="14"/>
                      </a:lnTo>
                      <a:lnTo>
                        <a:pt x="39" y="17"/>
                      </a:lnTo>
                      <a:lnTo>
                        <a:pt x="36" y="14"/>
                      </a:lnTo>
                      <a:lnTo>
                        <a:pt x="33" y="14"/>
                      </a:lnTo>
                      <a:lnTo>
                        <a:pt x="33" y="14"/>
                      </a:lnTo>
                      <a:lnTo>
                        <a:pt x="27" y="14"/>
                      </a:lnTo>
                      <a:lnTo>
                        <a:pt x="27" y="11"/>
                      </a:lnTo>
                      <a:lnTo>
                        <a:pt x="27" y="11"/>
                      </a:lnTo>
                      <a:lnTo>
                        <a:pt x="25" y="11"/>
                      </a:lnTo>
                      <a:lnTo>
                        <a:pt x="22" y="17"/>
                      </a:lnTo>
                      <a:lnTo>
                        <a:pt x="22" y="20"/>
                      </a:lnTo>
                      <a:lnTo>
                        <a:pt x="19" y="23"/>
                      </a:lnTo>
                      <a:lnTo>
                        <a:pt x="19" y="20"/>
                      </a:lnTo>
                      <a:lnTo>
                        <a:pt x="19" y="17"/>
                      </a:lnTo>
                      <a:lnTo>
                        <a:pt x="11" y="23"/>
                      </a:lnTo>
                      <a:lnTo>
                        <a:pt x="5" y="34"/>
                      </a:lnTo>
                      <a:lnTo>
                        <a:pt x="2" y="39"/>
                      </a:lnTo>
                      <a:lnTo>
                        <a:pt x="0" y="45"/>
                      </a:lnTo>
                      <a:lnTo>
                        <a:pt x="2" y="48"/>
                      </a:lnTo>
                      <a:lnTo>
                        <a:pt x="2" y="53"/>
                      </a:lnTo>
                      <a:lnTo>
                        <a:pt x="5" y="67"/>
                      </a:lnTo>
                      <a:lnTo>
                        <a:pt x="5" y="70"/>
                      </a:lnTo>
                      <a:lnTo>
                        <a:pt x="8" y="67"/>
                      </a:lnTo>
                      <a:lnTo>
                        <a:pt x="11" y="67"/>
                      </a:lnTo>
                      <a:lnTo>
                        <a:pt x="16" y="70"/>
                      </a:lnTo>
                      <a:lnTo>
                        <a:pt x="19" y="67"/>
                      </a:lnTo>
                      <a:lnTo>
                        <a:pt x="22" y="67"/>
                      </a:lnTo>
                      <a:lnTo>
                        <a:pt x="25" y="73"/>
                      </a:lnTo>
                      <a:lnTo>
                        <a:pt x="27" y="73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2" name="Freeform 1380"/>
                <p:cNvSpPr>
                  <a:spLocks noChangeAspect="1"/>
                </p:cNvSpPr>
                <p:nvPr/>
              </p:nvSpPr>
              <p:spPr bwMode="gray">
                <a:xfrm>
                  <a:off x="4515" y="2464"/>
                  <a:ext cx="86" cy="45"/>
                </a:xfrm>
                <a:custGeom>
                  <a:avLst/>
                  <a:gdLst>
                    <a:gd name="T0" fmla="*/ 22 w 86"/>
                    <a:gd name="T1" fmla="*/ 0 h 45"/>
                    <a:gd name="T2" fmla="*/ 25 w 86"/>
                    <a:gd name="T3" fmla="*/ 3 h 45"/>
                    <a:gd name="T4" fmla="*/ 36 w 86"/>
                    <a:gd name="T5" fmla="*/ 0 h 45"/>
                    <a:gd name="T6" fmla="*/ 59 w 86"/>
                    <a:gd name="T7" fmla="*/ 6 h 45"/>
                    <a:gd name="T8" fmla="*/ 67 w 86"/>
                    <a:gd name="T9" fmla="*/ 3 h 45"/>
                    <a:gd name="T10" fmla="*/ 72 w 86"/>
                    <a:gd name="T11" fmla="*/ 6 h 45"/>
                    <a:gd name="T12" fmla="*/ 81 w 86"/>
                    <a:gd name="T13" fmla="*/ 0 h 45"/>
                    <a:gd name="T14" fmla="*/ 84 w 86"/>
                    <a:gd name="T15" fmla="*/ 0 h 45"/>
                    <a:gd name="T16" fmla="*/ 86 w 86"/>
                    <a:gd name="T17" fmla="*/ 0 h 45"/>
                    <a:gd name="T18" fmla="*/ 86 w 86"/>
                    <a:gd name="T19" fmla="*/ 3 h 45"/>
                    <a:gd name="T20" fmla="*/ 86 w 86"/>
                    <a:gd name="T21" fmla="*/ 6 h 45"/>
                    <a:gd name="T22" fmla="*/ 84 w 86"/>
                    <a:gd name="T23" fmla="*/ 9 h 45"/>
                    <a:gd name="T24" fmla="*/ 81 w 86"/>
                    <a:gd name="T25" fmla="*/ 11 h 45"/>
                    <a:gd name="T26" fmla="*/ 78 w 86"/>
                    <a:gd name="T27" fmla="*/ 9 h 45"/>
                    <a:gd name="T28" fmla="*/ 75 w 86"/>
                    <a:gd name="T29" fmla="*/ 11 h 45"/>
                    <a:gd name="T30" fmla="*/ 70 w 86"/>
                    <a:gd name="T31" fmla="*/ 11 h 45"/>
                    <a:gd name="T32" fmla="*/ 61 w 86"/>
                    <a:gd name="T33" fmla="*/ 9 h 45"/>
                    <a:gd name="T34" fmla="*/ 33 w 86"/>
                    <a:gd name="T35" fmla="*/ 9 h 45"/>
                    <a:gd name="T36" fmla="*/ 31 w 86"/>
                    <a:gd name="T37" fmla="*/ 6 h 45"/>
                    <a:gd name="T38" fmla="*/ 31 w 86"/>
                    <a:gd name="T39" fmla="*/ 6 h 45"/>
                    <a:gd name="T40" fmla="*/ 28 w 86"/>
                    <a:gd name="T41" fmla="*/ 3 h 45"/>
                    <a:gd name="T42" fmla="*/ 28 w 86"/>
                    <a:gd name="T43" fmla="*/ 9 h 45"/>
                    <a:gd name="T44" fmla="*/ 25 w 86"/>
                    <a:gd name="T45" fmla="*/ 9 h 45"/>
                    <a:gd name="T46" fmla="*/ 22 w 86"/>
                    <a:gd name="T47" fmla="*/ 9 h 45"/>
                    <a:gd name="T48" fmla="*/ 20 w 86"/>
                    <a:gd name="T49" fmla="*/ 11 h 45"/>
                    <a:gd name="T50" fmla="*/ 20 w 86"/>
                    <a:gd name="T51" fmla="*/ 14 h 45"/>
                    <a:gd name="T52" fmla="*/ 11 w 86"/>
                    <a:gd name="T53" fmla="*/ 20 h 45"/>
                    <a:gd name="T54" fmla="*/ 8 w 86"/>
                    <a:gd name="T55" fmla="*/ 31 h 45"/>
                    <a:gd name="T56" fmla="*/ 11 w 86"/>
                    <a:gd name="T57" fmla="*/ 42 h 45"/>
                    <a:gd name="T58" fmla="*/ 14 w 86"/>
                    <a:gd name="T59" fmla="*/ 45 h 45"/>
                    <a:gd name="T60" fmla="*/ 8 w 86"/>
                    <a:gd name="T61" fmla="*/ 45 h 45"/>
                    <a:gd name="T62" fmla="*/ 3 w 86"/>
                    <a:gd name="T63" fmla="*/ 34 h 45"/>
                    <a:gd name="T64" fmla="*/ 0 w 86"/>
                    <a:gd name="T65" fmla="*/ 31 h 45"/>
                    <a:gd name="T66" fmla="*/ 0 w 86"/>
                    <a:gd name="T67" fmla="*/ 25 h 45"/>
                    <a:gd name="T68" fmla="*/ 0 w 86"/>
                    <a:gd name="T69" fmla="*/ 17 h 45"/>
                    <a:gd name="T70" fmla="*/ 6 w 86"/>
                    <a:gd name="T71" fmla="*/ 14 h 45"/>
                    <a:gd name="T72" fmla="*/ 20 w 86"/>
                    <a:gd name="T73" fmla="*/ 0 h 45"/>
                    <a:gd name="T74" fmla="*/ 22 w 86"/>
                    <a:gd name="T75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6" h="45">
                      <a:moveTo>
                        <a:pt x="22" y="0"/>
                      </a:moveTo>
                      <a:lnTo>
                        <a:pt x="25" y="3"/>
                      </a:lnTo>
                      <a:lnTo>
                        <a:pt x="36" y="0"/>
                      </a:lnTo>
                      <a:lnTo>
                        <a:pt x="59" y="6"/>
                      </a:lnTo>
                      <a:lnTo>
                        <a:pt x="67" y="3"/>
                      </a:lnTo>
                      <a:lnTo>
                        <a:pt x="72" y="6"/>
                      </a:lnTo>
                      <a:lnTo>
                        <a:pt x="81" y="0"/>
                      </a:lnTo>
                      <a:lnTo>
                        <a:pt x="84" y="0"/>
                      </a:lnTo>
                      <a:lnTo>
                        <a:pt x="86" y="0"/>
                      </a:lnTo>
                      <a:lnTo>
                        <a:pt x="86" y="3"/>
                      </a:lnTo>
                      <a:lnTo>
                        <a:pt x="86" y="6"/>
                      </a:lnTo>
                      <a:lnTo>
                        <a:pt x="84" y="9"/>
                      </a:lnTo>
                      <a:lnTo>
                        <a:pt x="81" y="11"/>
                      </a:lnTo>
                      <a:lnTo>
                        <a:pt x="78" y="9"/>
                      </a:lnTo>
                      <a:lnTo>
                        <a:pt x="75" y="11"/>
                      </a:lnTo>
                      <a:lnTo>
                        <a:pt x="70" y="11"/>
                      </a:lnTo>
                      <a:lnTo>
                        <a:pt x="61" y="9"/>
                      </a:lnTo>
                      <a:lnTo>
                        <a:pt x="33" y="9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28" y="3"/>
                      </a:lnTo>
                      <a:lnTo>
                        <a:pt x="28" y="9"/>
                      </a:lnTo>
                      <a:lnTo>
                        <a:pt x="25" y="9"/>
                      </a:lnTo>
                      <a:lnTo>
                        <a:pt x="22" y="9"/>
                      </a:lnTo>
                      <a:lnTo>
                        <a:pt x="20" y="11"/>
                      </a:lnTo>
                      <a:lnTo>
                        <a:pt x="20" y="14"/>
                      </a:lnTo>
                      <a:lnTo>
                        <a:pt x="11" y="20"/>
                      </a:lnTo>
                      <a:lnTo>
                        <a:pt x="8" y="31"/>
                      </a:lnTo>
                      <a:lnTo>
                        <a:pt x="11" y="42"/>
                      </a:lnTo>
                      <a:lnTo>
                        <a:pt x="14" y="45"/>
                      </a:lnTo>
                      <a:lnTo>
                        <a:pt x="8" y="45"/>
                      </a:lnTo>
                      <a:lnTo>
                        <a:pt x="3" y="34"/>
                      </a:lnTo>
                      <a:lnTo>
                        <a:pt x="0" y="31"/>
                      </a:lnTo>
                      <a:lnTo>
                        <a:pt x="0" y="25"/>
                      </a:lnTo>
                      <a:lnTo>
                        <a:pt x="0" y="17"/>
                      </a:lnTo>
                      <a:lnTo>
                        <a:pt x="6" y="14"/>
                      </a:lnTo>
                      <a:lnTo>
                        <a:pt x="20" y="0"/>
                      </a:lnTo>
                      <a:lnTo>
                        <a:pt x="22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3" name="Freeform 1381"/>
                <p:cNvSpPr>
                  <a:spLocks noChangeAspect="1"/>
                </p:cNvSpPr>
                <p:nvPr/>
              </p:nvSpPr>
              <p:spPr bwMode="gray">
                <a:xfrm>
                  <a:off x="3839" y="2063"/>
                  <a:ext cx="41" cy="56"/>
                </a:xfrm>
                <a:custGeom>
                  <a:avLst/>
                  <a:gdLst>
                    <a:gd name="T0" fmla="*/ 13 w 41"/>
                    <a:gd name="T1" fmla="*/ 0 h 56"/>
                    <a:gd name="T2" fmla="*/ 13 w 41"/>
                    <a:gd name="T3" fmla="*/ 0 h 56"/>
                    <a:gd name="T4" fmla="*/ 16 w 41"/>
                    <a:gd name="T5" fmla="*/ 0 h 56"/>
                    <a:gd name="T6" fmla="*/ 19 w 41"/>
                    <a:gd name="T7" fmla="*/ 3 h 56"/>
                    <a:gd name="T8" fmla="*/ 27 w 41"/>
                    <a:gd name="T9" fmla="*/ 11 h 56"/>
                    <a:gd name="T10" fmla="*/ 33 w 41"/>
                    <a:gd name="T11" fmla="*/ 14 h 56"/>
                    <a:gd name="T12" fmla="*/ 36 w 41"/>
                    <a:gd name="T13" fmla="*/ 17 h 56"/>
                    <a:gd name="T14" fmla="*/ 39 w 41"/>
                    <a:gd name="T15" fmla="*/ 25 h 56"/>
                    <a:gd name="T16" fmla="*/ 41 w 41"/>
                    <a:gd name="T17" fmla="*/ 25 h 56"/>
                    <a:gd name="T18" fmla="*/ 41 w 41"/>
                    <a:gd name="T19" fmla="*/ 31 h 56"/>
                    <a:gd name="T20" fmla="*/ 41 w 41"/>
                    <a:gd name="T21" fmla="*/ 31 h 56"/>
                    <a:gd name="T22" fmla="*/ 41 w 41"/>
                    <a:gd name="T23" fmla="*/ 37 h 56"/>
                    <a:gd name="T24" fmla="*/ 39 w 41"/>
                    <a:gd name="T25" fmla="*/ 37 h 56"/>
                    <a:gd name="T26" fmla="*/ 39 w 41"/>
                    <a:gd name="T27" fmla="*/ 42 h 56"/>
                    <a:gd name="T28" fmla="*/ 36 w 41"/>
                    <a:gd name="T29" fmla="*/ 48 h 56"/>
                    <a:gd name="T30" fmla="*/ 33 w 41"/>
                    <a:gd name="T31" fmla="*/ 48 h 56"/>
                    <a:gd name="T32" fmla="*/ 30 w 41"/>
                    <a:gd name="T33" fmla="*/ 48 h 56"/>
                    <a:gd name="T34" fmla="*/ 30 w 41"/>
                    <a:gd name="T35" fmla="*/ 45 h 56"/>
                    <a:gd name="T36" fmla="*/ 25 w 41"/>
                    <a:gd name="T37" fmla="*/ 48 h 56"/>
                    <a:gd name="T38" fmla="*/ 22 w 41"/>
                    <a:gd name="T39" fmla="*/ 48 h 56"/>
                    <a:gd name="T40" fmla="*/ 22 w 41"/>
                    <a:gd name="T41" fmla="*/ 50 h 56"/>
                    <a:gd name="T42" fmla="*/ 22 w 41"/>
                    <a:gd name="T43" fmla="*/ 53 h 56"/>
                    <a:gd name="T44" fmla="*/ 19 w 41"/>
                    <a:gd name="T45" fmla="*/ 56 h 56"/>
                    <a:gd name="T46" fmla="*/ 16 w 41"/>
                    <a:gd name="T47" fmla="*/ 56 h 56"/>
                    <a:gd name="T48" fmla="*/ 13 w 41"/>
                    <a:gd name="T49" fmla="*/ 56 h 56"/>
                    <a:gd name="T50" fmla="*/ 11 w 41"/>
                    <a:gd name="T51" fmla="*/ 37 h 56"/>
                    <a:gd name="T52" fmla="*/ 5 w 41"/>
                    <a:gd name="T53" fmla="*/ 31 h 56"/>
                    <a:gd name="T54" fmla="*/ 5 w 41"/>
                    <a:gd name="T55" fmla="*/ 28 h 56"/>
                    <a:gd name="T56" fmla="*/ 2 w 41"/>
                    <a:gd name="T57" fmla="*/ 23 h 56"/>
                    <a:gd name="T58" fmla="*/ 2 w 41"/>
                    <a:gd name="T59" fmla="*/ 20 h 56"/>
                    <a:gd name="T60" fmla="*/ 0 w 41"/>
                    <a:gd name="T61" fmla="*/ 20 h 56"/>
                    <a:gd name="T62" fmla="*/ 0 w 41"/>
                    <a:gd name="T63" fmla="*/ 20 h 56"/>
                    <a:gd name="T64" fmla="*/ 0 w 41"/>
                    <a:gd name="T65" fmla="*/ 11 h 56"/>
                    <a:gd name="T66" fmla="*/ 0 w 41"/>
                    <a:gd name="T67" fmla="*/ 9 h 56"/>
                    <a:gd name="T68" fmla="*/ 0 w 41"/>
                    <a:gd name="T69" fmla="*/ 6 h 56"/>
                    <a:gd name="T70" fmla="*/ 2 w 41"/>
                    <a:gd name="T71" fmla="*/ 6 h 56"/>
                    <a:gd name="T72" fmla="*/ 5 w 41"/>
                    <a:gd name="T73" fmla="*/ 6 h 56"/>
                    <a:gd name="T74" fmla="*/ 5 w 41"/>
                    <a:gd name="T75" fmla="*/ 3 h 56"/>
                    <a:gd name="T76" fmla="*/ 8 w 41"/>
                    <a:gd name="T77" fmla="*/ 0 h 56"/>
                    <a:gd name="T78" fmla="*/ 13 w 41"/>
                    <a:gd name="T79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1" h="56">
                      <a:moveTo>
                        <a:pt x="13" y="0"/>
                      </a:moveTo>
                      <a:lnTo>
                        <a:pt x="13" y="0"/>
                      </a:lnTo>
                      <a:lnTo>
                        <a:pt x="16" y="0"/>
                      </a:lnTo>
                      <a:lnTo>
                        <a:pt x="19" y="3"/>
                      </a:lnTo>
                      <a:lnTo>
                        <a:pt x="27" y="11"/>
                      </a:lnTo>
                      <a:lnTo>
                        <a:pt x="33" y="14"/>
                      </a:lnTo>
                      <a:lnTo>
                        <a:pt x="36" y="17"/>
                      </a:lnTo>
                      <a:lnTo>
                        <a:pt x="39" y="25"/>
                      </a:lnTo>
                      <a:lnTo>
                        <a:pt x="41" y="25"/>
                      </a:lnTo>
                      <a:lnTo>
                        <a:pt x="41" y="31"/>
                      </a:lnTo>
                      <a:lnTo>
                        <a:pt x="41" y="31"/>
                      </a:lnTo>
                      <a:lnTo>
                        <a:pt x="41" y="37"/>
                      </a:lnTo>
                      <a:lnTo>
                        <a:pt x="39" y="37"/>
                      </a:lnTo>
                      <a:lnTo>
                        <a:pt x="39" y="42"/>
                      </a:lnTo>
                      <a:lnTo>
                        <a:pt x="36" y="48"/>
                      </a:lnTo>
                      <a:lnTo>
                        <a:pt x="33" y="48"/>
                      </a:lnTo>
                      <a:lnTo>
                        <a:pt x="30" y="48"/>
                      </a:lnTo>
                      <a:lnTo>
                        <a:pt x="30" y="45"/>
                      </a:lnTo>
                      <a:lnTo>
                        <a:pt x="25" y="48"/>
                      </a:lnTo>
                      <a:lnTo>
                        <a:pt x="22" y="48"/>
                      </a:lnTo>
                      <a:lnTo>
                        <a:pt x="22" y="50"/>
                      </a:lnTo>
                      <a:lnTo>
                        <a:pt x="22" y="53"/>
                      </a:lnTo>
                      <a:lnTo>
                        <a:pt x="19" y="56"/>
                      </a:lnTo>
                      <a:lnTo>
                        <a:pt x="16" y="56"/>
                      </a:lnTo>
                      <a:lnTo>
                        <a:pt x="13" y="56"/>
                      </a:lnTo>
                      <a:lnTo>
                        <a:pt x="11" y="37"/>
                      </a:lnTo>
                      <a:lnTo>
                        <a:pt x="5" y="31"/>
                      </a:lnTo>
                      <a:lnTo>
                        <a:pt x="5" y="28"/>
                      </a:lnTo>
                      <a:lnTo>
                        <a:pt x="2" y="23"/>
                      </a:lnTo>
                      <a:lnTo>
                        <a:pt x="2" y="20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0" y="11"/>
                      </a:lnTo>
                      <a:lnTo>
                        <a:pt x="0" y="9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6"/>
                      </a:lnTo>
                      <a:lnTo>
                        <a:pt x="5" y="3"/>
                      </a:lnTo>
                      <a:lnTo>
                        <a:pt x="8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4" name="Freeform 1382"/>
                <p:cNvSpPr>
                  <a:spLocks noChangeAspect="1"/>
                </p:cNvSpPr>
                <p:nvPr/>
              </p:nvSpPr>
              <p:spPr bwMode="gray">
                <a:xfrm>
                  <a:off x="3903" y="2022"/>
                  <a:ext cx="36" cy="69"/>
                </a:xfrm>
                <a:custGeom>
                  <a:avLst/>
                  <a:gdLst>
                    <a:gd name="T0" fmla="*/ 30 w 36"/>
                    <a:gd name="T1" fmla="*/ 61 h 69"/>
                    <a:gd name="T2" fmla="*/ 36 w 36"/>
                    <a:gd name="T3" fmla="*/ 58 h 69"/>
                    <a:gd name="T4" fmla="*/ 33 w 36"/>
                    <a:gd name="T5" fmla="*/ 55 h 69"/>
                    <a:gd name="T6" fmla="*/ 33 w 36"/>
                    <a:gd name="T7" fmla="*/ 52 h 69"/>
                    <a:gd name="T8" fmla="*/ 33 w 36"/>
                    <a:gd name="T9" fmla="*/ 50 h 69"/>
                    <a:gd name="T10" fmla="*/ 30 w 36"/>
                    <a:gd name="T11" fmla="*/ 47 h 69"/>
                    <a:gd name="T12" fmla="*/ 27 w 36"/>
                    <a:gd name="T13" fmla="*/ 41 h 69"/>
                    <a:gd name="T14" fmla="*/ 27 w 36"/>
                    <a:gd name="T15" fmla="*/ 39 h 69"/>
                    <a:gd name="T16" fmla="*/ 25 w 36"/>
                    <a:gd name="T17" fmla="*/ 36 h 69"/>
                    <a:gd name="T18" fmla="*/ 25 w 36"/>
                    <a:gd name="T19" fmla="*/ 33 h 69"/>
                    <a:gd name="T20" fmla="*/ 25 w 36"/>
                    <a:gd name="T21" fmla="*/ 30 h 69"/>
                    <a:gd name="T22" fmla="*/ 22 w 36"/>
                    <a:gd name="T23" fmla="*/ 30 h 69"/>
                    <a:gd name="T24" fmla="*/ 22 w 36"/>
                    <a:gd name="T25" fmla="*/ 27 h 69"/>
                    <a:gd name="T26" fmla="*/ 25 w 36"/>
                    <a:gd name="T27" fmla="*/ 16 h 69"/>
                    <a:gd name="T28" fmla="*/ 25 w 36"/>
                    <a:gd name="T29" fmla="*/ 13 h 69"/>
                    <a:gd name="T30" fmla="*/ 19 w 36"/>
                    <a:gd name="T31" fmla="*/ 8 h 69"/>
                    <a:gd name="T32" fmla="*/ 11 w 36"/>
                    <a:gd name="T33" fmla="*/ 5 h 69"/>
                    <a:gd name="T34" fmla="*/ 8 w 36"/>
                    <a:gd name="T35" fmla="*/ 2 h 69"/>
                    <a:gd name="T36" fmla="*/ 5 w 36"/>
                    <a:gd name="T37" fmla="*/ 0 h 69"/>
                    <a:gd name="T38" fmla="*/ 5 w 36"/>
                    <a:gd name="T39" fmla="*/ 2 h 69"/>
                    <a:gd name="T40" fmla="*/ 11 w 36"/>
                    <a:gd name="T41" fmla="*/ 11 h 69"/>
                    <a:gd name="T42" fmla="*/ 11 w 36"/>
                    <a:gd name="T43" fmla="*/ 8 h 69"/>
                    <a:gd name="T44" fmla="*/ 16 w 36"/>
                    <a:gd name="T45" fmla="*/ 11 h 69"/>
                    <a:gd name="T46" fmla="*/ 22 w 36"/>
                    <a:gd name="T47" fmla="*/ 22 h 69"/>
                    <a:gd name="T48" fmla="*/ 19 w 36"/>
                    <a:gd name="T49" fmla="*/ 25 h 69"/>
                    <a:gd name="T50" fmla="*/ 13 w 36"/>
                    <a:gd name="T51" fmla="*/ 22 h 69"/>
                    <a:gd name="T52" fmla="*/ 13 w 36"/>
                    <a:gd name="T53" fmla="*/ 22 h 69"/>
                    <a:gd name="T54" fmla="*/ 16 w 36"/>
                    <a:gd name="T55" fmla="*/ 27 h 69"/>
                    <a:gd name="T56" fmla="*/ 13 w 36"/>
                    <a:gd name="T57" fmla="*/ 27 h 69"/>
                    <a:gd name="T58" fmla="*/ 11 w 36"/>
                    <a:gd name="T59" fmla="*/ 25 h 69"/>
                    <a:gd name="T60" fmla="*/ 8 w 36"/>
                    <a:gd name="T61" fmla="*/ 16 h 69"/>
                    <a:gd name="T62" fmla="*/ 5 w 36"/>
                    <a:gd name="T63" fmla="*/ 11 h 69"/>
                    <a:gd name="T64" fmla="*/ 2 w 36"/>
                    <a:gd name="T65" fmla="*/ 13 h 69"/>
                    <a:gd name="T66" fmla="*/ 5 w 36"/>
                    <a:gd name="T67" fmla="*/ 22 h 69"/>
                    <a:gd name="T68" fmla="*/ 8 w 36"/>
                    <a:gd name="T69" fmla="*/ 27 h 69"/>
                    <a:gd name="T70" fmla="*/ 8 w 36"/>
                    <a:gd name="T71" fmla="*/ 30 h 69"/>
                    <a:gd name="T72" fmla="*/ 2 w 36"/>
                    <a:gd name="T73" fmla="*/ 25 h 69"/>
                    <a:gd name="T74" fmla="*/ 0 w 36"/>
                    <a:gd name="T75" fmla="*/ 25 h 69"/>
                    <a:gd name="T76" fmla="*/ 5 w 36"/>
                    <a:gd name="T77" fmla="*/ 30 h 69"/>
                    <a:gd name="T78" fmla="*/ 5 w 36"/>
                    <a:gd name="T79" fmla="*/ 33 h 69"/>
                    <a:gd name="T80" fmla="*/ 5 w 36"/>
                    <a:gd name="T81" fmla="*/ 39 h 69"/>
                    <a:gd name="T82" fmla="*/ 2 w 36"/>
                    <a:gd name="T83" fmla="*/ 36 h 69"/>
                    <a:gd name="T84" fmla="*/ 2 w 36"/>
                    <a:gd name="T85" fmla="*/ 36 h 69"/>
                    <a:gd name="T86" fmla="*/ 5 w 36"/>
                    <a:gd name="T87" fmla="*/ 41 h 69"/>
                    <a:gd name="T88" fmla="*/ 16 w 36"/>
                    <a:gd name="T89" fmla="*/ 47 h 69"/>
                    <a:gd name="T90" fmla="*/ 22 w 36"/>
                    <a:gd name="T91" fmla="*/ 55 h 69"/>
                    <a:gd name="T92" fmla="*/ 22 w 36"/>
                    <a:gd name="T93" fmla="*/ 61 h 69"/>
                    <a:gd name="T94" fmla="*/ 19 w 36"/>
                    <a:gd name="T95" fmla="*/ 64 h 69"/>
                    <a:gd name="T96" fmla="*/ 19 w 36"/>
                    <a:gd name="T97" fmla="*/ 66 h 69"/>
                    <a:gd name="T98" fmla="*/ 25 w 36"/>
                    <a:gd name="T99" fmla="*/ 66 h 69"/>
                    <a:gd name="T100" fmla="*/ 25 w 36"/>
                    <a:gd name="T101" fmla="*/ 69 h 69"/>
                    <a:gd name="T102" fmla="*/ 27 w 36"/>
                    <a:gd name="T103" fmla="*/ 61 h 69"/>
                    <a:gd name="T104" fmla="*/ 30 w 36"/>
                    <a:gd name="T105" fmla="*/ 61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6" h="69">
                      <a:moveTo>
                        <a:pt x="30" y="61"/>
                      </a:moveTo>
                      <a:lnTo>
                        <a:pt x="36" y="58"/>
                      </a:lnTo>
                      <a:lnTo>
                        <a:pt x="33" y="55"/>
                      </a:lnTo>
                      <a:lnTo>
                        <a:pt x="33" y="52"/>
                      </a:lnTo>
                      <a:lnTo>
                        <a:pt x="33" y="50"/>
                      </a:lnTo>
                      <a:lnTo>
                        <a:pt x="30" y="47"/>
                      </a:lnTo>
                      <a:lnTo>
                        <a:pt x="27" y="41"/>
                      </a:lnTo>
                      <a:lnTo>
                        <a:pt x="27" y="39"/>
                      </a:lnTo>
                      <a:lnTo>
                        <a:pt x="25" y="36"/>
                      </a:lnTo>
                      <a:lnTo>
                        <a:pt x="25" y="33"/>
                      </a:lnTo>
                      <a:lnTo>
                        <a:pt x="25" y="30"/>
                      </a:lnTo>
                      <a:lnTo>
                        <a:pt x="22" y="30"/>
                      </a:lnTo>
                      <a:lnTo>
                        <a:pt x="22" y="27"/>
                      </a:lnTo>
                      <a:lnTo>
                        <a:pt x="25" y="16"/>
                      </a:lnTo>
                      <a:lnTo>
                        <a:pt x="25" y="13"/>
                      </a:lnTo>
                      <a:lnTo>
                        <a:pt x="19" y="8"/>
                      </a:lnTo>
                      <a:lnTo>
                        <a:pt x="11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11" y="11"/>
                      </a:lnTo>
                      <a:lnTo>
                        <a:pt x="11" y="8"/>
                      </a:lnTo>
                      <a:lnTo>
                        <a:pt x="16" y="11"/>
                      </a:lnTo>
                      <a:lnTo>
                        <a:pt x="22" y="22"/>
                      </a:lnTo>
                      <a:lnTo>
                        <a:pt x="19" y="25"/>
                      </a:lnTo>
                      <a:lnTo>
                        <a:pt x="13" y="22"/>
                      </a:lnTo>
                      <a:lnTo>
                        <a:pt x="13" y="22"/>
                      </a:lnTo>
                      <a:lnTo>
                        <a:pt x="16" y="27"/>
                      </a:lnTo>
                      <a:lnTo>
                        <a:pt x="13" y="27"/>
                      </a:lnTo>
                      <a:lnTo>
                        <a:pt x="11" y="25"/>
                      </a:lnTo>
                      <a:lnTo>
                        <a:pt x="8" y="16"/>
                      </a:lnTo>
                      <a:lnTo>
                        <a:pt x="5" y="11"/>
                      </a:lnTo>
                      <a:lnTo>
                        <a:pt x="2" y="13"/>
                      </a:lnTo>
                      <a:lnTo>
                        <a:pt x="5" y="22"/>
                      </a:lnTo>
                      <a:lnTo>
                        <a:pt x="8" y="27"/>
                      </a:lnTo>
                      <a:lnTo>
                        <a:pt x="8" y="30"/>
                      </a:lnTo>
                      <a:lnTo>
                        <a:pt x="2" y="25"/>
                      </a:lnTo>
                      <a:lnTo>
                        <a:pt x="0" y="25"/>
                      </a:lnTo>
                      <a:lnTo>
                        <a:pt x="5" y="30"/>
                      </a:lnTo>
                      <a:lnTo>
                        <a:pt x="5" y="33"/>
                      </a:lnTo>
                      <a:lnTo>
                        <a:pt x="5" y="39"/>
                      </a:lnTo>
                      <a:lnTo>
                        <a:pt x="2" y="36"/>
                      </a:lnTo>
                      <a:lnTo>
                        <a:pt x="2" y="36"/>
                      </a:lnTo>
                      <a:lnTo>
                        <a:pt x="5" y="41"/>
                      </a:lnTo>
                      <a:lnTo>
                        <a:pt x="16" y="47"/>
                      </a:lnTo>
                      <a:lnTo>
                        <a:pt x="22" y="55"/>
                      </a:lnTo>
                      <a:lnTo>
                        <a:pt x="22" y="61"/>
                      </a:lnTo>
                      <a:lnTo>
                        <a:pt x="19" y="64"/>
                      </a:lnTo>
                      <a:lnTo>
                        <a:pt x="19" y="66"/>
                      </a:lnTo>
                      <a:lnTo>
                        <a:pt x="25" y="66"/>
                      </a:lnTo>
                      <a:lnTo>
                        <a:pt x="25" y="69"/>
                      </a:lnTo>
                      <a:lnTo>
                        <a:pt x="27" y="61"/>
                      </a:lnTo>
                      <a:lnTo>
                        <a:pt x="30" y="6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05" name="Freeform 1383"/>
                <p:cNvSpPr>
                  <a:spLocks noChangeAspect="1"/>
                </p:cNvSpPr>
                <p:nvPr/>
              </p:nvSpPr>
              <p:spPr bwMode="gray">
                <a:xfrm>
                  <a:off x="4097" y="2453"/>
                  <a:ext cx="126" cy="223"/>
                </a:xfrm>
                <a:custGeom>
                  <a:avLst/>
                  <a:gdLst>
                    <a:gd name="T0" fmla="*/ 109 w 126"/>
                    <a:gd name="T1" fmla="*/ 217 h 223"/>
                    <a:gd name="T2" fmla="*/ 67 w 126"/>
                    <a:gd name="T3" fmla="*/ 220 h 223"/>
                    <a:gd name="T4" fmla="*/ 53 w 126"/>
                    <a:gd name="T5" fmla="*/ 209 h 223"/>
                    <a:gd name="T6" fmla="*/ 37 w 126"/>
                    <a:gd name="T7" fmla="*/ 203 h 223"/>
                    <a:gd name="T8" fmla="*/ 37 w 126"/>
                    <a:gd name="T9" fmla="*/ 173 h 223"/>
                    <a:gd name="T10" fmla="*/ 48 w 126"/>
                    <a:gd name="T11" fmla="*/ 150 h 223"/>
                    <a:gd name="T12" fmla="*/ 56 w 126"/>
                    <a:gd name="T13" fmla="*/ 150 h 223"/>
                    <a:gd name="T14" fmla="*/ 51 w 126"/>
                    <a:gd name="T15" fmla="*/ 142 h 223"/>
                    <a:gd name="T16" fmla="*/ 28 w 126"/>
                    <a:gd name="T17" fmla="*/ 117 h 223"/>
                    <a:gd name="T18" fmla="*/ 14 w 126"/>
                    <a:gd name="T19" fmla="*/ 86 h 223"/>
                    <a:gd name="T20" fmla="*/ 12 w 126"/>
                    <a:gd name="T21" fmla="*/ 81 h 223"/>
                    <a:gd name="T22" fmla="*/ 3 w 126"/>
                    <a:gd name="T23" fmla="*/ 64 h 223"/>
                    <a:gd name="T24" fmla="*/ 3 w 126"/>
                    <a:gd name="T25" fmla="*/ 56 h 223"/>
                    <a:gd name="T26" fmla="*/ 6 w 126"/>
                    <a:gd name="T27" fmla="*/ 50 h 223"/>
                    <a:gd name="T28" fmla="*/ 9 w 126"/>
                    <a:gd name="T29" fmla="*/ 45 h 223"/>
                    <a:gd name="T30" fmla="*/ 14 w 126"/>
                    <a:gd name="T31" fmla="*/ 25 h 223"/>
                    <a:gd name="T32" fmla="*/ 20 w 126"/>
                    <a:gd name="T33" fmla="*/ 25 h 223"/>
                    <a:gd name="T34" fmla="*/ 26 w 126"/>
                    <a:gd name="T35" fmla="*/ 31 h 223"/>
                    <a:gd name="T36" fmla="*/ 37 w 126"/>
                    <a:gd name="T37" fmla="*/ 20 h 223"/>
                    <a:gd name="T38" fmla="*/ 67 w 126"/>
                    <a:gd name="T39" fmla="*/ 0 h 223"/>
                    <a:gd name="T40" fmla="*/ 81 w 126"/>
                    <a:gd name="T41" fmla="*/ 3 h 223"/>
                    <a:gd name="T42" fmla="*/ 95 w 126"/>
                    <a:gd name="T43" fmla="*/ 3 h 223"/>
                    <a:gd name="T44" fmla="*/ 103 w 126"/>
                    <a:gd name="T45" fmla="*/ 8 h 223"/>
                    <a:gd name="T46" fmla="*/ 106 w 126"/>
                    <a:gd name="T47" fmla="*/ 17 h 223"/>
                    <a:gd name="T48" fmla="*/ 112 w 126"/>
                    <a:gd name="T49" fmla="*/ 25 h 223"/>
                    <a:gd name="T50" fmla="*/ 120 w 126"/>
                    <a:gd name="T51" fmla="*/ 34 h 223"/>
                    <a:gd name="T52" fmla="*/ 123 w 126"/>
                    <a:gd name="T53" fmla="*/ 42 h 223"/>
                    <a:gd name="T54" fmla="*/ 123 w 126"/>
                    <a:gd name="T55" fmla="*/ 47 h 223"/>
                    <a:gd name="T56" fmla="*/ 109 w 126"/>
                    <a:gd name="T57" fmla="*/ 45 h 223"/>
                    <a:gd name="T58" fmla="*/ 101 w 126"/>
                    <a:gd name="T59" fmla="*/ 47 h 223"/>
                    <a:gd name="T60" fmla="*/ 84 w 126"/>
                    <a:gd name="T61" fmla="*/ 45 h 223"/>
                    <a:gd name="T62" fmla="*/ 76 w 126"/>
                    <a:gd name="T63" fmla="*/ 47 h 223"/>
                    <a:gd name="T64" fmla="*/ 73 w 126"/>
                    <a:gd name="T65" fmla="*/ 50 h 223"/>
                    <a:gd name="T66" fmla="*/ 73 w 126"/>
                    <a:gd name="T67" fmla="*/ 61 h 223"/>
                    <a:gd name="T68" fmla="*/ 56 w 126"/>
                    <a:gd name="T69" fmla="*/ 59 h 223"/>
                    <a:gd name="T70" fmla="*/ 64 w 126"/>
                    <a:gd name="T71" fmla="*/ 70 h 223"/>
                    <a:gd name="T72" fmla="*/ 73 w 126"/>
                    <a:gd name="T73" fmla="*/ 81 h 223"/>
                    <a:gd name="T74" fmla="*/ 81 w 126"/>
                    <a:gd name="T75" fmla="*/ 95 h 223"/>
                    <a:gd name="T76" fmla="*/ 92 w 126"/>
                    <a:gd name="T77" fmla="*/ 100 h 223"/>
                    <a:gd name="T78" fmla="*/ 92 w 126"/>
                    <a:gd name="T79" fmla="*/ 125 h 223"/>
                    <a:gd name="T80" fmla="*/ 95 w 126"/>
                    <a:gd name="T81" fmla="*/ 125 h 223"/>
                    <a:gd name="T82" fmla="*/ 98 w 126"/>
                    <a:gd name="T83" fmla="*/ 117 h 223"/>
                    <a:gd name="T84" fmla="*/ 115 w 126"/>
                    <a:gd name="T85" fmla="*/ 120 h 223"/>
                    <a:gd name="T86" fmla="*/ 123 w 126"/>
                    <a:gd name="T87" fmla="*/ 139 h 223"/>
                    <a:gd name="T88" fmla="*/ 120 w 126"/>
                    <a:gd name="T89" fmla="*/ 142 h 223"/>
                    <a:gd name="T90" fmla="*/ 112 w 126"/>
                    <a:gd name="T91" fmla="*/ 142 h 223"/>
                    <a:gd name="T92" fmla="*/ 98 w 126"/>
                    <a:gd name="T93" fmla="*/ 134 h 223"/>
                    <a:gd name="T94" fmla="*/ 95 w 126"/>
                    <a:gd name="T95" fmla="*/ 150 h 223"/>
                    <a:gd name="T96" fmla="*/ 101 w 126"/>
                    <a:gd name="T97" fmla="*/ 156 h 223"/>
                    <a:gd name="T98" fmla="*/ 112 w 126"/>
                    <a:gd name="T99" fmla="*/ 162 h 223"/>
                    <a:gd name="T100" fmla="*/ 109 w 126"/>
                    <a:gd name="T101" fmla="*/ 164 h 223"/>
                    <a:gd name="T102" fmla="*/ 103 w 126"/>
                    <a:gd name="T103" fmla="*/ 170 h 223"/>
                    <a:gd name="T104" fmla="*/ 115 w 126"/>
                    <a:gd name="T105" fmla="*/ 176 h 223"/>
                    <a:gd name="T106" fmla="*/ 115 w 126"/>
                    <a:gd name="T107" fmla="*/ 212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26" h="223">
                      <a:moveTo>
                        <a:pt x="109" y="220"/>
                      </a:moveTo>
                      <a:lnTo>
                        <a:pt x="103" y="220"/>
                      </a:lnTo>
                      <a:lnTo>
                        <a:pt x="109" y="217"/>
                      </a:lnTo>
                      <a:lnTo>
                        <a:pt x="109" y="217"/>
                      </a:lnTo>
                      <a:lnTo>
                        <a:pt x="81" y="223"/>
                      </a:lnTo>
                      <a:lnTo>
                        <a:pt x="67" y="220"/>
                      </a:lnTo>
                      <a:lnTo>
                        <a:pt x="59" y="215"/>
                      </a:lnTo>
                      <a:lnTo>
                        <a:pt x="56" y="209"/>
                      </a:lnTo>
                      <a:lnTo>
                        <a:pt x="53" y="209"/>
                      </a:lnTo>
                      <a:lnTo>
                        <a:pt x="48" y="209"/>
                      </a:lnTo>
                      <a:lnTo>
                        <a:pt x="42" y="206"/>
                      </a:lnTo>
                      <a:lnTo>
                        <a:pt x="37" y="203"/>
                      </a:lnTo>
                      <a:lnTo>
                        <a:pt x="34" y="181"/>
                      </a:lnTo>
                      <a:lnTo>
                        <a:pt x="34" y="173"/>
                      </a:lnTo>
                      <a:lnTo>
                        <a:pt x="37" y="173"/>
                      </a:lnTo>
                      <a:lnTo>
                        <a:pt x="39" y="176"/>
                      </a:lnTo>
                      <a:lnTo>
                        <a:pt x="45" y="153"/>
                      </a:lnTo>
                      <a:lnTo>
                        <a:pt x="48" y="150"/>
                      </a:lnTo>
                      <a:lnTo>
                        <a:pt x="51" y="148"/>
                      </a:lnTo>
                      <a:lnTo>
                        <a:pt x="53" y="148"/>
                      </a:lnTo>
                      <a:lnTo>
                        <a:pt x="56" y="150"/>
                      </a:lnTo>
                      <a:lnTo>
                        <a:pt x="56" y="145"/>
                      </a:lnTo>
                      <a:lnTo>
                        <a:pt x="53" y="145"/>
                      </a:lnTo>
                      <a:lnTo>
                        <a:pt x="51" y="142"/>
                      </a:lnTo>
                      <a:lnTo>
                        <a:pt x="48" y="145"/>
                      </a:lnTo>
                      <a:lnTo>
                        <a:pt x="45" y="142"/>
                      </a:lnTo>
                      <a:lnTo>
                        <a:pt x="28" y="117"/>
                      </a:lnTo>
                      <a:lnTo>
                        <a:pt x="26" y="117"/>
                      </a:lnTo>
                      <a:lnTo>
                        <a:pt x="14" y="92"/>
                      </a:lnTo>
                      <a:lnTo>
                        <a:pt x="14" y="86"/>
                      </a:lnTo>
                      <a:lnTo>
                        <a:pt x="14" y="78"/>
                      </a:lnTo>
                      <a:lnTo>
                        <a:pt x="14" y="75"/>
                      </a:lnTo>
                      <a:lnTo>
                        <a:pt x="12" y="81"/>
                      </a:lnTo>
                      <a:lnTo>
                        <a:pt x="12" y="78"/>
                      </a:lnTo>
                      <a:lnTo>
                        <a:pt x="12" y="75"/>
                      </a:lnTo>
                      <a:lnTo>
                        <a:pt x="3" y="64"/>
                      </a:lnTo>
                      <a:lnTo>
                        <a:pt x="0" y="64"/>
                      </a:lnTo>
                      <a:lnTo>
                        <a:pt x="0" y="61"/>
                      </a:lnTo>
                      <a:lnTo>
                        <a:pt x="3" y="56"/>
                      </a:lnTo>
                      <a:lnTo>
                        <a:pt x="3" y="53"/>
                      </a:lnTo>
                      <a:lnTo>
                        <a:pt x="6" y="50"/>
                      </a:lnTo>
                      <a:lnTo>
                        <a:pt x="6" y="50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9" y="45"/>
                      </a:lnTo>
                      <a:lnTo>
                        <a:pt x="12" y="34"/>
                      </a:lnTo>
                      <a:lnTo>
                        <a:pt x="14" y="36"/>
                      </a:lnTo>
                      <a:lnTo>
                        <a:pt x="14" y="25"/>
                      </a:lnTo>
                      <a:lnTo>
                        <a:pt x="12" y="22"/>
                      </a:lnTo>
                      <a:lnTo>
                        <a:pt x="20" y="22"/>
                      </a:lnTo>
                      <a:lnTo>
                        <a:pt x="20" y="25"/>
                      </a:lnTo>
                      <a:lnTo>
                        <a:pt x="23" y="31"/>
                      </a:lnTo>
                      <a:lnTo>
                        <a:pt x="23" y="31"/>
                      </a:lnTo>
                      <a:lnTo>
                        <a:pt x="26" y="31"/>
                      </a:lnTo>
                      <a:lnTo>
                        <a:pt x="26" y="31"/>
                      </a:lnTo>
                      <a:lnTo>
                        <a:pt x="31" y="22"/>
                      </a:lnTo>
                      <a:lnTo>
                        <a:pt x="37" y="20"/>
                      </a:lnTo>
                      <a:lnTo>
                        <a:pt x="31" y="17"/>
                      </a:lnTo>
                      <a:lnTo>
                        <a:pt x="56" y="11"/>
                      </a:lnTo>
                      <a:lnTo>
                        <a:pt x="67" y="0"/>
                      </a:lnTo>
                      <a:lnTo>
                        <a:pt x="76" y="3"/>
                      </a:lnTo>
                      <a:lnTo>
                        <a:pt x="76" y="3"/>
                      </a:lnTo>
                      <a:lnTo>
                        <a:pt x="81" y="3"/>
                      </a:lnTo>
                      <a:lnTo>
                        <a:pt x="81" y="6"/>
                      </a:lnTo>
                      <a:lnTo>
                        <a:pt x="90" y="3"/>
                      </a:lnTo>
                      <a:lnTo>
                        <a:pt x="95" y="3"/>
                      </a:lnTo>
                      <a:lnTo>
                        <a:pt x="95" y="6"/>
                      </a:lnTo>
                      <a:lnTo>
                        <a:pt x="98" y="6"/>
                      </a:lnTo>
                      <a:lnTo>
                        <a:pt x="103" y="8"/>
                      </a:lnTo>
                      <a:lnTo>
                        <a:pt x="103" y="14"/>
                      </a:lnTo>
                      <a:lnTo>
                        <a:pt x="103" y="14"/>
                      </a:lnTo>
                      <a:lnTo>
                        <a:pt x="106" y="17"/>
                      </a:lnTo>
                      <a:lnTo>
                        <a:pt x="106" y="17"/>
                      </a:lnTo>
                      <a:lnTo>
                        <a:pt x="109" y="20"/>
                      </a:lnTo>
                      <a:lnTo>
                        <a:pt x="112" y="25"/>
                      </a:lnTo>
                      <a:lnTo>
                        <a:pt x="115" y="31"/>
                      </a:lnTo>
                      <a:lnTo>
                        <a:pt x="117" y="31"/>
                      </a:lnTo>
                      <a:lnTo>
                        <a:pt x="120" y="34"/>
                      </a:lnTo>
                      <a:lnTo>
                        <a:pt x="123" y="36"/>
                      </a:lnTo>
                      <a:lnTo>
                        <a:pt x="126" y="42"/>
                      </a:lnTo>
                      <a:lnTo>
                        <a:pt x="123" y="42"/>
                      </a:lnTo>
                      <a:lnTo>
                        <a:pt x="126" y="47"/>
                      </a:lnTo>
                      <a:lnTo>
                        <a:pt x="126" y="47"/>
                      </a:lnTo>
                      <a:lnTo>
                        <a:pt x="123" y="47"/>
                      </a:lnTo>
                      <a:lnTo>
                        <a:pt x="117" y="47"/>
                      </a:lnTo>
                      <a:lnTo>
                        <a:pt x="109" y="45"/>
                      </a:lnTo>
                      <a:lnTo>
                        <a:pt x="109" y="45"/>
                      </a:lnTo>
                      <a:lnTo>
                        <a:pt x="109" y="45"/>
                      </a:lnTo>
                      <a:lnTo>
                        <a:pt x="103" y="45"/>
                      </a:lnTo>
                      <a:lnTo>
                        <a:pt x="101" y="47"/>
                      </a:lnTo>
                      <a:lnTo>
                        <a:pt x="92" y="42"/>
                      </a:lnTo>
                      <a:lnTo>
                        <a:pt x="87" y="42"/>
                      </a:lnTo>
                      <a:lnTo>
                        <a:pt x="84" y="45"/>
                      </a:lnTo>
                      <a:lnTo>
                        <a:pt x="84" y="47"/>
                      </a:lnTo>
                      <a:lnTo>
                        <a:pt x="78" y="47"/>
                      </a:lnTo>
                      <a:lnTo>
                        <a:pt x="76" y="47"/>
                      </a:lnTo>
                      <a:lnTo>
                        <a:pt x="76" y="47"/>
                      </a:lnTo>
                      <a:lnTo>
                        <a:pt x="73" y="47"/>
                      </a:lnTo>
                      <a:lnTo>
                        <a:pt x="73" y="50"/>
                      </a:lnTo>
                      <a:lnTo>
                        <a:pt x="73" y="59"/>
                      </a:lnTo>
                      <a:lnTo>
                        <a:pt x="76" y="61"/>
                      </a:lnTo>
                      <a:lnTo>
                        <a:pt x="73" y="61"/>
                      </a:lnTo>
                      <a:lnTo>
                        <a:pt x="70" y="61"/>
                      </a:lnTo>
                      <a:lnTo>
                        <a:pt x="62" y="59"/>
                      </a:lnTo>
                      <a:lnTo>
                        <a:pt x="56" y="59"/>
                      </a:lnTo>
                      <a:lnTo>
                        <a:pt x="53" y="61"/>
                      </a:lnTo>
                      <a:lnTo>
                        <a:pt x="59" y="67"/>
                      </a:lnTo>
                      <a:lnTo>
                        <a:pt x="64" y="70"/>
                      </a:lnTo>
                      <a:lnTo>
                        <a:pt x="67" y="73"/>
                      </a:lnTo>
                      <a:lnTo>
                        <a:pt x="67" y="75"/>
                      </a:lnTo>
                      <a:lnTo>
                        <a:pt x="73" y="81"/>
                      </a:lnTo>
                      <a:lnTo>
                        <a:pt x="73" y="92"/>
                      </a:lnTo>
                      <a:lnTo>
                        <a:pt x="78" y="92"/>
                      </a:lnTo>
                      <a:lnTo>
                        <a:pt x="81" y="95"/>
                      </a:lnTo>
                      <a:lnTo>
                        <a:pt x="87" y="98"/>
                      </a:lnTo>
                      <a:lnTo>
                        <a:pt x="90" y="98"/>
                      </a:lnTo>
                      <a:lnTo>
                        <a:pt x="92" y="100"/>
                      </a:lnTo>
                      <a:lnTo>
                        <a:pt x="92" y="106"/>
                      </a:lnTo>
                      <a:lnTo>
                        <a:pt x="90" y="109"/>
                      </a:lnTo>
                      <a:lnTo>
                        <a:pt x="92" y="125"/>
                      </a:lnTo>
                      <a:lnTo>
                        <a:pt x="95" y="131"/>
                      </a:lnTo>
                      <a:lnTo>
                        <a:pt x="95" y="131"/>
                      </a:lnTo>
                      <a:lnTo>
                        <a:pt x="95" y="125"/>
                      </a:lnTo>
                      <a:lnTo>
                        <a:pt x="95" y="125"/>
                      </a:lnTo>
                      <a:lnTo>
                        <a:pt x="95" y="123"/>
                      </a:lnTo>
                      <a:lnTo>
                        <a:pt x="98" y="117"/>
                      </a:lnTo>
                      <a:lnTo>
                        <a:pt x="106" y="114"/>
                      </a:lnTo>
                      <a:lnTo>
                        <a:pt x="109" y="114"/>
                      </a:lnTo>
                      <a:lnTo>
                        <a:pt x="115" y="120"/>
                      </a:lnTo>
                      <a:lnTo>
                        <a:pt x="115" y="125"/>
                      </a:lnTo>
                      <a:lnTo>
                        <a:pt x="126" y="134"/>
                      </a:lnTo>
                      <a:lnTo>
                        <a:pt x="123" y="139"/>
                      </a:lnTo>
                      <a:lnTo>
                        <a:pt x="117" y="139"/>
                      </a:lnTo>
                      <a:lnTo>
                        <a:pt x="117" y="142"/>
                      </a:lnTo>
                      <a:lnTo>
                        <a:pt x="120" y="142"/>
                      </a:lnTo>
                      <a:lnTo>
                        <a:pt x="117" y="145"/>
                      </a:lnTo>
                      <a:lnTo>
                        <a:pt x="115" y="142"/>
                      </a:lnTo>
                      <a:lnTo>
                        <a:pt x="112" y="142"/>
                      </a:lnTo>
                      <a:lnTo>
                        <a:pt x="106" y="142"/>
                      </a:lnTo>
                      <a:lnTo>
                        <a:pt x="101" y="142"/>
                      </a:lnTo>
                      <a:lnTo>
                        <a:pt x="98" y="134"/>
                      </a:lnTo>
                      <a:lnTo>
                        <a:pt x="98" y="142"/>
                      </a:lnTo>
                      <a:lnTo>
                        <a:pt x="95" y="145"/>
                      </a:lnTo>
                      <a:lnTo>
                        <a:pt x="95" y="150"/>
                      </a:lnTo>
                      <a:lnTo>
                        <a:pt x="95" y="159"/>
                      </a:lnTo>
                      <a:lnTo>
                        <a:pt x="98" y="159"/>
                      </a:lnTo>
                      <a:lnTo>
                        <a:pt x="101" y="156"/>
                      </a:lnTo>
                      <a:lnTo>
                        <a:pt x="106" y="156"/>
                      </a:lnTo>
                      <a:lnTo>
                        <a:pt x="112" y="156"/>
                      </a:lnTo>
                      <a:lnTo>
                        <a:pt x="112" y="162"/>
                      </a:lnTo>
                      <a:lnTo>
                        <a:pt x="109" y="159"/>
                      </a:lnTo>
                      <a:lnTo>
                        <a:pt x="103" y="162"/>
                      </a:lnTo>
                      <a:lnTo>
                        <a:pt x="109" y="164"/>
                      </a:lnTo>
                      <a:lnTo>
                        <a:pt x="112" y="164"/>
                      </a:lnTo>
                      <a:lnTo>
                        <a:pt x="103" y="170"/>
                      </a:lnTo>
                      <a:lnTo>
                        <a:pt x="103" y="170"/>
                      </a:lnTo>
                      <a:lnTo>
                        <a:pt x="106" y="170"/>
                      </a:lnTo>
                      <a:lnTo>
                        <a:pt x="112" y="176"/>
                      </a:lnTo>
                      <a:lnTo>
                        <a:pt x="115" y="176"/>
                      </a:lnTo>
                      <a:lnTo>
                        <a:pt x="112" y="181"/>
                      </a:lnTo>
                      <a:lnTo>
                        <a:pt x="112" y="206"/>
                      </a:lnTo>
                      <a:lnTo>
                        <a:pt x="115" y="212"/>
                      </a:lnTo>
                      <a:lnTo>
                        <a:pt x="115" y="217"/>
                      </a:lnTo>
                      <a:lnTo>
                        <a:pt x="109" y="22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l" defTabSz="913943" rtl="0">
                    <a:defRPr/>
                  </a:pPr>
                  <a:endParaRPr lang="en-US" sz="1799" dirty="0">
                    <a:solidFill>
                      <a:srgbClr val="000000"/>
                    </a:solidFill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912" name="Gruppieren 911"/>
            <p:cNvGrpSpPr/>
            <p:nvPr/>
          </p:nvGrpSpPr>
          <p:grpSpPr bwMode="gray">
            <a:xfrm>
              <a:off x="1591489" y="1650373"/>
              <a:ext cx="3118911" cy="3848824"/>
              <a:chOff x="1591489" y="1650373"/>
              <a:chExt cx="3118911" cy="3848824"/>
            </a:xfrm>
            <a:grpFill/>
          </p:grpSpPr>
          <p:sp>
            <p:nvSpPr>
              <p:cNvPr id="913" name="Freeform 8"/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553334" y="3996562"/>
                <a:ext cx="3037" cy="6307"/>
              </a:xfrm>
              <a:custGeom>
                <a:avLst/>
                <a:gdLst>
                  <a:gd name="T0" fmla="*/ 3360208 w 3"/>
                  <a:gd name="T1" fmla="*/ 0 h 5"/>
                  <a:gd name="T2" fmla="*/ 3360208 w 3"/>
                  <a:gd name="T3" fmla="*/ 0 h 5"/>
                  <a:gd name="T4" fmla="*/ 3360208 w 3"/>
                  <a:gd name="T5" fmla="*/ 0 h 5"/>
                  <a:gd name="T6" fmla="*/ 0 w 3"/>
                  <a:gd name="T7" fmla="*/ 4838699 h 5"/>
                  <a:gd name="T8" fmla="*/ 0 w 3"/>
                  <a:gd name="T9" fmla="*/ 4838699 h 5"/>
                  <a:gd name="T10" fmla="*/ 3360208 w 3"/>
                  <a:gd name="T11" fmla="*/ 8064499 h 5"/>
                  <a:gd name="T12" fmla="*/ 3360208 w 3"/>
                  <a:gd name="T13" fmla="*/ 0 h 5"/>
                  <a:gd name="T14" fmla="*/ 3360208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4" name="Freeform 9"/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3553334" y="3996562"/>
                <a:ext cx="3037" cy="6307"/>
              </a:xfrm>
              <a:custGeom>
                <a:avLst/>
                <a:gdLst>
                  <a:gd name="T0" fmla="*/ 3360208 w 3"/>
                  <a:gd name="T1" fmla="*/ 0 h 5"/>
                  <a:gd name="T2" fmla="*/ 3360208 w 3"/>
                  <a:gd name="T3" fmla="*/ 0 h 5"/>
                  <a:gd name="T4" fmla="*/ 3360208 w 3"/>
                  <a:gd name="T5" fmla="*/ 0 h 5"/>
                  <a:gd name="T6" fmla="*/ 0 w 3"/>
                  <a:gd name="T7" fmla="*/ 4838699 h 5"/>
                  <a:gd name="T8" fmla="*/ 0 w 3"/>
                  <a:gd name="T9" fmla="*/ 4838699 h 5"/>
                  <a:gd name="T10" fmla="*/ 3360208 w 3"/>
                  <a:gd name="T11" fmla="*/ 8064499 h 5"/>
                  <a:gd name="T12" fmla="*/ 3360208 w 3"/>
                  <a:gd name="T13" fmla="*/ 0 h 5"/>
                  <a:gd name="T14" fmla="*/ 3360208 w 3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5" name="Freeform 10"/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3902580" y="3465201"/>
                <a:ext cx="1518" cy="3154"/>
              </a:xfrm>
              <a:custGeom>
                <a:avLst/>
                <a:gdLst>
                  <a:gd name="T0" fmla="*/ 839523 w 3"/>
                  <a:gd name="T1" fmla="*/ 0 h 2"/>
                  <a:gd name="T2" fmla="*/ 839523 w 3"/>
                  <a:gd name="T3" fmla="*/ 0 h 2"/>
                  <a:gd name="T4" fmla="*/ 839523 w 3"/>
                  <a:gd name="T5" fmla="*/ 0 h 2"/>
                  <a:gd name="T6" fmla="*/ 0 w 3"/>
                  <a:gd name="T7" fmla="*/ 5040312 h 2"/>
                  <a:gd name="T8" fmla="*/ 0 w 3"/>
                  <a:gd name="T9" fmla="*/ 5040312 h 2"/>
                  <a:gd name="T10" fmla="*/ 839523 w 3"/>
                  <a:gd name="T11" fmla="*/ 5040312 h 2"/>
                  <a:gd name="T12" fmla="*/ 839523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6" name="Freeform 11"/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3902580" y="3465201"/>
                <a:ext cx="1518" cy="3154"/>
              </a:xfrm>
              <a:custGeom>
                <a:avLst/>
                <a:gdLst>
                  <a:gd name="T0" fmla="*/ 839523 w 3"/>
                  <a:gd name="T1" fmla="*/ 0 h 2"/>
                  <a:gd name="T2" fmla="*/ 839523 w 3"/>
                  <a:gd name="T3" fmla="*/ 0 h 2"/>
                  <a:gd name="T4" fmla="*/ 839523 w 3"/>
                  <a:gd name="T5" fmla="*/ 0 h 2"/>
                  <a:gd name="T6" fmla="*/ 0 w 3"/>
                  <a:gd name="T7" fmla="*/ 5040312 h 2"/>
                  <a:gd name="T8" fmla="*/ 0 w 3"/>
                  <a:gd name="T9" fmla="*/ 5040312 h 2"/>
                  <a:gd name="T10" fmla="*/ 839523 w 3"/>
                  <a:gd name="T11" fmla="*/ 5040312 h 2"/>
                  <a:gd name="T12" fmla="*/ 839523 w 3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2"/>
                  <a:gd name="T23" fmla="*/ 3 w 3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7" name="Freeform 12"/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3626220" y="3772664"/>
                <a:ext cx="37961" cy="15767"/>
              </a:xfrm>
              <a:custGeom>
                <a:avLst/>
                <a:gdLst>
                  <a:gd name="T0" fmla="*/ 33251093 w 30"/>
                  <a:gd name="T1" fmla="*/ 0 h 11"/>
                  <a:gd name="T2" fmla="*/ 33251093 w 30"/>
                  <a:gd name="T3" fmla="*/ 0 h 11"/>
                  <a:gd name="T4" fmla="*/ 38501682 w 30"/>
                  <a:gd name="T5" fmla="*/ 6248978 h 11"/>
                  <a:gd name="T6" fmla="*/ 43752281 w 30"/>
                  <a:gd name="T7" fmla="*/ 12496513 h 11"/>
                  <a:gd name="T8" fmla="*/ 52501940 w 30"/>
                  <a:gd name="T9" fmla="*/ 12496513 h 11"/>
                  <a:gd name="T10" fmla="*/ 52501940 w 30"/>
                  <a:gd name="T11" fmla="*/ 22910509 h 11"/>
                  <a:gd name="T12" fmla="*/ 47251351 w 30"/>
                  <a:gd name="T13" fmla="*/ 22910509 h 11"/>
                  <a:gd name="T14" fmla="*/ 43752281 w 30"/>
                  <a:gd name="T15" fmla="*/ 16661534 h 11"/>
                  <a:gd name="T16" fmla="*/ 38501682 w 30"/>
                  <a:gd name="T17" fmla="*/ 22910509 h 11"/>
                  <a:gd name="T18" fmla="*/ 33251093 w 30"/>
                  <a:gd name="T19" fmla="*/ 22910509 h 11"/>
                  <a:gd name="T20" fmla="*/ 28000505 w 30"/>
                  <a:gd name="T21" fmla="*/ 22910509 h 11"/>
                  <a:gd name="T22" fmla="*/ 22751239 w 30"/>
                  <a:gd name="T23" fmla="*/ 22910509 h 11"/>
                  <a:gd name="T24" fmla="*/ 22751239 w 30"/>
                  <a:gd name="T25" fmla="*/ 22910509 h 11"/>
                  <a:gd name="T26" fmla="*/ 14000252 w 30"/>
                  <a:gd name="T27" fmla="*/ 22910509 h 11"/>
                  <a:gd name="T28" fmla="*/ 8750984 w 30"/>
                  <a:gd name="T29" fmla="*/ 12496513 h 11"/>
                  <a:gd name="T30" fmla="*/ 3500394 w 30"/>
                  <a:gd name="T31" fmla="*/ 12496513 h 11"/>
                  <a:gd name="T32" fmla="*/ 0 w 30"/>
                  <a:gd name="T33" fmla="*/ 6248978 h 11"/>
                  <a:gd name="T34" fmla="*/ 0 w 30"/>
                  <a:gd name="T35" fmla="*/ 6248978 h 11"/>
                  <a:gd name="T36" fmla="*/ 8750984 w 30"/>
                  <a:gd name="T37" fmla="*/ 0 h 11"/>
                  <a:gd name="T38" fmla="*/ 33251093 w 30"/>
                  <a:gd name="T39" fmla="*/ 0 h 1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0"/>
                  <a:gd name="T61" fmla="*/ 0 h 11"/>
                  <a:gd name="T62" fmla="*/ 30 w 30"/>
                  <a:gd name="T63" fmla="*/ 11 h 1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0" h="11">
                    <a:moveTo>
                      <a:pt x="19" y="0"/>
                    </a:moveTo>
                    <a:lnTo>
                      <a:pt x="19" y="0"/>
                    </a:lnTo>
                    <a:lnTo>
                      <a:pt x="22" y="3"/>
                    </a:lnTo>
                    <a:lnTo>
                      <a:pt x="25" y="6"/>
                    </a:lnTo>
                    <a:lnTo>
                      <a:pt x="30" y="6"/>
                    </a:lnTo>
                    <a:lnTo>
                      <a:pt x="30" y="11"/>
                    </a:lnTo>
                    <a:lnTo>
                      <a:pt x="27" y="11"/>
                    </a:lnTo>
                    <a:lnTo>
                      <a:pt x="25" y="8"/>
                    </a:lnTo>
                    <a:lnTo>
                      <a:pt x="22" y="11"/>
                    </a:lnTo>
                    <a:lnTo>
                      <a:pt x="19" y="11"/>
                    </a:lnTo>
                    <a:lnTo>
                      <a:pt x="16" y="11"/>
                    </a:lnTo>
                    <a:lnTo>
                      <a:pt x="13" y="11"/>
                    </a:lnTo>
                    <a:lnTo>
                      <a:pt x="8" y="11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5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8" name="Freeform 13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3705181" y="5067167"/>
                <a:ext cx="22777" cy="48878"/>
              </a:xfrm>
              <a:custGeom>
                <a:avLst/>
                <a:gdLst>
                  <a:gd name="T0" fmla="*/ 17719102 w 16"/>
                  <a:gd name="T1" fmla="*/ 0 h 37"/>
                  <a:gd name="T2" fmla="*/ 17719102 w 16"/>
                  <a:gd name="T3" fmla="*/ 0 h 37"/>
                  <a:gd name="T4" fmla="*/ 17719102 w 16"/>
                  <a:gd name="T5" fmla="*/ 5306915 h 37"/>
                  <a:gd name="T6" fmla="*/ 24364135 w 16"/>
                  <a:gd name="T7" fmla="*/ 5306915 h 37"/>
                  <a:gd name="T8" fmla="*/ 24364135 w 16"/>
                  <a:gd name="T9" fmla="*/ 5306915 h 37"/>
                  <a:gd name="T10" fmla="*/ 35438204 w 16"/>
                  <a:gd name="T11" fmla="*/ 24766937 h 37"/>
                  <a:gd name="T12" fmla="*/ 31007686 w 16"/>
                  <a:gd name="T13" fmla="*/ 24766937 h 37"/>
                  <a:gd name="T14" fmla="*/ 24364135 w 16"/>
                  <a:gd name="T15" fmla="*/ 35380764 h 37"/>
                  <a:gd name="T16" fmla="*/ 24364135 w 16"/>
                  <a:gd name="T17" fmla="*/ 30073850 h 37"/>
                  <a:gd name="T18" fmla="*/ 24364135 w 16"/>
                  <a:gd name="T19" fmla="*/ 35380764 h 37"/>
                  <a:gd name="T20" fmla="*/ 24364135 w 16"/>
                  <a:gd name="T21" fmla="*/ 35380764 h 37"/>
                  <a:gd name="T22" fmla="*/ 24364135 w 16"/>
                  <a:gd name="T23" fmla="*/ 40687677 h 37"/>
                  <a:gd name="T24" fmla="*/ 31007686 w 16"/>
                  <a:gd name="T25" fmla="*/ 40687677 h 37"/>
                  <a:gd name="T26" fmla="*/ 31007686 w 16"/>
                  <a:gd name="T27" fmla="*/ 44225630 h 37"/>
                  <a:gd name="T28" fmla="*/ 24364135 w 16"/>
                  <a:gd name="T29" fmla="*/ 44225630 h 37"/>
                  <a:gd name="T30" fmla="*/ 24364135 w 16"/>
                  <a:gd name="T31" fmla="*/ 49533873 h 37"/>
                  <a:gd name="T32" fmla="*/ 31007686 w 16"/>
                  <a:gd name="T33" fmla="*/ 54840787 h 37"/>
                  <a:gd name="T34" fmla="*/ 24364135 w 16"/>
                  <a:gd name="T35" fmla="*/ 54840787 h 37"/>
                  <a:gd name="T36" fmla="*/ 24364135 w 16"/>
                  <a:gd name="T37" fmla="*/ 65454614 h 37"/>
                  <a:gd name="T38" fmla="*/ 17719102 w 16"/>
                  <a:gd name="T39" fmla="*/ 65454614 h 37"/>
                  <a:gd name="T40" fmla="*/ 6645036 w 16"/>
                  <a:gd name="T41" fmla="*/ 65454614 h 37"/>
                  <a:gd name="T42" fmla="*/ 0 w 16"/>
                  <a:gd name="T43" fmla="*/ 54840787 h 37"/>
                  <a:gd name="T44" fmla="*/ 11074066 w 16"/>
                  <a:gd name="T45" fmla="*/ 5306915 h 37"/>
                  <a:gd name="T46" fmla="*/ 11074066 w 16"/>
                  <a:gd name="T47" fmla="*/ 5306915 h 37"/>
                  <a:gd name="T48" fmla="*/ 17719102 w 16"/>
                  <a:gd name="T49" fmla="*/ 0 h 3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6"/>
                  <a:gd name="T76" fmla="*/ 0 h 37"/>
                  <a:gd name="T77" fmla="*/ 16 w 16"/>
                  <a:gd name="T78" fmla="*/ 37 h 3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6" h="37">
                    <a:moveTo>
                      <a:pt x="8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1" y="20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3"/>
                    </a:lnTo>
                    <a:lnTo>
                      <a:pt x="14" y="23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11" y="28"/>
                    </a:lnTo>
                    <a:lnTo>
                      <a:pt x="14" y="31"/>
                    </a:lnTo>
                    <a:lnTo>
                      <a:pt x="11" y="31"/>
                    </a:lnTo>
                    <a:lnTo>
                      <a:pt x="11" y="37"/>
                    </a:lnTo>
                    <a:lnTo>
                      <a:pt x="8" y="37"/>
                    </a:lnTo>
                    <a:lnTo>
                      <a:pt x="3" y="37"/>
                    </a:lnTo>
                    <a:lnTo>
                      <a:pt x="0" y="31"/>
                    </a:lnTo>
                    <a:lnTo>
                      <a:pt x="5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9" name="Freeform 14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3724920" y="5144427"/>
                <a:ext cx="13667" cy="14192"/>
              </a:xfrm>
              <a:custGeom>
                <a:avLst/>
                <a:gdLst>
                  <a:gd name="T0" fmla="*/ 13496965 w 11"/>
                  <a:gd name="T1" fmla="*/ 0 h 11"/>
                  <a:gd name="T2" fmla="*/ 13496965 w 11"/>
                  <a:gd name="T3" fmla="*/ 0 h 11"/>
                  <a:gd name="T4" fmla="*/ 18558812 w 11"/>
                  <a:gd name="T5" fmla="*/ 0 h 11"/>
                  <a:gd name="T6" fmla="*/ 18558812 w 11"/>
                  <a:gd name="T7" fmla="*/ 5061848 h 11"/>
                  <a:gd name="T8" fmla="*/ 18558812 w 11"/>
                  <a:gd name="T9" fmla="*/ 5061848 h 11"/>
                  <a:gd name="T10" fmla="*/ 18558812 w 11"/>
                  <a:gd name="T11" fmla="*/ 8436414 h 11"/>
                  <a:gd name="T12" fmla="*/ 18558812 w 11"/>
                  <a:gd name="T13" fmla="*/ 13496965 h 11"/>
                  <a:gd name="T14" fmla="*/ 13496965 w 11"/>
                  <a:gd name="T15" fmla="*/ 18558812 h 11"/>
                  <a:gd name="T16" fmla="*/ 8436414 w 11"/>
                  <a:gd name="T17" fmla="*/ 18558812 h 11"/>
                  <a:gd name="T18" fmla="*/ 3374566 w 11"/>
                  <a:gd name="T19" fmla="*/ 18558812 h 11"/>
                  <a:gd name="T20" fmla="*/ 0 w 11"/>
                  <a:gd name="T21" fmla="*/ 8436414 h 11"/>
                  <a:gd name="T22" fmla="*/ 0 w 11"/>
                  <a:gd name="T23" fmla="*/ 5061848 h 11"/>
                  <a:gd name="T24" fmla="*/ 13496965 w 11"/>
                  <a:gd name="T25" fmla="*/ 0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"/>
                  <a:gd name="T40" fmla="*/ 0 h 11"/>
                  <a:gd name="T41" fmla="*/ 11 w 11"/>
                  <a:gd name="T42" fmla="*/ 11 h 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" h="11">
                    <a:moveTo>
                      <a:pt x="8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8" y="11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0" name="Freeform 15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3724920" y="5144427"/>
                <a:ext cx="13667" cy="14192"/>
              </a:xfrm>
              <a:custGeom>
                <a:avLst/>
                <a:gdLst>
                  <a:gd name="T0" fmla="*/ 13496965 w 11"/>
                  <a:gd name="T1" fmla="*/ 0 h 11"/>
                  <a:gd name="T2" fmla="*/ 13496965 w 11"/>
                  <a:gd name="T3" fmla="*/ 0 h 11"/>
                  <a:gd name="T4" fmla="*/ 18558812 w 11"/>
                  <a:gd name="T5" fmla="*/ 0 h 11"/>
                  <a:gd name="T6" fmla="*/ 18558812 w 11"/>
                  <a:gd name="T7" fmla="*/ 5061848 h 11"/>
                  <a:gd name="T8" fmla="*/ 18558812 w 11"/>
                  <a:gd name="T9" fmla="*/ 5061848 h 11"/>
                  <a:gd name="T10" fmla="*/ 18558812 w 11"/>
                  <a:gd name="T11" fmla="*/ 8436414 h 11"/>
                  <a:gd name="T12" fmla="*/ 18558812 w 11"/>
                  <a:gd name="T13" fmla="*/ 13496965 h 11"/>
                  <a:gd name="T14" fmla="*/ 13496965 w 11"/>
                  <a:gd name="T15" fmla="*/ 18558812 h 11"/>
                  <a:gd name="T16" fmla="*/ 8436414 w 11"/>
                  <a:gd name="T17" fmla="*/ 18558812 h 11"/>
                  <a:gd name="T18" fmla="*/ 3374566 w 11"/>
                  <a:gd name="T19" fmla="*/ 18558812 h 11"/>
                  <a:gd name="T20" fmla="*/ 0 w 11"/>
                  <a:gd name="T21" fmla="*/ 8436414 h 11"/>
                  <a:gd name="T22" fmla="*/ 0 w 11"/>
                  <a:gd name="T23" fmla="*/ 5061848 h 11"/>
                  <a:gd name="T24" fmla="*/ 13496965 w 11"/>
                  <a:gd name="T25" fmla="*/ 0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"/>
                  <a:gd name="T40" fmla="*/ 0 h 11"/>
                  <a:gd name="T41" fmla="*/ 11 w 11"/>
                  <a:gd name="T42" fmla="*/ 11 h 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" h="11">
                    <a:moveTo>
                      <a:pt x="8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8" y="11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1" name="Freeform 16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3709735" y="5147581"/>
                <a:ext cx="3037" cy="7884"/>
              </a:xfrm>
              <a:custGeom>
                <a:avLst/>
                <a:gdLst>
                  <a:gd name="T0" fmla="*/ 0 w 2"/>
                  <a:gd name="T1" fmla="*/ 5040630 h 5"/>
                  <a:gd name="T2" fmla="*/ 5040312 w 2"/>
                  <a:gd name="T3" fmla="*/ 0 h 5"/>
                  <a:gd name="T4" fmla="*/ 5040312 w 2"/>
                  <a:gd name="T5" fmla="*/ 5040630 h 5"/>
                  <a:gd name="T6" fmla="*/ 5040312 w 2"/>
                  <a:gd name="T7" fmla="*/ 5040630 h 5"/>
                  <a:gd name="T8" fmla="*/ 0 w 2"/>
                  <a:gd name="T9" fmla="*/ 12602367 h 5"/>
                  <a:gd name="T10" fmla="*/ 0 w 2"/>
                  <a:gd name="T11" fmla="*/ 5040630 h 5"/>
                  <a:gd name="T12" fmla="*/ 0 w 2"/>
                  <a:gd name="T13" fmla="*/ 504063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5"/>
                  <a:gd name="T23" fmla="*/ 2 w 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5">
                    <a:moveTo>
                      <a:pt x="0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2" name="Freeform 17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3709735" y="5147581"/>
                <a:ext cx="3037" cy="7884"/>
              </a:xfrm>
              <a:custGeom>
                <a:avLst/>
                <a:gdLst>
                  <a:gd name="T0" fmla="*/ 0 w 2"/>
                  <a:gd name="T1" fmla="*/ 5040630 h 5"/>
                  <a:gd name="T2" fmla="*/ 5040312 w 2"/>
                  <a:gd name="T3" fmla="*/ 0 h 5"/>
                  <a:gd name="T4" fmla="*/ 5040312 w 2"/>
                  <a:gd name="T5" fmla="*/ 5040630 h 5"/>
                  <a:gd name="T6" fmla="*/ 5040312 w 2"/>
                  <a:gd name="T7" fmla="*/ 5040630 h 5"/>
                  <a:gd name="T8" fmla="*/ 0 w 2"/>
                  <a:gd name="T9" fmla="*/ 12602367 h 5"/>
                  <a:gd name="T10" fmla="*/ 0 w 2"/>
                  <a:gd name="T11" fmla="*/ 5040630 h 5"/>
                  <a:gd name="T12" fmla="*/ 0 w 2"/>
                  <a:gd name="T13" fmla="*/ 504063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5"/>
                  <a:gd name="T23" fmla="*/ 2 w 2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5">
                    <a:moveTo>
                      <a:pt x="0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3" name="Freeform 1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3705181" y="5158618"/>
                <a:ext cx="7592" cy="3154"/>
              </a:xfrm>
              <a:custGeom>
                <a:avLst/>
                <a:gdLst>
                  <a:gd name="T0" fmla="*/ 7559199 w 5"/>
                  <a:gd name="T1" fmla="*/ 3360208 h 3"/>
                  <a:gd name="T2" fmla="*/ 0 w 5"/>
                  <a:gd name="T3" fmla="*/ 3360208 h 3"/>
                  <a:gd name="T4" fmla="*/ 0 w 5"/>
                  <a:gd name="T5" fmla="*/ 0 h 3"/>
                  <a:gd name="T6" fmla="*/ 7559199 w 5"/>
                  <a:gd name="T7" fmla="*/ 0 h 3"/>
                  <a:gd name="T8" fmla="*/ 12599192 w 5"/>
                  <a:gd name="T9" fmla="*/ 0 h 3"/>
                  <a:gd name="T10" fmla="*/ 12599192 w 5"/>
                  <a:gd name="T11" fmla="*/ 0 h 3"/>
                  <a:gd name="T12" fmla="*/ 12599192 w 5"/>
                  <a:gd name="T13" fmla="*/ 0 h 3"/>
                  <a:gd name="T14" fmla="*/ 7559199 w 5"/>
                  <a:gd name="T15" fmla="*/ 3360208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3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4" name="Freeform 19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3705181" y="5158618"/>
                <a:ext cx="7592" cy="3154"/>
              </a:xfrm>
              <a:custGeom>
                <a:avLst/>
                <a:gdLst>
                  <a:gd name="T0" fmla="*/ 7559199 w 5"/>
                  <a:gd name="T1" fmla="*/ 3360208 h 3"/>
                  <a:gd name="T2" fmla="*/ 0 w 5"/>
                  <a:gd name="T3" fmla="*/ 3360208 h 3"/>
                  <a:gd name="T4" fmla="*/ 0 w 5"/>
                  <a:gd name="T5" fmla="*/ 0 h 3"/>
                  <a:gd name="T6" fmla="*/ 7559199 w 5"/>
                  <a:gd name="T7" fmla="*/ 0 h 3"/>
                  <a:gd name="T8" fmla="*/ 12599192 w 5"/>
                  <a:gd name="T9" fmla="*/ 0 h 3"/>
                  <a:gd name="T10" fmla="*/ 12599192 w 5"/>
                  <a:gd name="T11" fmla="*/ 0 h 3"/>
                  <a:gd name="T12" fmla="*/ 12599192 w 5"/>
                  <a:gd name="T13" fmla="*/ 0 h 3"/>
                  <a:gd name="T14" fmla="*/ 7559199 w 5"/>
                  <a:gd name="T15" fmla="*/ 3360208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3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5" name="Freeform 20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3709735" y="5161772"/>
                <a:ext cx="10630" cy="7884"/>
              </a:xfrm>
              <a:custGeom>
                <a:avLst/>
                <a:gdLst>
                  <a:gd name="T0" fmla="*/ 0 w 8"/>
                  <a:gd name="T1" fmla="*/ 0 h 5"/>
                  <a:gd name="T2" fmla="*/ 0 w 8"/>
                  <a:gd name="T3" fmla="*/ 0 h 5"/>
                  <a:gd name="T4" fmla="*/ 0 w 8"/>
                  <a:gd name="T5" fmla="*/ 0 h 5"/>
                  <a:gd name="T6" fmla="*/ 9648860 w 8"/>
                  <a:gd name="T7" fmla="*/ 0 h 5"/>
                  <a:gd name="T8" fmla="*/ 15437344 w 8"/>
                  <a:gd name="T9" fmla="*/ 7559199 h 5"/>
                  <a:gd name="T10" fmla="*/ 15437344 w 8"/>
                  <a:gd name="T11" fmla="*/ 12599192 h 5"/>
                  <a:gd name="T12" fmla="*/ 3858989 w 8"/>
                  <a:gd name="T13" fmla="*/ 7559199 h 5"/>
                  <a:gd name="T14" fmla="*/ 0 w 8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5"/>
                  <a:gd name="T26" fmla="*/ 8 w 8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6" name="Freeform 2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3709735" y="5161772"/>
                <a:ext cx="10630" cy="7884"/>
              </a:xfrm>
              <a:custGeom>
                <a:avLst/>
                <a:gdLst>
                  <a:gd name="T0" fmla="*/ 0 w 8"/>
                  <a:gd name="T1" fmla="*/ 0 h 5"/>
                  <a:gd name="T2" fmla="*/ 0 w 8"/>
                  <a:gd name="T3" fmla="*/ 0 h 5"/>
                  <a:gd name="T4" fmla="*/ 0 w 8"/>
                  <a:gd name="T5" fmla="*/ 0 h 5"/>
                  <a:gd name="T6" fmla="*/ 9648860 w 8"/>
                  <a:gd name="T7" fmla="*/ 0 h 5"/>
                  <a:gd name="T8" fmla="*/ 15437344 w 8"/>
                  <a:gd name="T9" fmla="*/ 7559199 h 5"/>
                  <a:gd name="T10" fmla="*/ 15437344 w 8"/>
                  <a:gd name="T11" fmla="*/ 12599192 h 5"/>
                  <a:gd name="T12" fmla="*/ 3858989 w 8"/>
                  <a:gd name="T13" fmla="*/ 7559199 h 5"/>
                  <a:gd name="T14" fmla="*/ 0 w 8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5"/>
                  <a:gd name="T26" fmla="*/ 8 w 8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7" name="Freeform 2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3709735" y="5166502"/>
                <a:ext cx="6074" cy="3154"/>
              </a:xfrm>
              <a:custGeom>
                <a:avLst/>
                <a:gdLst>
                  <a:gd name="T0" fmla="*/ 0 w 5"/>
                  <a:gd name="T1" fmla="*/ 0 h 2"/>
                  <a:gd name="T2" fmla="*/ 3225800 w 5"/>
                  <a:gd name="T3" fmla="*/ 5040312 h 2"/>
                  <a:gd name="T4" fmla="*/ 8064499 w 5"/>
                  <a:gd name="T5" fmla="*/ 5040312 h 2"/>
                  <a:gd name="T6" fmla="*/ 3225800 w 5"/>
                  <a:gd name="T7" fmla="*/ 5040312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8" name="Freeform 23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3709735" y="5166502"/>
                <a:ext cx="6074" cy="3154"/>
              </a:xfrm>
              <a:custGeom>
                <a:avLst/>
                <a:gdLst>
                  <a:gd name="T0" fmla="*/ 0 w 5"/>
                  <a:gd name="T1" fmla="*/ 0 h 2"/>
                  <a:gd name="T2" fmla="*/ 3225800 w 5"/>
                  <a:gd name="T3" fmla="*/ 5040312 h 2"/>
                  <a:gd name="T4" fmla="*/ 8064499 w 5"/>
                  <a:gd name="T5" fmla="*/ 5040312 h 2"/>
                  <a:gd name="T6" fmla="*/ 3225800 w 5"/>
                  <a:gd name="T7" fmla="*/ 5040312 h 2"/>
                  <a:gd name="T8" fmla="*/ 0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9" name="Freeform 24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3715809" y="5180693"/>
                <a:ext cx="4557" cy="4730"/>
              </a:xfrm>
              <a:custGeom>
                <a:avLst/>
                <a:gdLst>
                  <a:gd name="T0" fmla="*/ 0 w 3"/>
                  <a:gd name="T1" fmla="*/ 1814322 h 5"/>
                  <a:gd name="T2" fmla="*/ 0 w 3"/>
                  <a:gd name="T3" fmla="*/ 0 h 5"/>
                  <a:gd name="T4" fmla="*/ 0 w 3"/>
                  <a:gd name="T5" fmla="*/ 1814322 h 5"/>
                  <a:gd name="T6" fmla="*/ 7562057 w 3"/>
                  <a:gd name="T7" fmla="*/ 4535329 h 5"/>
                  <a:gd name="T8" fmla="*/ 0 w 3"/>
                  <a:gd name="T9" fmla="*/ 4535329 h 5"/>
                  <a:gd name="T10" fmla="*/ 0 w 3"/>
                  <a:gd name="T11" fmla="*/ 1814322 h 5"/>
                  <a:gd name="T12" fmla="*/ 0 w 3"/>
                  <a:gd name="T13" fmla="*/ 1814322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0" name="Freeform 25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3715809" y="5180693"/>
                <a:ext cx="4557" cy="4730"/>
              </a:xfrm>
              <a:custGeom>
                <a:avLst/>
                <a:gdLst>
                  <a:gd name="T0" fmla="*/ 0 w 3"/>
                  <a:gd name="T1" fmla="*/ 1814322 h 5"/>
                  <a:gd name="T2" fmla="*/ 0 w 3"/>
                  <a:gd name="T3" fmla="*/ 0 h 5"/>
                  <a:gd name="T4" fmla="*/ 0 w 3"/>
                  <a:gd name="T5" fmla="*/ 1814322 h 5"/>
                  <a:gd name="T6" fmla="*/ 7562057 w 3"/>
                  <a:gd name="T7" fmla="*/ 4535329 h 5"/>
                  <a:gd name="T8" fmla="*/ 0 w 3"/>
                  <a:gd name="T9" fmla="*/ 4535329 h 5"/>
                  <a:gd name="T10" fmla="*/ 0 w 3"/>
                  <a:gd name="T11" fmla="*/ 1814322 h 5"/>
                  <a:gd name="T12" fmla="*/ 0 w 3"/>
                  <a:gd name="T13" fmla="*/ 1814322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1" name="Freeform 26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3702143" y="5232724"/>
                <a:ext cx="7592" cy="7884"/>
              </a:xfrm>
              <a:custGeom>
                <a:avLst/>
                <a:gdLst>
                  <a:gd name="T0" fmla="*/ 10499327 w 6"/>
                  <a:gd name="T1" fmla="*/ 10501973 h 6"/>
                  <a:gd name="T2" fmla="*/ 5250325 w 6"/>
                  <a:gd name="T3" fmla="*/ 10501973 h 6"/>
                  <a:gd name="T4" fmla="*/ 0 w 6"/>
                  <a:gd name="T5" fmla="*/ 5250987 h 6"/>
                  <a:gd name="T6" fmla="*/ 0 w 6"/>
                  <a:gd name="T7" fmla="*/ 5250987 h 6"/>
                  <a:gd name="T8" fmla="*/ 0 w 6"/>
                  <a:gd name="T9" fmla="*/ 0 h 6"/>
                  <a:gd name="T10" fmla="*/ 5250325 w 6"/>
                  <a:gd name="T11" fmla="*/ 0 h 6"/>
                  <a:gd name="T12" fmla="*/ 5250325 w 6"/>
                  <a:gd name="T13" fmla="*/ 5250987 h 6"/>
                  <a:gd name="T14" fmla="*/ 10499327 w 6"/>
                  <a:gd name="T15" fmla="*/ 10501973 h 6"/>
                  <a:gd name="T16" fmla="*/ 10499327 w 6"/>
                  <a:gd name="T17" fmla="*/ 10501973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6"/>
                  <a:gd name="T29" fmla="*/ 6 w 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6">
                    <a:moveTo>
                      <a:pt x="6" y="6"/>
                    </a:move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2" name="Freeform 27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3702143" y="5232724"/>
                <a:ext cx="7592" cy="7884"/>
              </a:xfrm>
              <a:custGeom>
                <a:avLst/>
                <a:gdLst>
                  <a:gd name="T0" fmla="*/ 10499327 w 6"/>
                  <a:gd name="T1" fmla="*/ 10501973 h 6"/>
                  <a:gd name="T2" fmla="*/ 5250325 w 6"/>
                  <a:gd name="T3" fmla="*/ 10501973 h 6"/>
                  <a:gd name="T4" fmla="*/ 0 w 6"/>
                  <a:gd name="T5" fmla="*/ 5250987 h 6"/>
                  <a:gd name="T6" fmla="*/ 0 w 6"/>
                  <a:gd name="T7" fmla="*/ 5250987 h 6"/>
                  <a:gd name="T8" fmla="*/ 0 w 6"/>
                  <a:gd name="T9" fmla="*/ 0 h 6"/>
                  <a:gd name="T10" fmla="*/ 5250325 w 6"/>
                  <a:gd name="T11" fmla="*/ 0 h 6"/>
                  <a:gd name="T12" fmla="*/ 5250325 w 6"/>
                  <a:gd name="T13" fmla="*/ 5250987 h 6"/>
                  <a:gd name="T14" fmla="*/ 10499327 w 6"/>
                  <a:gd name="T15" fmla="*/ 10501973 h 6"/>
                  <a:gd name="T16" fmla="*/ 10499327 w 6"/>
                  <a:gd name="T17" fmla="*/ 10501973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6"/>
                  <a:gd name="T29" fmla="*/ 6 w 6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6">
                    <a:moveTo>
                      <a:pt x="6" y="6"/>
                    </a:move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3" name="Freeform 2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3688476" y="5237455"/>
                <a:ext cx="6074" cy="3154"/>
              </a:xfrm>
              <a:custGeom>
                <a:avLst/>
                <a:gdLst>
                  <a:gd name="T0" fmla="*/ 8064499 w 5"/>
                  <a:gd name="T1" fmla="*/ 0 h 3"/>
                  <a:gd name="T2" fmla="*/ 8064499 w 5"/>
                  <a:gd name="T3" fmla="*/ 3360208 h 3"/>
                  <a:gd name="T4" fmla="*/ 4838699 w 5"/>
                  <a:gd name="T5" fmla="*/ 3360208 h 3"/>
                  <a:gd name="T6" fmla="*/ 0 w 5"/>
                  <a:gd name="T7" fmla="*/ 3360208 h 3"/>
                  <a:gd name="T8" fmla="*/ 0 w 5"/>
                  <a:gd name="T9" fmla="*/ 3360208 h 3"/>
                  <a:gd name="T10" fmla="*/ 0 w 5"/>
                  <a:gd name="T11" fmla="*/ 3360208 h 3"/>
                  <a:gd name="T12" fmla="*/ 4838699 w 5"/>
                  <a:gd name="T13" fmla="*/ 0 h 3"/>
                  <a:gd name="T14" fmla="*/ 8064499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5" y="0"/>
                    </a:move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4" name="Freeform 2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3688476" y="5237455"/>
                <a:ext cx="6074" cy="3154"/>
              </a:xfrm>
              <a:custGeom>
                <a:avLst/>
                <a:gdLst>
                  <a:gd name="T0" fmla="*/ 8064499 w 5"/>
                  <a:gd name="T1" fmla="*/ 0 h 3"/>
                  <a:gd name="T2" fmla="*/ 8064499 w 5"/>
                  <a:gd name="T3" fmla="*/ 3360208 h 3"/>
                  <a:gd name="T4" fmla="*/ 4838699 w 5"/>
                  <a:gd name="T5" fmla="*/ 3360208 h 3"/>
                  <a:gd name="T6" fmla="*/ 0 w 5"/>
                  <a:gd name="T7" fmla="*/ 3360208 h 3"/>
                  <a:gd name="T8" fmla="*/ 0 w 5"/>
                  <a:gd name="T9" fmla="*/ 3360208 h 3"/>
                  <a:gd name="T10" fmla="*/ 0 w 5"/>
                  <a:gd name="T11" fmla="*/ 3360208 h 3"/>
                  <a:gd name="T12" fmla="*/ 4838699 w 5"/>
                  <a:gd name="T13" fmla="*/ 0 h 3"/>
                  <a:gd name="T14" fmla="*/ 8064499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5" y="0"/>
                    </a:move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5" name="Freeform 30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3691514" y="5248492"/>
                <a:ext cx="6074" cy="6307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8064499 w 5"/>
                  <a:gd name="T5" fmla="*/ 3225800 h 5"/>
                  <a:gd name="T6" fmla="*/ 8064499 w 5"/>
                  <a:gd name="T7" fmla="*/ 3225800 h 5"/>
                  <a:gd name="T8" fmla="*/ 8064499 w 5"/>
                  <a:gd name="T9" fmla="*/ 8064499 h 5"/>
                  <a:gd name="T10" fmla="*/ 8064499 w 5"/>
                  <a:gd name="T11" fmla="*/ 8064499 h 5"/>
                  <a:gd name="T12" fmla="*/ 3225800 w 5"/>
                  <a:gd name="T13" fmla="*/ 8064499 h 5"/>
                  <a:gd name="T14" fmla="*/ 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6" name="Freeform 3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3691514" y="5248492"/>
                <a:ext cx="6074" cy="6307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8064499 w 5"/>
                  <a:gd name="T5" fmla="*/ 3225800 h 5"/>
                  <a:gd name="T6" fmla="*/ 8064499 w 5"/>
                  <a:gd name="T7" fmla="*/ 3225800 h 5"/>
                  <a:gd name="T8" fmla="*/ 8064499 w 5"/>
                  <a:gd name="T9" fmla="*/ 8064499 h 5"/>
                  <a:gd name="T10" fmla="*/ 8064499 w 5"/>
                  <a:gd name="T11" fmla="*/ 8064499 h 5"/>
                  <a:gd name="T12" fmla="*/ 3225800 w 5"/>
                  <a:gd name="T13" fmla="*/ 8064499 h 5"/>
                  <a:gd name="T14" fmla="*/ 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7" name="Freeform 3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3683923" y="5248492"/>
                <a:ext cx="7592" cy="15767"/>
              </a:xfrm>
              <a:custGeom>
                <a:avLst/>
                <a:gdLst>
                  <a:gd name="T0" fmla="*/ 0 w 6"/>
                  <a:gd name="T1" fmla="*/ 2982058 h 13"/>
                  <a:gd name="T2" fmla="*/ 0 w 6"/>
                  <a:gd name="T3" fmla="*/ 0 h 13"/>
                  <a:gd name="T4" fmla="*/ 5250325 w 6"/>
                  <a:gd name="T5" fmla="*/ 0 h 13"/>
                  <a:gd name="T6" fmla="*/ 10499327 w 6"/>
                  <a:gd name="T7" fmla="*/ 16403760 h 13"/>
                  <a:gd name="T8" fmla="*/ 10499327 w 6"/>
                  <a:gd name="T9" fmla="*/ 16403760 h 13"/>
                  <a:gd name="T10" fmla="*/ 10499327 w 6"/>
                  <a:gd name="T11" fmla="*/ 19385816 h 13"/>
                  <a:gd name="T12" fmla="*/ 10499327 w 6"/>
                  <a:gd name="T13" fmla="*/ 16403760 h 13"/>
                  <a:gd name="T14" fmla="*/ 5250325 w 6"/>
                  <a:gd name="T15" fmla="*/ 11929453 h 13"/>
                  <a:gd name="T16" fmla="*/ 0 w 6"/>
                  <a:gd name="T17" fmla="*/ 7456366 h 13"/>
                  <a:gd name="T18" fmla="*/ 0 w 6"/>
                  <a:gd name="T19" fmla="*/ 2982058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3"/>
                  <a:gd name="T32" fmla="*/ 6 w 6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3">
                    <a:moveTo>
                      <a:pt x="0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8" name="Freeform 33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3683923" y="5248492"/>
                <a:ext cx="7592" cy="15767"/>
              </a:xfrm>
              <a:custGeom>
                <a:avLst/>
                <a:gdLst>
                  <a:gd name="T0" fmla="*/ 0 w 6"/>
                  <a:gd name="T1" fmla="*/ 2982058 h 13"/>
                  <a:gd name="T2" fmla="*/ 0 w 6"/>
                  <a:gd name="T3" fmla="*/ 0 h 13"/>
                  <a:gd name="T4" fmla="*/ 5250325 w 6"/>
                  <a:gd name="T5" fmla="*/ 0 h 13"/>
                  <a:gd name="T6" fmla="*/ 10499327 w 6"/>
                  <a:gd name="T7" fmla="*/ 16403760 h 13"/>
                  <a:gd name="T8" fmla="*/ 10499327 w 6"/>
                  <a:gd name="T9" fmla="*/ 16403760 h 13"/>
                  <a:gd name="T10" fmla="*/ 10499327 w 6"/>
                  <a:gd name="T11" fmla="*/ 19385816 h 13"/>
                  <a:gd name="T12" fmla="*/ 10499327 w 6"/>
                  <a:gd name="T13" fmla="*/ 16403760 h 13"/>
                  <a:gd name="T14" fmla="*/ 5250325 w 6"/>
                  <a:gd name="T15" fmla="*/ 11929453 h 13"/>
                  <a:gd name="T16" fmla="*/ 0 w 6"/>
                  <a:gd name="T17" fmla="*/ 7456366 h 13"/>
                  <a:gd name="T18" fmla="*/ 0 w 6"/>
                  <a:gd name="T19" fmla="*/ 2982058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3"/>
                  <a:gd name="T32" fmla="*/ 6 w 6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3">
                    <a:moveTo>
                      <a:pt x="0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9" name="Freeform 34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3694551" y="5259530"/>
                <a:ext cx="7593" cy="4730"/>
              </a:xfrm>
              <a:custGeom>
                <a:avLst/>
                <a:gdLst>
                  <a:gd name="T0" fmla="*/ 0 w 6"/>
                  <a:gd name="T1" fmla="*/ 0 h 5"/>
                  <a:gd name="T2" fmla="*/ 5250987 w 6"/>
                  <a:gd name="T3" fmla="*/ 0 h 5"/>
                  <a:gd name="T4" fmla="*/ 10501973 w 6"/>
                  <a:gd name="T5" fmla="*/ 2721007 h 5"/>
                  <a:gd name="T6" fmla="*/ 10501973 w 6"/>
                  <a:gd name="T7" fmla="*/ 4535329 h 5"/>
                  <a:gd name="T8" fmla="*/ 10501973 w 6"/>
                  <a:gd name="T9" fmla="*/ 4535329 h 5"/>
                  <a:gd name="T10" fmla="*/ 0 w 6"/>
                  <a:gd name="T11" fmla="*/ 2721007 h 5"/>
                  <a:gd name="T12" fmla="*/ 0 w 6"/>
                  <a:gd name="T13" fmla="*/ 2721007 h 5"/>
                  <a:gd name="T14" fmla="*/ 0 w 6"/>
                  <a:gd name="T15" fmla="*/ 0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0" name="Freeform 35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3694551" y="5259530"/>
                <a:ext cx="7593" cy="4730"/>
              </a:xfrm>
              <a:custGeom>
                <a:avLst/>
                <a:gdLst>
                  <a:gd name="T0" fmla="*/ 0 w 6"/>
                  <a:gd name="T1" fmla="*/ 0 h 5"/>
                  <a:gd name="T2" fmla="*/ 5250987 w 6"/>
                  <a:gd name="T3" fmla="*/ 0 h 5"/>
                  <a:gd name="T4" fmla="*/ 10501973 w 6"/>
                  <a:gd name="T5" fmla="*/ 2721007 h 5"/>
                  <a:gd name="T6" fmla="*/ 10501973 w 6"/>
                  <a:gd name="T7" fmla="*/ 4535329 h 5"/>
                  <a:gd name="T8" fmla="*/ 10501973 w 6"/>
                  <a:gd name="T9" fmla="*/ 4535329 h 5"/>
                  <a:gd name="T10" fmla="*/ 0 w 6"/>
                  <a:gd name="T11" fmla="*/ 2721007 h 5"/>
                  <a:gd name="T12" fmla="*/ 0 w 6"/>
                  <a:gd name="T13" fmla="*/ 2721007 h 5"/>
                  <a:gd name="T14" fmla="*/ 0 w 6"/>
                  <a:gd name="T15" fmla="*/ 0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3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1" name="Freeform 36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3683923" y="5259530"/>
                <a:ext cx="4555" cy="9460"/>
              </a:xfrm>
              <a:custGeom>
                <a:avLst/>
                <a:gdLst>
                  <a:gd name="T0" fmla="*/ 0 w 3"/>
                  <a:gd name="T1" fmla="*/ 7087790 h 8"/>
                  <a:gd name="T2" fmla="*/ 0 w 3"/>
                  <a:gd name="T3" fmla="*/ 4252912 h 8"/>
                  <a:gd name="T4" fmla="*/ 0 w 3"/>
                  <a:gd name="T5" fmla="*/ 0 h 8"/>
                  <a:gd name="T6" fmla="*/ 7558882 w 3"/>
                  <a:gd name="T7" fmla="*/ 4252912 h 8"/>
                  <a:gd name="T8" fmla="*/ 7558882 w 3"/>
                  <a:gd name="T9" fmla="*/ 7087790 h 8"/>
                  <a:gd name="T10" fmla="*/ 7558882 w 3"/>
                  <a:gd name="T11" fmla="*/ 7087790 h 8"/>
                  <a:gd name="T12" fmla="*/ 0 w 3"/>
                  <a:gd name="T13" fmla="*/ 11340702 h 8"/>
                  <a:gd name="T14" fmla="*/ 0 w 3"/>
                  <a:gd name="T15" fmla="*/ 7087790 h 8"/>
                  <a:gd name="T16" fmla="*/ 0 w 3"/>
                  <a:gd name="T17" fmla="*/ 708779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8"/>
                  <a:gd name="T29" fmla="*/ 3 w 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8">
                    <a:moveTo>
                      <a:pt x="0" y="5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8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2" name="Freeform 37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3683923" y="5259530"/>
                <a:ext cx="4555" cy="9460"/>
              </a:xfrm>
              <a:custGeom>
                <a:avLst/>
                <a:gdLst>
                  <a:gd name="T0" fmla="*/ 0 w 3"/>
                  <a:gd name="T1" fmla="*/ 7087790 h 8"/>
                  <a:gd name="T2" fmla="*/ 0 w 3"/>
                  <a:gd name="T3" fmla="*/ 4252912 h 8"/>
                  <a:gd name="T4" fmla="*/ 0 w 3"/>
                  <a:gd name="T5" fmla="*/ 0 h 8"/>
                  <a:gd name="T6" fmla="*/ 7558882 w 3"/>
                  <a:gd name="T7" fmla="*/ 4252912 h 8"/>
                  <a:gd name="T8" fmla="*/ 7558882 w 3"/>
                  <a:gd name="T9" fmla="*/ 7087790 h 8"/>
                  <a:gd name="T10" fmla="*/ 7558882 w 3"/>
                  <a:gd name="T11" fmla="*/ 7087790 h 8"/>
                  <a:gd name="T12" fmla="*/ 0 w 3"/>
                  <a:gd name="T13" fmla="*/ 11340702 h 8"/>
                  <a:gd name="T14" fmla="*/ 0 w 3"/>
                  <a:gd name="T15" fmla="*/ 7087790 h 8"/>
                  <a:gd name="T16" fmla="*/ 0 w 3"/>
                  <a:gd name="T17" fmla="*/ 708779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8"/>
                  <a:gd name="T29" fmla="*/ 3 w 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8">
                    <a:moveTo>
                      <a:pt x="0" y="5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8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3" name="Freeform 3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3688476" y="5264259"/>
                <a:ext cx="16704" cy="45726"/>
              </a:xfrm>
              <a:custGeom>
                <a:avLst/>
                <a:gdLst>
                  <a:gd name="T0" fmla="*/ 4667610 w 14"/>
                  <a:gd name="T1" fmla="*/ 16501913 h 34"/>
                  <a:gd name="T2" fmla="*/ 7779767 w 14"/>
                  <a:gd name="T3" fmla="*/ 16501913 h 34"/>
                  <a:gd name="T4" fmla="*/ 4667610 w 14"/>
                  <a:gd name="T5" fmla="*/ 11000372 h 34"/>
                  <a:gd name="T6" fmla="*/ 7779767 w 14"/>
                  <a:gd name="T7" fmla="*/ 5500186 h 34"/>
                  <a:gd name="T8" fmla="*/ 7779767 w 14"/>
                  <a:gd name="T9" fmla="*/ 5500186 h 34"/>
                  <a:gd name="T10" fmla="*/ 12447378 w 14"/>
                  <a:gd name="T11" fmla="*/ 0 h 34"/>
                  <a:gd name="T12" fmla="*/ 17114988 w 14"/>
                  <a:gd name="T13" fmla="*/ 11000372 h 34"/>
                  <a:gd name="T14" fmla="*/ 21782602 w 14"/>
                  <a:gd name="T15" fmla="*/ 56837969 h 34"/>
                  <a:gd name="T16" fmla="*/ 17114988 w 14"/>
                  <a:gd name="T17" fmla="*/ 62338153 h 34"/>
                  <a:gd name="T18" fmla="*/ 12447378 w 14"/>
                  <a:gd name="T19" fmla="*/ 62338153 h 34"/>
                  <a:gd name="T20" fmla="*/ 7779767 w 14"/>
                  <a:gd name="T21" fmla="*/ 56837969 h 34"/>
                  <a:gd name="T22" fmla="*/ 7779767 w 14"/>
                  <a:gd name="T23" fmla="*/ 47670995 h 34"/>
                  <a:gd name="T24" fmla="*/ 12447378 w 14"/>
                  <a:gd name="T25" fmla="*/ 42169446 h 34"/>
                  <a:gd name="T26" fmla="*/ 12447378 w 14"/>
                  <a:gd name="T27" fmla="*/ 42169446 h 34"/>
                  <a:gd name="T28" fmla="*/ 4667610 w 14"/>
                  <a:gd name="T29" fmla="*/ 36669261 h 34"/>
                  <a:gd name="T30" fmla="*/ 0 w 14"/>
                  <a:gd name="T31" fmla="*/ 31169077 h 34"/>
                  <a:gd name="T32" fmla="*/ 0 w 14"/>
                  <a:gd name="T33" fmla="*/ 25668892 h 34"/>
                  <a:gd name="T34" fmla="*/ 4667610 w 14"/>
                  <a:gd name="T35" fmla="*/ 25668892 h 34"/>
                  <a:gd name="T36" fmla="*/ 7779767 w 14"/>
                  <a:gd name="T37" fmla="*/ 31169077 h 34"/>
                  <a:gd name="T38" fmla="*/ 7779767 w 14"/>
                  <a:gd name="T39" fmla="*/ 25668892 h 34"/>
                  <a:gd name="T40" fmla="*/ 4667610 w 14"/>
                  <a:gd name="T41" fmla="*/ 25668892 h 34"/>
                  <a:gd name="T42" fmla="*/ 4667610 w 14"/>
                  <a:gd name="T43" fmla="*/ 22002097 h 34"/>
                  <a:gd name="T44" fmla="*/ 4667610 w 14"/>
                  <a:gd name="T45" fmla="*/ 16501913 h 34"/>
                  <a:gd name="T46" fmla="*/ 4667610 w 14"/>
                  <a:gd name="T47" fmla="*/ 16501913 h 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"/>
                  <a:gd name="T73" fmla="*/ 0 h 34"/>
                  <a:gd name="T74" fmla="*/ 14 w 14"/>
                  <a:gd name="T75" fmla="*/ 34 h 3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" h="34">
                    <a:moveTo>
                      <a:pt x="3" y="9"/>
                    </a:moveTo>
                    <a:lnTo>
                      <a:pt x="5" y="9"/>
                    </a:lnTo>
                    <a:lnTo>
                      <a:pt x="3" y="6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6"/>
                    </a:lnTo>
                    <a:lnTo>
                      <a:pt x="14" y="31"/>
                    </a:lnTo>
                    <a:lnTo>
                      <a:pt x="11" y="34"/>
                    </a:lnTo>
                    <a:lnTo>
                      <a:pt x="8" y="34"/>
                    </a:lnTo>
                    <a:lnTo>
                      <a:pt x="5" y="31"/>
                    </a:lnTo>
                    <a:lnTo>
                      <a:pt x="5" y="26"/>
                    </a:lnTo>
                    <a:lnTo>
                      <a:pt x="8" y="23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3" y="14"/>
                    </a:lnTo>
                    <a:lnTo>
                      <a:pt x="3" y="12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4" name="Freeform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3688476" y="5264259"/>
                <a:ext cx="16704" cy="45726"/>
              </a:xfrm>
              <a:custGeom>
                <a:avLst/>
                <a:gdLst>
                  <a:gd name="T0" fmla="*/ 4667610 w 14"/>
                  <a:gd name="T1" fmla="*/ 16501913 h 34"/>
                  <a:gd name="T2" fmla="*/ 7779767 w 14"/>
                  <a:gd name="T3" fmla="*/ 16501913 h 34"/>
                  <a:gd name="T4" fmla="*/ 4667610 w 14"/>
                  <a:gd name="T5" fmla="*/ 11000372 h 34"/>
                  <a:gd name="T6" fmla="*/ 7779767 w 14"/>
                  <a:gd name="T7" fmla="*/ 5500186 h 34"/>
                  <a:gd name="T8" fmla="*/ 7779767 w 14"/>
                  <a:gd name="T9" fmla="*/ 5500186 h 34"/>
                  <a:gd name="T10" fmla="*/ 12447378 w 14"/>
                  <a:gd name="T11" fmla="*/ 0 h 34"/>
                  <a:gd name="T12" fmla="*/ 17114988 w 14"/>
                  <a:gd name="T13" fmla="*/ 11000372 h 34"/>
                  <a:gd name="T14" fmla="*/ 21782602 w 14"/>
                  <a:gd name="T15" fmla="*/ 56837969 h 34"/>
                  <a:gd name="T16" fmla="*/ 17114988 w 14"/>
                  <a:gd name="T17" fmla="*/ 62338153 h 34"/>
                  <a:gd name="T18" fmla="*/ 12447378 w 14"/>
                  <a:gd name="T19" fmla="*/ 62338153 h 34"/>
                  <a:gd name="T20" fmla="*/ 7779767 w 14"/>
                  <a:gd name="T21" fmla="*/ 56837969 h 34"/>
                  <a:gd name="T22" fmla="*/ 7779767 w 14"/>
                  <a:gd name="T23" fmla="*/ 47670995 h 34"/>
                  <a:gd name="T24" fmla="*/ 12447378 w 14"/>
                  <a:gd name="T25" fmla="*/ 42169446 h 34"/>
                  <a:gd name="T26" fmla="*/ 12447378 w 14"/>
                  <a:gd name="T27" fmla="*/ 42169446 h 34"/>
                  <a:gd name="T28" fmla="*/ 4667610 w 14"/>
                  <a:gd name="T29" fmla="*/ 36669261 h 34"/>
                  <a:gd name="T30" fmla="*/ 0 w 14"/>
                  <a:gd name="T31" fmla="*/ 31169077 h 34"/>
                  <a:gd name="T32" fmla="*/ 0 w 14"/>
                  <a:gd name="T33" fmla="*/ 25668892 h 34"/>
                  <a:gd name="T34" fmla="*/ 4667610 w 14"/>
                  <a:gd name="T35" fmla="*/ 25668892 h 34"/>
                  <a:gd name="T36" fmla="*/ 7779767 w 14"/>
                  <a:gd name="T37" fmla="*/ 31169077 h 34"/>
                  <a:gd name="T38" fmla="*/ 7779767 w 14"/>
                  <a:gd name="T39" fmla="*/ 25668892 h 34"/>
                  <a:gd name="T40" fmla="*/ 4667610 w 14"/>
                  <a:gd name="T41" fmla="*/ 25668892 h 34"/>
                  <a:gd name="T42" fmla="*/ 4667610 w 14"/>
                  <a:gd name="T43" fmla="*/ 22002097 h 34"/>
                  <a:gd name="T44" fmla="*/ 4667610 w 14"/>
                  <a:gd name="T45" fmla="*/ 16501913 h 34"/>
                  <a:gd name="T46" fmla="*/ 4667610 w 14"/>
                  <a:gd name="T47" fmla="*/ 16501913 h 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"/>
                  <a:gd name="T73" fmla="*/ 0 h 34"/>
                  <a:gd name="T74" fmla="*/ 14 w 14"/>
                  <a:gd name="T75" fmla="*/ 34 h 3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" h="34">
                    <a:moveTo>
                      <a:pt x="3" y="9"/>
                    </a:moveTo>
                    <a:lnTo>
                      <a:pt x="5" y="9"/>
                    </a:lnTo>
                    <a:lnTo>
                      <a:pt x="3" y="6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6"/>
                    </a:lnTo>
                    <a:lnTo>
                      <a:pt x="14" y="31"/>
                    </a:lnTo>
                    <a:lnTo>
                      <a:pt x="11" y="34"/>
                    </a:lnTo>
                    <a:lnTo>
                      <a:pt x="8" y="34"/>
                    </a:lnTo>
                    <a:lnTo>
                      <a:pt x="5" y="31"/>
                    </a:lnTo>
                    <a:lnTo>
                      <a:pt x="5" y="26"/>
                    </a:lnTo>
                    <a:lnTo>
                      <a:pt x="8" y="23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3" y="14"/>
                    </a:lnTo>
                    <a:lnTo>
                      <a:pt x="3" y="12"/>
                    </a:lnTo>
                    <a:lnTo>
                      <a:pt x="3" y="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5" name="Freeform 40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3683923" y="5298947"/>
                <a:ext cx="4555" cy="3154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0 w 3"/>
                  <a:gd name="T7" fmla="*/ 0 h 2"/>
                  <a:gd name="T8" fmla="*/ 7558882 w 3"/>
                  <a:gd name="T9" fmla="*/ 5040312 h 2"/>
                  <a:gd name="T10" fmla="*/ 7558882 w 3"/>
                  <a:gd name="T11" fmla="*/ 5040312 h 2"/>
                  <a:gd name="T12" fmla="*/ 0 w 3"/>
                  <a:gd name="T13" fmla="*/ 5040312 h 2"/>
                  <a:gd name="T14" fmla="*/ 0 w 3"/>
                  <a:gd name="T15" fmla="*/ 5040312 h 2"/>
                  <a:gd name="T16" fmla="*/ 0 w 3"/>
                  <a:gd name="T17" fmla="*/ 0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2"/>
                  <a:gd name="T29" fmla="*/ 3 w 3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6" name="Freeform 41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3683923" y="5298947"/>
                <a:ext cx="4555" cy="3154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0 w 3"/>
                  <a:gd name="T7" fmla="*/ 0 h 2"/>
                  <a:gd name="T8" fmla="*/ 7558882 w 3"/>
                  <a:gd name="T9" fmla="*/ 5040312 h 2"/>
                  <a:gd name="T10" fmla="*/ 7558882 w 3"/>
                  <a:gd name="T11" fmla="*/ 5040312 h 2"/>
                  <a:gd name="T12" fmla="*/ 0 w 3"/>
                  <a:gd name="T13" fmla="*/ 5040312 h 2"/>
                  <a:gd name="T14" fmla="*/ 0 w 3"/>
                  <a:gd name="T15" fmla="*/ 5040312 h 2"/>
                  <a:gd name="T16" fmla="*/ 0 w 3"/>
                  <a:gd name="T17" fmla="*/ 0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2"/>
                  <a:gd name="T29" fmla="*/ 3 w 3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7" name="Freeform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3683923" y="5313139"/>
                <a:ext cx="10628" cy="9460"/>
              </a:xfrm>
              <a:custGeom>
                <a:avLst/>
                <a:gdLst>
                  <a:gd name="T0" fmla="*/ 0 w 8"/>
                  <a:gd name="T1" fmla="*/ 2834878 h 8"/>
                  <a:gd name="T2" fmla="*/ 0 w 8"/>
                  <a:gd name="T3" fmla="*/ 2834878 h 8"/>
                  <a:gd name="T4" fmla="*/ 5787963 w 8"/>
                  <a:gd name="T5" fmla="*/ 0 h 8"/>
                  <a:gd name="T6" fmla="*/ 11575926 w 8"/>
                  <a:gd name="T7" fmla="*/ 2834878 h 8"/>
                  <a:gd name="T8" fmla="*/ 11575926 w 8"/>
                  <a:gd name="T9" fmla="*/ 0 h 8"/>
                  <a:gd name="T10" fmla="*/ 15434566 w 8"/>
                  <a:gd name="T11" fmla="*/ 0 h 8"/>
                  <a:gd name="T12" fmla="*/ 15434566 w 8"/>
                  <a:gd name="T13" fmla="*/ 2834878 h 8"/>
                  <a:gd name="T14" fmla="*/ 15434566 w 8"/>
                  <a:gd name="T15" fmla="*/ 7087790 h 8"/>
                  <a:gd name="T16" fmla="*/ 15434566 w 8"/>
                  <a:gd name="T17" fmla="*/ 11340702 h 8"/>
                  <a:gd name="T18" fmla="*/ 11575926 w 8"/>
                  <a:gd name="T19" fmla="*/ 7087790 h 8"/>
                  <a:gd name="T20" fmla="*/ 11575926 w 8"/>
                  <a:gd name="T21" fmla="*/ 7087790 h 8"/>
                  <a:gd name="T22" fmla="*/ 5787963 w 8"/>
                  <a:gd name="T23" fmla="*/ 7087790 h 8"/>
                  <a:gd name="T24" fmla="*/ 0 w 8"/>
                  <a:gd name="T25" fmla="*/ 2834878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8"/>
                  <a:gd name="T41" fmla="*/ 8 w 8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8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8" name="Freeform 43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3683923" y="5313139"/>
                <a:ext cx="10628" cy="9460"/>
              </a:xfrm>
              <a:custGeom>
                <a:avLst/>
                <a:gdLst>
                  <a:gd name="T0" fmla="*/ 0 w 8"/>
                  <a:gd name="T1" fmla="*/ 2834878 h 8"/>
                  <a:gd name="T2" fmla="*/ 0 w 8"/>
                  <a:gd name="T3" fmla="*/ 2834878 h 8"/>
                  <a:gd name="T4" fmla="*/ 5787963 w 8"/>
                  <a:gd name="T5" fmla="*/ 0 h 8"/>
                  <a:gd name="T6" fmla="*/ 11575926 w 8"/>
                  <a:gd name="T7" fmla="*/ 2834878 h 8"/>
                  <a:gd name="T8" fmla="*/ 11575926 w 8"/>
                  <a:gd name="T9" fmla="*/ 0 h 8"/>
                  <a:gd name="T10" fmla="*/ 15434566 w 8"/>
                  <a:gd name="T11" fmla="*/ 0 h 8"/>
                  <a:gd name="T12" fmla="*/ 15434566 w 8"/>
                  <a:gd name="T13" fmla="*/ 2834878 h 8"/>
                  <a:gd name="T14" fmla="*/ 15434566 w 8"/>
                  <a:gd name="T15" fmla="*/ 7087790 h 8"/>
                  <a:gd name="T16" fmla="*/ 15434566 w 8"/>
                  <a:gd name="T17" fmla="*/ 11340702 h 8"/>
                  <a:gd name="T18" fmla="*/ 11575926 w 8"/>
                  <a:gd name="T19" fmla="*/ 7087790 h 8"/>
                  <a:gd name="T20" fmla="*/ 11575926 w 8"/>
                  <a:gd name="T21" fmla="*/ 7087790 h 8"/>
                  <a:gd name="T22" fmla="*/ 5787963 w 8"/>
                  <a:gd name="T23" fmla="*/ 7087790 h 8"/>
                  <a:gd name="T24" fmla="*/ 0 w 8"/>
                  <a:gd name="T25" fmla="*/ 2834878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"/>
                  <a:gd name="T40" fmla="*/ 0 h 8"/>
                  <a:gd name="T41" fmla="*/ 8 w 8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" h="8">
                    <a:moveTo>
                      <a:pt x="0" y="2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9" name="Freeform 44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3697588" y="5319446"/>
                <a:ext cx="12148" cy="14190"/>
              </a:xfrm>
              <a:custGeom>
                <a:avLst/>
                <a:gdLst>
                  <a:gd name="T0" fmla="*/ 11947878 w 9"/>
                  <a:gd name="T1" fmla="*/ 15181886 h 11"/>
                  <a:gd name="T2" fmla="*/ 5973234 w 9"/>
                  <a:gd name="T3" fmla="*/ 10121689 h 11"/>
                  <a:gd name="T4" fmla="*/ 5973234 w 9"/>
                  <a:gd name="T5" fmla="*/ 10121689 h 11"/>
                  <a:gd name="T6" fmla="*/ 0 w 9"/>
                  <a:gd name="T7" fmla="*/ 0 h 11"/>
                  <a:gd name="T8" fmla="*/ 0 w 9"/>
                  <a:gd name="T9" fmla="*/ 0 h 11"/>
                  <a:gd name="T10" fmla="*/ 5973234 w 9"/>
                  <a:gd name="T11" fmla="*/ 0 h 11"/>
                  <a:gd name="T12" fmla="*/ 17921109 w 9"/>
                  <a:gd name="T13" fmla="*/ 10121689 h 11"/>
                  <a:gd name="T14" fmla="*/ 17921109 w 9"/>
                  <a:gd name="T15" fmla="*/ 18556214 h 11"/>
                  <a:gd name="T16" fmla="*/ 17921109 w 9"/>
                  <a:gd name="T17" fmla="*/ 18556214 h 11"/>
                  <a:gd name="T18" fmla="*/ 11947878 w 9"/>
                  <a:gd name="T19" fmla="*/ 15181886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1"/>
                  <a:gd name="T32" fmla="*/ 9 w 9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1">
                    <a:moveTo>
                      <a:pt x="6" y="9"/>
                    </a:moveTo>
                    <a:lnTo>
                      <a:pt x="3" y="6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6"/>
                    </a:lnTo>
                    <a:lnTo>
                      <a:pt x="9" y="11"/>
                    </a:lnTo>
                    <a:lnTo>
                      <a:pt x="6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0" name="Freeform 45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3697588" y="5319446"/>
                <a:ext cx="12148" cy="14190"/>
              </a:xfrm>
              <a:custGeom>
                <a:avLst/>
                <a:gdLst>
                  <a:gd name="T0" fmla="*/ 11947878 w 9"/>
                  <a:gd name="T1" fmla="*/ 15181886 h 11"/>
                  <a:gd name="T2" fmla="*/ 5973234 w 9"/>
                  <a:gd name="T3" fmla="*/ 10121689 h 11"/>
                  <a:gd name="T4" fmla="*/ 5973234 w 9"/>
                  <a:gd name="T5" fmla="*/ 10121689 h 11"/>
                  <a:gd name="T6" fmla="*/ 0 w 9"/>
                  <a:gd name="T7" fmla="*/ 0 h 11"/>
                  <a:gd name="T8" fmla="*/ 0 w 9"/>
                  <a:gd name="T9" fmla="*/ 0 h 11"/>
                  <a:gd name="T10" fmla="*/ 5973234 w 9"/>
                  <a:gd name="T11" fmla="*/ 0 h 11"/>
                  <a:gd name="T12" fmla="*/ 17921109 w 9"/>
                  <a:gd name="T13" fmla="*/ 10121689 h 11"/>
                  <a:gd name="T14" fmla="*/ 17921109 w 9"/>
                  <a:gd name="T15" fmla="*/ 18556214 h 11"/>
                  <a:gd name="T16" fmla="*/ 17921109 w 9"/>
                  <a:gd name="T17" fmla="*/ 18556214 h 11"/>
                  <a:gd name="T18" fmla="*/ 11947878 w 9"/>
                  <a:gd name="T19" fmla="*/ 15181886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"/>
                  <a:gd name="T31" fmla="*/ 0 h 11"/>
                  <a:gd name="T32" fmla="*/ 9 w 9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" h="11">
                    <a:moveTo>
                      <a:pt x="6" y="9"/>
                    </a:moveTo>
                    <a:lnTo>
                      <a:pt x="3" y="6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9" y="6"/>
                    </a:lnTo>
                    <a:lnTo>
                      <a:pt x="9" y="11"/>
                    </a:lnTo>
                    <a:lnTo>
                      <a:pt x="6" y="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1" name="Freeform 46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3697588" y="5327329"/>
                <a:ext cx="7593" cy="17345"/>
              </a:xfrm>
              <a:custGeom>
                <a:avLst/>
                <a:gdLst>
                  <a:gd name="T0" fmla="*/ 10501973 w 6"/>
                  <a:gd name="T1" fmla="*/ 12447378 h 14"/>
                  <a:gd name="T2" fmla="*/ 5250987 w 6"/>
                  <a:gd name="T3" fmla="*/ 17114988 h 14"/>
                  <a:gd name="T4" fmla="*/ 10501973 w 6"/>
                  <a:gd name="T5" fmla="*/ 21782602 h 14"/>
                  <a:gd name="T6" fmla="*/ 5250987 w 6"/>
                  <a:gd name="T7" fmla="*/ 21782602 h 14"/>
                  <a:gd name="T8" fmla="*/ 0 w 6"/>
                  <a:gd name="T9" fmla="*/ 12447378 h 14"/>
                  <a:gd name="T10" fmla="*/ 0 w 6"/>
                  <a:gd name="T11" fmla="*/ 0 h 14"/>
                  <a:gd name="T12" fmla="*/ 0 w 6"/>
                  <a:gd name="T13" fmla="*/ 4667610 h 14"/>
                  <a:gd name="T14" fmla="*/ 5250987 w 6"/>
                  <a:gd name="T15" fmla="*/ 4667610 h 14"/>
                  <a:gd name="T16" fmla="*/ 10501973 w 6"/>
                  <a:gd name="T17" fmla="*/ 12447378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4"/>
                  <a:gd name="T29" fmla="*/ 6 w 6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4">
                    <a:moveTo>
                      <a:pt x="6" y="8"/>
                    </a:moveTo>
                    <a:lnTo>
                      <a:pt x="3" y="11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2" name="Freeform 47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3697588" y="5327329"/>
                <a:ext cx="7593" cy="17345"/>
              </a:xfrm>
              <a:custGeom>
                <a:avLst/>
                <a:gdLst>
                  <a:gd name="T0" fmla="*/ 10501973 w 6"/>
                  <a:gd name="T1" fmla="*/ 12447378 h 14"/>
                  <a:gd name="T2" fmla="*/ 5250987 w 6"/>
                  <a:gd name="T3" fmla="*/ 17114988 h 14"/>
                  <a:gd name="T4" fmla="*/ 10501973 w 6"/>
                  <a:gd name="T5" fmla="*/ 21782602 h 14"/>
                  <a:gd name="T6" fmla="*/ 5250987 w 6"/>
                  <a:gd name="T7" fmla="*/ 21782602 h 14"/>
                  <a:gd name="T8" fmla="*/ 0 w 6"/>
                  <a:gd name="T9" fmla="*/ 12447378 h 14"/>
                  <a:gd name="T10" fmla="*/ 0 w 6"/>
                  <a:gd name="T11" fmla="*/ 0 h 14"/>
                  <a:gd name="T12" fmla="*/ 0 w 6"/>
                  <a:gd name="T13" fmla="*/ 4667610 h 14"/>
                  <a:gd name="T14" fmla="*/ 5250987 w 6"/>
                  <a:gd name="T15" fmla="*/ 4667610 h 14"/>
                  <a:gd name="T16" fmla="*/ 10501973 w 6"/>
                  <a:gd name="T17" fmla="*/ 12447378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4"/>
                  <a:gd name="T29" fmla="*/ 6 w 6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4">
                    <a:moveTo>
                      <a:pt x="6" y="8"/>
                    </a:moveTo>
                    <a:lnTo>
                      <a:pt x="3" y="11"/>
                    </a:lnTo>
                    <a:lnTo>
                      <a:pt x="6" y="14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3" name="Freeform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3694551" y="5344673"/>
                <a:ext cx="7593" cy="7884"/>
              </a:xfrm>
              <a:custGeom>
                <a:avLst/>
                <a:gdLst>
                  <a:gd name="T0" fmla="*/ 0 w 6"/>
                  <a:gd name="T1" fmla="*/ 12599192 h 5"/>
                  <a:gd name="T2" fmla="*/ 0 w 6"/>
                  <a:gd name="T3" fmla="*/ 7559199 h 5"/>
                  <a:gd name="T4" fmla="*/ 5250987 w 6"/>
                  <a:gd name="T5" fmla="*/ 0 h 5"/>
                  <a:gd name="T6" fmla="*/ 10501973 w 6"/>
                  <a:gd name="T7" fmla="*/ 0 h 5"/>
                  <a:gd name="T8" fmla="*/ 10501973 w 6"/>
                  <a:gd name="T9" fmla="*/ 12599192 h 5"/>
                  <a:gd name="T10" fmla="*/ 5250987 w 6"/>
                  <a:gd name="T11" fmla="*/ 12599192 h 5"/>
                  <a:gd name="T12" fmla="*/ 0 w 6"/>
                  <a:gd name="T13" fmla="*/ 12599192 h 5"/>
                  <a:gd name="T14" fmla="*/ 0 w 6"/>
                  <a:gd name="T15" fmla="*/ 12599192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5"/>
                  <a:gd name="T26" fmla="*/ 6 w 6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5">
                    <a:moveTo>
                      <a:pt x="0" y="5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4" name="Freeform 4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3694551" y="5344673"/>
                <a:ext cx="7593" cy="7884"/>
              </a:xfrm>
              <a:custGeom>
                <a:avLst/>
                <a:gdLst>
                  <a:gd name="T0" fmla="*/ 0 w 6"/>
                  <a:gd name="T1" fmla="*/ 12599192 h 5"/>
                  <a:gd name="T2" fmla="*/ 0 w 6"/>
                  <a:gd name="T3" fmla="*/ 7559199 h 5"/>
                  <a:gd name="T4" fmla="*/ 5250987 w 6"/>
                  <a:gd name="T5" fmla="*/ 0 h 5"/>
                  <a:gd name="T6" fmla="*/ 10501973 w 6"/>
                  <a:gd name="T7" fmla="*/ 0 h 5"/>
                  <a:gd name="T8" fmla="*/ 10501973 w 6"/>
                  <a:gd name="T9" fmla="*/ 12599192 h 5"/>
                  <a:gd name="T10" fmla="*/ 5250987 w 6"/>
                  <a:gd name="T11" fmla="*/ 12599192 h 5"/>
                  <a:gd name="T12" fmla="*/ 0 w 6"/>
                  <a:gd name="T13" fmla="*/ 12599192 h 5"/>
                  <a:gd name="T14" fmla="*/ 0 w 6"/>
                  <a:gd name="T15" fmla="*/ 12599192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5"/>
                  <a:gd name="T26" fmla="*/ 6 w 6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5">
                    <a:moveTo>
                      <a:pt x="0" y="5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5" name="Freeform 50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3694551" y="5363595"/>
                <a:ext cx="3037" cy="14190"/>
              </a:xfrm>
              <a:custGeom>
                <a:avLst/>
                <a:gdLst>
                  <a:gd name="T0" fmla="*/ 0 w 3"/>
                  <a:gd name="T1" fmla="*/ 18556214 h 11"/>
                  <a:gd name="T2" fmla="*/ 0 w 3"/>
                  <a:gd name="T3" fmla="*/ 18556214 h 11"/>
                  <a:gd name="T4" fmla="*/ 0 w 3"/>
                  <a:gd name="T5" fmla="*/ 3374330 h 11"/>
                  <a:gd name="T6" fmla="*/ 0 w 3"/>
                  <a:gd name="T7" fmla="*/ 3374330 h 11"/>
                  <a:gd name="T8" fmla="*/ 0 w 3"/>
                  <a:gd name="T9" fmla="*/ 0 h 11"/>
                  <a:gd name="T10" fmla="*/ 3360208 w 3"/>
                  <a:gd name="T11" fmla="*/ 0 h 11"/>
                  <a:gd name="T12" fmla="*/ 0 w 3"/>
                  <a:gd name="T13" fmla="*/ 18556214 h 11"/>
                  <a:gd name="T14" fmla="*/ 0 w 3"/>
                  <a:gd name="T15" fmla="*/ 18556214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11"/>
                  <a:gd name="T26" fmla="*/ 3 w 3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6" name="Freeform 5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3694551" y="5363595"/>
                <a:ext cx="3037" cy="14190"/>
              </a:xfrm>
              <a:custGeom>
                <a:avLst/>
                <a:gdLst>
                  <a:gd name="T0" fmla="*/ 0 w 3"/>
                  <a:gd name="T1" fmla="*/ 18556214 h 11"/>
                  <a:gd name="T2" fmla="*/ 0 w 3"/>
                  <a:gd name="T3" fmla="*/ 18556214 h 11"/>
                  <a:gd name="T4" fmla="*/ 0 w 3"/>
                  <a:gd name="T5" fmla="*/ 3374330 h 11"/>
                  <a:gd name="T6" fmla="*/ 0 w 3"/>
                  <a:gd name="T7" fmla="*/ 3374330 h 11"/>
                  <a:gd name="T8" fmla="*/ 0 w 3"/>
                  <a:gd name="T9" fmla="*/ 0 h 11"/>
                  <a:gd name="T10" fmla="*/ 3360208 w 3"/>
                  <a:gd name="T11" fmla="*/ 0 h 11"/>
                  <a:gd name="T12" fmla="*/ 0 w 3"/>
                  <a:gd name="T13" fmla="*/ 18556214 h 11"/>
                  <a:gd name="T14" fmla="*/ 0 w 3"/>
                  <a:gd name="T15" fmla="*/ 18556214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11"/>
                  <a:gd name="T26" fmla="*/ 3 w 3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7" name="Freeform 52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3709735" y="5358863"/>
                <a:ext cx="6074" cy="7884"/>
              </a:xfrm>
              <a:custGeom>
                <a:avLst/>
                <a:gdLst>
                  <a:gd name="T0" fmla="*/ 3225800 w 5"/>
                  <a:gd name="T1" fmla="*/ 0 h 5"/>
                  <a:gd name="T2" fmla="*/ 8064499 w 5"/>
                  <a:gd name="T3" fmla="*/ 12602367 h 5"/>
                  <a:gd name="T4" fmla="*/ 3225800 w 5"/>
                  <a:gd name="T5" fmla="*/ 12602367 h 5"/>
                  <a:gd name="T6" fmla="*/ 3225800 w 5"/>
                  <a:gd name="T7" fmla="*/ 12602367 h 5"/>
                  <a:gd name="T8" fmla="*/ 0 w 5"/>
                  <a:gd name="T9" fmla="*/ 7561739 h 5"/>
                  <a:gd name="T10" fmla="*/ 0 w 5"/>
                  <a:gd name="T11" fmla="*/ 0 h 5"/>
                  <a:gd name="T12" fmla="*/ 3225800 w 5"/>
                  <a:gd name="T13" fmla="*/ 0 h 5"/>
                  <a:gd name="T14" fmla="*/ 322580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2" y="0"/>
                    </a:moveTo>
                    <a:lnTo>
                      <a:pt x="5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8" name="Freeform 53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3709735" y="5358863"/>
                <a:ext cx="6074" cy="7884"/>
              </a:xfrm>
              <a:custGeom>
                <a:avLst/>
                <a:gdLst>
                  <a:gd name="T0" fmla="*/ 3225800 w 5"/>
                  <a:gd name="T1" fmla="*/ 0 h 5"/>
                  <a:gd name="T2" fmla="*/ 8064499 w 5"/>
                  <a:gd name="T3" fmla="*/ 12602367 h 5"/>
                  <a:gd name="T4" fmla="*/ 3225800 w 5"/>
                  <a:gd name="T5" fmla="*/ 12602367 h 5"/>
                  <a:gd name="T6" fmla="*/ 3225800 w 5"/>
                  <a:gd name="T7" fmla="*/ 12602367 h 5"/>
                  <a:gd name="T8" fmla="*/ 0 w 5"/>
                  <a:gd name="T9" fmla="*/ 7561739 h 5"/>
                  <a:gd name="T10" fmla="*/ 0 w 5"/>
                  <a:gd name="T11" fmla="*/ 0 h 5"/>
                  <a:gd name="T12" fmla="*/ 3225800 w 5"/>
                  <a:gd name="T13" fmla="*/ 0 h 5"/>
                  <a:gd name="T14" fmla="*/ 322580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2" y="0"/>
                    </a:moveTo>
                    <a:lnTo>
                      <a:pt x="5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9" name="Freeform 54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3715809" y="5352557"/>
                <a:ext cx="4557" cy="11038"/>
              </a:xfrm>
              <a:custGeom>
                <a:avLst/>
                <a:gdLst>
                  <a:gd name="T0" fmla="*/ 7562057 w 3"/>
                  <a:gd name="T1" fmla="*/ 4573616 h 9"/>
                  <a:gd name="T2" fmla="*/ 7562057 w 3"/>
                  <a:gd name="T3" fmla="*/ 9148467 h 9"/>
                  <a:gd name="T4" fmla="*/ 7562057 w 3"/>
                  <a:gd name="T5" fmla="*/ 13722084 h 9"/>
                  <a:gd name="T6" fmla="*/ 0 w 3"/>
                  <a:gd name="T7" fmla="*/ 9148467 h 9"/>
                  <a:gd name="T8" fmla="*/ 0 w 3"/>
                  <a:gd name="T9" fmla="*/ 4573616 h 9"/>
                  <a:gd name="T10" fmla="*/ 0 w 3"/>
                  <a:gd name="T11" fmla="*/ 0 h 9"/>
                  <a:gd name="T12" fmla="*/ 0 w 3"/>
                  <a:gd name="T13" fmla="*/ 4573616 h 9"/>
                  <a:gd name="T14" fmla="*/ 7562057 w 3"/>
                  <a:gd name="T15" fmla="*/ 4573616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9"/>
                  <a:gd name="T26" fmla="*/ 3 w 3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9">
                    <a:moveTo>
                      <a:pt x="3" y="3"/>
                    </a:moveTo>
                    <a:lnTo>
                      <a:pt x="3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0" name="Freeform 55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3715809" y="5352557"/>
                <a:ext cx="4557" cy="11038"/>
              </a:xfrm>
              <a:custGeom>
                <a:avLst/>
                <a:gdLst>
                  <a:gd name="T0" fmla="*/ 7562057 w 3"/>
                  <a:gd name="T1" fmla="*/ 4573616 h 9"/>
                  <a:gd name="T2" fmla="*/ 7562057 w 3"/>
                  <a:gd name="T3" fmla="*/ 9148467 h 9"/>
                  <a:gd name="T4" fmla="*/ 7562057 w 3"/>
                  <a:gd name="T5" fmla="*/ 13722084 h 9"/>
                  <a:gd name="T6" fmla="*/ 0 w 3"/>
                  <a:gd name="T7" fmla="*/ 9148467 h 9"/>
                  <a:gd name="T8" fmla="*/ 0 w 3"/>
                  <a:gd name="T9" fmla="*/ 4573616 h 9"/>
                  <a:gd name="T10" fmla="*/ 0 w 3"/>
                  <a:gd name="T11" fmla="*/ 0 h 9"/>
                  <a:gd name="T12" fmla="*/ 0 w 3"/>
                  <a:gd name="T13" fmla="*/ 4573616 h 9"/>
                  <a:gd name="T14" fmla="*/ 7562057 w 3"/>
                  <a:gd name="T15" fmla="*/ 4573616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9"/>
                  <a:gd name="T26" fmla="*/ 3 w 3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9">
                    <a:moveTo>
                      <a:pt x="3" y="3"/>
                    </a:moveTo>
                    <a:lnTo>
                      <a:pt x="3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1" name="Freeform 56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3720365" y="5373055"/>
                <a:ext cx="42517" cy="47302"/>
              </a:xfrm>
              <a:custGeom>
                <a:avLst/>
                <a:gdLst>
                  <a:gd name="T0" fmla="*/ 5443103 w 33"/>
                  <a:gd name="T1" fmla="*/ 5250655 h 36"/>
                  <a:gd name="T2" fmla="*/ 5443103 w 33"/>
                  <a:gd name="T3" fmla="*/ 5250655 h 36"/>
                  <a:gd name="T4" fmla="*/ 5443103 w 33"/>
                  <a:gd name="T5" fmla="*/ 5250655 h 36"/>
                  <a:gd name="T6" fmla="*/ 5443103 w 33"/>
                  <a:gd name="T7" fmla="*/ 5250655 h 36"/>
                  <a:gd name="T8" fmla="*/ 9071839 w 33"/>
                  <a:gd name="T9" fmla="*/ 5250655 h 36"/>
                  <a:gd name="T10" fmla="*/ 9071839 w 33"/>
                  <a:gd name="T11" fmla="*/ 5250655 h 36"/>
                  <a:gd name="T12" fmla="*/ 14514944 w 33"/>
                  <a:gd name="T13" fmla="*/ 5250655 h 36"/>
                  <a:gd name="T14" fmla="*/ 14514944 w 33"/>
                  <a:gd name="T15" fmla="*/ 5250655 h 36"/>
                  <a:gd name="T16" fmla="*/ 19958046 w 33"/>
                  <a:gd name="T17" fmla="*/ 5250655 h 36"/>
                  <a:gd name="T18" fmla="*/ 19958046 w 33"/>
                  <a:gd name="T19" fmla="*/ 10499988 h 36"/>
                  <a:gd name="T20" fmla="*/ 25401153 w 33"/>
                  <a:gd name="T21" fmla="*/ 10499988 h 36"/>
                  <a:gd name="T22" fmla="*/ 25401153 w 33"/>
                  <a:gd name="T23" fmla="*/ 5250655 h 36"/>
                  <a:gd name="T24" fmla="*/ 25401153 w 33"/>
                  <a:gd name="T25" fmla="*/ 0 h 36"/>
                  <a:gd name="T26" fmla="*/ 25401153 w 33"/>
                  <a:gd name="T27" fmla="*/ 0 h 36"/>
                  <a:gd name="T28" fmla="*/ 25401153 w 33"/>
                  <a:gd name="T29" fmla="*/ 0 h 36"/>
                  <a:gd name="T30" fmla="*/ 30842908 w 33"/>
                  <a:gd name="T31" fmla="*/ 0 h 36"/>
                  <a:gd name="T32" fmla="*/ 30842908 w 33"/>
                  <a:gd name="T33" fmla="*/ 10499988 h 36"/>
                  <a:gd name="T34" fmla="*/ 25401153 w 33"/>
                  <a:gd name="T35" fmla="*/ 19251080 h 36"/>
                  <a:gd name="T36" fmla="*/ 19958046 w 33"/>
                  <a:gd name="T37" fmla="*/ 24501740 h 36"/>
                  <a:gd name="T38" fmla="*/ 25401153 w 33"/>
                  <a:gd name="T39" fmla="*/ 29752394 h 36"/>
                  <a:gd name="T40" fmla="*/ 30842908 w 33"/>
                  <a:gd name="T41" fmla="*/ 29752394 h 36"/>
                  <a:gd name="T42" fmla="*/ 30842908 w 33"/>
                  <a:gd name="T43" fmla="*/ 33251507 h 36"/>
                  <a:gd name="T44" fmla="*/ 34471643 w 33"/>
                  <a:gd name="T45" fmla="*/ 38502161 h 36"/>
                  <a:gd name="T46" fmla="*/ 45357858 w 33"/>
                  <a:gd name="T47" fmla="*/ 29752394 h 36"/>
                  <a:gd name="T48" fmla="*/ 59872796 w 33"/>
                  <a:gd name="T49" fmla="*/ 29752394 h 36"/>
                  <a:gd name="T50" fmla="*/ 59872796 w 33"/>
                  <a:gd name="T51" fmla="*/ 33251507 h 36"/>
                  <a:gd name="T52" fmla="*/ 59872796 w 33"/>
                  <a:gd name="T53" fmla="*/ 38502161 h 36"/>
                  <a:gd name="T54" fmla="*/ 45357858 w 33"/>
                  <a:gd name="T55" fmla="*/ 49003479 h 36"/>
                  <a:gd name="T56" fmla="*/ 39914745 w 33"/>
                  <a:gd name="T57" fmla="*/ 49003479 h 36"/>
                  <a:gd name="T58" fmla="*/ 39914745 w 33"/>
                  <a:gd name="T59" fmla="*/ 49003479 h 36"/>
                  <a:gd name="T60" fmla="*/ 39914745 w 33"/>
                  <a:gd name="T61" fmla="*/ 54252810 h 36"/>
                  <a:gd name="T62" fmla="*/ 39914745 w 33"/>
                  <a:gd name="T63" fmla="*/ 54252810 h 36"/>
                  <a:gd name="T64" fmla="*/ 34471643 w 33"/>
                  <a:gd name="T65" fmla="*/ 54252810 h 36"/>
                  <a:gd name="T66" fmla="*/ 34471643 w 33"/>
                  <a:gd name="T67" fmla="*/ 54252810 h 36"/>
                  <a:gd name="T68" fmla="*/ 34471643 w 33"/>
                  <a:gd name="T69" fmla="*/ 57753246 h 36"/>
                  <a:gd name="T70" fmla="*/ 30842908 w 33"/>
                  <a:gd name="T71" fmla="*/ 57753246 h 36"/>
                  <a:gd name="T72" fmla="*/ 30842908 w 33"/>
                  <a:gd name="T73" fmla="*/ 63003900 h 36"/>
                  <a:gd name="T74" fmla="*/ 34471643 w 33"/>
                  <a:gd name="T75" fmla="*/ 63003900 h 36"/>
                  <a:gd name="T76" fmla="*/ 30842908 w 33"/>
                  <a:gd name="T77" fmla="*/ 63003900 h 36"/>
                  <a:gd name="T78" fmla="*/ 14514944 w 33"/>
                  <a:gd name="T79" fmla="*/ 54252810 h 36"/>
                  <a:gd name="T80" fmla="*/ 14514944 w 33"/>
                  <a:gd name="T81" fmla="*/ 49003479 h 36"/>
                  <a:gd name="T82" fmla="*/ 19958046 w 33"/>
                  <a:gd name="T83" fmla="*/ 49003479 h 36"/>
                  <a:gd name="T84" fmla="*/ 25401153 w 33"/>
                  <a:gd name="T85" fmla="*/ 54252810 h 36"/>
                  <a:gd name="T86" fmla="*/ 25401153 w 33"/>
                  <a:gd name="T87" fmla="*/ 49003479 h 36"/>
                  <a:gd name="T88" fmla="*/ 30842908 w 33"/>
                  <a:gd name="T89" fmla="*/ 49003479 h 36"/>
                  <a:gd name="T90" fmla="*/ 25401153 w 33"/>
                  <a:gd name="T91" fmla="*/ 43752825 h 36"/>
                  <a:gd name="T92" fmla="*/ 19958046 w 33"/>
                  <a:gd name="T93" fmla="*/ 38502161 h 36"/>
                  <a:gd name="T94" fmla="*/ 19958046 w 33"/>
                  <a:gd name="T95" fmla="*/ 43752825 h 36"/>
                  <a:gd name="T96" fmla="*/ 19958046 w 33"/>
                  <a:gd name="T97" fmla="*/ 43752825 h 36"/>
                  <a:gd name="T98" fmla="*/ 9071839 w 33"/>
                  <a:gd name="T99" fmla="*/ 43752825 h 36"/>
                  <a:gd name="T100" fmla="*/ 9071839 w 33"/>
                  <a:gd name="T101" fmla="*/ 38502161 h 36"/>
                  <a:gd name="T102" fmla="*/ 9071839 w 33"/>
                  <a:gd name="T103" fmla="*/ 38502161 h 36"/>
                  <a:gd name="T104" fmla="*/ 5443103 w 33"/>
                  <a:gd name="T105" fmla="*/ 38502161 h 36"/>
                  <a:gd name="T106" fmla="*/ 5443103 w 33"/>
                  <a:gd name="T107" fmla="*/ 33251507 h 36"/>
                  <a:gd name="T108" fmla="*/ 5443103 w 33"/>
                  <a:gd name="T109" fmla="*/ 29752394 h 36"/>
                  <a:gd name="T110" fmla="*/ 5443103 w 33"/>
                  <a:gd name="T111" fmla="*/ 29752394 h 36"/>
                  <a:gd name="T112" fmla="*/ 0 w 33"/>
                  <a:gd name="T113" fmla="*/ 29752394 h 36"/>
                  <a:gd name="T114" fmla="*/ 5443103 w 33"/>
                  <a:gd name="T115" fmla="*/ 5250655 h 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3"/>
                  <a:gd name="T175" fmla="*/ 0 h 36"/>
                  <a:gd name="T176" fmla="*/ 33 w 33"/>
                  <a:gd name="T177" fmla="*/ 36 h 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3" h="36">
                    <a:moveTo>
                      <a:pt x="3" y="3"/>
                    </a:moveTo>
                    <a:lnTo>
                      <a:pt x="3" y="3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7" y="6"/>
                    </a:lnTo>
                    <a:lnTo>
                      <a:pt x="14" y="11"/>
                    </a:lnTo>
                    <a:lnTo>
                      <a:pt x="11" y="14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9"/>
                    </a:lnTo>
                    <a:lnTo>
                      <a:pt x="19" y="22"/>
                    </a:lnTo>
                    <a:lnTo>
                      <a:pt x="25" y="17"/>
                    </a:lnTo>
                    <a:lnTo>
                      <a:pt x="33" y="17"/>
                    </a:lnTo>
                    <a:lnTo>
                      <a:pt x="33" y="19"/>
                    </a:lnTo>
                    <a:lnTo>
                      <a:pt x="33" y="22"/>
                    </a:lnTo>
                    <a:lnTo>
                      <a:pt x="25" y="28"/>
                    </a:lnTo>
                    <a:lnTo>
                      <a:pt x="22" y="28"/>
                    </a:lnTo>
                    <a:lnTo>
                      <a:pt x="22" y="31"/>
                    </a:lnTo>
                    <a:lnTo>
                      <a:pt x="19" y="31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8" y="31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4" y="31"/>
                    </a:lnTo>
                    <a:lnTo>
                      <a:pt x="14" y="28"/>
                    </a:lnTo>
                    <a:lnTo>
                      <a:pt x="17" y="28"/>
                    </a:lnTo>
                    <a:lnTo>
                      <a:pt x="14" y="25"/>
                    </a:lnTo>
                    <a:lnTo>
                      <a:pt x="11" y="22"/>
                    </a:lnTo>
                    <a:lnTo>
                      <a:pt x="11" y="25"/>
                    </a:lnTo>
                    <a:lnTo>
                      <a:pt x="5" y="25"/>
                    </a:lnTo>
                    <a:lnTo>
                      <a:pt x="5" y="22"/>
                    </a:lnTo>
                    <a:lnTo>
                      <a:pt x="3" y="22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0" y="17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2" name="Freeform 57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3712772" y="5388822"/>
                <a:ext cx="7593" cy="4730"/>
              </a:xfrm>
              <a:custGeom>
                <a:avLst/>
                <a:gdLst>
                  <a:gd name="T0" fmla="*/ 10501973 w 6"/>
                  <a:gd name="T1" fmla="*/ 0 h 6"/>
                  <a:gd name="T2" fmla="*/ 10501973 w 6"/>
                  <a:gd name="T3" fmla="*/ 0 h 6"/>
                  <a:gd name="T4" fmla="*/ 10501973 w 6"/>
                  <a:gd name="T5" fmla="*/ 1889721 h 6"/>
                  <a:gd name="T6" fmla="*/ 5250987 w 6"/>
                  <a:gd name="T7" fmla="*/ 3779441 h 6"/>
                  <a:gd name="T8" fmla="*/ 5250987 w 6"/>
                  <a:gd name="T9" fmla="*/ 3779441 h 6"/>
                  <a:gd name="T10" fmla="*/ 5250987 w 6"/>
                  <a:gd name="T11" fmla="*/ 3779441 h 6"/>
                  <a:gd name="T12" fmla="*/ 5250987 w 6"/>
                  <a:gd name="T13" fmla="*/ 1889721 h 6"/>
                  <a:gd name="T14" fmla="*/ 5250987 w 6"/>
                  <a:gd name="T15" fmla="*/ 1889721 h 6"/>
                  <a:gd name="T16" fmla="*/ 5250987 w 6"/>
                  <a:gd name="T17" fmla="*/ 1889721 h 6"/>
                  <a:gd name="T18" fmla="*/ 5250987 w 6"/>
                  <a:gd name="T19" fmla="*/ 1889721 h 6"/>
                  <a:gd name="T20" fmla="*/ 0 w 6"/>
                  <a:gd name="T21" fmla="*/ 0 h 6"/>
                  <a:gd name="T22" fmla="*/ 0 w 6"/>
                  <a:gd name="T23" fmla="*/ 0 h 6"/>
                  <a:gd name="T24" fmla="*/ 10501973 w 6"/>
                  <a:gd name="T25" fmla="*/ 0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"/>
                  <a:gd name="T40" fmla="*/ 0 h 6"/>
                  <a:gd name="T41" fmla="*/ 6 w 6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3" name="Freeform 58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3697588" y="5393552"/>
                <a:ext cx="31888" cy="23652"/>
              </a:xfrm>
              <a:custGeom>
                <a:avLst/>
                <a:gdLst>
                  <a:gd name="T0" fmla="*/ 0 w 25"/>
                  <a:gd name="T1" fmla="*/ 0 h 16"/>
                  <a:gd name="T2" fmla="*/ 5335413 w 25"/>
                  <a:gd name="T3" fmla="*/ 4430706 h 16"/>
                  <a:gd name="T4" fmla="*/ 10669493 w 25"/>
                  <a:gd name="T5" fmla="*/ 11076019 h 16"/>
                  <a:gd name="T6" fmla="*/ 35564978 w 25"/>
                  <a:gd name="T7" fmla="*/ 24365158 h 16"/>
                  <a:gd name="T8" fmla="*/ 35564978 w 25"/>
                  <a:gd name="T9" fmla="*/ 31010476 h 16"/>
                  <a:gd name="T10" fmla="*/ 35564978 w 25"/>
                  <a:gd name="T11" fmla="*/ 31010476 h 16"/>
                  <a:gd name="T12" fmla="*/ 35564978 w 25"/>
                  <a:gd name="T13" fmla="*/ 31010476 h 16"/>
                  <a:gd name="T14" fmla="*/ 39121475 w 25"/>
                  <a:gd name="T15" fmla="*/ 31010476 h 16"/>
                  <a:gd name="T16" fmla="*/ 39121475 w 25"/>
                  <a:gd name="T17" fmla="*/ 31010476 h 16"/>
                  <a:gd name="T18" fmla="*/ 44456897 w 25"/>
                  <a:gd name="T19" fmla="*/ 35441180 h 16"/>
                  <a:gd name="T20" fmla="*/ 44456897 w 25"/>
                  <a:gd name="T21" fmla="*/ 35441180 h 16"/>
                  <a:gd name="T22" fmla="*/ 39121475 w 25"/>
                  <a:gd name="T23" fmla="*/ 35441180 h 16"/>
                  <a:gd name="T24" fmla="*/ 35564978 w 25"/>
                  <a:gd name="T25" fmla="*/ 35441180 h 16"/>
                  <a:gd name="T26" fmla="*/ 35564978 w 25"/>
                  <a:gd name="T27" fmla="*/ 31010476 h 16"/>
                  <a:gd name="T28" fmla="*/ 24895488 w 25"/>
                  <a:gd name="T29" fmla="*/ 24365158 h 16"/>
                  <a:gd name="T30" fmla="*/ 24895488 w 25"/>
                  <a:gd name="T31" fmla="*/ 24365158 h 16"/>
                  <a:gd name="T32" fmla="*/ 24895488 w 25"/>
                  <a:gd name="T33" fmla="*/ 31010476 h 16"/>
                  <a:gd name="T34" fmla="*/ 24895488 w 25"/>
                  <a:gd name="T35" fmla="*/ 31010476 h 16"/>
                  <a:gd name="T36" fmla="*/ 10669493 w 25"/>
                  <a:gd name="T37" fmla="*/ 17721334 h 16"/>
                  <a:gd name="T38" fmla="*/ 0 w 25"/>
                  <a:gd name="T39" fmla="*/ 0 h 1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5"/>
                  <a:gd name="T61" fmla="*/ 0 h 16"/>
                  <a:gd name="T62" fmla="*/ 25 w 25"/>
                  <a:gd name="T63" fmla="*/ 16 h 1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5" h="16">
                    <a:moveTo>
                      <a:pt x="0" y="0"/>
                    </a:moveTo>
                    <a:lnTo>
                      <a:pt x="3" y="2"/>
                    </a:lnTo>
                    <a:lnTo>
                      <a:pt x="6" y="5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5" y="16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14" y="11"/>
                    </a:lnTo>
                    <a:lnTo>
                      <a:pt x="14" y="14"/>
                    </a:lnTo>
                    <a:lnTo>
                      <a:pt x="6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4" name="Freeform 59"/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3697588" y="5393552"/>
                <a:ext cx="31888" cy="23652"/>
              </a:xfrm>
              <a:custGeom>
                <a:avLst/>
                <a:gdLst>
                  <a:gd name="T0" fmla="*/ 0 w 25"/>
                  <a:gd name="T1" fmla="*/ 0 h 16"/>
                  <a:gd name="T2" fmla="*/ 5335413 w 25"/>
                  <a:gd name="T3" fmla="*/ 4430706 h 16"/>
                  <a:gd name="T4" fmla="*/ 10669493 w 25"/>
                  <a:gd name="T5" fmla="*/ 11076019 h 16"/>
                  <a:gd name="T6" fmla="*/ 35564978 w 25"/>
                  <a:gd name="T7" fmla="*/ 24365158 h 16"/>
                  <a:gd name="T8" fmla="*/ 35564978 w 25"/>
                  <a:gd name="T9" fmla="*/ 31010476 h 16"/>
                  <a:gd name="T10" fmla="*/ 35564978 w 25"/>
                  <a:gd name="T11" fmla="*/ 31010476 h 16"/>
                  <a:gd name="T12" fmla="*/ 35564978 w 25"/>
                  <a:gd name="T13" fmla="*/ 31010476 h 16"/>
                  <a:gd name="T14" fmla="*/ 39121475 w 25"/>
                  <a:gd name="T15" fmla="*/ 31010476 h 16"/>
                  <a:gd name="T16" fmla="*/ 39121475 w 25"/>
                  <a:gd name="T17" fmla="*/ 31010476 h 16"/>
                  <a:gd name="T18" fmla="*/ 44456897 w 25"/>
                  <a:gd name="T19" fmla="*/ 35441180 h 16"/>
                  <a:gd name="T20" fmla="*/ 44456897 w 25"/>
                  <a:gd name="T21" fmla="*/ 35441180 h 16"/>
                  <a:gd name="T22" fmla="*/ 39121475 w 25"/>
                  <a:gd name="T23" fmla="*/ 35441180 h 16"/>
                  <a:gd name="T24" fmla="*/ 35564978 w 25"/>
                  <a:gd name="T25" fmla="*/ 35441180 h 16"/>
                  <a:gd name="T26" fmla="*/ 35564978 w 25"/>
                  <a:gd name="T27" fmla="*/ 31010476 h 16"/>
                  <a:gd name="T28" fmla="*/ 24895488 w 25"/>
                  <a:gd name="T29" fmla="*/ 24365158 h 16"/>
                  <a:gd name="T30" fmla="*/ 24895488 w 25"/>
                  <a:gd name="T31" fmla="*/ 24365158 h 16"/>
                  <a:gd name="T32" fmla="*/ 24895488 w 25"/>
                  <a:gd name="T33" fmla="*/ 31010476 h 16"/>
                  <a:gd name="T34" fmla="*/ 24895488 w 25"/>
                  <a:gd name="T35" fmla="*/ 31010476 h 16"/>
                  <a:gd name="T36" fmla="*/ 10669493 w 25"/>
                  <a:gd name="T37" fmla="*/ 17721334 h 16"/>
                  <a:gd name="T38" fmla="*/ 0 w 25"/>
                  <a:gd name="T39" fmla="*/ 0 h 1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5"/>
                  <a:gd name="T61" fmla="*/ 0 h 16"/>
                  <a:gd name="T62" fmla="*/ 25 w 25"/>
                  <a:gd name="T63" fmla="*/ 16 h 1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5" h="16">
                    <a:moveTo>
                      <a:pt x="0" y="0"/>
                    </a:moveTo>
                    <a:lnTo>
                      <a:pt x="3" y="2"/>
                    </a:lnTo>
                    <a:lnTo>
                      <a:pt x="6" y="5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5" y="16"/>
                    </a:lnTo>
                    <a:lnTo>
                      <a:pt x="22" y="16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14" y="11"/>
                    </a:lnTo>
                    <a:lnTo>
                      <a:pt x="14" y="14"/>
                    </a:lnTo>
                    <a:lnTo>
                      <a:pt x="6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5" name="Freeform 60"/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3697588" y="5363595"/>
                <a:ext cx="4557" cy="14190"/>
              </a:xfrm>
              <a:custGeom>
                <a:avLst/>
                <a:gdLst>
                  <a:gd name="T0" fmla="*/ 7562057 w 3"/>
                  <a:gd name="T1" fmla="*/ 0 h 11"/>
                  <a:gd name="T2" fmla="*/ 7562057 w 3"/>
                  <a:gd name="T3" fmla="*/ 3374330 h 11"/>
                  <a:gd name="T4" fmla="*/ 7562057 w 3"/>
                  <a:gd name="T5" fmla="*/ 13496020 h 11"/>
                  <a:gd name="T6" fmla="*/ 7562057 w 3"/>
                  <a:gd name="T7" fmla="*/ 13496020 h 11"/>
                  <a:gd name="T8" fmla="*/ 0 w 3"/>
                  <a:gd name="T9" fmla="*/ 18556214 h 11"/>
                  <a:gd name="T10" fmla="*/ 0 w 3"/>
                  <a:gd name="T11" fmla="*/ 13496020 h 11"/>
                  <a:gd name="T12" fmla="*/ 0 w 3"/>
                  <a:gd name="T13" fmla="*/ 8434525 h 11"/>
                  <a:gd name="T14" fmla="*/ 0 w 3"/>
                  <a:gd name="T15" fmla="*/ 3374330 h 11"/>
                  <a:gd name="T16" fmla="*/ 0 w 3"/>
                  <a:gd name="T17" fmla="*/ 0 h 11"/>
                  <a:gd name="T18" fmla="*/ 0 w 3"/>
                  <a:gd name="T19" fmla="*/ 0 h 11"/>
                  <a:gd name="T20" fmla="*/ 7562057 w 3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11"/>
                  <a:gd name="T35" fmla="*/ 3 w 3"/>
                  <a:gd name="T36" fmla="*/ 11 h 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11">
                    <a:moveTo>
                      <a:pt x="3" y="0"/>
                    </a:moveTo>
                    <a:lnTo>
                      <a:pt x="3" y="2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6" name="Freeform 61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3697588" y="5363595"/>
                <a:ext cx="4557" cy="14190"/>
              </a:xfrm>
              <a:custGeom>
                <a:avLst/>
                <a:gdLst>
                  <a:gd name="T0" fmla="*/ 7562057 w 3"/>
                  <a:gd name="T1" fmla="*/ 0 h 11"/>
                  <a:gd name="T2" fmla="*/ 7562057 w 3"/>
                  <a:gd name="T3" fmla="*/ 3374330 h 11"/>
                  <a:gd name="T4" fmla="*/ 7562057 w 3"/>
                  <a:gd name="T5" fmla="*/ 13496020 h 11"/>
                  <a:gd name="T6" fmla="*/ 7562057 w 3"/>
                  <a:gd name="T7" fmla="*/ 13496020 h 11"/>
                  <a:gd name="T8" fmla="*/ 0 w 3"/>
                  <a:gd name="T9" fmla="*/ 18556214 h 11"/>
                  <a:gd name="T10" fmla="*/ 0 w 3"/>
                  <a:gd name="T11" fmla="*/ 13496020 h 11"/>
                  <a:gd name="T12" fmla="*/ 0 w 3"/>
                  <a:gd name="T13" fmla="*/ 8434525 h 11"/>
                  <a:gd name="T14" fmla="*/ 0 w 3"/>
                  <a:gd name="T15" fmla="*/ 3374330 h 11"/>
                  <a:gd name="T16" fmla="*/ 0 w 3"/>
                  <a:gd name="T17" fmla="*/ 0 h 11"/>
                  <a:gd name="T18" fmla="*/ 0 w 3"/>
                  <a:gd name="T19" fmla="*/ 0 h 11"/>
                  <a:gd name="T20" fmla="*/ 7562057 w 3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11"/>
                  <a:gd name="T35" fmla="*/ 3 w 3"/>
                  <a:gd name="T36" fmla="*/ 11 h 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11">
                    <a:moveTo>
                      <a:pt x="3" y="0"/>
                    </a:moveTo>
                    <a:lnTo>
                      <a:pt x="3" y="2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7" name="Freeform 62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3720365" y="5417203"/>
                <a:ext cx="28850" cy="25227"/>
              </a:xfrm>
              <a:custGeom>
                <a:avLst/>
                <a:gdLst>
                  <a:gd name="T0" fmla="*/ 0 w 22"/>
                  <a:gd name="T1" fmla="*/ 0 h 20"/>
                  <a:gd name="T2" fmla="*/ 5638924 w 22"/>
                  <a:gd name="T3" fmla="*/ 0 h 20"/>
                  <a:gd name="T4" fmla="*/ 5638924 w 22"/>
                  <a:gd name="T5" fmla="*/ 0 h 20"/>
                  <a:gd name="T6" fmla="*/ 5638924 w 22"/>
                  <a:gd name="T7" fmla="*/ 4838699 h 20"/>
                  <a:gd name="T8" fmla="*/ 9398204 w 22"/>
                  <a:gd name="T9" fmla="*/ 4838699 h 20"/>
                  <a:gd name="T10" fmla="*/ 15037128 w 22"/>
                  <a:gd name="T11" fmla="*/ 4838699 h 20"/>
                  <a:gd name="T12" fmla="*/ 15037128 w 22"/>
                  <a:gd name="T13" fmla="*/ 9677399 h 20"/>
                  <a:gd name="T14" fmla="*/ 15037128 w 22"/>
                  <a:gd name="T15" fmla="*/ 4838699 h 20"/>
                  <a:gd name="T16" fmla="*/ 20676049 w 22"/>
                  <a:gd name="T17" fmla="*/ 4838699 h 20"/>
                  <a:gd name="T18" fmla="*/ 20676049 w 22"/>
                  <a:gd name="T19" fmla="*/ 4838699 h 20"/>
                  <a:gd name="T20" fmla="*/ 26314976 w 22"/>
                  <a:gd name="T21" fmla="*/ 9677399 h 20"/>
                  <a:gd name="T22" fmla="*/ 26314976 w 22"/>
                  <a:gd name="T23" fmla="*/ 4838699 h 20"/>
                  <a:gd name="T24" fmla="*/ 31953897 w 22"/>
                  <a:gd name="T25" fmla="*/ 14516099 h 20"/>
                  <a:gd name="T26" fmla="*/ 31953897 w 22"/>
                  <a:gd name="T27" fmla="*/ 9677399 h 20"/>
                  <a:gd name="T28" fmla="*/ 35713177 w 22"/>
                  <a:gd name="T29" fmla="*/ 9677399 h 20"/>
                  <a:gd name="T30" fmla="*/ 35713177 w 22"/>
                  <a:gd name="T31" fmla="*/ 14516099 h 20"/>
                  <a:gd name="T32" fmla="*/ 35713177 w 22"/>
                  <a:gd name="T33" fmla="*/ 14516099 h 20"/>
                  <a:gd name="T34" fmla="*/ 41352098 w 22"/>
                  <a:gd name="T35" fmla="*/ 19354798 h 20"/>
                  <a:gd name="T36" fmla="*/ 41352098 w 22"/>
                  <a:gd name="T37" fmla="*/ 19354798 h 20"/>
                  <a:gd name="T38" fmla="*/ 41352098 w 22"/>
                  <a:gd name="T39" fmla="*/ 22580601 h 20"/>
                  <a:gd name="T40" fmla="*/ 35713177 w 22"/>
                  <a:gd name="T41" fmla="*/ 22580601 h 20"/>
                  <a:gd name="T42" fmla="*/ 35713177 w 22"/>
                  <a:gd name="T43" fmla="*/ 27419299 h 20"/>
                  <a:gd name="T44" fmla="*/ 35713177 w 22"/>
                  <a:gd name="T45" fmla="*/ 32257998 h 20"/>
                  <a:gd name="T46" fmla="*/ 31953897 w 22"/>
                  <a:gd name="T47" fmla="*/ 32257998 h 20"/>
                  <a:gd name="T48" fmla="*/ 31953897 w 22"/>
                  <a:gd name="T49" fmla="*/ 27419299 h 20"/>
                  <a:gd name="T50" fmla="*/ 31953897 w 22"/>
                  <a:gd name="T51" fmla="*/ 32257998 h 20"/>
                  <a:gd name="T52" fmla="*/ 31953897 w 22"/>
                  <a:gd name="T53" fmla="*/ 32257998 h 20"/>
                  <a:gd name="T54" fmla="*/ 31953897 w 22"/>
                  <a:gd name="T55" fmla="*/ 32257998 h 20"/>
                  <a:gd name="T56" fmla="*/ 26314976 w 22"/>
                  <a:gd name="T57" fmla="*/ 32257998 h 20"/>
                  <a:gd name="T58" fmla="*/ 20676049 w 22"/>
                  <a:gd name="T59" fmla="*/ 32257998 h 20"/>
                  <a:gd name="T60" fmla="*/ 20676049 w 22"/>
                  <a:gd name="T61" fmla="*/ 32257998 h 20"/>
                  <a:gd name="T62" fmla="*/ 26314976 w 22"/>
                  <a:gd name="T63" fmla="*/ 32257998 h 20"/>
                  <a:gd name="T64" fmla="*/ 9398204 w 22"/>
                  <a:gd name="T65" fmla="*/ 27419299 h 20"/>
                  <a:gd name="T66" fmla="*/ 9398204 w 22"/>
                  <a:gd name="T67" fmla="*/ 27419299 h 20"/>
                  <a:gd name="T68" fmla="*/ 9398204 w 22"/>
                  <a:gd name="T69" fmla="*/ 19354798 h 20"/>
                  <a:gd name="T70" fmla="*/ 5638924 w 22"/>
                  <a:gd name="T71" fmla="*/ 19354798 h 20"/>
                  <a:gd name="T72" fmla="*/ 5638924 w 22"/>
                  <a:gd name="T73" fmla="*/ 9677399 h 20"/>
                  <a:gd name="T74" fmla="*/ 0 w 22"/>
                  <a:gd name="T75" fmla="*/ 4838699 h 20"/>
                  <a:gd name="T76" fmla="*/ 0 w 22"/>
                  <a:gd name="T77" fmla="*/ 4838699 h 20"/>
                  <a:gd name="T78" fmla="*/ 0 w 22"/>
                  <a:gd name="T79" fmla="*/ 0 h 2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2"/>
                  <a:gd name="T121" fmla="*/ 0 h 20"/>
                  <a:gd name="T122" fmla="*/ 22 w 22"/>
                  <a:gd name="T123" fmla="*/ 20 h 2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2" h="20">
                    <a:moveTo>
                      <a:pt x="0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9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19" y="20"/>
                    </a:lnTo>
                    <a:lnTo>
                      <a:pt x="17" y="20"/>
                    </a:lnTo>
                    <a:lnTo>
                      <a:pt x="17" y="17"/>
                    </a:lnTo>
                    <a:lnTo>
                      <a:pt x="17" y="20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14" y="20"/>
                    </a:lnTo>
                    <a:lnTo>
                      <a:pt x="5" y="17"/>
                    </a:lnTo>
                    <a:lnTo>
                      <a:pt x="5" y="12"/>
                    </a:lnTo>
                    <a:lnTo>
                      <a:pt x="3" y="12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8" name="Freeform 63"/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3749215" y="5432970"/>
                <a:ext cx="25814" cy="14190"/>
              </a:xfrm>
              <a:custGeom>
                <a:avLst/>
                <a:gdLst>
                  <a:gd name="T0" fmla="*/ 10924741 w 20"/>
                  <a:gd name="T1" fmla="*/ 0 h 11"/>
                  <a:gd name="T2" fmla="*/ 10924741 w 20"/>
                  <a:gd name="T3" fmla="*/ 0 h 11"/>
                  <a:gd name="T4" fmla="*/ 16388462 w 20"/>
                  <a:gd name="T5" fmla="*/ 0 h 11"/>
                  <a:gd name="T6" fmla="*/ 16388462 w 20"/>
                  <a:gd name="T7" fmla="*/ 0 h 11"/>
                  <a:gd name="T8" fmla="*/ 16388462 w 20"/>
                  <a:gd name="T9" fmla="*/ 5060195 h 11"/>
                  <a:gd name="T10" fmla="*/ 16388462 w 20"/>
                  <a:gd name="T11" fmla="*/ 5060195 h 11"/>
                  <a:gd name="T12" fmla="*/ 16388462 w 20"/>
                  <a:gd name="T13" fmla="*/ 10121689 h 11"/>
                  <a:gd name="T14" fmla="*/ 16388462 w 20"/>
                  <a:gd name="T15" fmla="*/ 10121689 h 11"/>
                  <a:gd name="T16" fmla="*/ 20029142 w 20"/>
                  <a:gd name="T17" fmla="*/ 5060195 h 11"/>
                  <a:gd name="T18" fmla="*/ 20029142 w 20"/>
                  <a:gd name="T19" fmla="*/ 5060195 h 11"/>
                  <a:gd name="T20" fmla="*/ 25492866 w 20"/>
                  <a:gd name="T21" fmla="*/ 5060195 h 11"/>
                  <a:gd name="T22" fmla="*/ 25492866 w 20"/>
                  <a:gd name="T23" fmla="*/ 5060195 h 11"/>
                  <a:gd name="T24" fmla="*/ 25492866 w 20"/>
                  <a:gd name="T25" fmla="*/ 5060195 h 11"/>
                  <a:gd name="T26" fmla="*/ 30955235 w 20"/>
                  <a:gd name="T27" fmla="*/ 15181886 h 11"/>
                  <a:gd name="T28" fmla="*/ 30955235 w 20"/>
                  <a:gd name="T29" fmla="*/ 15181886 h 11"/>
                  <a:gd name="T30" fmla="*/ 30955235 w 20"/>
                  <a:gd name="T31" fmla="*/ 15181886 h 11"/>
                  <a:gd name="T32" fmla="*/ 36417604 w 20"/>
                  <a:gd name="T33" fmla="*/ 15181886 h 11"/>
                  <a:gd name="T34" fmla="*/ 36417604 w 20"/>
                  <a:gd name="T35" fmla="*/ 18556214 h 11"/>
                  <a:gd name="T36" fmla="*/ 30955235 w 20"/>
                  <a:gd name="T37" fmla="*/ 18556214 h 11"/>
                  <a:gd name="T38" fmla="*/ 30955235 w 20"/>
                  <a:gd name="T39" fmla="*/ 18556214 h 11"/>
                  <a:gd name="T40" fmla="*/ 25492866 w 20"/>
                  <a:gd name="T41" fmla="*/ 18556214 h 11"/>
                  <a:gd name="T42" fmla="*/ 16388462 w 20"/>
                  <a:gd name="T43" fmla="*/ 15181886 h 11"/>
                  <a:gd name="T44" fmla="*/ 16388462 w 20"/>
                  <a:gd name="T45" fmla="*/ 18556214 h 11"/>
                  <a:gd name="T46" fmla="*/ 16388462 w 20"/>
                  <a:gd name="T47" fmla="*/ 18556214 h 11"/>
                  <a:gd name="T48" fmla="*/ 16388462 w 20"/>
                  <a:gd name="T49" fmla="*/ 18556214 h 11"/>
                  <a:gd name="T50" fmla="*/ 10924741 w 20"/>
                  <a:gd name="T51" fmla="*/ 18556214 h 11"/>
                  <a:gd name="T52" fmla="*/ 10924741 w 20"/>
                  <a:gd name="T53" fmla="*/ 15181886 h 11"/>
                  <a:gd name="T54" fmla="*/ 5462370 w 20"/>
                  <a:gd name="T55" fmla="*/ 15181886 h 11"/>
                  <a:gd name="T56" fmla="*/ 5462370 w 20"/>
                  <a:gd name="T57" fmla="*/ 15181886 h 11"/>
                  <a:gd name="T58" fmla="*/ 0 w 20"/>
                  <a:gd name="T59" fmla="*/ 5060195 h 11"/>
                  <a:gd name="T60" fmla="*/ 5462370 w 20"/>
                  <a:gd name="T61" fmla="*/ 5060195 h 11"/>
                  <a:gd name="T62" fmla="*/ 5462370 w 20"/>
                  <a:gd name="T63" fmla="*/ 0 h 11"/>
                  <a:gd name="T64" fmla="*/ 10924741 w 20"/>
                  <a:gd name="T65" fmla="*/ 0 h 11"/>
                  <a:gd name="T66" fmla="*/ 10924741 w 20"/>
                  <a:gd name="T67" fmla="*/ 0 h 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0"/>
                  <a:gd name="T103" fmla="*/ 0 h 11"/>
                  <a:gd name="T104" fmla="*/ 20 w 20"/>
                  <a:gd name="T105" fmla="*/ 11 h 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0" h="11">
                    <a:moveTo>
                      <a:pt x="6" y="0"/>
                    </a:move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9" name="Freeform 64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3749215" y="5432970"/>
                <a:ext cx="25814" cy="14190"/>
              </a:xfrm>
              <a:custGeom>
                <a:avLst/>
                <a:gdLst>
                  <a:gd name="T0" fmla="*/ 10924741 w 20"/>
                  <a:gd name="T1" fmla="*/ 0 h 11"/>
                  <a:gd name="T2" fmla="*/ 10924741 w 20"/>
                  <a:gd name="T3" fmla="*/ 0 h 11"/>
                  <a:gd name="T4" fmla="*/ 16388462 w 20"/>
                  <a:gd name="T5" fmla="*/ 0 h 11"/>
                  <a:gd name="T6" fmla="*/ 16388462 w 20"/>
                  <a:gd name="T7" fmla="*/ 0 h 11"/>
                  <a:gd name="T8" fmla="*/ 16388462 w 20"/>
                  <a:gd name="T9" fmla="*/ 5060195 h 11"/>
                  <a:gd name="T10" fmla="*/ 16388462 w 20"/>
                  <a:gd name="T11" fmla="*/ 5060195 h 11"/>
                  <a:gd name="T12" fmla="*/ 16388462 w 20"/>
                  <a:gd name="T13" fmla="*/ 10121689 h 11"/>
                  <a:gd name="T14" fmla="*/ 16388462 w 20"/>
                  <a:gd name="T15" fmla="*/ 10121689 h 11"/>
                  <a:gd name="T16" fmla="*/ 20029142 w 20"/>
                  <a:gd name="T17" fmla="*/ 5060195 h 11"/>
                  <a:gd name="T18" fmla="*/ 20029142 w 20"/>
                  <a:gd name="T19" fmla="*/ 5060195 h 11"/>
                  <a:gd name="T20" fmla="*/ 25492866 w 20"/>
                  <a:gd name="T21" fmla="*/ 5060195 h 11"/>
                  <a:gd name="T22" fmla="*/ 25492866 w 20"/>
                  <a:gd name="T23" fmla="*/ 5060195 h 11"/>
                  <a:gd name="T24" fmla="*/ 25492866 w 20"/>
                  <a:gd name="T25" fmla="*/ 5060195 h 11"/>
                  <a:gd name="T26" fmla="*/ 30955235 w 20"/>
                  <a:gd name="T27" fmla="*/ 15181886 h 11"/>
                  <a:gd name="T28" fmla="*/ 30955235 w 20"/>
                  <a:gd name="T29" fmla="*/ 15181886 h 11"/>
                  <a:gd name="T30" fmla="*/ 30955235 w 20"/>
                  <a:gd name="T31" fmla="*/ 15181886 h 11"/>
                  <a:gd name="T32" fmla="*/ 36417604 w 20"/>
                  <a:gd name="T33" fmla="*/ 15181886 h 11"/>
                  <a:gd name="T34" fmla="*/ 36417604 w 20"/>
                  <a:gd name="T35" fmla="*/ 18556214 h 11"/>
                  <a:gd name="T36" fmla="*/ 30955235 w 20"/>
                  <a:gd name="T37" fmla="*/ 18556214 h 11"/>
                  <a:gd name="T38" fmla="*/ 30955235 w 20"/>
                  <a:gd name="T39" fmla="*/ 18556214 h 11"/>
                  <a:gd name="T40" fmla="*/ 25492866 w 20"/>
                  <a:gd name="T41" fmla="*/ 18556214 h 11"/>
                  <a:gd name="T42" fmla="*/ 16388462 w 20"/>
                  <a:gd name="T43" fmla="*/ 15181886 h 11"/>
                  <a:gd name="T44" fmla="*/ 16388462 w 20"/>
                  <a:gd name="T45" fmla="*/ 18556214 h 11"/>
                  <a:gd name="T46" fmla="*/ 16388462 w 20"/>
                  <a:gd name="T47" fmla="*/ 18556214 h 11"/>
                  <a:gd name="T48" fmla="*/ 16388462 w 20"/>
                  <a:gd name="T49" fmla="*/ 18556214 h 11"/>
                  <a:gd name="T50" fmla="*/ 10924741 w 20"/>
                  <a:gd name="T51" fmla="*/ 18556214 h 11"/>
                  <a:gd name="T52" fmla="*/ 10924741 w 20"/>
                  <a:gd name="T53" fmla="*/ 15181886 h 11"/>
                  <a:gd name="T54" fmla="*/ 5462370 w 20"/>
                  <a:gd name="T55" fmla="*/ 15181886 h 11"/>
                  <a:gd name="T56" fmla="*/ 5462370 w 20"/>
                  <a:gd name="T57" fmla="*/ 15181886 h 11"/>
                  <a:gd name="T58" fmla="*/ 0 w 20"/>
                  <a:gd name="T59" fmla="*/ 5060195 h 11"/>
                  <a:gd name="T60" fmla="*/ 5462370 w 20"/>
                  <a:gd name="T61" fmla="*/ 5060195 h 11"/>
                  <a:gd name="T62" fmla="*/ 5462370 w 20"/>
                  <a:gd name="T63" fmla="*/ 0 h 11"/>
                  <a:gd name="T64" fmla="*/ 10924741 w 20"/>
                  <a:gd name="T65" fmla="*/ 0 h 11"/>
                  <a:gd name="T66" fmla="*/ 10924741 w 20"/>
                  <a:gd name="T67" fmla="*/ 0 h 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0"/>
                  <a:gd name="T103" fmla="*/ 0 h 11"/>
                  <a:gd name="T104" fmla="*/ 20 w 20"/>
                  <a:gd name="T105" fmla="*/ 11 h 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0" h="11">
                    <a:moveTo>
                      <a:pt x="6" y="0"/>
                    </a:moveTo>
                    <a:lnTo>
                      <a:pt x="6" y="0"/>
                    </a:lnTo>
                    <a:lnTo>
                      <a:pt x="9" y="0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17" y="9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9" y="9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0" name="Freeform 65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3778067" y="5423510"/>
                <a:ext cx="12148" cy="23651"/>
              </a:xfrm>
              <a:custGeom>
                <a:avLst/>
                <a:gdLst>
                  <a:gd name="T0" fmla="*/ 11947878 w 9"/>
                  <a:gd name="T1" fmla="*/ 0 h 19"/>
                  <a:gd name="T2" fmla="*/ 11947878 w 9"/>
                  <a:gd name="T3" fmla="*/ 0 h 19"/>
                  <a:gd name="T4" fmla="*/ 11947878 w 9"/>
                  <a:gd name="T5" fmla="*/ 21989756 h 19"/>
                  <a:gd name="T6" fmla="*/ 11947878 w 9"/>
                  <a:gd name="T7" fmla="*/ 21989756 h 19"/>
                  <a:gd name="T8" fmla="*/ 5973234 w 9"/>
                  <a:gd name="T9" fmla="*/ 17277484 h 19"/>
                  <a:gd name="T10" fmla="*/ 5973234 w 9"/>
                  <a:gd name="T11" fmla="*/ 17277484 h 19"/>
                  <a:gd name="T12" fmla="*/ 5973234 w 9"/>
                  <a:gd name="T13" fmla="*/ 21989756 h 19"/>
                  <a:gd name="T14" fmla="*/ 5973234 w 9"/>
                  <a:gd name="T15" fmla="*/ 26700771 h 19"/>
                  <a:gd name="T16" fmla="*/ 11947878 w 9"/>
                  <a:gd name="T17" fmla="*/ 26700771 h 19"/>
                  <a:gd name="T18" fmla="*/ 11947878 w 9"/>
                  <a:gd name="T19" fmla="*/ 26700771 h 19"/>
                  <a:gd name="T20" fmla="*/ 17921109 w 9"/>
                  <a:gd name="T21" fmla="*/ 29842700 h 19"/>
                  <a:gd name="T22" fmla="*/ 11947878 w 9"/>
                  <a:gd name="T23" fmla="*/ 29842700 h 19"/>
                  <a:gd name="T24" fmla="*/ 11947878 w 9"/>
                  <a:gd name="T25" fmla="*/ 26700771 h 19"/>
                  <a:gd name="T26" fmla="*/ 0 w 9"/>
                  <a:gd name="T27" fmla="*/ 21989756 h 19"/>
                  <a:gd name="T28" fmla="*/ 0 w 9"/>
                  <a:gd name="T29" fmla="*/ 12565216 h 19"/>
                  <a:gd name="T30" fmla="*/ 0 w 9"/>
                  <a:gd name="T31" fmla="*/ 12565216 h 19"/>
                  <a:gd name="T32" fmla="*/ 5973234 w 9"/>
                  <a:gd name="T33" fmla="*/ 12565216 h 19"/>
                  <a:gd name="T34" fmla="*/ 5973234 w 9"/>
                  <a:gd name="T35" fmla="*/ 12565216 h 19"/>
                  <a:gd name="T36" fmla="*/ 5973234 w 9"/>
                  <a:gd name="T37" fmla="*/ 9424538 h 19"/>
                  <a:gd name="T38" fmla="*/ 5973234 w 9"/>
                  <a:gd name="T39" fmla="*/ 4712269 h 19"/>
                  <a:gd name="T40" fmla="*/ 11947878 w 9"/>
                  <a:gd name="T41" fmla="*/ 0 h 1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"/>
                  <a:gd name="T64" fmla="*/ 0 h 19"/>
                  <a:gd name="T65" fmla="*/ 9 w 9"/>
                  <a:gd name="T66" fmla="*/ 19 h 1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" h="19">
                    <a:moveTo>
                      <a:pt x="6" y="0"/>
                    </a:moveTo>
                    <a:lnTo>
                      <a:pt x="6" y="0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1" name="Freeform 66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3778067" y="5423510"/>
                <a:ext cx="12148" cy="23651"/>
              </a:xfrm>
              <a:custGeom>
                <a:avLst/>
                <a:gdLst>
                  <a:gd name="T0" fmla="*/ 11947878 w 9"/>
                  <a:gd name="T1" fmla="*/ 0 h 19"/>
                  <a:gd name="T2" fmla="*/ 11947878 w 9"/>
                  <a:gd name="T3" fmla="*/ 0 h 19"/>
                  <a:gd name="T4" fmla="*/ 11947878 w 9"/>
                  <a:gd name="T5" fmla="*/ 21989756 h 19"/>
                  <a:gd name="T6" fmla="*/ 11947878 w 9"/>
                  <a:gd name="T7" fmla="*/ 21989756 h 19"/>
                  <a:gd name="T8" fmla="*/ 5973234 w 9"/>
                  <a:gd name="T9" fmla="*/ 17277484 h 19"/>
                  <a:gd name="T10" fmla="*/ 5973234 w 9"/>
                  <a:gd name="T11" fmla="*/ 17277484 h 19"/>
                  <a:gd name="T12" fmla="*/ 5973234 w 9"/>
                  <a:gd name="T13" fmla="*/ 21989756 h 19"/>
                  <a:gd name="T14" fmla="*/ 5973234 w 9"/>
                  <a:gd name="T15" fmla="*/ 26700771 h 19"/>
                  <a:gd name="T16" fmla="*/ 11947878 w 9"/>
                  <a:gd name="T17" fmla="*/ 26700771 h 19"/>
                  <a:gd name="T18" fmla="*/ 11947878 w 9"/>
                  <a:gd name="T19" fmla="*/ 26700771 h 19"/>
                  <a:gd name="T20" fmla="*/ 17921109 w 9"/>
                  <a:gd name="T21" fmla="*/ 29842700 h 19"/>
                  <a:gd name="T22" fmla="*/ 11947878 w 9"/>
                  <a:gd name="T23" fmla="*/ 29842700 h 19"/>
                  <a:gd name="T24" fmla="*/ 11947878 w 9"/>
                  <a:gd name="T25" fmla="*/ 26700771 h 19"/>
                  <a:gd name="T26" fmla="*/ 0 w 9"/>
                  <a:gd name="T27" fmla="*/ 21989756 h 19"/>
                  <a:gd name="T28" fmla="*/ 0 w 9"/>
                  <a:gd name="T29" fmla="*/ 12565216 h 19"/>
                  <a:gd name="T30" fmla="*/ 0 w 9"/>
                  <a:gd name="T31" fmla="*/ 12565216 h 19"/>
                  <a:gd name="T32" fmla="*/ 5973234 w 9"/>
                  <a:gd name="T33" fmla="*/ 12565216 h 19"/>
                  <a:gd name="T34" fmla="*/ 5973234 w 9"/>
                  <a:gd name="T35" fmla="*/ 12565216 h 19"/>
                  <a:gd name="T36" fmla="*/ 5973234 w 9"/>
                  <a:gd name="T37" fmla="*/ 9424538 h 19"/>
                  <a:gd name="T38" fmla="*/ 5973234 w 9"/>
                  <a:gd name="T39" fmla="*/ 4712269 h 19"/>
                  <a:gd name="T40" fmla="*/ 11947878 w 9"/>
                  <a:gd name="T41" fmla="*/ 0 h 1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"/>
                  <a:gd name="T64" fmla="*/ 0 h 19"/>
                  <a:gd name="T65" fmla="*/ 9 w 9"/>
                  <a:gd name="T66" fmla="*/ 19 h 1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" h="19">
                    <a:moveTo>
                      <a:pt x="6" y="0"/>
                    </a:moveTo>
                    <a:lnTo>
                      <a:pt x="6" y="0"/>
                    </a:lnTo>
                    <a:lnTo>
                      <a:pt x="6" y="14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6" y="17"/>
                    </a:lnTo>
                    <a:lnTo>
                      <a:pt x="9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2" name="Freeform 67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3775030" y="5470813"/>
                <a:ext cx="3037" cy="7884"/>
              </a:xfrm>
              <a:custGeom>
                <a:avLst/>
                <a:gdLst>
                  <a:gd name="T0" fmla="*/ 0 w 2"/>
                  <a:gd name="T1" fmla="*/ 10499327 h 6"/>
                  <a:gd name="T2" fmla="*/ 0 w 2"/>
                  <a:gd name="T3" fmla="*/ 5250325 h 6"/>
                  <a:gd name="T4" fmla="*/ 0 w 2"/>
                  <a:gd name="T5" fmla="*/ 5250325 h 6"/>
                  <a:gd name="T6" fmla="*/ 0 w 2"/>
                  <a:gd name="T7" fmla="*/ 5250325 h 6"/>
                  <a:gd name="T8" fmla="*/ 5040312 w 2"/>
                  <a:gd name="T9" fmla="*/ 0 h 6"/>
                  <a:gd name="T10" fmla="*/ 5040312 w 2"/>
                  <a:gd name="T11" fmla="*/ 5250325 h 6"/>
                  <a:gd name="T12" fmla="*/ 5040312 w 2"/>
                  <a:gd name="T13" fmla="*/ 10499327 h 6"/>
                  <a:gd name="T14" fmla="*/ 5040312 w 2"/>
                  <a:gd name="T15" fmla="*/ 10499327 h 6"/>
                  <a:gd name="T16" fmla="*/ 5040312 w 2"/>
                  <a:gd name="T17" fmla="*/ 10499327 h 6"/>
                  <a:gd name="T18" fmla="*/ 0 w 2"/>
                  <a:gd name="T19" fmla="*/ 1049932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"/>
                  <a:gd name="T31" fmla="*/ 0 h 6"/>
                  <a:gd name="T32" fmla="*/ 2 w 2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" h="6">
                    <a:moveTo>
                      <a:pt x="0" y="6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3" name="Freeform 68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3775030" y="5470813"/>
                <a:ext cx="3037" cy="7884"/>
              </a:xfrm>
              <a:custGeom>
                <a:avLst/>
                <a:gdLst>
                  <a:gd name="T0" fmla="*/ 0 w 2"/>
                  <a:gd name="T1" fmla="*/ 10499327 h 6"/>
                  <a:gd name="T2" fmla="*/ 0 w 2"/>
                  <a:gd name="T3" fmla="*/ 5250325 h 6"/>
                  <a:gd name="T4" fmla="*/ 0 w 2"/>
                  <a:gd name="T5" fmla="*/ 5250325 h 6"/>
                  <a:gd name="T6" fmla="*/ 0 w 2"/>
                  <a:gd name="T7" fmla="*/ 5250325 h 6"/>
                  <a:gd name="T8" fmla="*/ 5040312 w 2"/>
                  <a:gd name="T9" fmla="*/ 0 h 6"/>
                  <a:gd name="T10" fmla="*/ 5040312 w 2"/>
                  <a:gd name="T11" fmla="*/ 5250325 h 6"/>
                  <a:gd name="T12" fmla="*/ 5040312 w 2"/>
                  <a:gd name="T13" fmla="*/ 10499327 h 6"/>
                  <a:gd name="T14" fmla="*/ 5040312 w 2"/>
                  <a:gd name="T15" fmla="*/ 10499327 h 6"/>
                  <a:gd name="T16" fmla="*/ 5040312 w 2"/>
                  <a:gd name="T17" fmla="*/ 10499327 h 6"/>
                  <a:gd name="T18" fmla="*/ 0 w 2"/>
                  <a:gd name="T19" fmla="*/ 1049932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"/>
                  <a:gd name="T31" fmla="*/ 0 h 6"/>
                  <a:gd name="T32" fmla="*/ 2 w 2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" h="6">
                    <a:moveTo>
                      <a:pt x="0" y="6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4" name="Freeform 69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3781104" y="5478695"/>
                <a:ext cx="9110" cy="3154"/>
              </a:xfrm>
              <a:custGeom>
                <a:avLst/>
                <a:gdLst>
                  <a:gd name="T0" fmla="*/ 15120939 w 6"/>
                  <a:gd name="T1" fmla="*/ 3360208 h 3"/>
                  <a:gd name="T2" fmla="*/ 7561263 w 6"/>
                  <a:gd name="T3" fmla="*/ 3360208 h 3"/>
                  <a:gd name="T4" fmla="*/ 7561263 w 6"/>
                  <a:gd name="T5" fmla="*/ 3360208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7561263 w 6"/>
                  <a:gd name="T13" fmla="*/ 0 h 3"/>
                  <a:gd name="T14" fmla="*/ 15120939 w 6"/>
                  <a:gd name="T15" fmla="*/ 0 h 3"/>
                  <a:gd name="T16" fmla="*/ 15120939 w 6"/>
                  <a:gd name="T17" fmla="*/ 3360208 h 3"/>
                  <a:gd name="T18" fmla="*/ 15120939 w 6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5" name="Freeform 70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3781104" y="5478695"/>
                <a:ext cx="9110" cy="3154"/>
              </a:xfrm>
              <a:custGeom>
                <a:avLst/>
                <a:gdLst>
                  <a:gd name="T0" fmla="*/ 15120939 w 6"/>
                  <a:gd name="T1" fmla="*/ 3360208 h 3"/>
                  <a:gd name="T2" fmla="*/ 7561263 w 6"/>
                  <a:gd name="T3" fmla="*/ 3360208 h 3"/>
                  <a:gd name="T4" fmla="*/ 7561263 w 6"/>
                  <a:gd name="T5" fmla="*/ 3360208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7561263 w 6"/>
                  <a:gd name="T13" fmla="*/ 0 h 3"/>
                  <a:gd name="T14" fmla="*/ 15120939 w 6"/>
                  <a:gd name="T15" fmla="*/ 0 h 3"/>
                  <a:gd name="T16" fmla="*/ 15120939 w 6"/>
                  <a:gd name="T17" fmla="*/ 3360208 h 3"/>
                  <a:gd name="T18" fmla="*/ 15120939 w 6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6" name="Freeform 71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3794769" y="5470813"/>
                <a:ext cx="16704" cy="1577"/>
              </a:xfrm>
              <a:custGeom>
                <a:avLst/>
                <a:gdLst>
                  <a:gd name="T0" fmla="*/ 25413034 w 12"/>
                  <a:gd name="T1" fmla="*/ 839523 h 3"/>
                  <a:gd name="T2" fmla="*/ 25413034 w 12"/>
                  <a:gd name="T3" fmla="*/ 839523 h 3"/>
                  <a:gd name="T4" fmla="*/ 6353622 w 12"/>
                  <a:gd name="T5" fmla="*/ 839523 h 3"/>
                  <a:gd name="T6" fmla="*/ 6353622 w 12"/>
                  <a:gd name="T7" fmla="*/ 839523 h 3"/>
                  <a:gd name="T8" fmla="*/ 0 w 12"/>
                  <a:gd name="T9" fmla="*/ 839523 h 3"/>
                  <a:gd name="T10" fmla="*/ 0 w 12"/>
                  <a:gd name="T11" fmla="*/ 0 h 3"/>
                  <a:gd name="T12" fmla="*/ 6353622 w 12"/>
                  <a:gd name="T13" fmla="*/ 0 h 3"/>
                  <a:gd name="T14" fmla="*/ 6353622 w 12"/>
                  <a:gd name="T15" fmla="*/ 0 h 3"/>
                  <a:gd name="T16" fmla="*/ 12707245 w 12"/>
                  <a:gd name="T17" fmla="*/ 0 h 3"/>
                  <a:gd name="T18" fmla="*/ 25413034 w 12"/>
                  <a:gd name="T19" fmla="*/ 0 h 3"/>
                  <a:gd name="T20" fmla="*/ 25413034 w 12"/>
                  <a:gd name="T21" fmla="*/ 839523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3"/>
                  <a:gd name="T35" fmla="*/ 12 w 12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3">
                    <a:moveTo>
                      <a:pt x="12" y="3"/>
                    </a:moveTo>
                    <a:lnTo>
                      <a:pt x="12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7" name="Freeform 72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3794769" y="5470813"/>
                <a:ext cx="16704" cy="1577"/>
              </a:xfrm>
              <a:custGeom>
                <a:avLst/>
                <a:gdLst>
                  <a:gd name="T0" fmla="*/ 25413034 w 12"/>
                  <a:gd name="T1" fmla="*/ 839523 h 3"/>
                  <a:gd name="T2" fmla="*/ 25413034 w 12"/>
                  <a:gd name="T3" fmla="*/ 839523 h 3"/>
                  <a:gd name="T4" fmla="*/ 6353622 w 12"/>
                  <a:gd name="T5" fmla="*/ 839523 h 3"/>
                  <a:gd name="T6" fmla="*/ 6353622 w 12"/>
                  <a:gd name="T7" fmla="*/ 839523 h 3"/>
                  <a:gd name="T8" fmla="*/ 0 w 12"/>
                  <a:gd name="T9" fmla="*/ 839523 h 3"/>
                  <a:gd name="T10" fmla="*/ 0 w 12"/>
                  <a:gd name="T11" fmla="*/ 0 h 3"/>
                  <a:gd name="T12" fmla="*/ 6353622 w 12"/>
                  <a:gd name="T13" fmla="*/ 0 h 3"/>
                  <a:gd name="T14" fmla="*/ 6353622 w 12"/>
                  <a:gd name="T15" fmla="*/ 0 h 3"/>
                  <a:gd name="T16" fmla="*/ 12707245 w 12"/>
                  <a:gd name="T17" fmla="*/ 0 h 3"/>
                  <a:gd name="T18" fmla="*/ 25413034 w 12"/>
                  <a:gd name="T19" fmla="*/ 0 h 3"/>
                  <a:gd name="T20" fmla="*/ 25413034 w 12"/>
                  <a:gd name="T21" fmla="*/ 839523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3"/>
                  <a:gd name="T35" fmla="*/ 12 w 12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3">
                    <a:moveTo>
                      <a:pt x="12" y="3"/>
                    </a:moveTo>
                    <a:lnTo>
                      <a:pt x="12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8" name="Freeform 73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3794769" y="5470816"/>
                <a:ext cx="42517" cy="28381"/>
              </a:xfrm>
              <a:custGeom>
                <a:avLst/>
                <a:gdLst>
                  <a:gd name="T0" fmla="*/ 0 w 31"/>
                  <a:gd name="T1" fmla="*/ 10122043 h 22"/>
                  <a:gd name="T2" fmla="*/ 0 w 31"/>
                  <a:gd name="T3" fmla="*/ 10122043 h 22"/>
                  <a:gd name="T4" fmla="*/ 47287641 w 31"/>
                  <a:gd name="T5" fmla="*/ 0 h 22"/>
                  <a:gd name="T6" fmla="*/ 47287641 w 31"/>
                  <a:gd name="T7" fmla="*/ 0 h 22"/>
                  <a:gd name="T8" fmla="*/ 51399982 w 31"/>
                  <a:gd name="T9" fmla="*/ 5061671 h 22"/>
                  <a:gd name="T10" fmla="*/ 51399982 w 31"/>
                  <a:gd name="T11" fmla="*/ 10122043 h 22"/>
                  <a:gd name="T12" fmla="*/ 47287641 w 31"/>
                  <a:gd name="T13" fmla="*/ 10122043 h 22"/>
                  <a:gd name="T14" fmla="*/ 41119119 w 31"/>
                  <a:gd name="T15" fmla="*/ 10122043 h 22"/>
                  <a:gd name="T16" fmla="*/ 34952041 w 31"/>
                  <a:gd name="T17" fmla="*/ 10122043 h 22"/>
                  <a:gd name="T18" fmla="*/ 34952041 w 31"/>
                  <a:gd name="T19" fmla="*/ 10122043 h 22"/>
                  <a:gd name="T20" fmla="*/ 41119119 w 31"/>
                  <a:gd name="T21" fmla="*/ 15183716 h 22"/>
                  <a:gd name="T22" fmla="*/ 51399982 w 31"/>
                  <a:gd name="T23" fmla="*/ 15183716 h 22"/>
                  <a:gd name="T24" fmla="*/ 57567060 w 31"/>
                  <a:gd name="T25" fmla="*/ 15183716 h 22"/>
                  <a:gd name="T26" fmla="*/ 57567060 w 31"/>
                  <a:gd name="T27" fmla="*/ 15183716 h 22"/>
                  <a:gd name="T28" fmla="*/ 57567060 w 31"/>
                  <a:gd name="T29" fmla="*/ 18558162 h 22"/>
                  <a:gd name="T30" fmla="*/ 47287641 w 31"/>
                  <a:gd name="T31" fmla="*/ 18558162 h 22"/>
                  <a:gd name="T32" fmla="*/ 47287641 w 31"/>
                  <a:gd name="T33" fmla="*/ 18558162 h 22"/>
                  <a:gd name="T34" fmla="*/ 47287641 w 31"/>
                  <a:gd name="T35" fmla="*/ 18558162 h 22"/>
                  <a:gd name="T36" fmla="*/ 57567060 w 31"/>
                  <a:gd name="T37" fmla="*/ 23618538 h 22"/>
                  <a:gd name="T38" fmla="*/ 57567060 w 31"/>
                  <a:gd name="T39" fmla="*/ 23618538 h 22"/>
                  <a:gd name="T40" fmla="*/ 57567060 w 31"/>
                  <a:gd name="T41" fmla="*/ 28680208 h 22"/>
                  <a:gd name="T42" fmla="*/ 63735571 w 31"/>
                  <a:gd name="T43" fmla="*/ 28680208 h 22"/>
                  <a:gd name="T44" fmla="*/ 63735571 w 31"/>
                  <a:gd name="T45" fmla="*/ 33740579 h 22"/>
                  <a:gd name="T46" fmla="*/ 63735571 w 31"/>
                  <a:gd name="T47" fmla="*/ 33740579 h 22"/>
                  <a:gd name="T48" fmla="*/ 63735571 w 31"/>
                  <a:gd name="T49" fmla="*/ 37115026 h 22"/>
                  <a:gd name="T50" fmla="*/ 63735571 w 31"/>
                  <a:gd name="T51" fmla="*/ 37115026 h 22"/>
                  <a:gd name="T52" fmla="*/ 57567060 w 31"/>
                  <a:gd name="T53" fmla="*/ 33740579 h 22"/>
                  <a:gd name="T54" fmla="*/ 57567060 w 31"/>
                  <a:gd name="T55" fmla="*/ 33740579 h 22"/>
                  <a:gd name="T56" fmla="*/ 57567060 w 31"/>
                  <a:gd name="T57" fmla="*/ 28680208 h 22"/>
                  <a:gd name="T58" fmla="*/ 51399982 w 31"/>
                  <a:gd name="T59" fmla="*/ 28680208 h 22"/>
                  <a:gd name="T60" fmla="*/ 51399982 w 31"/>
                  <a:gd name="T61" fmla="*/ 23618538 h 22"/>
                  <a:gd name="T62" fmla="*/ 41119119 w 31"/>
                  <a:gd name="T63" fmla="*/ 28680208 h 22"/>
                  <a:gd name="T64" fmla="*/ 41119119 w 31"/>
                  <a:gd name="T65" fmla="*/ 23618538 h 22"/>
                  <a:gd name="T66" fmla="*/ 34952041 w 31"/>
                  <a:gd name="T67" fmla="*/ 18558162 h 22"/>
                  <a:gd name="T68" fmla="*/ 34952041 w 31"/>
                  <a:gd name="T69" fmla="*/ 18558162 h 22"/>
                  <a:gd name="T70" fmla="*/ 34952041 w 31"/>
                  <a:gd name="T71" fmla="*/ 18558162 h 22"/>
                  <a:gd name="T72" fmla="*/ 28783530 w 31"/>
                  <a:gd name="T73" fmla="*/ 15183716 h 22"/>
                  <a:gd name="T74" fmla="*/ 24671189 w 31"/>
                  <a:gd name="T75" fmla="*/ 15183716 h 22"/>
                  <a:gd name="T76" fmla="*/ 24671189 w 31"/>
                  <a:gd name="T77" fmla="*/ 18558162 h 22"/>
                  <a:gd name="T78" fmla="*/ 24671189 w 31"/>
                  <a:gd name="T79" fmla="*/ 23618538 h 22"/>
                  <a:gd name="T80" fmla="*/ 28783530 w 31"/>
                  <a:gd name="T81" fmla="*/ 28680208 h 22"/>
                  <a:gd name="T82" fmla="*/ 18504106 w 31"/>
                  <a:gd name="T83" fmla="*/ 28680208 h 22"/>
                  <a:gd name="T84" fmla="*/ 18504106 w 31"/>
                  <a:gd name="T85" fmla="*/ 23618538 h 22"/>
                  <a:gd name="T86" fmla="*/ 18504106 w 31"/>
                  <a:gd name="T87" fmla="*/ 23618538 h 22"/>
                  <a:gd name="T88" fmla="*/ 12335595 w 31"/>
                  <a:gd name="T89" fmla="*/ 18558162 h 22"/>
                  <a:gd name="T90" fmla="*/ 12335595 w 31"/>
                  <a:gd name="T91" fmla="*/ 18558162 h 22"/>
                  <a:gd name="T92" fmla="*/ 18504106 w 31"/>
                  <a:gd name="T93" fmla="*/ 15183716 h 22"/>
                  <a:gd name="T94" fmla="*/ 18504106 w 31"/>
                  <a:gd name="T95" fmla="*/ 15183716 h 22"/>
                  <a:gd name="T96" fmla="*/ 18504106 w 31"/>
                  <a:gd name="T97" fmla="*/ 15183716 h 22"/>
                  <a:gd name="T98" fmla="*/ 18504106 w 31"/>
                  <a:gd name="T99" fmla="*/ 15183716 h 22"/>
                  <a:gd name="T100" fmla="*/ 12335595 w 31"/>
                  <a:gd name="T101" fmla="*/ 15183716 h 22"/>
                  <a:gd name="T102" fmla="*/ 0 w 31"/>
                  <a:gd name="T103" fmla="*/ 15183716 h 22"/>
                  <a:gd name="T104" fmla="*/ 0 w 31"/>
                  <a:gd name="T105" fmla="*/ 15183716 h 22"/>
                  <a:gd name="T106" fmla="*/ 0 w 31"/>
                  <a:gd name="T107" fmla="*/ 15183716 h 22"/>
                  <a:gd name="T108" fmla="*/ 0 w 31"/>
                  <a:gd name="T109" fmla="*/ 10122043 h 2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1"/>
                  <a:gd name="T166" fmla="*/ 0 h 22"/>
                  <a:gd name="T167" fmla="*/ 31 w 31"/>
                  <a:gd name="T168" fmla="*/ 22 h 2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1" h="22">
                    <a:moveTo>
                      <a:pt x="0" y="6"/>
                    </a:moveTo>
                    <a:lnTo>
                      <a:pt x="0" y="6"/>
                    </a:lnTo>
                    <a:lnTo>
                      <a:pt x="23" y="0"/>
                    </a:lnTo>
                    <a:lnTo>
                      <a:pt x="25" y="3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0" y="6"/>
                    </a:lnTo>
                    <a:lnTo>
                      <a:pt x="17" y="6"/>
                    </a:lnTo>
                    <a:lnTo>
                      <a:pt x="20" y="9"/>
                    </a:lnTo>
                    <a:lnTo>
                      <a:pt x="25" y="9"/>
                    </a:lnTo>
                    <a:lnTo>
                      <a:pt x="28" y="9"/>
                    </a:lnTo>
                    <a:lnTo>
                      <a:pt x="28" y="11"/>
                    </a:lnTo>
                    <a:lnTo>
                      <a:pt x="23" y="11"/>
                    </a:lnTo>
                    <a:lnTo>
                      <a:pt x="28" y="14"/>
                    </a:lnTo>
                    <a:lnTo>
                      <a:pt x="28" y="17"/>
                    </a:lnTo>
                    <a:lnTo>
                      <a:pt x="31" y="17"/>
                    </a:lnTo>
                    <a:lnTo>
                      <a:pt x="31" y="20"/>
                    </a:lnTo>
                    <a:lnTo>
                      <a:pt x="31" y="22"/>
                    </a:lnTo>
                    <a:lnTo>
                      <a:pt x="28" y="20"/>
                    </a:lnTo>
                    <a:lnTo>
                      <a:pt x="28" y="17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20" y="17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4" y="9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2" y="14"/>
                    </a:lnTo>
                    <a:lnTo>
                      <a:pt x="14" y="17"/>
                    </a:lnTo>
                    <a:lnTo>
                      <a:pt x="9" y="17"/>
                    </a:lnTo>
                    <a:lnTo>
                      <a:pt x="9" y="14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6" y="9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9" name="Freeform 74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3828175" y="5470816"/>
                <a:ext cx="25814" cy="14190"/>
              </a:xfrm>
              <a:custGeom>
                <a:avLst/>
                <a:gdLst>
                  <a:gd name="T0" fmla="*/ 5462370 w 20"/>
                  <a:gd name="T1" fmla="*/ 5060195 h 11"/>
                  <a:gd name="T2" fmla="*/ 5462370 w 20"/>
                  <a:gd name="T3" fmla="*/ 5060195 h 11"/>
                  <a:gd name="T4" fmla="*/ 0 w 20"/>
                  <a:gd name="T5" fmla="*/ 5060195 h 11"/>
                  <a:gd name="T6" fmla="*/ 0 w 20"/>
                  <a:gd name="T7" fmla="*/ 0 h 11"/>
                  <a:gd name="T8" fmla="*/ 16388462 w 20"/>
                  <a:gd name="T9" fmla="*/ 0 h 11"/>
                  <a:gd name="T10" fmla="*/ 30955235 w 20"/>
                  <a:gd name="T11" fmla="*/ 0 h 11"/>
                  <a:gd name="T12" fmla="*/ 36417604 w 20"/>
                  <a:gd name="T13" fmla="*/ 5060195 h 11"/>
                  <a:gd name="T14" fmla="*/ 36417604 w 20"/>
                  <a:gd name="T15" fmla="*/ 15181886 h 11"/>
                  <a:gd name="T16" fmla="*/ 36417604 w 20"/>
                  <a:gd name="T17" fmla="*/ 15181886 h 11"/>
                  <a:gd name="T18" fmla="*/ 36417604 w 20"/>
                  <a:gd name="T19" fmla="*/ 18556214 h 11"/>
                  <a:gd name="T20" fmla="*/ 30955235 w 20"/>
                  <a:gd name="T21" fmla="*/ 18556214 h 11"/>
                  <a:gd name="T22" fmla="*/ 30955235 w 20"/>
                  <a:gd name="T23" fmla="*/ 18556214 h 11"/>
                  <a:gd name="T24" fmla="*/ 25492866 w 20"/>
                  <a:gd name="T25" fmla="*/ 18556214 h 11"/>
                  <a:gd name="T26" fmla="*/ 25492866 w 20"/>
                  <a:gd name="T27" fmla="*/ 15181886 h 11"/>
                  <a:gd name="T28" fmla="*/ 25492866 w 20"/>
                  <a:gd name="T29" fmla="*/ 15181886 h 11"/>
                  <a:gd name="T30" fmla="*/ 21850831 w 20"/>
                  <a:gd name="T31" fmla="*/ 15181886 h 11"/>
                  <a:gd name="T32" fmla="*/ 21850831 w 20"/>
                  <a:gd name="T33" fmla="*/ 15181886 h 11"/>
                  <a:gd name="T34" fmla="*/ 21850831 w 20"/>
                  <a:gd name="T35" fmla="*/ 15181886 h 11"/>
                  <a:gd name="T36" fmla="*/ 16388462 w 20"/>
                  <a:gd name="T37" fmla="*/ 15181886 h 11"/>
                  <a:gd name="T38" fmla="*/ 21850831 w 20"/>
                  <a:gd name="T39" fmla="*/ 15181886 h 11"/>
                  <a:gd name="T40" fmla="*/ 10924741 w 20"/>
                  <a:gd name="T41" fmla="*/ 15181886 h 11"/>
                  <a:gd name="T42" fmla="*/ 5462370 w 20"/>
                  <a:gd name="T43" fmla="*/ 5060195 h 1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"/>
                  <a:gd name="T67" fmla="*/ 0 h 11"/>
                  <a:gd name="T68" fmla="*/ 20 w 20"/>
                  <a:gd name="T69" fmla="*/ 11 h 1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" h="11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14" y="9"/>
                    </a:lnTo>
                    <a:lnTo>
                      <a:pt x="12" y="9"/>
                    </a:lnTo>
                    <a:lnTo>
                      <a:pt x="9" y="9"/>
                    </a:lnTo>
                    <a:lnTo>
                      <a:pt x="12" y="9"/>
                    </a:lnTo>
                    <a:lnTo>
                      <a:pt x="6" y="9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0" name="Freeform 75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3828175" y="5470816"/>
                <a:ext cx="25814" cy="14190"/>
              </a:xfrm>
              <a:custGeom>
                <a:avLst/>
                <a:gdLst>
                  <a:gd name="T0" fmla="*/ 5462370 w 20"/>
                  <a:gd name="T1" fmla="*/ 5060195 h 11"/>
                  <a:gd name="T2" fmla="*/ 5462370 w 20"/>
                  <a:gd name="T3" fmla="*/ 5060195 h 11"/>
                  <a:gd name="T4" fmla="*/ 0 w 20"/>
                  <a:gd name="T5" fmla="*/ 5060195 h 11"/>
                  <a:gd name="T6" fmla="*/ 0 w 20"/>
                  <a:gd name="T7" fmla="*/ 0 h 11"/>
                  <a:gd name="T8" fmla="*/ 16388462 w 20"/>
                  <a:gd name="T9" fmla="*/ 0 h 11"/>
                  <a:gd name="T10" fmla="*/ 30955235 w 20"/>
                  <a:gd name="T11" fmla="*/ 0 h 11"/>
                  <a:gd name="T12" fmla="*/ 36417604 w 20"/>
                  <a:gd name="T13" fmla="*/ 5060195 h 11"/>
                  <a:gd name="T14" fmla="*/ 36417604 w 20"/>
                  <a:gd name="T15" fmla="*/ 15181886 h 11"/>
                  <a:gd name="T16" fmla="*/ 36417604 w 20"/>
                  <a:gd name="T17" fmla="*/ 15181886 h 11"/>
                  <a:gd name="T18" fmla="*/ 36417604 w 20"/>
                  <a:gd name="T19" fmla="*/ 18556214 h 11"/>
                  <a:gd name="T20" fmla="*/ 30955235 w 20"/>
                  <a:gd name="T21" fmla="*/ 18556214 h 11"/>
                  <a:gd name="T22" fmla="*/ 30955235 w 20"/>
                  <a:gd name="T23" fmla="*/ 18556214 h 11"/>
                  <a:gd name="T24" fmla="*/ 25492866 w 20"/>
                  <a:gd name="T25" fmla="*/ 18556214 h 11"/>
                  <a:gd name="T26" fmla="*/ 25492866 w 20"/>
                  <a:gd name="T27" fmla="*/ 15181886 h 11"/>
                  <a:gd name="T28" fmla="*/ 25492866 w 20"/>
                  <a:gd name="T29" fmla="*/ 15181886 h 11"/>
                  <a:gd name="T30" fmla="*/ 21850831 w 20"/>
                  <a:gd name="T31" fmla="*/ 15181886 h 11"/>
                  <a:gd name="T32" fmla="*/ 21850831 w 20"/>
                  <a:gd name="T33" fmla="*/ 15181886 h 11"/>
                  <a:gd name="T34" fmla="*/ 21850831 w 20"/>
                  <a:gd name="T35" fmla="*/ 15181886 h 11"/>
                  <a:gd name="T36" fmla="*/ 16388462 w 20"/>
                  <a:gd name="T37" fmla="*/ 15181886 h 11"/>
                  <a:gd name="T38" fmla="*/ 21850831 w 20"/>
                  <a:gd name="T39" fmla="*/ 15181886 h 11"/>
                  <a:gd name="T40" fmla="*/ 10924741 w 20"/>
                  <a:gd name="T41" fmla="*/ 15181886 h 11"/>
                  <a:gd name="T42" fmla="*/ 5462370 w 20"/>
                  <a:gd name="T43" fmla="*/ 5060195 h 1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0"/>
                  <a:gd name="T67" fmla="*/ 0 h 11"/>
                  <a:gd name="T68" fmla="*/ 20 w 20"/>
                  <a:gd name="T69" fmla="*/ 11 h 1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0" h="11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0" y="3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14" y="9"/>
                    </a:lnTo>
                    <a:lnTo>
                      <a:pt x="12" y="9"/>
                    </a:lnTo>
                    <a:lnTo>
                      <a:pt x="9" y="9"/>
                    </a:lnTo>
                    <a:lnTo>
                      <a:pt x="12" y="9"/>
                    </a:lnTo>
                    <a:lnTo>
                      <a:pt x="6" y="9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1" name="Freeform 76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3866137" y="5481851"/>
                <a:ext cx="3037" cy="3154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3360208 w 3"/>
                  <a:gd name="T5" fmla="*/ 0 h 2"/>
                  <a:gd name="T6" fmla="*/ 0 w 3"/>
                  <a:gd name="T7" fmla="*/ 0 h 2"/>
                  <a:gd name="T8" fmla="*/ 0 w 3"/>
                  <a:gd name="T9" fmla="*/ 5040312 h 2"/>
                  <a:gd name="T10" fmla="*/ 0 w 3"/>
                  <a:gd name="T11" fmla="*/ 0 h 2"/>
                  <a:gd name="T12" fmla="*/ 0 w 3"/>
                  <a:gd name="T13" fmla="*/ 0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2" name="Freeform 77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3866137" y="5481851"/>
                <a:ext cx="3037" cy="3154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3360208 w 3"/>
                  <a:gd name="T5" fmla="*/ 0 h 2"/>
                  <a:gd name="T6" fmla="*/ 0 w 3"/>
                  <a:gd name="T7" fmla="*/ 0 h 2"/>
                  <a:gd name="T8" fmla="*/ 0 w 3"/>
                  <a:gd name="T9" fmla="*/ 5040312 h 2"/>
                  <a:gd name="T10" fmla="*/ 0 w 3"/>
                  <a:gd name="T11" fmla="*/ 0 h 2"/>
                  <a:gd name="T12" fmla="*/ 0 w 3"/>
                  <a:gd name="T13" fmla="*/ 0 h 2"/>
                  <a:gd name="T14" fmla="*/ 0 w 3"/>
                  <a:gd name="T15" fmla="*/ 0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3" name="Freeform 78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3853989" y="5472390"/>
                <a:ext cx="9110" cy="6307"/>
              </a:xfrm>
              <a:custGeom>
                <a:avLst/>
                <a:gdLst>
                  <a:gd name="T0" fmla="*/ 15120939 w 6"/>
                  <a:gd name="T1" fmla="*/ 13440833 h 3"/>
                  <a:gd name="T2" fmla="*/ 7561263 w 6"/>
                  <a:gd name="T3" fmla="*/ 13440833 h 3"/>
                  <a:gd name="T4" fmla="*/ 0 w 6"/>
                  <a:gd name="T5" fmla="*/ 0 h 3"/>
                  <a:gd name="T6" fmla="*/ 0 w 6"/>
                  <a:gd name="T7" fmla="*/ 0 h 3"/>
                  <a:gd name="T8" fmla="*/ 7561263 w 6"/>
                  <a:gd name="T9" fmla="*/ 0 h 3"/>
                  <a:gd name="T10" fmla="*/ 15120939 w 6"/>
                  <a:gd name="T11" fmla="*/ 0 h 3"/>
                  <a:gd name="T12" fmla="*/ 15120939 w 6"/>
                  <a:gd name="T13" fmla="*/ 13440833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4" name="Freeform 79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3853989" y="5472390"/>
                <a:ext cx="9110" cy="6307"/>
              </a:xfrm>
              <a:custGeom>
                <a:avLst/>
                <a:gdLst>
                  <a:gd name="T0" fmla="*/ 15120939 w 6"/>
                  <a:gd name="T1" fmla="*/ 13440833 h 3"/>
                  <a:gd name="T2" fmla="*/ 7561263 w 6"/>
                  <a:gd name="T3" fmla="*/ 13440833 h 3"/>
                  <a:gd name="T4" fmla="*/ 0 w 6"/>
                  <a:gd name="T5" fmla="*/ 0 h 3"/>
                  <a:gd name="T6" fmla="*/ 0 w 6"/>
                  <a:gd name="T7" fmla="*/ 0 h 3"/>
                  <a:gd name="T8" fmla="*/ 7561263 w 6"/>
                  <a:gd name="T9" fmla="*/ 0 h 3"/>
                  <a:gd name="T10" fmla="*/ 15120939 w 6"/>
                  <a:gd name="T11" fmla="*/ 0 h 3"/>
                  <a:gd name="T12" fmla="*/ 15120939 w 6"/>
                  <a:gd name="T13" fmla="*/ 13440833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5" name="Freeform 80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3853989" y="5481851"/>
                <a:ext cx="4555" cy="3154"/>
              </a:xfrm>
              <a:custGeom>
                <a:avLst/>
                <a:gdLst>
                  <a:gd name="T0" fmla="*/ 7558882 w 3"/>
                  <a:gd name="T1" fmla="*/ 5040312 h 2"/>
                  <a:gd name="T2" fmla="*/ 7558882 w 3"/>
                  <a:gd name="T3" fmla="*/ 5040312 h 2"/>
                  <a:gd name="T4" fmla="*/ 0 w 3"/>
                  <a:gd name="T5" fmla="*/ 5040312 h 2"/>
                  <a:gd name="T6" fmla="*/ 0 w 3"/>
                  <a:gd name="T7" fmla="*/ 0 h 2"/>
                  <a:gd name="T8" fmla="*/ 7558882 w 3"/>
                  <a:gd name="T9" fmla="*/ 0 h 2"/>
                  <a:gd name="T10" fmla="*/ 7558882 w 3"/>
                  <a:gd name="T11" fmla="*/ 0 h 2"/>
                  <a:gd name="T12" fmla="*/ 7558882 w 3"/>
                  <a:gd name="T13" fmla="*/ 5040312 h 2"/>
                  <a:gd name="T14" fmla="*/ 7558882 w 3"/>
                  <a:gd name="T15" fmla="*/ 5040312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6" name="Freeform 81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3853989" y="5481851"/>
                <a:ext cx="4555" cy="3154"/>
              </a:xfrm>
              <a:custGeom>
                <a:avLst/>
                <a:gdLst>
                  <a:gd name="T0" fmla="*/ 7558882 w 3"/>
                  <a:gd name="T1" fmla="*/ 5040312 h 2"/>
                  <a:gd name="T2" fmla="*/ 7558882 w 3"/>
                  <a:gd name="T3" fmla="*/ 5040312 h 2"/>
                  <a:gd name="T4" fmla="*/ 0 w 3"/>
                  <a:gd name="T5" fmla="*/ 5040312 h 2"/>
                  <a:gd name="T6" fmla="*/ 0 w 3"/>
                  <a:gd name="T7" fmla="*/ 0 h 2"/>
                  <a:gd name="T8" fmla="*/ 7558882 w 3"/>
                  <a:gd name="T9" fmla="*/ 0 h 2"/>
                  <a:gd name="T10" fmla="*/ 7558882 w 3"/>
                  <a:gd name="T11" fmla="*/ 0 h 2"/>
                  <a:gd name="T12" fmla="*/ 7558882 w 3"/>
                  <a:gd name="T13" fmla="*/ 5040312 h 2"/>
                  <a:gd name="T14" fmla="*/ 7558882 w 3"/>
                  <a:gd name="T15" fmla="*/ 5040312 h 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2"/>
                  <a:gd name="T26" fmla="*/ 3 w 3"/>
                  <a:gd name="T27" fmla="*/ 2 h 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7" name="Freeform 8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3358972" y="4147929"/>
                <a:ext cx="9110" cy="23652"/>
              </a:xfrm>
              <a:custGeom>
                <a:avLst/>
                <a:gdLst>
                  <a:gd name="T0" fmla="*/ 2834878 w 8"/>
                  <a:gd name="T1" fmla="*/ 0 h 19"/>
                  <a:gd name="T2" fmla="*/ 7087790 w 8"/>
                  <a:gd name="T3" fmla="*/ 12566997 h 19"/>
                  <a:gd name="T4" fmla="*/ 11340702 w 8"/>
                  <a:gd name="T5" fmla="*/ 17278209 h 19"/>
                  <a:gd name="T6" fmla="*/ 11340702 w 8"/>
                  <a:gd name="T7" fmla="*/ 25132741 h 19"/>
                  <a:gd name="T8" fmla="*/ 11340702 w 8"/>
                  <a:gd name="T9" fmla="*/ 25132741 h 19"/>
                  <a:gd name="T10" fmla="*/ 11340702 w 8"/>
                  <a:gd name="T11" fmla="*/ 29845207 h 19"/>
                  <a:gd name="T12" fmla="*/ 2834878 w 8"/>
                  <a:gd name="T13" fmla="*/ 29845207 h 19"/>
                  <a:gd name="T14" fmla="*/ 2834878 w 8"/>
                  <a:gd name="T15" fmla="*/ 29845207 h 19"/>
                  <a:gd name="T16" fmla="*/ 0 w 8"/>
                  <a:gd name="T17" fmla="*/ 25132741 h 19"/>
                  <a:gd name="T18" fmla="*/ 0 w 8"/>
                  <a:gd name="T19" fmla="*/ 25132741 h 19"/>
                  <a:gd name="T20" fmla="*/ 0 w 8"/>
                  <a:gd name="T21" fmla="*/ 21990680 h 19"/>
                  <a:gd name="T22" fmla="*/ 2834878 w 8"/>
                  <a:gd name="T23" fmla="*/ 21990680 h 19"/>
                  <a:gd name="T24" fmla="*/ 7087790 w 8"/>
                  <a:gd name="T25" fmla="*/ 17278209 h 19"/>
                  <a:gd name="T26" fmla="*/ 7087790 w 8"/>
                  <a:gd name="T27" fmla="*/ 17278209 h 19"/>
                  <a:gd name="T28" fmla="*/ 2834878 w 8"/>
                  <a:gd name="T29" fmla="*/ 7854529 h 19"/>
                  <a:gd name="T30" fmla="*/ 0 w 8"/>
                  <a:gd name="T31" fmla="*/ 7854529 h 19"/>
                  <a:gd name="T32" fmla="*/ 0 w 8"/>
                  <a:gd name="T33" fmla="*/ 3142063 h 19"/>
                  <a:gd name="T34" fmla="*/ 0 w 8"/>
                  <a:gd name="T35" fmla="*/ 3142063 h 19"/>
                  <a:gd name="T36" fmla="*/ 0 w 8"/>
                  <a:gd name="T37" fmla="*/ 3142063 h 19"/>
                  <a:gd name="T38" fmla="*/ 2834878 w 8"/>
                  <a:gd name="T39" fmla="*/ 0 h 1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"/>
                  <a:gd name="T61" fmla="*/ 0 h 19"/>
                  <a:gd name="T62" fmla="*/ 8 w 8"/>
                  <a:gd name="T63" fmla="*/ 19 h 1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" h="19">
                    <a:moveTo>
                      <a:pt x="2" y="0"/>
                    </a:moveTo>
                    <a:lnTo>
                      <a:pt x="5" y="8"/>
                    </a:lnTo>
                    <a:lnTo>
                      <a:pt x="8" y="11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5" y="11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8" name="Freeform 8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3358972" y="4147929"/>
                <a:ext cx="9110" cy="23652"/>
              </a:xfrm>
              <a:custGeom>
                <a:avLst/>
                <a:gdLst>
                  <a:gd name="T0" fmla="*/ 2834878 w 8"/>
                  <a:gd name="T1" fmla="*/ 0 h 19"/>
                  <a:gd name="T2" fmla="*/ 7087790 w 8"/>
                  <a:gd name="T3" fmla="*/ 12566997 h 19"/>
                  <a:gd name="T4" fmla="*/ 11340702 w 8"/>
                  <a:gd name="T5" fmla="*/ 17278209 h 19"/>
                  <a:gd name="T6" fmla="*/ 11340702 w 8"/>
                  <a:gd name="T7" fmla="*/ 25132741 h 19"/>
                  <a:gd name="T8" fmla="*/ 11340702 w 8"/>
                  <a:gd name="T9" fmla="*/ 25132741 h 19"/>
                  <a:gd name="T10" fmla="*/ 11340702 w 8"/>
                  <a:gd name="T11" fmla="*/ 29845207 h 19"/>
                  <a:gd name="T12" fmla="*/ 2834878 w 8"/>
                  <a:gd name="T13" fmla="*/ 29845207 h 19"/>
                  <a:gd name="T14" fmla="*/ 2834878 w 8"/>
                  <a:gd name="T15" fmla="*/ 29845207 h 19"/>
                  <a:gd name="T16" fmla="*/ 0 w 8"/>
                  <a:gd name="T17" fmla="*/ 25132741 h 19"/>
                  <a:gd name="T18" fmla="*/ 0 w 8"/>
                  <a:gd name="T19" fmla="*/ 25132741 h 19"/>
                  <a:gd name="T20" fmla="*/ 0 w 8"/>
                  <a:gd name="T21" fmla="*/ 21990680 h 19"/>
                  <a:gd name="T22" fmla="*/ 2834878 w 8"/>
                  <a:gd name="T23" fmla="*/ 21990680 h 19"/>
                  <a:gd name="T24" fmla="*/ 7087790 w 8"/>
                  <a:gd name="T25" fmla="*/ 17278209 h 19"/>
                  <a:gd name="T26" fmla="*/ 7087790 w 8"/>
                  <a:gd name="T27" fmla="*/ 17278209 h 19"/>
                  <a:gd name="T28" fmla="*/ 2834878 w 8"/>
                  <a:gd name="T29" fmla="*/ 7854529 h 19"/>
                  <a:gd name="T30" fmla="*/ 0 w 8"/>
                  <a:gd name="T31" fmla="*/ 7854529 h 19"/>
                  <a:gd name="T32" fmla="*/ 0 w 8"/>
                  <a:gd name="T33" fmla="*/ 3142063 h 19"/>
                  <a:gd name="T34" fmla="*/ 0 w 8"/>
                  <a:gd name="T35" fmla="*/ 3142063 h 19"/>
                  <a:gd name="T36" fmla="*/ 0 w 8"/>
                  <a:gd name="T37" fmla="*/ 3142063 h 19"/>
                  <a:gd name="T38" fmla="*/ 2834878 w 8"/>
                  <a:gd name="T39" fmla="*/ 0 h 1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"/>
                  <a:gd name="T61" fmla="*/ 0 h 19"/>
                  <a:gd name="T62" fmla="*/ 8 w 8"/>
                  <a:gd name="T63" fmla="*/ 19 h 1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" h="19">
                    <a:moveTo>
                      <a:pt x="2" y="0"/>
                    </a:moveTo>
                    <a:lnTo>
                      <a:pt x="5" y="8"/>
                    </a:lnTo>
                    <a:lnTo>
                      <a:pt x="8" y="11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2" y="19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5" y="11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9" name="Freeform 84"/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3372638" y="4152659"/>
                <a:ext cx="3037" cy="4730"/>
              </a:xfrm>
              <a:custGeom>
                <a:avLst/>
                <a:gdLst>
                  <a:gd name="T0" fmla="*/ 5040312 w 2"/>
                  <a:gd name="T1" fmla="*/ 0 h 3"/>
                  <a:gd name="T2" fmla="*/ 0 w 2"/>
                  <a:gd name="T3" fmla="*/ 0 h 3"/>
                  <a:gd name="T4" fmla="*/ 0 w 2"/>
                  <a:gd name="T5" fmla="*/ 7558882 h 3"/>
                  <a:gd name="T6" fmla="*/ 0 w 2"/>
                  <a:gd name="T7" fmla="*/ 7558882 h 3"/>
                  <a:gd name="T8" fmla="*/ 5040312 w 2"/>
                  <a:gd name="T9" fmla="*/ 7558882 h 3"/>
                  <a:gd name="T10" fmla="*/ 5040312 w 2"/>
                  <a:gd name="T11" fmla="*/ 7558882 h 3"/>
                  <a:gd name="T12" fmla="*/ 5040312 w 2"/>
                  <a:gd name="T13" fmla="*/ 7558882 h 3"/>
                  <a:gd name="T14" fmla="*/ 5040312 w 2"/>
                  <a:gd name="T15" fmla="*/ 0 h 3"/>
                  <a:gd name="T16" fmla="*/ 5040312 w 2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3"/>
                  <a:gd name="T29" fmla="*/ 2 w 2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0" name="Freeform 85"/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3372638" y="4152659"/>
                <a:ext cx="3037" cy="4730"/>
              </a:xfrm>
              <a:custGeom>
                <a:avLst/>
                <a:gdLst>
                  <a:gd name="T0" fmla="*/ 5040312 w 2"/>
                  <a:gd name="T1" fmla="*/ 0 h 3"/>
                  <a:gd name="T2" fmla="*/ 0 w 2"/>
                  <a:gd name="T3" fmla="*/ 0 h 3"/>
                  <a:gd name="T4" fmla="*/ 0 w 2"/>
                  <a:gd name="T5" fmla="*/ 7558882 h 3"/>
                  <a:gd name="T6" fmla="*/ 0 w 2"/>
                  <a:gd name="T7" fmla="*/ 7558882 h 3"/>
                  <a:gd name="T8" fmla="*/ 5040312 w 2"/>
                  <a:gd name="T9" fmla="*/ 7558882 h 3"/>
                  <a:gd name="T10" fmla="*/ 5040312 w 2"/>
                  <a:gd name="T11" fmla="*/ 7558882 h 3"/>
                  <a:gd name="T12" fmla="*/ 5040312 w 2"/>
                  <a:gd name="T13" fmla="*/ 7558882 h 3"/>
                  <a:gd name="T14" fmla="*/ 5040312 w 2"/>
                  <a:gd name="T15" fmla="*/ 0 h 3"/>
                  <a:gd name="T16" fmla="*/ 5040312 w 2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3"/>
                  <a:gd name="T29" fmla="*/ 2 w 2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3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1" name="Freeform 86"/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3378712" y="4160543"/>
                <a:ext cx="9110" cy="4731"/>
              </a:xfrm>
              <a:custGeom>
                <a:avLst/>
                <a:gdLst>
                  <a:gd name="T0" fmla="*/ 15120939 w 6"/>
                  <a:gd name="T1" fmla="*/ 0 h 3"/>
                  <a:gd name="T2" fmla="*/ 15120939 w 6"/>
                  <a:gd name="T3" fmla="*/ 7562057 h 3"/>
                  <a:gd name="T4" fmla="*/ 7561263 w 6"/>
                  <a:gd name="T5" fmla="*/ 7562057 h 3"/>
                  <a:gd name="T6" fmla="*/ 0 w 6"/>
                  <a:gd name="T7" fmla="*/ 7562057 h 3"/>
                  <a:gd name="T8" fmla="*/ 0 w 6"/>
                  <a:gd name="T9" fmla="*/ 7562057 h 3"/>
                  <a:gd name="T10" fmla="*/ 0 w 6"/>
                  <a:gd name="T11" fmla="*/ 0 h 3"/>
                  <a:gd name="T12" fmla="*/ 0 w 6"/>
                  <a:gd name="T13" fmla="*/ 0 h 3"/>
                  <a:gd name="T14" fmla="*/ 7561263 w 6"/>
                  <a:gd name="T15" fmla="*/ 0 h 3"/>
                  <a:gd name="T16" fmla="*/ 7561263 w 6"/>
                  <a:gd name="T17" fmla="*/ 0 h 3"/>
                  <a:gd name="T18" fmla="*/ 15120939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6" y="0"/>
                    </a:move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2" name="Freeform 87"/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3378712" y="4160543"/>
                <a:ext cx="9110" cy="4731"/>
              </a:xfrm>
              <a:custGeom>
                <a:avLst/>
                <a:gdLst>
                  <a:gd name="T0" fmla="*/ 15120939 w 6"/>
                  <a:gd name="T1" fmla="*/ 0 h 3"/>
                  <a:gd name="T2" fmla="*/ 15120939 w 6"/>
                  <a:gd name="T3" fmla="*/ 7562057 h 3"/>
                  <a:gd name="T4" fmla="*/ 7561263 w 6"/>
                  <a:gd name="T5" fmla="*/ 7562057 h 3"/>
                  <a:gd name="T6" fmla="*/ 0 w 6"/>
                  <a:gd name="T7" fmla="*/ 7562057 h 3"/>
                  <a:gd name="T8" fmla="*/ 0 w 6"/>
                  <a:gd name="T9" fmla="*/ 7562057 h 3"/>
                  <a:gd name="T10" fmla="*/ 0 w 6"/>
                  <a:gd name="T11" fmla="*/ 0 h 3"/>
                  <a:gd name="T12" fmla="*/ 0 w 6"/>
                  <a:gd name="T13" fmla="*/ 0 h 3"/>
                  <a:gd name="T14" fmla="*/ 7561263 w 6"/>
                  <a:gd name="T15" fmla="*/ 0 h 3"/>
                  <a:gd name="T16" fmla="*/ 7561263 w 6"/>
                  <a:gd name="T17" fmla="*/ 0 h 3"/>
                  <a:gd name="T18" fmla="*/ 15120939 w 6"/>
                  <a:gd name="T19" fmla="*/ 0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3"/>
                  <a:gd name="T32" fmla="*/ 6 w 6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3">
                    <a:moveTo>
                      <a:pt x="6" y="0"/>
                    </a:move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3" name="Freeform 88"/>
              <p:cNvSpPr>
                <a:spLocks noChangeAspect="1"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3398453" y="4165273"/>
                <a:ext cx="1518" cy="1577"/>
              </a:xfrm>
              <a:custGeom>
                <a:avLst/>
                <a:gdLst>
                  <a:gd name="T0" fmla="*/ 839523 w 3"/>
                  <a:gd name="T1" fmla="*/ 0 h 2"/>
                  <a:gd name="T2" fmla="*/ 839523 w 3"/>
                  <a:gd name="T3" fmla="*/ 0 h 2"/>
                  <a:gd name="T4" fmla="*/ 839523 w 3"/>
                  <a:gd name="T5" fmla="*/ 0 h 2"/>
                  <a:gd name="T6" fmla="*/ 839523 w 3"/>
                  <a:gd name="T7" fmla="*/ 1259284 h 2"/>
                  <a:gd name="T8" fmla="*/ 839523 w 3"/>
                  <a:gd name="T9" fmla="*/ 1259284 h 2"/>
                  <a:gd name="T10" fmla="*/ 0 w 3"/>
                  <a:gd name="T11" fmla="*/ 1259284 h 2"/>
                  <a:gd name="T12" fmla="*/ 0 w 3"/>
                  <a:gd name="T13" fmla="*/ 1259284 h 2"/>
                  <a:gd name="T14" fmla="*/ 0 w 3"/>
                  <a:gd name="T15" fmla="*/ 1259284 h 2"/>
                  <a:gd name="T16" fmla="*/ 839523 w 3"/>
                  <a:gd name="T17" fmla="*/ 0 h 2"/>
                  <a:gd name="T18" fmla="*/ 839523 w 3"/>
                  <a:gd name="T19" fmla="*/ 0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2"/>
                  <a:gd name="T32" fmla="*/ 3 w 3"/>
                  <a:gd name="T33" fmla="*/ 2 h 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4" name="Freeform 89"/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3398453" y="4165273"/>
                <a:ext cx="1518" cy="1577"/>
              </a:xfrm>
              <a:custGeom>
                <a:avLst/>
                <a:gdLst>
                  <a:gd name="T0" fmla="*/ 839523 w 3"/>
                  <a:gd name="T1" fmla="*/ 0 h 2"/>
                  <a:gd name="T2" fmla="*/ 839523 w 3"/>
                  <a:gd name="T3" fmla="*/ 0 h 2"/>
                  <a:gd name="T4" fmla="*/ 839523 w 3"/>
                  <a:gd name="T5" fmla="*/ 0 h 2"/>
                  <a:gd name="T6" fmla="*/ 839523 w 3"/>
                  <a:gd name="T7" fmla="*/ 1259284 h 2"/>
                  <a:gd name="T8" fmla="*/ 839523 w 3"/>
                  <a:gd name="T9" fmla="*/ 1259284 h 2"/>
                  <a:gd name="T10" fmla="*/ 0 w 3"/>
                  <a:gd name="T11" fmla="*/ 1259284 h 2"/>
                  <a:gd name="T12" fmla="*/ 0 w 3"/>
                  <a:gd name="T13" fmla="*/ 1259284 h 2"/>
                  <a:gd name="T14" fmla="*/ 0 w 3"/>
                  <a:gd name="T15" fmla="*/ 1259284 h 2"/>
                  <a:gd name="T16" fmla="*/ 839523 w 3"/>
                  <a:gd name="T17" fmla="*/ 0 h 2"/>
                  <a:gd name="T18" fmla="*/ 839523 w 3"/>
                  <a:gd name="T19" fmla="*/ 0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2"/>
                  <a:gd name="T32" fmla="*/ 3 w 3"/>
                  <a:gd name="T33" fmla="*/ 2 h 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2">
                    <a:moveTo>
                      <a:pt x="3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5" name="Freeform 90"/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3354417" y="4157388"/>
                <a:ext cx="7593" cy="3154"/>
              </a:xfrm>
              <a:custGeom>
                <a:avLst/>
                <a:gdLst>
                  <a:gd name="T0" fmla="*/ 7561739 w 5"/>
                  <a:gd name="T1" fmla="*/ 0 h 3"/>
                  <a:gd name="T2" fmla="*/ 12602367 w 5"/>
                  <a:gd name="T3" fmla="*/ 0 h 3"/>
                  <a:gd name="T4" fmla="*/ 12602367 w 5"/>
                  <a:gd name="T5" fmla="*/ 3360208 h 3"/>
                  <a:gd name="T6" fmla="*/ 7561739 w 5"/>
                  <a:gd name="T7" fmla="*/ 3360208 h 3"/>
                  <a:gd name="T8" fmla="*/ 7561739 w 5"/>
                  <a:gd name="T9" fmla="*/ 3360208 h 3"/>
                  <a:gd name="T10" fmla="*/ 0 w 5"/>
                  <a:gd name="T11" fmla="*/ 0 h 3"/>
                  <a:gd name="T12" fmla="*/ 0 w 5"/>
                  <a:gd name="T13" fmla="*/ 0 h 3"/>
                  <a:gd name="T14" fmla="*/ 7561739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3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6" name="Freeform 91"/>
              <p:cNvSpPr>
                <a:spLocks noChangeAspect="1"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3354417" y="4157388"/>
                <a:ext cx="7593" cy="3154"/>
              </a:xfrm>
              <a:custGeom>
                <a:avLst/>
                <a:gdLst>
                  <a:gd name="T0" fmla="*/ 7561739 w 5"/>
                  <a:gd name="T1" fmla="*/ 0 h 3"/>
                  <a:gd name="T2" fmla="*/ 12602367 w 5"/>
                  <a:gd name="T3" fmla="*/ 0 h 3"/>
                  <a:gd name="T4" fmla="*/ 12602367 w 5"/>
                  <a:gd name="T5" fmla="*/ 3360208 h 3"/>
                  <a:gd name="T6" fmla="*/ 7561739 w 5"/>
                  <a:gd name="T7" fmla="*/ 3360208 h 3"/>
                  <a:gd name="T8" fmla="*/ 7561739 w 5"/>
                  <a:gd name="T9" fmla="*/ 3360208 h 3"/>
                  <a:gd name="T10" fmla="*/ 0 w 5"/>
                  <a:gd name="T11" fmla="*/ 0 h 3"/>
                  <a:gd name="T12" fmla="*/ 0 w 5"/>
                  <a:gd name="T13" fmla="*/ 0 h 3"/>
                  <a:gd name="T14" fmla="*/ 7561739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3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7" name="Rectangle 164"/>
              <p:cNvSpPr>
                <a:spLocks noChangeAspect="1" noChangeArrowheads="1"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4634476" y="3315410"/>
                <a:ext cx="3037" cy="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8" name="Rectangle 165"/>
              <p:cNvSpPr>
                <a:spLocks noChangeAspect="1" noChangeArrowheads="1"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634476" y="3315410"/>
                <a:ext cx="3037" cy="0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9" name="Freeform 166"/>
              <p:cNvSpPr>
                <a:spLocks noChangeAspect="1"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637513" y="3315410"/>
                <a:ext cx="10628" cy="1577"/>
              </a:xfrm>
              <a:custGeom>
                <a:avLst/>
                <a:gdLst>
                  <a:gd name="T0" fmla="*/ 13719615 w 9"/>
                  <a:gd name="T1" fmla="*/ 1260872 h 2"/>
                  <a:gd name="T2" fmla="*/ 13719615 w 9"/>
                  <a:gd name="T3" fmla="*/ 1260872 h 2"/>
                  <a:gd name="T4" fmla="*/ 9146409 w 9"/>
                  <a:gd name="T5" fmla="*/ 1260872 h 2"/>
                  <a:gd name="T6" fmla="*/ 4573205 w 9"/>
                  <a:gd name="T7" fmla="*/ 0 h 2"/>
                  <a:gd name="T8" fmla="*/ 0 w 9"/>
                  <a:gd name="T9" fmla="*/ 0 h 2"/>
                  <a:gd name="T10" fmla="*/ 4573205 w 9"/>
                  <a:gd name="T11" fmla="*/ 1260872 h 2"/>
                  <a:gd name="T12" fmla="*/ 4573205 w 9"/>
                  <a:gd name="T13" fmla="*/ 1260872 h 2"/>
                  <a:gd name="T14" fmla="*/ 9146409 w 9"/>
                  <a:gd name="T15" fmla="*/ 1260872 h 2"/>
                  <a:gd name="T16" fmla="*/ 13719615 w 9"/>
                  <a:gd name="T17" fmla="*/ 1260872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2"/>
                  <a:gd name="T29" fmla="*/ 9 w 9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2">
                    <a:moveTo>
                      <a:pt x="9" y="2"/>
                    </a:moveTo>
                    <a:lnTo>
                      <a:pt x="9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0" name="Freeform 167"/>
              <p:cNvSpPr>
                <a:spLocks noChangeAspect="1"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4637513" y="3315410"/>
                <a:ext cx="10628" cy="1577"/>
              </a:xfrm>
              <a:custGeom>
                <a:avLst/>
                <a:gdLst>
                  <a:gd name="T0" fmla="*/ 13719615 w 9"/>
                  <a:gd name="T1" fmla="*/ 1260872 h 2"/>
                  <a:gd name="T2" fmla="*/ 13719615 w 9"/>
                  <a:gd name="T3" fmla="*/ 1260872 h 2"/>
                  <a:gd name="T4" fmla="*/ 9146409 w 9"/>
                  <a:gd name="T5" fmla="*/ 1260872 h 2"/>
                  <a:gd name="T6" fmla="*/ 4573205 w 9"/>
                  <a:gd name="T7" fmla="*/ 0 h 2"/>
                  <a:gd name="T8" fmla="*/ 0 w 9"/>
                  <a:gd name="T9" fmla="*/ 0 h 2"/>
                  <a:gd name="T10" fmla="*/ 4573205 w 9"/>
                  <a:gd name="T11" fmla="*/ 1260872 h 2"/>
                  <a:gd name="T12" fmla="*/ 4573205 w 9"/>
                  <a:gd name="T13" fmla="*/ 1260872 h 2"/>
                  <a:gd name="T14" fmla="*/ 9146409 w 9"/>
                  <a:gd name="T15" fmla="*/ 1260872 h 2"/>
                  <a:gd name="T16" fmla="*/ 13719615 w 9"/>
                  <a:gd name="T17" fmla="*/ 1260872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2"/>
                  <a:gd name="T29" fmla="*/ 9 w 9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2">
                    <a:moveTo>
                      <a:pt x="9" y="2"/>
                    </a:moveTo>
                    <a:lnTo>
                      <a:pt x="9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9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1" name="Freeform 168"/>
              <p:cNvSpPr>
                <a:spLocks noChangeAspect="1"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4646623" y="3310680"/>
                <a:ext cx="9110" cy="4730"/>
              </a:xfrm>
              <a:custGeom>
                <a:avLst/>
                <a:gdLst>
                  <a:gd name="T0" fmla="*/ 7087790 w 8"/>
                  <a:gd name="T1" fmla="*/ 7558882 h 3"/>
                  <a:gd name="T2" fmla="*/ 11340702 w 8"/>
                  <a:gd name="T3" fmla="*/ 7558882 h 3"/>
                  <a:gd name="T4" fmla="*/ 0 w 8"/>
                  <a:gd name="T5" fmla="*/ 0 h 3"/>
                  <a:gd name="T6" fmla="*/ 0 w 8"/>
                  <a:gd name="T7" fmla="*/ 0 h 3"/>
                  <a:gd name="T8" fmla="*/ 4252912 w 8"/>
                  <a:gd name="T9" fmla="*/ 7558882 h 3"/>
                  <a:gd name="T10" fmla="*/ 7087790 w 8"/>
                  <a:gd name="T11" fmla="*/ 7558882 h 3"/>
                  <a:gd name="T12" fmla="*/ 7087790 w 8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3"/>
                  <a:gd name="T23" fmla="*/ 8 w 8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3">
                    <a:moveTo>
                      <a:pt x="5" y="3"/>
                    </a:moveTo>
                    <a:lnTo>
                      <a:pt x="8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2" name="Freeform 169"/>
              <p:cNvSpPr>
                <a:spLocks noChangeAspect="1"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646623" y="3310680"/>
                <a:ext cx="9110" cy="4730"/>
              </a:xfrm>
              <a:custGeom>
                <a:avLst/>
                <a:gdLst>
                  <a:gd name="T0" fmla="*/ 7087790 w 8"/>
                  <a:gd name="T1" fmla="*/ 7558882 h 3"/>
                  <a:gd name="T2" fmla="*/ 11340702 w 8"/>
                  <a:gd name="T3" fmla="*/ 7558882 h 3"/>
                  <a:gd name="T4" fmla="*/ 0 w 8"/>
                  <a:gd name="T5" fmla="*/ 0 h 3"/>
                  <a:gd name="T6" fmla="*/ 0 w 8"/>
                  <a:gd name="T7" fmla="*/ 0 h 3"/>
                  <a:gd name="T8" fmla="*/ 4252912 w 8"/>
                  <a:gd name="T9" fmla="*/ 7558882 h 3"/>
                  <a:gd name="T10" fmla="*/ 7087790 w 8"/>
                  <a:gd name="T11" fmla="*/ 7558882 h 3"/>
                  <a:gd name="T12" fmla="*/ 7087790 w 8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3"/>
                  <a:gd name="T23" fmla="*/ 8 w 8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3">
                    <a:moveTo>
                      <a:pt x="5" y="3"/>
                    </a:moveTo>
                    <a:lnTo>
                      <a:pt x="8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5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3" name="Freeform 170"/>
              <p:cNvSpPr>
                <a:spLocks noChangeAspect="1"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663326" y="3307529"/>
                <a:ext cx="4557" cy="3154"/>
              </a:xfrm>
              <a:custGeom>
                <a:avLst/>
                <a:gdLst>
                  <a:gd name="T0" fmla="*/ 7562057 w 3"/>
                  <a:gd name="T1" fmla="*/ 0 h 3"/>
                  <a:gd name="T2" fmla="*/ 7562057 w 3"/>
                  <a:gd name="T3" fmla="*/ 0 h 3"/>
                  <a:gd name="T4" fmla="*/ 0 w 3"/>
                  <a:gd name="T5" fmla="*/ 0 h 3"/>
                  <a:gd name="T6" fmla="*/ 0 w 3"/>
                  <a:gd name="T7" fmla="*/ 3360208 h 3"/>
                  <a:gd name="T8" fmla="*/ 0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7562057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4" name="Freeform 171"/>
              <p:cNvSpPr>
                <a:spLocks noChangeAspect="1"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4663326" y="3307529"/>
                <a:ext cx="4557" cy="3154"/>
              </a:xfrm>
              <a:custGeom>
                <a:avLst/>
                <a:gdLst>
                  <a:gd name="T0" fmla="*/ 7562057 w 3"/>
                  <a:gd name="T1" fmla="*/ 0 h 3"/>
                  <a:gd name="T2" fmla="*/ 7562057 w 3"/>
                  <a:gd name="T3" fmla="*/ 0 h 3"/>
                  <a:gd name="T4" fmla="*/ 0 w 3"/>
                  <a:gd name="T5" fmla="*/ 0 h 3"/>
                  <a:gd name="T6" fmla="*/ 0 w 3"/>
                  <a:gd name="T7" fmla="*/ 3360208 h 3"/>
                  <a:gd name="T8" fmla="*/ 0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7562057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5" name="Freeform 172"/>
              <p:cNvSpPr>
                <a:spLocks noChangeAspect="1"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4696732" y="3332755"/>
                <a:ext cx="9110" cy="3154"/>
              </a:xfrm>
              <a:custGeom>
                <a:avLst/>
                <a:gdLst>
                  <a:gd name="T0" fmla="*/ 11340702 w 8"/>
                  <a:gd name="T1" fmla="*/ 0 h 2"/>
                  <a:gd name="T2" fmla="*/ 11340702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7087790 w 8"/>
                  <a:gd name="T9" fmla="*/ 5040312 h 2"/>
                  <a:gd name="T10" fmla="*/ 11340702 w 8"/>
                  <a:gd name="T11" fmla="*/ 5040312 h 2"/>
                  <a:gd name="T12" fmla="*/ 11340702 w 8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2"/>
                  <a:gd name="T23" fmla="*/ 8 w 8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2">
                    <a:moveTo>
                      <a:pt x="8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6" name="Freeform 173"/>
              <p:cNvSpPr>
                <a:spLocks noChangeAspect="1"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4696732" y="3332755"/>
                <a:ext cx="9110" cy="3154"/>
              </a:xfrm>
              <a:custGeom>
                <a:avLst/>
                <a:gdLst>
                  <a:gd name="T0" fmla="*/ 11340702 w 8"/>
                  <a:gd name="T1" fmla="*/ 0 h 2"/>
                  <a:gd name="T2" fmla="*/ 11340702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7087790 w 8"/>
                  <a:gd name="T9" fmla="*/ 5040312 h 2"/>
                  <a:gd name="T10" fmla="*/ 11340702 w 8"/>
                  <a:gd name="T11" fmla="*/ 5040312 h 2"/>
                  <a:gd name="T12" fmla="*/ 11340702 w 8"/>
                  <a:gd name="T13" fmla="*/ 0 h 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2"/>
                  <a:gd name="T23" fmla="*/ 8 w 8"/>
                  <a:gd name="T24" fmla="*/ 2 h 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2">
                    <a:moveTo>
                      <a:pt x="8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7" name="Freeform 174"/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4705843" y="3354829"/>
                <a:ext cx="4557" cy="0"/>
              </a:xfrm>
              <a:custGeom>
                <a:avLst/>
                <a:gdLst>
                  <a:gd name="T0" fmla="*/ 7562057 w 3"/>
                  <a:gd name="T1" fmla="*/ 7562057 w 3"/>
                  <a:gd name="T2" fmla="*/ 7562057 w 3"/>
                  <a:gd name="T3" fmla="*/ 0 w 3"/>
                  <a:gd name="T4" fmla="*/ 7562057 w 3"/>
                  <a:gd name="T5" fmla="*/ 7562057 w 3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3 w 3"/>
                </a:gdLst>
                <a:ahLst/>
                <a:cxnLst>
                  <a:cxn ang="T6">
                    <a:pos x="T0" y="0"/>
                  </a:cxn>
                  <a:cxn ang="T7">
                    <a:pos x="T1" y="0"/>
                  </a:cxn>
                  <a:cxn ang="T8">
                    <a:pos x="T2" y="0"/>
                  </a:cxn>
                  <a:cxn ang="T9">
                    <a:pos x="T3" y="0"/>
                  </a:cxn>
                  <a:cxn ang="T10">
                    <a:pos x="T4" y="0"/>
                  </a:cxn>
                  <a:cxn ang="T11">
                    <a:pos x="T5" y="0"/>
                  </a:cxn>
                </a:cxnLst>
                <a:rect l="T12" t="0" r="T13" b="0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8" name="Freeform 175"/>
              <p:cNvSpPr>
                <a:spLocks noChangeAspect="1"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4705843" y="3354829"/>
                <a:ext cx="4557" cy="0"/>
              </a:xfrm>
              <a:custGeom>
                <a:avLst/>
                <a:gdLst>
                  <a:gd name="T0" fmla="*/ 7562057 w 3"/>
                  <a:gd name="T1" fmla="*/ 7562057 w 3"/>
                  <a:gd name="T2" fmla="*/ 7562057 w 3"/>
                  <a:gd name="T3" fmla="*/ 0 w 3"/>
                  <a:gd name="T4" fmla="*/ 7562057 w 3"/>
                  <a:gd name="T5" fmla="*/ 7562057 w 3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3 w 3"/>
                </a:gdLst>
                <a:ahLst/>
                <a:cxnLst>
                  <a:cxn ang="T6">
                    <a:pos x="T0" y="0"/>
                  </a:cxn>
                  <a:cxn ang="T7">
                    <a:pos x="T1" y="0"/>
                  </a:cxn>
                  <a:cxn ang="T8">
                    <a:pos x="T2" y="0"/>
                  </a:cxn>
                  <a:cxn ang="T9">
                    <a:pos x="T3" y="0"/>
                  </a:cxn>
                  <a:cxn ang="T10">
                    <a:pos x="T4" y="0"/>
                  </a:cxn>
                  <a:cxn ang="T11">
                    <a:pos x="T5" y="0"/>
                  </a:cxn>
                </a:cxnLst>
                <a:rect l="T12" t="0" r="T13" b="0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9" name="Freeform 197"/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3437932" y="3845195"/>
                <a:ext cx="86551" cy="89874"/>
              </a:xfrm>
              <a:custGeom>
                <a:avLst/>
                <a:gdLst>
                  <a:gd name="T0" fmla="*/ 122207407 w 67"/>
                  <a:gd name="T1" fmla="*/ 0 h 69"/>
                  <a:gd name="T2" fmla="*/ 116734972 w 67"/>
                  <a:gd name="T3" fmla="*/ 0 h 69"/>
                  <a:gd name="T4" fmla="*/ 111263887 w 67"/>
                  <a:gd name="T5" fmla="*/ 5159126 h 69"/>
                  <a:gd name="T6" fmla="*/ 105791452 w 67"/>
                  <a:gd name="T7" fmla="*/ 8598982 h 69"/>
                  <a:gd name="T8" fmla="*/ 100319017 w 67"/>
                  <a:gd name="T9" fmla="*/ 8598982 h 69"/>
                  <a:gd name="T10" fmla="*/ 96671177 w 67"/>
                  <a:gd name="T11" fmla="*/ 8598982 h 69"/>
                  <a:gd name="T12" fmla="*/ 91200092 w 67"/>
                  <a:gd name="T13" fmla="*/ 13758109 h 69"/>
                  <a:gd name="T14" fmla="*/ 85727636 w 67"/>
                  <a:gd name="T15" fmla="*/ 8598982 h 69"/>
                  <a:gd name="T16" fmla="*/ 80255201 w 67"/>
                  <a:gd name="T17" fmla="*/ 8598982 h 69"/>
                  <a:gd name="T18" fmla="*/ 80255201 w 67"/>
                  <a:gd name="T19" fmla="*/ 8598982 h 69"/>
                  <a:gd name="T20" fmla="*/ 80255201 w 67"/>
                  <a:gd name="T21" fmla="*/ 8598982 h 69"/>
                  <a:gd name="T22" fmla="*/ 76607361 w 67"/>
                  <a:gd name="T23" fmla="*/ 8598982 h 69"/>
                  <a:gd name="T24" fmla="*/ 76607361 w 67"/>
                  <a:gd name="T25" fmla="*/ 8598982 h 69"/>
                  <a:gd name="T26" fmla="*/ 76607361 w 67"/>
                  <a:gd name="T27" fmla="*/ 8598982 h 69"/>
                  <a:gd name="T28" fmla="*/ 71136276 w 67"/>
                  <a:gd name="T29" fmla="*/ 13758109 h 69"/>
                  <a:gd name="T30" fmla="*/ 71136276 w 67"/>
                  <a:gd name="T31" fmla="*/ 18918546 h 69"/>
                  <a:gd name="T32" fmla="*/ 71136276 w 67"/>
                  <a:gd name="T33" fmla="*/ 24077676 h 69"/>
                  <a:gd name="T34" fmla="*/ 65663841 w 67"/>
                  <a:gd name="T35" fmla="*/ 24077676 h 69"/>
                  <a:gd name="T36" fmla="*/ 60191406 w 67"/>
                  <a:gd name="T37" fmla="*/ 24077676 h 69"/>
                  <a:gd name="T38" fmla="*/ 60191406 w 67"/>
                  <a:gd name="T39" fmla="*/ 29236801 h 69"/>
                  <a:gd name="T40" fmla="*/ 60191406 w 67"/>
                  <a:gd name="T41" fmla="*/ 29236801 h 69"/>
                  <a:gd name="T42" fmla="*/ 54720321 w 67"/>
                  <a:gd name="T43" fmla="*/ 29236801 h 69"/>
                  <a:gd name="T44" fmla="*/ 54720321 w 67"/>
                  <a:gd name="T45" fmla="*/ 29236801 h 69"/>
                  <a:gd name="T46" fmla="*/ 54720321 w 67"/>
                  <a:gd name="T47" fmla="*/ 32676655 h 69"/>
                  <a:gd name="T48" fmla="*/ 51071131 w 67"/>
                  <a:gd name="T49" fmla="*/ 32676655 h 69"/>
                  <a:gd name="T50" fmla="*/ 51071131 w 67"/>
                  <a:gd name="T51" fmla="*/ 32676655 h 69"/>
                  <a:gd name="T52" fmla="*/ 45600046 w 67"/>
                  <a:gd name="T53" fmla="*/ 29236801 h 69"/>
                  <a:gd name="T54" fmla="*/ 40127600 w 67"/>
                  <a:gd name="T55" fmla="*/ 29236801 h 69"/>
                  <a:gd name="T56" fmla="*/ 34655165 w 67"/>
                  <a:gd name="T57" fmla="*/ 37835780 h 69"/>
                  <a:gd name="T58" fmla="*/ 25536241 w 67"/>
                  <a:gd name="T59" fmla="*/ 37835780 h 69"/>
                  <a:gd name="T60" fmla="*/ 25536241 w 67"/>
                  <a:gd name="T61" fmla="*/ 42996227 h 69"/>
                  <a:gd name="T62" fmla="*/ 25536241 w 67"/>
                  <a:gd name="T63" fmla="*/ 48155352 h 69"/>
                  <a:gd name="T64" fmla="*/ 20063800 w 67"/>
                  <a:gd name="T65" fmla="*/ 48155352 h 69"/>
                  <a:gd name="T66" fmla="*/ 20063800 w 67"/>
                  <a:gd name="T67" fmla="*/ 51595206 h 69"/>
                  <a:gd name="T68" fmla="*/ 14591365 w 67"/>
                  <a:gd name="T69" fmla="*/ 51595206 h 69"/>
                  <a:gd name="T70" fmla="*/ 14591365 w 67"/>
                  <a:gd name="T71" fmla="*/ 56754331 h 69"/>
                  <a:gd name="T72" fmla="*/ 0 w 67"/>
                  <a:gd name="T73" fmla="*/ 56754331 h 69"/>
                  <a:gd name="T74" fmla="*/ 0 w 67"/>
                  <a:gd name="T75" fmla="*/ 56754331 h 69"/>
                  <a:gd name="T76" fmla="*/ 51071131 w 67"/>
                  <a:gd name="T77" fmla="*/ 104909684 h 69"/>
                  <a:gd name="T78" fmla="*/ 51071131 w 67"/>
                  <a:gd name="T79" fmla="*/ 110068809 h 69"/>
                  <a:gd name="T80" fmla="*/ 51071131 w 67"/>
                  <a:gd name="T81" fmla="*/ 110068809 h 69"/>
                  <a:gd name="T82" fmla="*/ 51071131 w 67"/>
                  <a:gd name="T83" fmla="*/ 110068809 h 69"/>
                  <a:gd name="T84" fmla="*/ 54720321 w 67"/>
                  <a:gd name="T85" fmla="*/ 104909684 h 69"/>
                  <a:gd name="T86" fmla="*/ 54720321 w 67"/>
                  <a:gd name="T87" fmla="*/ 104909684 h 69"/>
                  <a:gd name="T88" fmla="*/ 76607361 w 67"/>
                  <a:gd name="T89" fmla="*/ 115227934 h 69"/>
                  <a:gd name="T90" fmla="*/ 85727636 w 67"/>
                  <a:gd name="T91" fmla="*/ 110068809 h 69"/>
                  <a:gd name="T92" fmla="*/ 96671177 w 67"/>
                  <a:gd name="T93" fmla="*/ 118667788 h 69"/>
                  <a:gd name="T94" fmla="*/ 111263887 w 67"/>
                  <a:gd name="T95" fmla="*/ 115227934 h 69"/>
                  <a:gd name="T96" fmla="*/ 111263887 w 67"/>
                  <a:gd name="T97" fmla="*/ 110068809 h 69"/>
                  <a:gd name="T98" fmla="*/ 105791452 w 67"/>
                  <a:gd name="T99" fmla="*/ 104909684 h 69"/>
                  <a:gd name="T100" fmla="*/ 105791452 w 67"/>
                  <a:gd name="T101" fmla="*/ 99749247 h 69"/>
                  <a:gd name="T102" fmla="*/ 111263887 w 67"/>
                  <a:gd name="T103" fmla="*/ 94590122 h 69"/>
                  <a:gd name="T104" fmla="*/ 122207407 w 67"/>
                  <a:gd name="T105" fmla="*/ 0 h 6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7"/>
                  <a:gd name="T160" fmla="*/ 0 h 69"/>
                  <a:gd name="T161" fmla="*/ 67 w 67"/>
                  <a:gd name="T162" fmla="*/ 69 h 6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7" h="69">
                    <a:moveTo>
                      <a:pt x="67" y="0"/>
                    </a:moveTo>
                    <a:lnTo>
                      <a:pt x="64" y="0"/>
                    </a:lnTo>
                    <a:lnTo>
                      <a:pt x="61" y="3"/>
                    </a:lnTo>
                    <a:lnTo>
                      <a:pt x="58" y="5"/>
                    </a:lnTo>
                    <a:lnTo>
                      <a:pt x="55" y="5"/>
                    </a:lnTo>
                    <a:lnTo>
                      <a:pt x="53" y="5"/>
                    </a:lnTo>
                    <a:lnTo>
                      <a:pt x="50" y="8"/>
                    </a:lnTo>
                    <a:lnTo>
                      <a:pt x="47" y="5"/>
                    </a:lnTo>
                    <a:lnTo>
                      <a:pt x="44" y="5"/>
                    </a:lnTo>
                    <a:lnTo>
                      <a:pt x="42" y="5"/>
                    </a:lnTo>
                    <a:lnTo>
                      <a:pt x="39" y="8"/>
                    </a:lnTo>
                    <a:lnTo>
                      <a:pt x="39" y="11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3" y="14"/>
                    </a:lnTo>
                    <a:lnTo>
                      <a:pt x="33" y="17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28" y="19"/>
                    </a:lnTo>
                    <a:lnTo>
                      <a:pt x="25" y="17"/>
                    </a:lnTo>
                    <a:lnTo>
                      <a:pt x="22" y="17"/>
                    </a:lnTo>
                    <a:lnTo>
                      <a:pt x="19" y="22"/>
                    </a:lnTo>
                    <a:lnTo>
                      <a:pt x="14" y="22"/>
                    </a:lnTo>
                    <a:lnTo>
                      <a:pt x="14" y="25"/>
                    </a:lnTo>
                    <a:lnTo>
                      <a:pt x="14" y="28"/>
                    </a:lnTo>
                    <a:lnTo>
                      <a:pt x="11" y="28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8" y="33"/>
                    </a:lnTo>
                    <a:lnTo>
                      <a:pt x="0" y="33"/>
                    </a:lnTo>
                    <a:lnTo>
                      <a:pt x="28" y="61"/>
                    </a:lnTo>
                    <a:lnTo>
                      <a:pt x="28" y="64"/>
                    </a:lnTo>
                    <a:lnTo>
                      <a:pt x="30" y="61"/>
                    </a:lnTo>
                    <a:lnTo>
                      <a:pt x="42" y="67"/>
                    </a:lnTo>
                    <a:lnTo>
                      <a:pt x="47" y="64"/>
                    </a:lnTo>
                    <a:lnTo>
                      <a:pt x="53" y="69"/>
                    </a:lnTo>
                    <a:lnTo>
                      <a:pt x="61" y="67"/>
                    </a:lnTo>
                    <a:lnTo>
                      <a:pt x="61" y="64"/>
                    </a:lnTo>
                    <a:lnTo>
                      <a:pt x="58" y="61"/>
                    </a:lnTo>
                    <a:lnTo>
                      <a:pt x="58" y="58"/>
                    </a:lnTo>
                    <a:lnTo>
                      <a:pt x="61" y="55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0" name="Freeform 198"/>
              <p:cNvSpPr>
                <a:spLocks noChangeAspect="1"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3530558" y="3955566"/>
                <a:ext cx="116921" cy="52033"/>
              </a:xfrm>
              <a:custGeom>
                <a:avLst/>
                <a:gdLst>
                  <a:gd name="T0" fmla="*/ 11318691 w 89"/>
                  <a:gd name="T1" fmla="*/ 0 h 39"/>
                  <a:gd name="T2" fmla="*/ 5658659 w 89"/>
                  <a:gd name="T3" fmla="*/ 0 h 39"/>
                  <a:gd name="T4" fmla="*/ 0 w 89"/>
                  <a:gd name="T5" fmla="*/ 5413426 h 39"/>
                  <a:gd name="T6" fmla="*/ 5658659 w 89"/>
                  <a:gd name="T7" fmla="*/ 14434909 h 39"/>
                  <a:gd name="T8" fmla="*/ 5658659 w 89"/>
                  <a:gd name="T9" fmla="*/ 19848333 h 39"/>
                  <a:gd name="T10" fmla="*/ 5658659 w 89"/>
                  <a:gd name="T11" fmla="*/ 25261763 h 39"/>
                  <a:gd name="T12" fmla="*/ 0 w 89"/>
                  <a:gd name="T13" fmla="*/ 36088612 h 39"/>
                  <a:gd name="T14" fmla="*/ 0 w 89"/>
                  <a:gd name="T15" fmla="*/ 45110101 h 39"/>
                  <a:gd name="T16" fmla="*/ 5658659 w 89"/>
                  <a:gd name="T17" fmla="*/ 39696666 h 39"/>
                  <a:gd name="T18" fmla="*/ 20750242 w 89"/>
                  <a:gd name="T19" fmla="*/ 39696666 h 39"/>
                  <a:gd name="T20" fmla="*/ 37727589 w 89"/>
                  <a:gd name="T21" fmla="*/ 39696666 h 39"/>
                  <a:gd name="T22" fmla="*/ 47160524 w 89"/>
                  <a:gd name="T23" fmla="*/ 61350375 h 39"/>
                  <a:gd name="T24" fmla="*/ 52819180 w 89"/>
                  <a:gd name="T25" fmla="*/ 55936950 h 39"/>
                  <a:gd name="T26" fmla="*/ 64137866 w 89"/>
                  <a:gd name="T27" fmla="*/ 70371854 h 39"/>
                  <a:gd name="T28" fmla="*/ 84888103 w 89"/>
                  <a:gd name="T29" fmla="*/ 61350375 h 39"/>
                  <a:gd name="T30" fmla="*/ 73569417 w 89"/>
                  <a:gd name="T31" fmla="*/ 50523526 h 39"/>
                  <a:gd name="T32" fmla="*/ 73569417 w 89"/>
                  <a:gd name="T33" fmla="*/ 45110101 h 39"/>
                  <a:gd name="T34" fmla="*/ 84888103 w 89"/>
                  <a:gd name="T35" fmla="*/ 39696666 h 39"/>
                  <a:gd name="T36" fmla="*/ 94319675 w 89"/>
                  <a:gd name="T37" fmla="*/ 30675187 h 39"/>
                  <a:gd name="T38" fmla="*/ 99978331 w 89"/>
                  <a:gd name="T39" fmla="*/ 19848333 h 39"/>
                  <a:gd name="T40" fmla="*/ 111297017 w 89"/>
                  <a:gd name="T41" fmla="*/ 19848333 h 39"/>
                  <a:gd name="T42" fmla="*/ 132047254 w 89"/>
                  <a:gd name="T43" fmla="*/ 36088612 h 39"/>
                  <a:gd name="T44" fmla="*/ 141480178 w 89"/>
                  <a:gd name="T45" fmla="*/ 36088612 h 39"/>
                  <a:gd name="T46" fmla="*/ 147138834 w 89"/>
                  <a:gd name="T47" fmla="*/ 36088612 h 39"/>
                  <a:gd name="T48" fmla="*/ 137707283 w 89"/>
                  <a:gd name="T49" fmla="*/ 39696666 h 39"/>
                  <a:gd name="T50" fmla="*/ 137707283 w 89"/>
                  <a:gd name="T51" fmla="*/ 55936950 h 39"/>
                  <a:gd name="T52" fmla="*/ 147138834 w 89"/>
                  <a:gd name="T53" fmla="*/ 64958429 h 39"/>
                  <a:gd name="T54" fmla="*/ 147138834 w 89"/>
                  <a:gd name="T55" fmla="*/ 64958429 h 39"/>
                  <a:gd name="T56" fmla="*/ 152797491 w 89"/>
                  <a:gd name="T57" fmla="*/ 55936950 h 39"/>
                  <a:gd name="T58" fmla="*/ 158457520 w 89"/>
                  <a:gd name="T59" fmla="*/ 61350375 h 39"/>
                  <a:gd name="T60" fmla="*/ 167889071 w 89"/>
                  <a:gd name="T61" fmla="*/ 45110101 h 39"/>
                  <a:gd name="T62" fmla="*/ 167889071 w 89"/>
                  <a:gd name="T63" fmla="*/ 45110101 h 39"/>
                  <a:gd name="T64" fmla="*/ 162230415 w 89"/>
                  <a:gd name="T65" fmla="*/ 36088612 h 39"/>
                  <a:gd name="T66" fmla="*/ 162230415 w 89"/>
                  <a:gd name="T67" fmla="*/ 36088612 h 39"/>
                  <a:gd name="T68" fmla="*/ 162230415 w 89"/>
                  <a:gd name="T69" fmla="*/ 30675187 h 39"/>
                  <a:gd name="T70" fmla="*/ 115069912 w 89"/>
                  <a:gd name="T71" fmla="*/ 5413426 h 39"/>
                  <a:gd name="T72" fmla="*/ 94319675 w 89"/>
                  <a:gd name="T73" fmla="*/ 0 h 39"/>
                  <a:gd name="T74" fmla="*/ 88660998 w 89"/>
                  <a:gd name="T75" fmla="*/ 14434909 h 39"/>
                  <a:gd name="T76" fmla="*/ 88660998 w 89"/>
                  <a:gd name="T77" fmla="*/ 14434909 h 39"/>
                  <a:gd name="T78" fmla="*/ 84888103 w 89"/>
                  <a:gd name="T79" fmla="*/ 10826852 h 39"/>
                  <a:gd name="T80" fmla="*/ 73569417 w 89"/>
                  <a:gd name="T81" fmla="*/ 14434909 h 39"/>
                  <a:gd name="T82" fmla="*/ 58477837 w 89"/>
                  <a:gd name="T83" fmla="*/ 25261763 h 39"/>
                  <a:gd name="T84" fmla="*/ 47160524 w 89"/>
                  <a:gd name="T85" fmla="*/ 25261763 h 39"/>
                  <a:gd name="T86" fmla="*/ 26408904 w 89"/>
                  <a:gd name="T87" fmla="*/ 19848333 h 39"/>
                  <a:gd name="T88" fmla="*/ 20750242 w 89"/>
                  <a:gd name="T89" fmla="*/ 10826852 h 39"/>
                  <a:gd name="T90" fmla="*/ 16977347 w 89"/>
                  <a:gd name="T91" fmla="*/ 5413426 h 39"/>
                  <a:gd name="T92" fmla="*/ 11318691 w 89"/>
                  <a:gd name="T93" fmla="*/ 5413426 h 3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89"/>
                  <a:gd name="T142" fmla="*/ 0 h 39"/>
                  <a:gd name="T143" fmla="*/ 89 w 89"/>
                  <a:gd name="T144" fmla="*/ 39 h 3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89" h="39">
                    <a:moveTo>
                      <a:pt x="6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11" y="22"/>
                    </a:lnTo>
                    <a:lnTo>
                      <a:pt x="17" y="22"/>
                    </a:lnTo>
                    <a:lnTo>
                      <a:pt x="20" y="22"/>
                    </a:lnTo>
                    <a:lnTo>
                      <a:pt x="20" y="25"/>
                    </a:lnTo>
                    <a:lnTo>
                      <a:pt x="25" y="34"/>
                    </a:lnTo>
                    <a:lnTo>
                      <a:pt x="28" y="34"/>
                    </a:lnTo>
                    <a:lnTo>
                      <a:pt x="28" y="31"/>
                    </a:lnTo>
                    <a:lnTo>
                      <a:pt x="31" y="31"/>
                    </a:lnTo>
                    <a:lnTo>
                      <a:pt x="34" y="39"/>
                    </a:lnTo>
                    <a:lnTo>
                      <a:pt x="36" y="39"/>
                    </a:lnTo>
                    <a:lnTo>
                      <a:pt x="45" y="34"/>
                    </a:lnTo>
                    <a:lnTo>
                      <a:pt x="45" y="31"/>
                    </a:lnTo>
                    <a:lnTo>
                      <a:pt x="39" y="28"/>
                    </a:lnTo>
                    <a:lnTo>
                      <a:pt x="39" y="25"/>
                    </a:lnTo>
                    <a:lnTo>
                      <a:pt x="39" y="22"/>
                    </a:lnTo>
                    <a:lnTo>
                      <a:pt x="45" y="22"/>
                    </a:lnTo>
                    <a:lnTo>
                      <a:pt x="50" y="17"/>
                    </a:lnTo>
                    <a:lnTo>
                      <a:pt x="53" y="11"/>
                    </a:lnTo>
                    <a:lnTo>
                      <a:pt x="56" y="11"/>
                    </a:lnTo>
                    <a:lnTo>
                      <a:pt x="59" y="11"/>
                    </a:lnTo>
                    <a:lnTo>
                      <a:pt x="67" y="17"/>
                    </a:lnTo>
                    <a:lnTo>
                      <a:pt x="70" y="20"/>
                    </a:lnTo>
                    <a:lnTo>
                      <a:pt x="73" y="20"/>
                    </a:lnTo>
                    <a:lnTo>
                      <a:pt x="75" y="20"/>
                    </a:lnTo>
                    <a:lnTo>
                      <a:pt x="78" y="20"/>
                    </a:lnTo>
                    <a:lnTo>
                      <a:pt x="75" y="20"/>
                    </a:lnTo>
                    <a:lnTo>
                      <a:pt x="73" y="22"/>
                    </a:lnTo>
                    <a:lnTo>
                      <a:pt x="73" y="28"/>
                    </a:lnTo>
                    <a:lnTo>
                      <a:pt x="73" y="31"/>
                    </a:lnTo>
                    <a:lnTo>
                      <a:pt x="75" y="36"/>
                    </a:lnTo>
                    <a:lnTo>
                      <a:pt x="78" y="36"/>
                    </a:lnTo>
                    <a:lnTo>
                      <a:pt x="81" y="34"/>
                    </a:lnTo>
                    <a:lnTo>
                      <a:pt x="81" y="31"/>
                    </a:lnTo>
                    <a:lnTo>
                      <a:pt x="84" y="31"/>
                    </a:lnTo>
                    <a:lnTo>
                      <a:pt x="84" y="34"/>
                    </a:lnTo>
                    <a:lnTo>
                      <a:pt x="89" y="25"/>
                    </a:lnTo>
                    <a:lnTo>
                      <a:pt x="89" y="22"/>
                    </a:lnTo>
                    <a:lnTo>
                      <a:pt x="86" y="20"/>
                    </a:lnTo>
                    <a:lnTo>
                      <a:pt x="86" y="17"/>
                    </a:lnTo>
                    <a:lnTo>
                      <a:pt x="75" y="6"/>
                    </a:lnTo>
                    <a:lnTo>
                      <a:pt x="61" y="3"/>
                    </a:lnTo>
                    <a:lnTo>
                      <a:pt x="59" y="0"/>
                    </a:lnTo>
                    <a:lnTo>
                      <a:pt x="50" y="0"/>
                    </a:lnTo>
                    <a:lnTo>
                      <a:pt x="50" y="3"/>
                    </a:lnTo>
                    <a:lnTo>
                      <a:pt x="47" y="8"/>
                    </a:lnTo>
                    <a:lnTo>
                      <a:pt x="45" y="6"/>
                    </a:lnTo>
                    <a:lnTo>
                      <a:pt x="39" y="8"/>
                    </a:lnTo>
                    <a:lnTo>
                      <a:pt x="34" y="11"/>
                    </a:lnTo>
                    <a:lnTo>
                      <a:pt x="31" y="14"/>
                    </a:lnTo>
                    <a:lnTo>
                      <a:pt x="28" y="14"/>
                    </a:lnTo>
                    <a:lnTo>
                      <a:pt x="25" y="14"/>
                    </a:lnTo>
                    <a:lnTo>
                      <a:pt x="20" y="11"/>
                    </a:lnTo>
                    <a:lnTo>
                      <a:pt x="14" y="11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1" name="Freeform 199"/>
              <p:cNvSpPr>
                <a:spLocks noChangeAspect="1"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3342269" y="3788432"/>
                <a:ext cx="81997" cy="85144"/>
              </a:xfrm>
              <a:custGeom>
                <a:avLst/>
                <a:gdLst>
                  <a:gd name="T0" fmla="*/ 38234734 w 62"/>
                  <a:gd name="T1" fmla="*/ 0 h 67"/>
                  <a:gd name="T2" fmla="*/ 22941121 w 62"/>
                  <a:gd name="T3" fmla="*/ 14733183 h 67"/>
                  <a:gd name="T4" fmla="*/ 43970012 w 62"/>
                  <a:gd name="T5" fmla="*/ 27829915 h 67"/>
                  <a:gd name="T6" fmla="*/ 47794463 w 62"/>
                  <a:gd name="T7" fmla="*/ 37652460 h 67"/>
                  <a:gd name="T8" fmla="*/ 53529740 w 62"/>
                  <a:gd name="T9" fmla="*/ 45837285 h 67"/>
                  <a:gd name="T10" fmla="*/ 47794463 w 62"/>
                  <a:gd name="T11" fmla="*/ 45837285 h 67"/>
                  <a:gd name="T12" fmla="*/ 11470561 w 62"/>
                  <a:gd name="T13" fmla="*/ 63845924 h 67"/>
                  <a:gd name="T14" fmla="*/ 5735280 w 62"/>
                  <a:gd name="T15" fmla="*/ 73667189 h 67"/>
                  <a:gd name="T16" fmla="*/ 5735280 w 62"/>
                  <a:gd name="T17" fmla="*/ 78579102 h 67"/>
                  <a:gd name="T18" fmla="*/ 0 w 62"/>
                  <a:gd name="T19" fmla="*/ 78579102 h 67"/>
                  <a:gd name="T20" fmla="*/ 0 w 62"/>
                  <a:gd name="T21" fmla="*/ 86763936 h 67"/>
                  <a:gd name="T22" fmla="*/ 5735280 w 62"/>
                  <a:gd name="T23" fmla="*/ 91675849 h 67"/>
                  <a:gd name="T24" fmla="*/ 11470561 w 62"/>
                  <a:gd name="T25" fmla="*/ 91675849 h 67"/>
                  <a:gd name="T26" fmla="*/ 26764179 w 62"/>
                  <a:gd name="T27" fmla="*/ 101498394 h 67"/>
                  <a:gd name="T28" fmla="*/ 64998913 w 62"/>
                  <a:gd name="T29" fmla="*/ 109683208 h 67"/>
                  <a:gd name="T30" fmla="*/ 70734190 w 62"/>
                  <a:gd name="T31" fmla="*/ 101498394 h 67"/>
                  <a:gd name="T32" fmla="*/ 74558631 w 62"/>
                  <a:gd name="T33" fmla="*/ 96586481 h 67"/>
                  <a:gd name="T34" fmla="*/ 80293908 w 62"/>
                  <a:gd name="T35" fmla="*/ 96586481 h 67"/>
                  <a:gd name="T36" fmla="*/ 86029186 w 62"/>
                  <a:gd name="T37" fmla="*/ 91675849 h 67"/>
                  <a:gd name="T38" fmla="*/ 86029186 w 62"/>
                  <a:gd name="T39" fmla="*/ 86763936 h 67"/>
                  <a:gd name="T40" fmla="*/ 91764485 w 62"/>
                  <a:gd name="T41" fmla="*/ 81853283 h 67"/>
                  <a:gd name="T42" fmla="*/ 91764485 w 62"/>
                  <a:gd name="T43" fmla="*/ 81853283 h 67"/>
                  <a:gd name="T44" fmla="*/ 91764485 w 62"/>
                  <a:gd name="T45" fmla="*/ 78579102 h 67"/>
                  <a:gd name="T46" fmla="*/ 95587543 w 62"/>
                  <a:gd name="T47" fmla="*/ 73667189 h 67"/>
                  <a:gd name="T48" fmla="*/ 112793376 w 62"/>
                  <a:gd name="T49" fmla="*/ 58934011 h 67"/>
                  <a:gd name="T50" fmla="*/ 118528653 w 62"/>
                  <a:gd name="T51" fmla="*/ 55659830 h 67"/>
                  <a:gd name="T52" fmla="*/ 118528653 w 62"/>
                  <a:gd name="T53" fmla="*/ 55659830 h 67"/>
                  <a:gd name="T54" fmla="*/ 112793376 w 62"/>
                  <a:gd name="T55" fmla="*/ 55659830 h 67"/>
                  <a:gd name="T56" fmla="*/ 107058098 w 62"/>
                  <a:gd name="T57" fmla="*/ 55659830 h 67"/>
                  <a:gd name="T58" fmla="*/ 101322820 w 62"/>
                  <a:gd name="T59" fmla="*/ 50749197 h 67"/>
                  <a:gd name="T60" fmla="*/ 95587543 w 62"/>
                  <a:gd name="T61" fmla="*/ 50749197 h 67"/>
                  <a:gd name="T62" fmla="*/ 91764485 w 62"/>
                  <a:gd name="T63" fmla="*/ 50749197 h 6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2"/>
                  <a:gd name="T97" fmla="*/ 0 h 67"/>
                  <a:gd name="T98" fmla="*/ 62 w 62"/>
                  <a:gd name="T99" fmla="*/ 67 h 6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2" h="67">
                    <a:moveTo>
                      <a:pt x="48" y="0"/>
                    </a:moveTo>
                    <a:lnTo>
                      <a:pt x="20" y="0"/>
                    </a:lnTo>
                    <a:lnTo>
                      <a:pt x="20" y="9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23" y="17"/>
                    </a:lnTo>
                    <a:lnTo>
                      <a:pt x="25" y="20"/>
                    </a:lnTo>
                    <a:lnTo>
                      <a:pt x="25" y="23"/>
                    </a:lnTo>
                    <a:lnTo>
                      <a:pt x="28" y="23"/>
                    </a:lnTo>
                    <a:lnTo>
                      <a:pt x="28" y="28"/>
                    </a:lnTo>
                    <a:lnTo>
                      <a:pt x="25" y="28"/>
                    </a:lnTo>
                    <a:lnTo>
                      <a:pt x="12" y="28"/>
                    </a:lnTo>
                    <a:lnTo>
                      <a:pt x="6" y="39"/>
                    </a:lnTo>
                    <a:lnTo>
                      <a:pt x="3" y="45"/>
                    </a:lnTo>
                    <a:lnTo>
                      <a:pt x="3" y="48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3" y="56"/>
                    </a:lnTo>
                    <a:lnTo>
                      <a:pt x="6" y="56"/>
                    </a:lnTo>
                    <a:lnTo>
                      <a:pt x="6" y="59"/>
                    </a:lnTo>
                    <a:lnTo>
                      <a:pt x="14" y="62"/>
                    </a:lnTo>
                    <a:lnTo>
                      <a:pt x="31" y="64"/>
                    </a:lnTo>
                    <a:lnTo>
                      <a:pt x="34" y="67"/>
                    </a:lnTo>
                    <a:lnTo>
                      <a:pt x="34" y="64"/>
                    </a:lnTo>
                    <a:lnTo>
                      <a:pt x="37" y="62"/>
                    </a:lnTo>
                    <a:lnTo>
                      <a:pt x="39" y="62"/>
                    </a:lnTo>
                    <a:lnTo>
                      <a:pt x="39" y="59"/>
                    </a:lnTo>
                    <a:lnTo>
                      <a:pt x="42" y="59"/>
                    </a:lnTo>
                    <a:lnTo>
                      <a:pt x="42" y="56"/>
                    </a:lnTo>
                    <a:lnTo>
                      <a:pt x="45" y="56"/>
                    </a:lnTo>
                    <a:lnTo>
                      <a:pt x="45" y="53"/>
                    </a:lnTo>
                    <a:lnTo>
                      <a:pt x="48" y="50"/>
                    </a:lnTo>
                    <a:lnTo>
                      <a:pt x="48" y="48"/>
                    </a:lnTo>
                    <a:lnTo>
                      <a:pt x="50" y="45"/>
                    </a:lnTo>
                    <a:lnTo>
                      <a:pt x="59" y="36"/>
                    </a:lnTo>
                    <a:lnTo>
                      <a:pt x="62" y="34"/>
                    </a:lnTo>
                    <a:lnTo>
                      <a:pt x="59" y="34"/>
                    </a:lnTo>
                    <a:lnTo>
                      <a:pt x="56" y="34"/>
                    </a:lnTo>
                    <a:lnTo>
                      <a:pt x="53" y="34"/>
                    </a:lnTo>
                    <a:lnTo>
                      <a:pt x="53" y="31"/>
                    </a:lnTo>
                    <a:lnTo>
                      <a:pt x="50" y="31"/>
                    </a:lnTo>
                    <a:lnTo>
                      <a:pt x="48" y="31"/>
                    </a:lnTo>
                    <a:lnTo>
                      <a:pt x="4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2" name="Freeform 200"/>
              <p:cNvSpPr>
                <a:spLocks noChangeAspect="1"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3756809" y="3745861"/>
                <a:ext cx="69849" cy="45725"/>
              </a:xfrm>
              <a:custGeom>
                <a:avLst/>
                <a:gdLst>
                  <a:gd name="T0" fmla="*/ 5694573 w 53"/>
                  <a:gd name="T1" fmla="*/ 0 h 36"/>
                  <a:gd name="T2" fmla="*/ 5694573 w 53"/>
                  <a:gd name="T3" fmla="*/ 0 h 36"/>
                  <a:gd name="T4" fmla="*/ 5694573 w 53"/>
                  <a:gd name="T5" fmla="*/ 0 h 36"/>
                  <a:gd name="T6" fmla="*/ 30374269 w 53"/>
                  <a:gd name="T7" fmla="*/ 0 h 36"/>
                  <a:gd name="T8" fmla="*/ 47460747 w 53"/>
                  <a:gd name="T9" fmla="*/ 4905497 h 36"/>
                  <a:gd name="T10" fmla="*/ 56952616 w 53"/>
                  <a:gd name="T11" fmla="*/ 4905497 h 36"/>
                  <a:gd name="T12" fmla="*/ 56952616 w 53"/>
                  <a:gd name="T13" fmla="*/ 8176682 h 36"/>
                  <a:gd name="T14" fmla="*/ 56952616 w 53"/>
                  <a:gd name="T15" fmla="*/ 13082180 h 36"/>
                  <a:gd name="T16" fmla="*/ 62647187 w 53"/>
                  <a:gd name="T17" fmla="*/ 13082180 h 36"/>
                  <a:gd name="T18" fmla="*/ 79733654 w 53"/>
                  <a:gd name="T19" fmla="*/ 13082180 h 36"/>
                  <a:gd name="T20" fmla="*/ 79733654 w 53"/>
                  <a:gd name="T21" fmla="*/ 13082180 h 36"/>
                  <a:gd name="T22" fmla="*/ 79733654 w 53"/>
                  <a:gd name="T23" fmla="*/ 17988955 h 36"/>
                  <a:gd name="T24" fmla="*/ 74037705 w 53"/>
                  <a:gd name="T25" fmla="*/ 17988955 h 36"/>
                  <a:gd name="T26" fmla="*/ 68343135 w 53"/>
                  <a:gd name="T27" fmla="*/ 17988955 h 36"/>
                  <a:gd name="T28" fmla="*/ 68343135 w 53"/>
                  <a:gd name="T29" fmla="*/ 22894456 h 36"/>
                  <a:gd name="T30" fmla="*/ 74037705 w 53"/>
                  <a:gd name="T31" fmla="*/ 22894456 h 36"/>
                  <a:gd name="T32" fmla="*/ 89225523 w 53"/>
                  <a:gd name="T33" fmla="*/ 22894456 h 36"/>
                  <a:gd name="T34" fmla="*/ 100616064 w 53"/>
                  <a:gd name="T35" fmla="*/ 31071135 h 36"/>
                  <a:gd name="T36" fmla="*/ 100616064 w 53"/>
                  <a:gd name="T37" fmla="*/ 31071135 h 36"/>
                  <a:gd name="T38" fmla="*/ 100616064 w 53"/>
                  <a:gd name="T39" fmla="*/ 31071135 h 36"/>
                  <a:gd name="T40" fmla="*/ 100616064 w 53"/>
                  <a:gd name="T41" fmla="*/ 35977910 h 36"/>
                  <a:gd name="T42" fmla="*/ 100616064 w 53"/>
                  <a:gd name="T43" fmla="*/ 40883406 h 36"/>
                  <a:gd name="T44" fmla="*/ 94921493 w 53"/>
                  <a:gd name="T45" fmla="*/ 45790191 h 36"/>
                  <a:gd name="T46" fmla="*/ 89225523 w 53"/>
                  <a:gd name="T47" fmla="*/ 45790191 h 36"/>
                  <a:gd name="T48" fmla="*/ 89225523 w 53"/>
                  <a:gd name="T49" fmla="*/ 40883406 h 36"/>
                  <a:gd name="T50" fmla="*/ 83530953 w 53"/>
                  <a:gd name="T51" fmla="*/ 40883406 h 36"/>
                  <a:gd name="T52" fmla="*/ 56952616 w 53"/>
                  <a:gd name="T53" fmla="*/ 40883406 h 36"/>
                  <a:gd name="T54" fmla="*/ 53155317 w 53"/>
                  <a:gd name="T55" fmla="*/ 40883406 h 36"/>
                  <a:gd name="T56" fmla="*/ 53155317 w 53"/>
                  <a:gd name="T57" fmla="*/ 45790191 h 36"/>
                  <a:gd name="T58" fmla="*/ 53155317 w 53"/>
                  <a:gd name="T59" fmla="*/ 45790191 h 36"/>
                  <a:gd name="T60" fmla="*/ 36070217 w 53"/>
                  <a:gd name="T61" fmla="*/ 45790191 h 36"/>
                  <a:gd name="T62" fmla="*/ 36070217 w 53"/>
                  <a:gd name="T63" fmla="*/ 40883406 h 36"/>
                  <a:gd name="T64" fmla="*/ 36070217 w 53"/>
                  <a:gd name="T65" fmla="*/ 40883406 h 36"/>
                  <a:gd name="T66" fmla="*/ 30374269 w 53"/>
                  <a:gd name="T67" fmla="*/ 40883406 h 36"/>
                  <a:gd name="T68" fmla="*/ 26578347 w 53"/>
                  <a:gd name="T69" fmla="*/ 40883406 h 36"/>
                  <a:gd name="T70" fmla="*/ 15187823 w 53"/>
                  <a:gd name="T71" fmla="*/ 53966870 h 36"/>
                  <a:gd name="T72" fmla="*/ 15187823 w 53"/>
                  <a:gd name="T73" fmla="*/ 53966870 h 36"/>
                  <a:gd name="T74" fmla="*/ 9491872 w 53"/>
                  <a:gd name="T75" fmla="*/ 58872366 h 36"/>
                  <a:gd name="T76" fmla="*/ 9491872 w 53"/>
                  <a:gd name="T77" fmla="*/ 58872366 h 36"/>
                  <a:gd name="T78" fmla="*/ 9491872 w 53"/>
                  <a:gd name="T79" fmla="*/ 58872366 h 36"/>
                  <a:gd name="T80" fmla="*/ 5694573 w 53"/>
                  <a:gd name="T81" fmla="*/ 53966870 h 36"/>
                  <a:gd name="T82" fmla="*/ 5694573 w 53"/>
                  <a:gd name="T83" fmla="*/ 53966870 h 36"/>
                  <a:gd name="T84" fmla="*/ 5694573 w 53"/>
                  <a:gd name="T85" fmla="*/ 49060096 h 36"/>
                  <a:gd name="T86" fmla="*/ 5694573 w 53"/>
                  <a:gd name="T87" fmla="*/ 49060096 h 36"/>
                  <a:gd name="T88" fmla="*/ 5694573 w 53"/>
                  <a:gd name="T89" fmla="*/ 49060096 h 36"/>
                  <a:gd name="T90" fmla="*/ 5694573 w 53"/>
                  <a:gd name="T91" fmla="*/ 40883406 h 36"/>
                  <a:gd name="T92" fmla="*/ 5694573 w 53"/>
                  <a:gd name="T93" fmla="*/ 40883406 h 36"/>
                  <a:gd name="T94" fmla="*/ 0 w 53"/>
                  <a:gd name="T95" fmla="*/ 35977910 h 36"/>
                  <a:gd name="T96" fmla="*/ 0 w 53"/>
                  <a:gd name="T97" fmla="*/ 35977910 h 36"/>
                  <a:gd name="T98" fmla="*/ 0 w 53"/>
                  <a:gd name="T99" fmla="*/ 31071135 h 36"/>
                  <a:gd name="T100" fmla="*/ 5694573 w 53"/>
                  <a:gd name="T101" fmla="*/ 31071135 h 36"/>
                  <a:gd name="T102" fmla="*/ 5694573 w 53"/>
                  <a:gd name="T103" fmla="*/ 22894456 h 36"/>
                  <a:gd name="T104" fmla="*/ 5694573 w 53"/>
                  <a:gd name="T105" fmla="*/ 22894456 h 36"/>
                  <a:gd name="T106" fmla="*/ 9491872 w 53"/>
                  <a:gd name="T107" fmla="*/ 17988955 h 36"/>
                  <a:gd name="T108" fmla="*/ 5694573 w 53"/>
                  <a:gd name="T109" fmla="*/ 13082180 h 36"/>
                  <a:gd name="T110" fmla="*/ 5694573 w 53"/>
                  <a:gd name="T111" fmla="*/ 8176682 h 36"/>
                  <a:gd name="T112" fmla="*/ 5694573 w 53"/>
                  <a:gd name="T113" fmla="*/ 4905497 h 36"/>
                  <a:gd name="T114" fmla="*/ 0 w 53"/>
                  <a:gd name="T115" fmla="*/ 0 h 36"/>
                  <a:gd name="T116" fmla="*/ 5694573 w 53"/>
                  <a:gd name="T117" fmla="*/ 0 h 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3"/>
                  <a:gd name="T178" fmla="*/ 0 h 36"/>
                  <a:gd name="T179" fmla="*/ 53 w 53"/>
                  <a:gd name="T180" fmla="*/ 36 h 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3" h="36">
                    <a:moveTo>
                      <a:pt x="3" y="0"/>
                    </a:moveTo>
                    <a:lnTo>
                      <a:pt x="3" y="0"/>
                    </a:lnTo>
                    <a:lnTo>
                      <a:pt x="16" y="0"/>
                    </a:lnTo>
                    <a:lnTo>
                      <a:pt x="25" y="3"/>
                    </a:lnTo>
                    <a:lnTo>
                      <a:pt x="30" y="3"/>
                    </a:lnTo>
                    <a:lnTo>
                      <a:pt x="30" y="5"/>
                    </a:lnTo>
                    <a:lnTo>
                      <a:pt x="30" y="8"/>
                    </a:lnTo>
                    <a:lnTo>
                      <a:pt x="33" y="8"/>
                    </a:lnTo>
                    <a:lnTo>
                      <a:pt x="42" y="8"/>
                    </a:lnTo>
                    <a:lnTo>
                      <a:pt x="42" y="11"/>
                    </a:lnTo>
                    <a:lnTo>
                      <a:pt x="39" y="11"/>
                    </a:lnTo>
                    <a:lnTo>
                      <a:pt x="36" y="11"/>
                    </a:lnTo>
                    <a:lnTo>
                      <a:pt x="36" y="14"/>
                    </a:lnTo>
                    <a:lnTo>
                      <a:pt x="39" y="14"/>
                    </a:lnTo>
                    <a:lnTo>
                      <a:pt x="47" y="14"/>
                    </a:lnTo>
                    <a:lnTo>
                      <a:pt x="53" y="19"/>
                    </a:lnTo>
                    <a:lnTo>
                      <a:pt x="53" y="22"/>
                    </a:lnTo>
                    <a:lnTo>
                      <a:pt x="53" y="25"/>
                    </a:lnTo>
                    <a:lnTo>
                      <a:pt x="50" y="28"/>
                    </a:lnTo>
                    <a:lnTo>
                      <a:pt x="47" y="28"/>
                    </a:lnTo>
                    <a:lnTo>
                      <a:pt x="47" y="25"/>
                    </a:lnTo>
                    <a:lnTo>
                      <a:pt x="44" y="25"/>
                    </a:lnTo>
                    <a:lnTo>
                      <a:pt x="30" y="25"/>
                    </a:lnTo>
                    <a:lnTo>
                      <a:pt x="28" y="25"/>
                    </a:lnTo>
                    <a:lnTo>
                      <a:pt x="28" y="28"/>
                    </a:lnTo>
                    <a:lnTo>
                      <a:pt x="19" y="28"/>
                    </a:lnTo>
                    <a:lnTo>
                      <a:pt x="19" y="25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8" y="33"/>
                    </a:lnTo>
                    <a:lnTo>
                      <a:pt x="5" y="36"/>
                    </a:lnTo>
                    <a:lnTo>
                      <a:pt x="3" y="33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3" y="19"/>
                    </a:lnTo>
                    <a:lnTo>
                      <a:pt x="3" y="14"/>
                    </a:lnTo>
                    <a:lnTo>
                      <a:pt x="5" y="11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3" name="Freeform 201"/>
              <p:cNvSpPr>
                <a:spLocks noChangeAspect="1"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3727957" y="3906688"/>
                <a:ext cx="274842" cy="228626"/>
              </a:xfrm>
              <a:custGeom>
                <a:avLst/>
                <a:gdLst>
                  <a:gd name="T0" fmla="*/ 42250883 w 212"/>
                  <a:gd name="T1" fmla="*/ 13378003 h 178"/>
                  <a:gd name="T2" fmla="*/ 47763173 w 212"/>
                  <a:gd name="T3" fmla="*/ 33446946 h 178"/>
                  <a:gd name="T4" fmla="*/ 42250883 w 212"/>
                  <a:gd name="T5" fmla="*/ 51842512 h 178"/>
                  <a:gd name="T6" fmla="*/ 47763173 w 212"/>
                  <a:gd name="T7" fmla="*/ 70238068 h 178"/>
                  <a:gd name="T8" fmla="*/ 56947143 w 212"/>
                  <a:gd name="T9" fmla="*/ 78599801 h 178"/>
                  <a:gd name="T10" fmla="*/ 51436219 w 212"/>
                  <a:gd name="T11" fmla="*/ 33446946 h 178"/>
                  <a:gd name="T12" fmla="*/ 62459423 w 212"/>
                  <a:gd name="T13" fmla="*/ 28429388 h 178"/>
                  <a:gd name="T14" fmla="*/ 102873794 w 212"/>
                  <a:gd name="T15" fmla="*/ 13378003 h 178"/>
                  <a:gd name="T16" fmla="*/ 88177522 w 212"/>
                  <a:gd name="T17" fmla="*/ 10033825 h 178"/>
                  <a:gd name="T18" fmla="*/ 97362869 w 212"/>
                  <a:gd name="T19" fmla="*/ 0 h 178"/>
                  <a:gd name="T20" fmla="*/ 102873794 w 212"/>
                  <a:gd name="T21" fmla="*/ 13378003 h 178"/>
                  <a:gd name="T22" fmla="*/ 148799067 w 212"/>
                  <a:gd name="T23" fmla="*/ 41808680 h 178"/>
                  <a:gd name="T24" fmla="*/ 211257156 w 212"/>
                  <a:gd name="T25" fmla="*/ 46824954 h 178"/>
                  <a:gd name="T26" fmla="*/ 251671505 w 212"/>
                  <a:gd name="T27" fmla="*/ 51842512 h 178"/>
                  <a:gd name="T28" fmla="*/ 277390960 w 212"/>
                  <a:gd name="T29" fmla="*/ 41808680 h 178"/>
                  <a:gd name="T30" fmla="*/ 266367755 w 212"/>
                  <a:gd name="T31" fmla="*/ 36791122 h 178"/>
                  <a:gd name="T32" fmla="*/ 317805309 w 212"/>
                  <a:gd name="T33" fmla="*/ 41808680 h 178"/>
                  <a:gd name="T34" fmla="*/ 297598134 w 212"/>
                  <a:gd name="T35" fmla="*/ 41808680 h 178"/>
                  <a:gd name="T36" fmla="*/ 308619983 w 212"/>
                  <a:gd name="T37" fmla="*/ 51842512 h 178"/>
                  <a:gd name="T38" fmla="*/ 317805309 w 212"/>
                  <a:gd name="T39" fmla="*/ 60204246 h 178"/>
                  <a:gd name="T40" fmla="*/ 349034332 w 212"/>
                  <a:gd name="T41" fmla="*/ 70238068 h 178"/>
                  <a:gd name="T42" fmla="*/ 358219743 w 212"/>
                  <a:gd name="T43" fmla="*/ 93649908 h 178"/>
                  <a:gd name="T44" fmla="*/ 354545257 w 212"/>
                  <a:gd name="T45" fmla="*/ 98667466 h 178"/>
                  <a:gd name="T46" fmla="*/ 380263440 w 212"/>
                  <a:gd name="T47" fmla="*/ 93649908 h 178"/>
                  <a:gd name="T48" fmla="*/ 389448766 w 212"/>
                  <a:gd name="T49" fmla="*/ 107029200 h 178"/>
                  <a:gd name="T50" fmla="*/ 380263440 w 212"/>
                  <a:gd name="T51" fmla="*/ 107029200 h 178"/>
                  <a:gd name="T52" fmla="*/ 358219743 w 212"/>
                  <a:gd name="T53" fmla="*/ 117063022 h 178"/>
                  <a:gd name="T54" fmla="*/ 363730667 w 212"/>
                  <a:gd name="T55" fmla="*/ 130441020 h 178"/>
                  <a:gd name="T56" fmla="*/ 369241591 w 212"/>
                  <a:gd name="T57" fmla="*/ 135458578 h 178"/>
                  <a:gd name="T58" fmla="*/ 349034332 w 212"/>
                  <a:gd name="T59" fmla="*/ 158871691 h 178"/>
                  <a:gd name="T60" fmla="*/ 363730667 w 212"/>
                  <a:gd name="T61" fmla="*/ 182283552 h 178"/>
                  <a:gd name="T62" fmla="*/ 354545257 w 212"/>
                  <a:gd name="T63" fmla="*/ 200679108 h 178"/>
                  <a:gd name="T64" fmla="*/ 332501559 w 212"/>
                  <a:gd name="T65" fmla="*/ 209040842 h 178"/>
                  <a:gd name="T66" fmla="*/ 282901884 w 212"/>
                  <a:gd name="T67" fmla="*/ 214058399 h 178"/>
                  <a:gd name="T68" fmla="*/ 246160581 w 212"/>
                  <a:gd name="T69" fmla="*/ 209040842 h 178"/>
                  <a:gd name="T70" fmla="*/ 260856831 w 212"/>
                  <a:gd name="T71" fmla="*/ 237470220 h 178"/>
                  <a:gd name="T72" fmla="*/ 286574930 w 212"/>
                  <a:gd name="T73" fmla="*/ 255865775 h 178"/>
                  <a:gd name="T74" fmla="*/ 277390960 w 212"/>
                  <a:gd name="T75" fmla="*/ 265899597 h 178"/>
                  <a:gd name="T76" fmla="*/ 260856831 w 212"/>
                  <a:gd name="T77" fmla="*/ 270917155 h 178"/>
                  <a:gd name="T78" fmla="*/ 257183785 w 212"/>
                  <a:gd name="T79" fmla="*/ 279278889 h 178"/>
                  <a:gd name="T80" fmla="*/ 220442482 w 212"/>
                  <a:gd name="T81" fmla="*/ 294330269 h 178"/>
                  <a:gd name="T82" fmla="*/ 191049982 w 212"/>
                  <a:gd name="T83" fmla="*/ 289312711 h 178"/>
                  <a:gd name="T84" fmla="*/ 169006242 w 212"/>
                  <a:gd name="T85" fmla="*/ 232453955 h 178"/>
                  <a:gd name="T86" fmla="*/ 174517166 w 212"/>
                  <a:gd name="T87" fmla="*/ 229108486 h 178"/>
                  <a:gd name="T88" fmla="*/ 165331840 w 212"/>
                  <a:gd name="T89" fmla="*/ 214058399 h 178"/>
                  <a:gd name="T90" fmla="*/ 154309992 w 212"/>
                  <a:gd name="T91" fmla="*/ 195662843 h 178"/>
                  <a:gd name="T92" fmla="*/ 159820916 w 212"/>
                  <a:gd name="T93" fmla="*/ 177267287 h 178"/>
                  <a:gd name="T94" fmla="*/ 169006242 w 212"/>
                  <a:gd name="T95" fmla="*/ 163887955 h 178"/>
                  <a:gd name="T96" fmla="*/ 165331840 w 212"/>
                  <a:gd name="T97" fmla="*/ 153854133 h 178"/>
                  <a:gd name="T98" fmla="*/ 123080968 w 212"/>
                  <a:gd name="T99" fmla="*/ 158871691 h 178"/>
                  <a:gd name="T100" fmla="*/ 113895642 w 212"/>
                  <a:gd name="T101" fmla="*/ 158871691 h 178"/>
                  <a:gd name="T102" fmla="*/ 56947143 w 212"/>
                  <a:gd name="T103" fmla="*/ 135458578 h 178"/>
                  <a:gd name="T104" fmla="*/ 25718110 w 212"/>
                  <a:gd name="T105" fmla="*/ 125424756 h 178"/>
                  <a:gd name="T106" fmla="*/ 22043703 w 212"/>
                  <a:gd name="T107" fmla="*/ 98667466 h 178"/>
                  <a:gd name="T108" fmla="*/ 11021851 w 212"/>
                  <a:gd name="T109" fmla="*/ 78599801 h 178"/>
                  <a:gd name="T110" fmla="*/ 47763173 w 212"/>
                  <a:gd name="T111" fmla="*/ 10033825 h 17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12"/>
                  <a:gd name="T169" fmla="*/ 0 h 178"/>
                  <a:gd name="T170" fmla="*/ 212 w 212"/>
                  <a:gd name="T171" fmla="*/ 178 h 17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12" h="178">
                    <a:moveTo>
                      <a:pt x="31" y="6"/>
                    </a:moveTo>
                    <a:lnTo>
                      <a:pt x="28" y="8"/>
                    </a:lnTo>
                    <a:lnTo>
                      <a:pt x="23" y="8"/>
                    </a:lnTo>
                    <a:lnTo>
                      <a:pt x="26" y="14"/>
                    </a:lnTo>
                    <a:lnTo>
                      <a:pt x="28" y="17"/>
                    </a:lnTo>
                    <a:lnTo>
                      <a:pt x="28" y="20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26" y="25"/>
                    </a:lnTo>
                    <a:lnTo>
                      <a:pt x="23" y="31"/>
                    </a:lnTo>
                    <a:lnTo>
                      <a:pt x="20" y="34"/>
                    </a:lnTo>
                    <a:lnTo>
                      <a:pt x="23" y="39"/>
                    </a:lnTo>
                    <a:lnTo>
                      <a:pt x="26" y="42"/>
                    </a:lnTo>
                    <a:lnTo>
                      <a:pt x="28" y="47"/>
                    </a:lnTo>
                    <a:lnTo>
                      <a:pt x="28" y="50"/>
                    </a:lnTo>
                    <a:lnTo>
                      <a:pt x="31" y="50"/>
                    </a:lnTo>
                    <a:lnTo>
                      <a:pt x="31" y="47"/>
                    </a:lnTo>
                    <a:lnTo>
                      <a:pt x="37" y="45"/>
                    </a:lnTo>
                    <a:lnTo>
                      <a:pt x="37" y="36"/>
                    </a:lnTo>
                    <a:lnTo>
                      <a:pt x="28" y="28"/>
                    </a:lnTo>
                    <a:lnTo>
                      <a:pt x="28" y="20"/>
                    </a:lnTo>
                    <a:lnTo>
                      <a:pt x="31" y="20"/>
                    </a:lnTo>
                    <a:lnTo>
                      <a:pt x="34" y="17"/>
                    </a:lnTo>
                    <a:lnTo>
                      <a:pt x="39" y="14"/>
                    </a:lnTo>
                    <a:lnTo>
                      <a:pt x="56" y="11"/>
                    </a:lnTo>
                    <a:lnTo>
                      <a:pt x="56" y="8"/>
                    </a:lnTo>
                    <a:lnTo>
                      <a:pt x="53" y="8"/>
                    </a:lnTo>
                    <a:lnTo>
                      <a:pt x="51" y="6"/>
                    </a:lnTo>
                    <a:lnTo>
                      <a:pt x="48" y="6"/>
                    </a:lnTo>
                    <a:lnTo>
                      <a:pt x="51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6" y="8"/>
                    </a:lnTo>
                    <a:lnTo>
                      <a:pt x="59" y="11"/>
                    </a:lnTo>
                    <a:lnTo>
                      <a:pt x="78" y="14"/>
                    </a:lnTo>
                    <a:lnTo>
                      <a:pt x="78" y="17"/>
                    </a:lnTo>
                    <a:lnTo>
                      <a:pt x="81" y="25"/>
                    </a:lnTo>
                    <a:lnTo>
                      <a:pt x="84" y="25"/>
                    </a:lnTo>
                    <a:lnTo>
                      <a:pt x="115" y="25"/>
                    </a:lnTo>
                    <a:lnTo>
                      <a:pt x="115" y="28"/>
                    </a:lnTo>
                    <a:lnTo>
                      <a:pt x="117" y="28"/>
                    </a:lnTo>
                    <a:lnTo>
                      <a:pt x="123" y="31"/>
                    </a:lnTo>
                    <a:lnTo>
                      <a:pt x="137" y="31"/>
                    </a:lnTo>
                    <a:lnTo>
                      <a:pt x="140" y="28"/>
                    </a:lnTo>
                    <a:lnTo>
                      <a:pt x="148" y="25"/>
                    </a:lnTo>
                    <a:lnTo>
                      <a:pt x="151" y="25"/>
                    </a:lnTo>
                    <a:lnTo>
                      <a:pt x="142" y="25"/>
                    </a:lnTo>
                    <a:lnTo>
                      <a:pt x="142" y="22"/>
                    </a:lnTo>
                    <a:lnTo>
                      <a:pt x="145" y="22"/>
                    </a:lnTo>
                    <a:lnTo>
                      <a:pt x="176" y="22"/>
                    </a:lnTo>
                    <a:lnTo>
                      <a:pt x="176" y="25"/>
                    </a:lnTo>
                    <a:lnTo>
                      <a:pt x="173" y="25"/>
                    </a:lnTo>
                    <a:lnTo>
                      <a:pt x="170" y="25"/>
                    </a:lnTo>
                    <a:lnTo>
                      <a:pt x="168" y="25"/>
                    </a:lnTo>
                    <a:lnTo>
                      <a:pt x="162" y="25"/>
                    </a:lnTo>
                    <a:lnTo>
                      <a:pt x="162" y="28"/>
                    </a:lnTo>
                    <a:lnTo>
                      <a:pt x="168" y="28"/>
                    </a:lnTo>
                    <a:lnTo>
                      <a:pt x="168" y="31"/>
                    </a:lnTo>
                    <a:lnTo>
                      <a:pt x="168" y="34"/>
                    </a:lnTo>
                    <a:lnTo>
                      <a:pt x="170" y="34"/>
                    </a:lnTo>
                    <a:lnTo>
                      <a:pt x="170" y="36"/>
                    </a:lnTo>
                    <a:lnTo>
                      <a:pt x="173" y="36"/>
                    </a:lnTo>
                    <a:lnTo>
                      <a:pt x="176" y="36"/>
                    </a:lnTo>
                    <a:lnTo>
                      <a:pt x="181" y="36"/>
                    </a:lnTo>
                    <a:lnTo>
                      <a:pt x="190" y="42"/>
                    </a:lnTo>
                    <a:lnTo>
                      <a:pt x="193" y="45"/>
                    </a:lnTo>
                    <a:lnTo>
                      <a:pt x="195" y="50"/>
                    </a:lnTo>
                    <a:lnTo>
                      <a:pt x="195" y="53"/>
                    </a:lnTo>
                    <a:lnTo>
                      <a:pt x="195" y="56"/>
                    </a:lnTo>
                    <a:lnTo>
                      <a:pt x="193" y="56"/>
                    </a:lnTo>
                    <a:lnTo>
                      <a:pt x="193" y="59"/>
                    </a:lnTo>
                    <a:lnTo>
                      <a:pt x="198" y="59"/>
                    </a:lnTo>
                    <a:lnTo>
                      <a:pt x="201" y="59"/>
                    </a:lnTo>
                    <a:lnTo>
                      <a:pt x="204" y="56"/>
                    </a:lnTo>
                    <a:lnTo>
                      <a:pt x="207" y="56"/>
                    </a:lnTo>
                    <a:lnTo>
                      <a:pt x="209" y="59"/>
                    </a:lnTo>
                    <a:lnTo>
                      <a:pt x="212" y="59"/>
                    </a:lnTo>
                    <a:lnTo>
                      <a:pt x="212" y="61"/>
                    </a:lnTo>
                    <a:lnTo>
                      <a:pt x="212" y="64"/>
                    </a:lnTo>
                    <a:lnTo>
                      <a:pt x="209" y="64"/>
                    </a:lnTo>
                    <a:lnTo>
                      <a:pt x="207" y="64"/>
                    </a:lnTo>
                    <a:lnTo>
                      <a:pt x="201" y="67"/>
                    </a:lnTo>
                    <a:lnTo>
                      <a:pt x="201" y="70"/>
                    </a:lnTo>
                    <a:lnTo>
                      <a:pt x="195" y="70"/>
                    </a:lnTo>
                    <a:lnTo>
                      <a:pt x="195" y="73"/>
                    </a:lnTo>
                    <a:lnTo>
                      <a:pt x="195" y="78"/>
                    </a:lnTo>
                    <a:lnTo>
                      <a:pt x="198" y="78"/>
                    </a:lnTo>
                    <a:lnTo>
                      <a:pt x="201" y="78"/>
                    </a:lnTo>
                    <a:lnTo>
                      <a:pt x="201" y="81"/>
                    </a:lnTo>
                    <a:lnTo>
                      <a:pt x="193" y="86"/>
                    </a:lnTo>
                    <a:lnTo>
                      <a:pt x="193" y="89"/>
                    </a:lnTo>
                    <a:lnTo>
                      <a:pt x="190" y="95"/>
                    </a:lnTo>
                    <a:lnTo>
                      <a:pt x="187" y="95"/>
                    </a:lnTo>
                    <a:lnTo>
                      <a:pt x="187" y="98"/>
                    </a:lnTo>
                    <a:lnTo>
                      <a:pt x="198" y="109"/>
                    </a:lnTo>
                    <a:lnTo>
                      <a:pt x="198" y="114"/>
                    </a:lnTo>
                    <a:lnTo>
                      <a:pt x="193" y="120"/>
                    </a:lnTo>
                    <a:lnTo>
                      <a:pt x="187" y="120"/>
                    </a:lnTo>
                    <a:lnTo>
                      <a:pt x="184" y="123"/>
                    </a:lnTo>
                    <a:lnTo>
                      <a:pt x="181" y="123"/>
                    </a:lnTo>
                    <a:lnTo>
                      <a:pt x="181" y="125"/>
                    </a:lnTo>
                    <a:lnTo>
                      <a:pt x="162" y="128"/>
                    </a:lnTo>
                    <a:lnTo>
                      <a:pt x="154" y="128"/>
                    </a:lnTo>
                    <a:lnTo>
                      <a:pt x="134" y="123"/>
                    </a:lnTo>
                    <a:lnTo>
                      <a:pt x="134" y="125"/>
                    </a:lnTo>
                    <a:lnTo>
                      <a:pt x="134" y="128"/>
                    </a:lnTo>
                    <a:lnTo>
                      <a:pt x="142" y="131"/>
                    </a:lnTo>
                    <a:lnTo>
                      <a:pt x="142" y="134"/>
                    </a:lnTo>
                    <a:lnTo>
                      <a:pt x="142" y="142"/>
                    </a:lnTo>
                    <a:lnTo>
                      <a:pt x="142" y="153"/>
                    </a:lnTo>
                    <a:lnTo>
                      <a:pt x="148" y="153"/>
                    </a:lnTo>
                    <a:lnTo>
                      <a:pt x="156" y="153"/>
                    </a:lnTo>
                    <a:lnTo>
                      <a:pt x="156" y="156"/>
                    </a:lnTo>
                    <a:lnTo>
                      <a:pt x="154" y="156"/>
                    </a:lnTo>
                    <a:lnTo>
                      <a:pt x="151" y="156"/>
                    </a:lnTo>
                    <a:lnTo>
                      <a:pt x="151" y="159"/>
                    </a:lnTo>
                    <a:lnTo>
                      <a:pt x="148" y="159"/>
                    </a:lnTo>
                    <a:lnTo>
                      <a:pt x="145" y="159"/>
                    </a:lnTo>
                    <a:lnTo>
                      <a:pt x="142" y="162"/>
                    </a:lnTo>
                    <a:lnTo>
                      <a:pt x="142" y="164"/>
                    </a:lnTo>
                    <a:lnTo>
                      <a:pt x="142" y="167"/>
                    </a:lnTo>
                    <a:lnTo>
                      <a:pt x="140" y="167"/>
                    </a:lnTo>
                    <a:lnTo>
                      <a:pt x="137" y="170"/>
                    </a:lnTo>
                    <a:lnTo>
                      <a:pt x="134" y="170"/>
                    </a:lnTo>
                    <a:lnTo>
                      <a:pt x="123" y="173"/>
                    </a:lnTo>
                    <a:lnTo>
                      <a:pt x="120" y="176"/>
                    </a:lnTo>
                    <a:lnTo>
                      <a:pt x="109" y="178"/>
                    </a:lnTo>
                    <a:lnTo>
                      <a:pt x="104" y="173"/>
                    </a:lnTo>
                    <a:lnTo>
                      <a:pt x="92" y="151"/>
                    </a:lnTo>
                    <a:lnTo>
                      <a:pt x="87" y="148"/>
                    </a:lnTo>
                    <a:lnTo>
                      <a:pt x="87" y="145"/>
                    </a:lnTo>
                    <a:lnTo>
                      <a:pt x="92" y="139"/>
                    </a:lnTo>
                    <a:lnTo>
                      <a:pt x="95" y="139"/>
                    </a:lnTo>
                    <a:lnTo>
                      <a:pt x="95" y="137"/>
                    </a:lnTo>
                    <a:lnTo>
                      <a:pt x="92" y="134"/>
                    </a:lnTo>
                    <a:lnTo>
                      <a:pt x="92" y="131"/>
                    </a:lnTo>
                    <a:lnTo>
                      <a:pt x="90" y="128"/>
                    </a:lnTo>
                    <a:lnTo>
                      <a:pt x="87" y="128"/>
                    </a:lnTo>
                    <a:lnTo>
                      <a:pt x="87" y="120"/>
                    </a:lnTo>
                    <a:lnTo>
                      <a:pt x="84" y="117"/>
                    </a:lnTo>
                    <a:lnTo>
                      <a:pt x="84" y="114"/>
                    </a:lnTo>
                    <a:lnTo>
                      <a:pt x="87" y="114"/>
                    </a:lnTo>
                    <a:lnTo>
                      <a:pt x="87" y="109"/>
                    </a:lnTo>
                    <a:lnTo>
                      <a:pt x="87" y="106"/>
                    </a:lnTo>
                    <a:lnTo>
                      <a:pt x="90" y="103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2" y="98"/>
                    </a:lnTo>
                    <a:lnTo>
                      <a:pt x="92" y="95"/>
                    </a:lnTo>
                    <a:lnTo>
                      <a:pt x="92" y="92"/>
                    </a:lnTo>
                    <a:lnTo>
                      <a:pt x="90" y="92"/>
                    </a:lnTo>
                    <a:lnTo>
                      <a:pt x="78" y="95"/>
                    </a:lnTo>
                    <a:lnTo>
                      <a:pt x="73" y="95"/>
                    </a:lnTo>
                    <a:lnTo>
                      <a:pt x="70" y="95"/>
                    </a:lnTo>
                    <a:lnTo>
                      <a:pt x="67" y="95"/>
                    </a:lnTo>
                    <a:lnTo>
                      <a:pt x="62" y="95"/>
                    </a:lnTo>
                    <a:lnTo>
                      <a:pt x="53" y="84"/>
                    </a:lnTo>
                    <a:lnTo>
                      <a:pt x="53" y="81"/>
                    </a:lnTo>
                    <a:lnTo>
                      <a:pt x="42" y="78"/>
                    </a:lnTo>
                    <a:lnTo>
                      <a:pt x="31" y="81"/>
                    </a:lnTo>
                    <a:lnTo>
                      <a:pt x="20" y="78"/>
                    </a:lnTo>
                    <a:lnTo>
                      <a:pt x="20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61"/>
                    </a:lnTo>
                    <a:lnTo>
                      <a:pt x="14" y="59"/>
                    </a:lnTo>
                    <a:lnTo>
                      <a:pt x="12" y="59"/>
                    </a:lnTo>
                    <a:lnTo>
                      <a:pt x="9" y="56"/>
                    </a:lnTo>
                    <a:lnTo>
                      <a:pt x="6" y="47"/>
                    </a:lnTo>
                    <a:lnTo>
                      <a:pt x="0" y="47"/>
                    </a:lnTo>
                    <a:lnTo>
                      <a:pt x="9" y="25"/>
                    </a:lnTo>
                    <a:lnTo>
                      <a:pt x="23" y="8"/>
                    </a:lnTo>
                    <a:lnTo>
                      <a:pt x="26" y="6"/>
                    </a:lnTo>
                    <a:lnTo>
                      <a:pt x="3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4" name="Freeform 202"/>
              <p:cNvSpPr>
                <a:spLocks noChangeAspect="1"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3576112" y="4125853"/>
                <a:ext cx="112366" cy="124563"/>
              </a:xfrm>
              <a:custGeom>
                <a:avLst/>
                <a:gdLst>
                  <a:gd name="T0" fmla="*/ 55978205 w 86"/>
                  <a:gd name="T1" fmla="*/ 0 h 97"/>
                  <a:gd name="T2" fmla="*/ 102625347 w 86"/>
                  <a:gd name="T3" fmla="*/ 28418328 h 97"/>
                  <a:gd name="T4" fmla="*/ 134346317 w 86"/>
                  <a:gd name="T5" fmla="*/ 28418328 h 97"/>
                  <a:gd name="T6" fmla="*/ 139944136 w 86"/>
                  <a:gd name="T7" fmla="*/ 23403103 h 97"/>
                  <a:gd name="T8" fmla="*/ 160469470 w 86"/>
                  <a:gd name="T9" fmla="*/ 31760519 h 97"/>
                  <a:gd name="T10" fmla="*/ 149273833 w 86"/>
                  <a:gd name="T11" fmla="*/ 36775745 h 97"/>
                  <a:gd name="T12" fmla="*/ 154871651 w 86"/>
                  <a:gd name="T13" fmla="*/ 41790970 h 97"/>
                  <a:gd name="T14" fmla="*/ 160469470 w 86"/>
                  <a:gd name="T15" fmla="*/ 51820138 h 97"/>
                  <a:gd name="T16" fmla="*/ 160469470 w 86"/>
                  <a:gd name="T17" fmla="*/ 60178848 h 97"/>
                  <a:gd name="T18" fmla="*/ 145541954 w 86"/>
                  <a:gd name="T19" fmla="*/ 78566715 h 97"/>
                  <a:gd name="T20" fmla="*/ 82099991 w 86"/>
                  <a:gd name="T21" fmla="*/ 117014211 h 97"/>
                  <a:gd name="T22" fmla="*/ 76503539 w 86"/>
                  <a:gd name="T23" fmla="*/ 120357695 h 97"/>
                  <a:gd name="T24" fmla="*/ 72771660 w 86"/>
                  <a:gd name="T25" fmla="*/ 125372921 h 97"/>
                  <a:gd name="T26" fmla="*/ 72771660 w 86"/>
                  <a:gd name="T27" fmla="*/ 125372921 h 97"/>
                  <a:gd name="T28" fmla="*/ 67173842 w 86"/>
                  <a:gd name="T29" fmla="*/ 125372921 h 97"/>
                  <a:gd name="T30" fmla="*/ 55978205 w 86"/>
                  <a:gd name="T31" fmla="*/ 153789946 h 97"/>
                  <a:gd name="T32" fmla="*/ 50380387 w 86"/>
                  <a:gd name="T33" fmla="*/ 158805171 h 97"/>
                  <a:gd name="T34" fmla="*/ 46648508 w 86"/>
                  <a:gd name="T35" fmla="*/ 162148655 h 97"/>
                  <a:gd name="T36" fmla="*/ 29855042 w 86"/>
                  <a:gd name="T37" fmla="*/ 153789946 h 97"/>
                  <a:gd name="T38" fmla="*/ 24257224 w 86"/>
                  <a:gd name="T39" fmla="*/ 148776013 h 97"/>
                  <a:gd name="T40" fmla="*/ 14927521 w 86"/>
                  <a:gd name="T41" fmla="*/ 148776013 h 97"/>
                  <a:gd name="T42" fmla="*/ 9329700 w 86"/>
                  <a:gd name="T43" fmla="*/ 148776013 h 97"/>
                  <a:gd name="T44" fmla="*/ 3731880 w 86"/>
                  <a:gd name="T45" fmla="*/ 143760788 h 97"/>
                  <a:gd name="T46" fmla="*/ 3731880 w 86"/>
                  <a:gd name="T47" fmla="*/ 140417304 h 97"/>
                  <a:gd name="T48" fmla="*/ 14927521 w 86"/>
                  <a:gd name="T49" fmla="*/ 135402079 h 97"/>
                  <a:gd name="T50" fmla="*/ 14927521 w 86"/>
                  <a:gd name="T51" fmla="*/ 130388146 h 97"/>
                  <a:gd name="T52" fmla="*/ 14927521 w 86"/>
                  <a:gd name="T53" fmla="*/ 125372921 h 97"/>
                  <a:gd name="T54" fmla="*/ 9329700 w 86"/>
                  <a:gd name="T55" fmla="*/ 120357695 h 97"/>
                  <a:gd name="T56" fmla="*/ 20525339 w 86"/>
                  <a:gd name="T57" fmla="*/ 117014211 h 97"/>
                  <a:gd name="T58" fmla="*/ 29855042 w 86"/>
                  <a:gd name="T59" fmla="*/ 101969828 h 97"/>
                  <a:gd name="T60" fmla="*/ 24257224 w 86"/>
                  <a:gd name="T61" fmla="*/ 96954602 h 97"/>
                  <a:gd name="T62" fmla="*/ 14927521 w 86"/>
                  <a:gd name="T63" fmla="*/ 101969828 h 97"/>
                  <a:gd name="T64" fmla="*/ 9329700 w 86"/>
                  <a:gd name="T65" fmla="*/ 96954602 h 97"/>
                  <a:gd name="T66" fmla="*/ 0 w 86"/>
                  <a:gd name="T67" fmla="*/ 93611119 h 97"/>
                  <a:gd name="T68" fmla="*/ 0 w 86"/>
                  <a:gd name="T69" fmla="*/ 60178848 h 97"/>
                  <a:gd name="T70" fmla="*/ 9329700 w 86"/>
                  <a:gd name="T71" fmla="*/ 51820138 h 97"/>
                  <a:gd name="T72" fmla="*/ 20525339 w 86"/>
                  <a:gd name="T73" fmla="*/ 28418328 h 97"/>
                  <a:gd name="T74" fmla="*/ 24257224 w 86"/>
                  <a:gd name="T75" fmla="*/ 10030454 h 97"/>
                  <a:gd name="T76" fmla="*/ 46648508 w 86"/>
                  <a:gd name="T77" fmla="*/ 5015227 h 97"/>
                  <a:gd name="T78" fmla="*/ 55978205 w 86"/>
                  <a:gd name="T79" fmla="*/ 0 h 9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86"/>
                  <a:gd name="T121" fmla="*/ 0 h 97"/>
                  <a:gd name="T122" fmla="*/ 86 w 86"/>
                  <a:gd name="T123" fmla="*/ 97 h 97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86" h="97">
                    <a:moveTo>
                      <a:pt x="30" y="0"/>
                    </a:moveTo>
                    <a:lnTo>
                      <a:pt x="30" y="0"/>
                    </a:lnTo>
                    <a:lnTo>
                      <a:pt x="52" y="11"/>
                    </a:lnTo>
                    <a:lnTo>
                      <a:pt x="55" y="17"/>
                    </a:lnTo>
                    <a:lnTo>
                      <a:pt x="72" y="17"/>
                    </a:lnTo>
                    <a:lnTo>
                      <a:pt x="72" y="14"/>
                    </a:lnTo>
                    <a:lnTo>
                      <a:pt x="75" y="14"/>
                    </a:lnTo>
                    <a:lnTo>
                      <a:pt x="83" y="19"/>
                    </a:lnTo>
                    <a:lnTo>
                      <a:pt x="86" y="19"/>
                    </a:lnTo>
                    <a:lnTo>
                      <a:pt x="86" y="22"/>
                    </a:lnTo>
                    <a:lnTo>
                      <a:pt x="80" y="22"/>
                    </a:lnTo>
                    <a:lnTo>
                      <a:pt x="80" y="25"/>
                    </a:lnTo>
                    <a:lnTo>
                      <a:pt x="83" y="25"/>
                    </a:lnTo>
                    <a:lnTo>
                      <a:pt x="86" y="28"/>
                    </a:lnTo>
                    <a:lnTo>
                      <a:pt x="86" y="31"/>
                    </a:lnTo>
                    <a:lnTo>
                      <a:pt x="86" y="33"/>
                    </a:lnTo>
                    <a:lnTo>
                      <a:pt x="86" y="36"/>
                    </a:lnTo>
                    <a:lnTo>
                      <a:pt x="78" y="47"/>
                    </a:lnTo>
                    <a:lnTo>
                      <a:pt x="64" y="61"/>
                    </a:lnTo>
                    <a:lnTo>
                      <a:pt x="44" y="70"/>
                    </a:lnTo>
                    <a:lnTo>
                      <a:pt x="41" y="70"/>
                    </a:lnTo>
                    <a:lnTo>
                      <a:pt x="41" y="72"/>
                    </a:lnTo>
                    <a:lnTo>
                      <a:pt x="41" y="75"/>
                    </a:lnTo>
                    <a:lnTo>
                      <a:pt x="39" y="75"/>
                    </a:lnTo>
                    <a:lnTo>
                      <a:pt x="36" y="75"/>
                    </a:lnTo>
                    <a:lnTo>
                      <a:pt x="33" y="81"/>
                    </a:lnTo>
                    <a:lnTo>
                      <a:pt x="30" y="92"/>
                    </a:lnTo>
                    <a:lnTo>
                      <a:pt x="27" y="95"/>
                    </a:lnTo>
                    <a:lnTo>
                      <a:pt x="25" y="97"/>
                    </a:lnTo>
                    <a:lnTo>
                      <a:pt x="22" y="97"/>
                    </a:lnTo>
                    <a:lnTo>
                      <a:pt x="16" y="92"/>
                    </a:lnTo>
                    <a:lnTo>
                      <a:pt x="13" y="92"/>
                    </a:lnTo>
                    <a:lnTo>
                      <a:pt x="13" y="89"/>
                    </a:lnTo>
                    <a:lnTo>
                      <a:pt x="11" y="89"/>
                    </a:lnTo>
                    <a:lnTo>
                      <a:pt x="8" y="89"/>
                    </a:lnTo>
                    <a:lnTo>
                      <a:pt x="5" y="89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5" y="84"/>
                    </a:lnTo>
                    <a:lnTo>
                      <a:pt x="8" y="81"/>
                    </a:lnTo>
                    <a:lnTo>
                      <a:pt x="8" y="78"/>
                    </a:lnTo>
                    <a:lnTo>
                      <a:pt x="8" y="75"/>
                    </a:lnTo>
                    <a:lnTo>
                      <a:pt x="5" y="75"/>
                    </a:lnTo>
                    <a:lnTo>
                      <a:pt x="5" y="72"/>
                    </a:lnTo>
                    <a:lnTo>
                      <a:pt x="8" y="72"/>
                    </a:lnTo>
                    <a:lnTo>
                      <a:pt x="11" y="70"/>
                    </a:lnTo>
                    <a:lnTo>
                      <a:pt x="13" y="67"/>
                    </a:lnTo>
                    <a:lnTo>
                      <a:pt x="16" y="61"/>
                    </a:lnTo>
                    <a:lnTo>
                      <a:pt x="16" y="58"/>
                    </a:lnTo>
                    <a:lnTo>
                      <a:pt x="13" y="58"/>
                    </a:lnTo>
                    <a:lnTo>
                      <a:pt x="13" y="53"/>
                    </a:lnTo>
                    <a:lnTo>
                      <a:pt x="8" y="61"/>
                    </a:lnTo>
                    <a:lnTo>
                      <a:pt x="5" y="61"/>
                    </a:lnTo>
                    <a:lnTo>
                      <a:pt x="5" y="58"/>
                    </a:lnTo>
                    <a:lnTo>
                      <a:pt x="2" y="58"/>
                    </a:lnTo>
                    <a:lnTo>
                      <a:pt x="0" y="56"/>
                    </a:lnTo>
                    <a:lnTo>
                      <a:pt x="0" y="36"/>
                    </a:lnTo>
                    <a:lnTo>
                      <a:pt x="2" y="33"/>
                    </a:lnTo>
                    <a:lnTo>
                      <a:pt x="5" y="31"/>
                    </a:lnTo>
                    <a:lnTo>
                      <a:pt x="8" y="25"/>
                    </a:lnTo>
                    <a:lnTo>
                      <a:pt x="11" y="17"/>
                    </a:lnTo>
                    <a:lnTo>
                      <a:pt x="11" y="8"/>
                    </a:lnTo>
                    <a:lnTo>
                      <a:pt x="13" y="6"/>
                    </a:lnTo>
                    <a:lnTo>
                      <a:pt x="19" y="6"/>
                    </a:lnTo>
                    <a:lnTo>
                      <a:pt x="25" y="3"/>
                    </a:lnTo>
                    <a:lnTo>
                      <a:pt x="27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5" name="Freeform 203"/>
              <p:cNvSpPr>
                <a:spLocks noChangeAspect="1"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3942059" y="4542113"/>
                <a:ext cx="170067" cy="178171"/>
              </a:xfrm>
              <a:custGeom>
                <a:avLst/>
                <a:gdLst>
                  <a:gd name="T0" fmla="*/ 0 w 131"/>
                  <a:gd name="T1" fmla="*/ 83277314 h 139"/>
                  <a:gd name="T2" fmla="*/ 9210310 w 131"/>
                  <a:gd name="T3" fmla="*/ 59959465 h 139"/>
                  <a:gd name="T4" fmla="*/ 9210310 w 131"/>
                  <a:gd name="T5" fmla="*/ 41638657 h 139"/>
                  <a:gd name="T6" fmla="*/ 20263767 w 131"/>
                  <a:gd name="T7" fmla="*/ 23317859 h 139"/>
                  <a:gd name="T8" fmla="*/ 25790499 w 131"/>
                  <a:gd name="T9" fmla="*/ 13323753 h 139"/>
                  <a:gd name="T10" fmla="*/ 81053710 w 131"/>
                  <a:gd name="T11" fmla="*/ 0 h 139"/>
                  <a:gd name="T12" fmla="*/ 112369590 w 131"/>
                  <a:gd name="T13" fmla="*/ 0 h 139"/>
                  <a:gd name="T14" fmla="*/ 132633352 w 131"/>
                  <a:gd name="T15" fmla="*/ 23317859 h 139"/>
                  <a:gd name="T16" fmla="*/ 132633352 w 131"/>
                  <a:gd name="T17" fmla="*/ 28314909 h 139"/>
                  <a:gd name="T18" fmla="*/ 132633352 w 131"/>
                  <a:gd name="T19" fmla="*/ 28314909 h 139"/>
                  <a:gd name="T20" fmla="*/ 138160079 w 131"/>
                  <a:gd name="T21" fmla="*/ 31645846 h 139"/>
                  <a:gd name="T22" fmla="*/ 138160079 w 131"/>
                  <a:gd name="T23" fmla="*/ 74949326 h 139"/>
                  <a:gd name="T24" fmla="*/ 138160079 w 131"/>
                  <a:gd name="T25" fmla="*/ 78280263 h 139"/>
                  <a:gd name="T26" fmla="*/ 152897113 w 131"/>
                  <a:gd name="T27" fmla="*/ 83277314 h 139"/>
                  <a:gd name="T28" fmla="*/ 178686287 w 131"/>
                  <a:gd name="T29" fmla="*/ 83277314 h 139"/>
                  <a:gd name="T30" fmla="*/ 178686287 w 131"/>
                  <a:gd name="T31" fmla="*/ 83277314 h 139"/>
                  <a:gd name="T32" fmla="*/ 184213014 w 131"/>
                  <a:gd name="T33" fmla="*/ 78280263 h 139"/>
                  <a:gd name="T34" fmla="*/ 189739741 w 131"/>
                  <a:gd name="T35" fmla="*/ 83277314 h 139"/>
                  <a:gd name="T36" fmla="*/ 198950049 w 131"/>
                  <a:gd name="T37" fmla="*/ 88274384 h 139"/>
                  <a:gd name="T38" fmla="*/ 204476776 w 131"/>
                  <a:gd name="T39" fmla="*/ 88274384 h 139"/>
                  <a:gd name="T40" fmla="*/ 204476776 w 131"/>
                  <a:gd name="T41" fmla="*/ 124915980 h 139"/>
                  <a:gd name="T42" fmla="*/ 210003503 w 131"/>
                  <a:gd name="T43" fmla="*/ 124915980 h 139"/>
                  <a:gd name="T44" fmla="*/ 215528873 w 131"/>
                  <a:gd name="T45" fmla="*/ 129913031 h 139"/>
                  <a:gd name="T46" fmla="*/ 219213810 w 131"/>
                  <a:gd name="T47" fmla="*/ 129913031 h 139"/>
                  <a:gd name="T48" fmla="*/ 224740537 w 131"/>
                  <a:gd name="T49" fmla="*/ 129913031 h 139"/>
                  <a:gd name="T50" fmla="*/ 235792635 w 131"/>
                  <a:gd name="T51" fmla="*/ 129913031 h 139"/>
                  <a:gd name="T52" fmla="*/ 241319362 w 131"/>
                  <a:gd name="T53" fmla="*/ 129913031 h 139"/>
                  <a:gd name="T54" fmla="*/ 241319362 w 131"/>
                  <a:gd name="T55" fmla="*/ 134908791 h 139"/>
                  <a:gd name="T56" fmla="*/ 235792635 w 131"/>
                  <a:gd name="T57" fmla="*/ 199865327 h 139"/>
                  <a:gd name="T58" fmla="*/ 230265907 w 131"/>
                  <a:gd name="T59" fmla="*/ 208193314 h 139"/>
                  <a:gd name="T60" fmla="*/ 204476776 w 131"/>
                  <a:gd name="T61" fmla="*/ 226514112 h 139"/>
                  <a:gd name="T62" fmla="*/ 204476776 w 131"/>
                  <a:gd name="T63" fmla="*/ 226514112 h 139"/>
                  <a:gd name="T64" fmla="*/ 204476776 w 131"/>
                  <a:gd name="T65" fmla="*/ 226514112 h 139"/>
                  <a:gd name="T66" fmla="*/ 198950049 w 131"/>
                  <a:gd name="T67" fmla="*/ 226514112 h 139"/>
                  <a:gd name="T68" fmla="*/ 189739741 w 131"/>
                  <a:gd name="T69" fmla="*/ 226514112 h 139"/>
                  <a:gd name="T70" fmla="*/ 189739741 w 131"/>
                  <a:gd name="T71" fmla="*/ 231511163 h 139"/>
                  <a:gd name="T72" fmla="*/ 184213014 w 131"/>
                  <a:gd name="T73" fmla="*/ 231511163 h 139"/>
                  <a:gd name="T74" fmla="*/ 178686287 w 131"/>
                  <a:gd name="T75" fmla="*/ 231511163 h 139"/>
                  <a:gd name="T76" fmla="*/ 173160875 w 131"/>
                  <a:gd name="T77" fmla="*/ 231511163 h 139"/>
                  <a:gd name="T78" fmla="*/ 169475937 w 131"/>
                  <a:gd name="T79" fmla="*/ 231511163 h 139"/>
                  <a:gd name="T80" fmla="*/ 152897113 w 131"/>
                  <a:gd name="T81" fmla="*/ 226514112 h 139"/>
                  <a:gd name="T82" fmla="*/ 123423044 w 131"/>
                  <a:gd name="T83" fmla="*/ 223183175 h 139"/>
                  <a:gd name="T84" fmla="*/ 123423044 w 131"/>
                  <a:gd name="T85" fmla="*/ 223183175 h 139"/>
                  <a:gd name="T86" fmla="*/ 123423044 w 131"/>
                  <a:gd name="T87" fmla="*/ 213190365 h 139"/>
                  <a:gd name="T88" fmla="*/ 143686806 w 131"/>
                  <a:gd name="T89" fmla="*/ 181544529 h 139"/>
                  <a:gd name="T90" fmla="*/ 143686806 w 131"/>
                  <a:gd name="T91" fmla="*/ 176547478 h 139"/>
                  <a:gd name="T92" fmla="*/ 143686806 w 131"/>
                  <a:gd name="T93" fmla="*/ 171551718 h 139"/>
                  <a:gd name="T94" fmla="*/ 138160079 w 131"/>
                  <a:gd name="T95" fmla="*/ 171551718 h 139"/>
                  <a:gd name="T96" fmla="*/ 138160079 w 131"/>
                  <a:gd name="T97" fmla="*/ 166554627 h 139"/>
                  <a:gd name="T98" fmla="*/ 132633352 w 131"/>
                  <a:gd name="T99" fmla="*/ 161557577 h 139"/>
                  <a:gd name="T100" fmla="*/ 127106624 w 131"/>
                  <a:gd name="T101" fmla="*/ 161557577 h 139"/>
                  <a:gd name="T102" fmla="*/ 123423044 w 131"/>
                  <a:gd name="T103" fmla="*/ 158226640 h 139"/>
                  <a:gd name="T104" fmla="*/ 86580437 w 131"/>
                  <a:gd name="T105" fmla="*/ 139905842 h 139"/>
                  <a:gd name="T106" fmla="*/ 55264579 w 131"/>
                  <a:gd name="T107" fmla="*/ 134908791 h 139"/>
                  <a:gd name="T108" fmla="*/ 55264579 w 131"/>
                  <a:gd name="T109" fmla="*/ 129913031 h 139"/>
                  <a:gd name="T110" fmla="*/ 46052914 w 131"/>
                  <a:gd name="T111" fmla="*/ 119918930 h 139"/>
                  <a:gd name="T112" fmla="*/ 25790499 w 131"/>
                  <a:gd name="T113" fmla="*/ 106595182 h 139"/>
                  <a:gd name="T114" fmla="*/ 9210310 w 131"/>
                  <a:gd name="T115" fmla="*/ 88274384 h 139"/>
                  <a:gd name="T116" fmla="*/ 0 w 131"/>
                  <a:gd name="T117" fmla="*/ 83277314 h 13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31"/>
                  <a:gd name="T178" fmla="*/ 0 h 139"/>
                  <a:gd name="T179" fmla="*/ 131 w 131"/>
                  <a:gd name="T180" fmla="*/ 139 h 13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31" h="139">
                    <a:moveTo>
                      <a:pt x="0" y="50"/>
                    </a:moveTo>
                    <a:lnTo>
                      <a:pt x="5" y="36"/>
                    </a:lnTo>
                    <a:lnTo>
                      <a:pt x="5" y="25"/>
                    </a:lnTo>
                    <a:lnTo>
                      <a:pt x="11" y="14"/>
                    </a:lnTo>
                    <a:lnTo>
                      <a:pt x="14" y="8"/>
                    </a:lnTo>
                    <a:lnTo>
                      <a:pt x="44" y="0"/>
                    </a:lnTo>
                    <a:lnTo>
                      <a:pt x="61" y="0"/>
                    </a:lnTo>
                    <a:lnTo>
                      <a:pt x="72" y="14"/>
                    </a:lnTo>
                    <a:lnTo>
                      <a:pt x="72" y="17"/>
                    </a:lnTo>
                    <a:lnTo>
                      <a:pt x="75" y="19"/>
                    </a:lnTo>
                    <a:lnTo>
                      <a:pt x="75" y="45"/>
                    </a:lnTo>
                    <a:lnTo>
                      <a:pt x="75" y="47"/>
                    </a:lnTo>
                    <a:lnTo>
                      <a:pt x="83" y="50"/>
                    </a:lnTo>
                    <a:lnTo>
                      <a:pt x="97" y="50"/>
                    </a:lnTo>
                    <a:lnTo>
                      <a:pt x="100" y="47"/>
                    </a:lnTo>
                    <a:lnTo>
                      <a:pt x="103" y="50"/>
                    </a:lnTo>
                    <a:lnTo>
                      <a:pt x="108" y="53"/>
                    </a:lnTo>
                    <a:lnTo>
                      <a:pt x="111" y="53"/>
                    </a:lnTo>
                    <a:lnTo>
                      <a:pt x="111" y="75"/>
                    </a:lnTo>
                    <a:lnTo>
                      <a:pt x="114" y="75"/>
                    </a:lnTo>
                    <a:lnTo>
                      <a:pt x="117" y="78"/>
                    </a:lnTo>
                    <a:lnTo>
                      <a:pt x="119" y="78"/>
                    </a:lnTo>
                    <a:lnTo>
                      <a:pt x="122" y="78"/>
                    </a:lnTo>
                    <a:lnTo>
                      <a:pt x="128" y="78"/>
                    </a:lnTo>
                    <a:lnTo>
                      <a:pt x="131" y="78"/>
                    </a:lnTo>
                    <a:lnTo>
                      <a:pt x="131" y="81"/>
                    </a:lnTo>
                    <a:lnTo>
                      <a:pt x="128" y="120"/>
                    </a:lnTo>
                    <a:lnTo>
                      <a:pt x="125" y="125"/>
                    </a:lnTo>
                    <a:lnTo>
                      <a:pt x="111" y="136"/>
                    </a:lnTo>
                    <a:lnTo>
                      <a:pt x="108" y="136"/>
                    </a:lnTo>
                    <a:lnTo>
                      <a:pt x="103" y="136"/>
                    </a:lnTo>
                    <a:lnTo>
                      <a:pt x="103" y="139"/>
                    </a:lnTo>
                    <a:lnTo>
                      <a:pt x="100" y="139"/>
                    </a:lnTo>
                    <a:lnTo>
                      <a:pt x="97" y="139"/>
                    </a:lnTo>
                    <a:lnTo>
                      <a:pt x="94" y="139"/>
                    </a:lnTo>
                    <a:lnTo>
                      <a:pt x="92" y="139"/>
                    </a:lnTo>
                    <a:lnTo>
                      <a:pt x="83" y="136"/>
                    </a:lnTo>
                    <a:lnTo>
                      <a:pt x="67" y="134"/>
                    </a:lnTo>
                    <a:lnTo>
                      <a:pt x="67" y="128"/>
                    </a:lnTo>
                    <a:lnTo>
                      <a:pt x="78" y="109"/>
                    </a:lnTo>
                    <a:lnTo>
                      <a:pt x="78" y="106"/>
                    </a:lnTo>
                    <a:lnTo>
                      <a:pt x="78" y="103"/>
                    </a:lnTo>
                    <a:lnTo>
                      <a:pt x="75" y="103"/>
                    </a:lnTo>
                    <a:lnTo>
                      <a:pt x="75" y="100"/>
                    </a:lnTo>
                    <a:lnTo>
                      <a:pt x="72" y="97"/>
                    </a:lnTo>
                    <a:lnTo>
                      <a:pt x="69" y="97"/>
                    </a:lnTo>
                    <a:lnTo>
                      <a:pt x="67" y="95"/>
                    </a:lnTo>
                    <a:lnTo>
                      <a:pt x="47" y="84"/>
                    </a:lnTo>
                    <a:lnTo>
                      <a:pt x="30" y="81"/>
                    </a:lnTo>
                    <a:lnTo>
                      <a:pt x="30" y="78"/>
                    </a:lnTo>
                    <a:lnTo>
                      <a:pt x="25" y="72"/>
                    </a:lnTo>
                    <a:lnTo>
                      <a:pt x="14" y="64"/>
                    </a:lnTo>
                    <a:lnTo>
                      <a:pt x="5" y="53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6" name="Freeform 204"/>
              <p:cNvSpPr>
                <a:spLocks noChangeAspect="1"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3679366" y="4504272"/>
                <a:ext cx="174623" cy="928700"/>
              </a:xfrm>
              <a:custGeom>
                <a:avLst/>
                <a:gdLst>
                  <a:gd name="T0" fmla="*/ 207890201 w 134"/>
                  <a:gd name="T1" fmla="*/ 52137773 h 721"/>
                  <a:gd name="T2" fmla="*/ 196752500 w 134"/>
                  <a:gd name="T3" fmla="*/ 75683604 h 721"/>
                  <a:gd name="T4" fmla="*/ 222739105 w 134"/>
                  <a:gd name="T5" fmla="*/ 149685178 h 721"/>
                  <a:gd name="T6" fmla="*/ 248725710 w 134"/>
                  <a:gd name="T7" fmla="*/ 154729973 h 721"/>
                  <a:gd name="T8" fmla="*/ 202322032 w 134"/>
                  <a:gd name="T9" fmla="*/ 267414374 h 721"/>
                  <a:gd name="T10" fmla="*/ 150348779 w 134"/>
                  <a:gd name="T11" fmla="*/ 388507671 h 721"/>
                  <a:gd name="T12" fmla="*/ 165199046 w 134"/>
                  <a:gd name="T13" fmla="*/ 487737086 h 721"/>
                  <a:gd name="T14" fmla="*/ 139212441 w 134"/>
                  <a:gd name="T15" fmla="*/ 553329785 h 721"/>
                  <a:gd name="T16" fmla="*/ 129931705 w 134"/>
                  <a:gd name="T17" fmla="*/ 632376133 h 721"/>
                  <a:gd name="T18" fmla="*/ 103945100 w 134"/>
                  <a:gd name="T19" fmla="*/ 782061433 h 721"/>
                  <a:gd name="T20" fmla="*/ 115081438 w 134"/>
                  <a:gd name="T21" fmla="*/ 834199186 h 721"/>
                  <a:gd name="T22" fmla="*/ 115081438 w 134"/>
                  <a:gd name="T23" fmla="*/ 852698926 h 721"/>
                  <a:gd name="T24" fmla="*/ 92808762 w 134"/>
                  <a:gd name="T25" fmla="*/ 970429378 h 721"/>
                  <a:gd name="T26" fmla="*/ 66822136 w 134"/>
                  <a:gd name="T27" fmla="*/ 1073021557 h 721"/>
                  <a:gd name="T28" fmla="*/ 92808762 w 134"/>
                  <a:gd name="T29" fmla="*/ 1073021557 h 721"/>
                  <a:gd name="T30" fmla="*/ 139212441 w 134"/>
                  <a:gd name="T31" fmla="*/ 1133568165 h 721"/>
                  <a:gd name="T32" fmla="*/ 176335384 w 134"/>
                  <a:gd name="T33" fmla="*/ 1143660347 h 721"/>
                  <a:gd name="T34" fmla="*/ 135499874 w 134"/>
                  <a:gd name="T35" fmla="*/ 1209251750 h 721"/>
                  <a:gd name="T36" fmla="*/ 98376931 w 134"/>
                  <a:gd name="T37" fmla="*/ 1189069979 h 721"/>
                  <a:gd name="T38" fmla="*/ 129931705 w 134"/>
                  <a:gd name="T39" fmla="*/ 1175615033 h 721"/>
                  <a:gd name="T40" fmla="*/ 92808762 w 134"/>
                  <a:gd name="T41" fmla="*/ 1152069202 h 721"/>
                  <a:gd name="T42" fmla="*/ 92808762 w 134"/>
                  <a:gd name="T43" fmla="*/ 1128523371 h 721"/>
                  <a:gd name="T44" fmla="*/ 77958474 w 134"/>
                  <a:gd name="T45" fmla="*/ 1120114516 h 721"/>
                  <a:gd name="T46" fmla="*/ 66822136 w 134"/>
                  <a:gd name="T47" fmla="*/ 1133568165 h 721"/>
                  <a:gd name="T48" fmla="*/ 46403700 w 134"/>
                  <a:gd name="T49" fmla="*/ 1086476503 h 721"/>
                  <a:gd name="T50" fmla="*/ 46403700 w 134"/>
                  <a:gd name="T51" fmla="*/ 1073021557 h 721"/>
                  <a:gd name="T52" fmla="*/ 37122954 w 134"/>
                  <a:gd name="T53" fmla="*/ 1049475726 h 721"/>
                  <a:gd name="T54" fmla="*/ 51971869 w 134"/>
                  <a:gd name="T55" fmla="*/ 1030975986 h 721"/>
                  <a:gd name="T56" fmla="*/ 42691123 w 134"/>
                  <a:gd name="T57" fmla="*/ 997339270 h 721"/>
                  <a:gd name="T58" fmla="*/ 37122954 w 134"/>
                  <a:gd name="T59" fmla="*/ 988929118 h 721"/>
                  <a:gd name="T60" fmla="*/ 42691123 w 134"/>
                  <a:gd name="T61" fmla="*/ 970429378 h 721"/>
                  <a:gd name="T62" fmla="*/ 42691123 w 134"/>
                  <a:gd name="T63" fmla="*/ 955292402 h 721"/>
                  <a:gd name="T64" fmla="*/ 46403700 w 134"/>
                  <a:gd name="T65" fmla="*/ 926700480 h 721"/>
                  <a:gd name="T66" fmla="*/ 16705875 w 134"/>
                  <a:gd name="T67" fmla="*/ 913246831 h 721"/>
                  <a:gd name="T68" fmla="*/ 11136341 w 134"/>
                  <a:gd name="T69" fmla="*/ 908200740 h 721"/>
                  <a:gd name="T70" fmla="*/ 16705875 w 134"/>
                  <a:gd name="T71" fmla="*/ 894745794 h 721"/>
                  <a:gd name="T72" fmla="*/ 42691123 w 134"/>
                  <a:gd name="T73" fmla="*/ 899791885 h 721"/>
                  <a:gd name="T74" fmla="*/ 51971869 w 134"/>
                  <a:gd name="T75" fmla="*/ 913246831 h 721"/>
                  <a:gd name="T76" fmla="*/ 66822136 w 134"/>
                  <a:gd name="T77" fmla="*/ 889699703 h 721"/>
                  <a:gd name="T78" fmla="*/ 66822136 w 134"/>
                  <a:gd name="T79" fmla="*/ 876246054 h 721"/>
                  <a:gd name="T80" fmla="*/ 77958474 w 134"/>
                  <a:gd name="T81" fmla="*/ 871199963 h 721"/>
                  <a:gd name="T82" fmla="*/ 72390305 w 134"/>
                  <a:gd name="T83" fmla="*/ 857745017 h 721"/>
                  <a:gd name="T84" fmla="*/ 72390305 w 134"/>
                  <a:gd name="T85" fmla="*/ 824108301 h 721"/>
                  <a:gd name="T86" fmla="*/ 77958474 w 134"/>
                  <a:gd name="T87" fmla="*/ 805607264 h 721"/>
                  <a:gd name="T88" fmla="*/ 83526643 w 134"/>
                  <a:gd name="T89" fmla="*/ 773652578 h 721"/>
                  <a:gd name="T90" fmla="*/ 92808762 w 134"/>
                  <a:gd name="T91" fmla="*/ 750106747 h 721"/>
                  <a:gd name="T92" fmla="*/ 92808762 w 134"/>
                  <a:gd name="T93" fmla="*/ 734969771 h 721"/>
                  <a:gd name="T94" fmla="*/ 63109569 w 134"/>
                  <a:gd name="T95" fmla="*/ 740015862 h 721"/>
                  <a:gd name="T96" fmla="*/ 57541400 w 134"/>
                  <a:gd name="T97" fmla="*/ 674423001 h 721"/>
                  <a:gd name="T98" fmla="*/ 63109569 w 134"/>
                  <a:gd name="T99" fmla="*/ 627331339 h 721"/>
                  <a:gd name="T100" fmla="*/ 72390305 w 134"/>
                  <a:gd name="T101" fmla="*/ 566784731 h 721"/>
                  <a:gd name="T102" fmla="*/ 115081438 w 134"/>
                  <a:gd name="T103" fmla="*/ 454100370 h 721"/>
                  <a:gd name="T104" fmla="*/ 129931705 w 134"/>
                  <a:gd name="T105" fmla="*/ 290960205 h 721"/>
                  <a:gd name="T106" fmla="*/ 150348779 w 134"/>
                  <a:gd name="T107" fmla="*/ 168184918 h 721"/>
                  <a:gd name="T108" fmla="*/ 150348779 w 134"/>
                  <a:gd name="T109" fmla="*/ 15136981 h 721"/>
                  <a:gd name="T110" fmla="*/ 176335384 w 134"/>
                  <a:gd name="T111" fmla="*/ 0 h 72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34"/>
                  <a:gd name="T169" fmla="*/ 0 h 721"/>
                  <a:gd name="T170" fmla="*/ 134 w 134"/>
                  <a:gd name="T171" fmla="*/ 721 h 72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34" h="721">
                    <a:moveTo>
                      <a:pt x="95" y="0"/>
                    </a:moveTo>
                    <a:lnTo>
                      <a:pt x="95" y="0"/>
                    </a:lnTo>
                    <a:lnTo>
                      <a:pt x="98" y="6"/>
                    </a:lnTo>
                    <a:lnTo>
                      <a:pt x="101" y="9"/>
                    </a:lnTo>
                    <a:lnTo>
                      <a:pt x="103" y="22"/>
                    </a:lnTo>
                    <a:lnTo>
                      <a:pt x="109" y="28"/>
                    </a:lnTo>
                    <a:lnTo>
                      <a:pt x="112" y="31"/>
                    </a:lnTo>
                    <a:lnTo>
                      <a:pt x="109" y="34"/>
                    </a:lnTo>
                    <a:lnTo>
                      <a:pt x="109" y="36"/>
                    </a:lnTo>
                    <a:lnTo>
                      <a:pt x="109" y="39"/>
                    </a:lnTo>
                    <a:lnTo>
                      <a:pt x="106" y="39"/>
                    </a:lnTo>
                    <a:lnTo>
                      <a:pt x="106" y="45"/>
                    </a:lnTo>
                    <a:lnTo>
                      <a:pt x="109" y="45"/>
                    </a:lnTo>
                    <a:lnTo>
                      <a:pt x="109" y="47"/>
                    </a:lnTo>
                    <a:lnTo>
                      <a:pt x="109" y="50"/>
                    </a:lnTo>
                    <a:lnTo>
                      <a:pt x="109" y="53"/>
                    </a:lnTo>
                    <a:lnTo>
                      <a:pt x="114" y="56"/>
                    </a:lnTo>
                    <a:lnTo>
                      <a:pt x="114" y="61"/>
                    </a:lnTo>
                    <a:lnTo>
                      <a:pt x="117" y="64"/>
                    </a:lnTo>
                    <a:lnTo>
                      <a:pt x="120" y="89"/>
                    </a:lnTo>
                    <a:lnTo>
                      <a:pt x="123" y="89"/>
                    </a:lnTo>
                    <a:lnTo>
                      <a:pt x="128" y="89"/>
                    </a:lnTo>
                    <a:lnTo>
                      <a:pt x="131" y="89"/>
                    </a:lnTo>
                    <a:lnTo>
                      <a:pt x="134" y="92"/>
                    </a:lnTo>
                    <a:lnTo>
                      <a:pt x="131" y="109"/>
                    </a:lnTo>
                    <a:lnTo>
                      <a:pt x="112" y="117"/>
                    </a:lnTo>
                    <a:lnTo>
                      <a:pt x="112" y="125"/>
                    </a:lnTo>
                    <a:lnTo>
                      <a:pt x="112" y="128"/>
                    </a:lnTo>
                    <a:lnTo>
                      <a:pt x="109" y="128"/>
                    </a:lnTo>
                    <a:lnTo>
                      <a:pt x="114" y="156"/>
                    </a:lnTo>
                    <a:lnTo>
                      <a:pt x="109" y="159"/>
                    </a:lnTo>
                    <a:lnTo>
                      <a:pt x="103" y="164"/>
                    </a:lnTo>
                    <a:lnTo>
                      <a:pt x="103" y="170"/>
                    </a:lnTo>
                    <a:lnTo>
                      <a:pt x="95" y="178"/>
                    </a:lnTo>
                    <a:lnTo>
                      <a:pt x="89" y="217"/>
                    </a:lnTo>
                    <a:lnTo>
                      <a:pt x="87" y="217"/>
                    </a:lnTo>
                    <a:lnTo>
                      <a:pt x="87" y="220"/>
                    </a:lnTo>
                    <a:lnTo>
                      <a:pt x="84" y="223"/>
                    </a:lnTo>
                    <a:lnTo>
                      <a:pt x="81" y="231"/>
                    </a:lnTo>
                    <a:lnTo>
                      <a:pt x="78" y="242"/>
                    </a:lnTo>
                    <a:lnTo>
                      <a:pt x="81" y="245"/>
                    </a:lnTo>
                    <a:lnTo>
                      <a:pt x="81" y="254"/>
                    </a:lnTo>
                    <a:lnTo>
                      <a:pt x="87" y="265"/>
                    </a:lnTo>
                    <a:lnTo>
                      <a:pt x="87" y="270"/>
                    </a:lnTo>
                    <a:lnTo>
                      <a:pt x="87" y="273"/>
                    </a:lnTo>
                    <a:lnTo>
                      <a:pt x="89" y="290"/>
                    </a:lnTo>
                    <a:lnTo>
                      <a:pt x="84" y="298"/>
                    </a:lnTo>
                    <a:lnTo>
                      <a:pt x="84" y="306"/>
                    </a:lnTo>
                    <a:lnTo>
                      <a:pt x="78" y="309"/>
                    </a:lnTo>
                    <a:lnTo>
                      <a:pt x="81" y="326"/>
                    </a:lnTo>
                    <a:lnTo>
                      <a:pt x="78" y="326"/>
                    </a:lnTo>
                    <a:lnTo>
                      <a:pt x="78" y="329"/>
                    </a:lnTo>
                    <a:lnTo>
                      <a:pt x="75" y="329"/>
                    </a:lnTo>
                    <a:lnTo>
                      <a:pt x="75" y="332"/>
                    </a:lnTo>
                    <a:lnTo>
                      <a:pt x="73" y="332"/>
                    </a:lnTo>
                    <a:lnTo>
                      <a:pt x="73" y="334"/>
                    </a:lnTo>
                    <a:lnTo>
                      <a:pt x="70" y="368"/>
                    </a:lnTo>
                    <a:lnTo>
                      <a:pt x="73" y="370"/>
                    </a:lnTo>
                    <a:lnTo>
                      <a:pt x="73" y="373"/>
                    </a:lnTo>
                    <a:lnTo>
                      <a:pt x="70" y="376"/>
                    </a:lnTo>
                    <a:lnTo>
                      <a:pt x="67" y="382"/>
                    </a:lnTo>
                    <a:lnTo>
                      <a:pt x="59" y="429"/>
                    </a:lnTo>
                    <a:lnTo>
                      <a:pt x="59" y="435"/>
                    </a:lnTo>
                    <a:lnTo>
                      <a:pt x="62" y="437"/>
                    </a:lnTo>
                    <a:lnTo>
                      <a:pt x="62" y="443"/>
                    </a:lnTo>
                    <a:lnTo>
                      <a:pt x="56" y="448"/>
                    </a:lnTo>
                    <a:lnTo>
                      <a:pt x="56" y="465"/>
                    </a:lnTo>
                    <a:lnTo>
                      <a:pt x="59" y="468"/>
                    </a:lnTo>
                    <a:lnTo>
                      <a:pt x="59" y="479"/>
                    </a:lnTo>
                    <a:lnTo>
                      <a:pt x="59" y="485"/>
                    </a:lnTo>
                    <a:lnTo>
                      <a:pt x="59" y="493"/>
                    </a:lnTo>
                    <a:lnTo>
                      <a:pt x="59" y="496"/>
                    </a:lnTo>
                    <a:lnTo>
                      <a:pt x="62" y="496"/>
                    </a:lnTo>
                    <a:lnTo>
                      <a:pt x="64" y="496"/>
                    </a:lnTo>
                    <a:lnTo>
                      <a:pt x="67" y="499"/>
                    </a:lnTo>
                    <a:lnTo>
                      <a:pt x="67" y="501"/>
                    </a:lnTo>
                    <a:lnTo>
                      <a:pt x="67" y="504"/>
                    </a:lnTo>
                    <a:lnTo>
                      <a:pt x="59" y="504"/>
                    </a:lnTo>
                    <a:lnTo>
                      <a:pt x="59" y="507"/>
                    </a:lnTo>
                    <a:lnTo>
                      <a:pt x="62" y="507"/>
                    </a:lnTo>
                    <a:lnTo>
                      <a:pt x="64" y="513"/>
                    </a:lnTo>
                    <a:lnTo>
                      <a:pt x="64" y="515"/>
                    </a:lnTo>
                    <a:lnTo>
                      <a:pt x="62" y="518"/>
                    </a:lnTo>
                    <a:lnTo>
                      <a:pt x="62" y="546"/>
                    </a:lnTo>
                    <a:lnTo>
                      <a:pt x="50" y="571"/>
                    </a:lnTo>
                    <a:lnTo>
                      <a:pt x="50" y="574"/>
                    </a:lnTo>
                    <a:lnTo>
                      <a:pt x="50" y="577"/>
                    </a:lnTo>
                    <a:lnTo>
                      <a:pt x="50" y="579"/>
                    </a:lnTo>
                    <a:lnTo>
                      <a:pt x="50" y="582"/>
                    </a:lnTo>
                    <a:lnTo>
                      <a:pt x="50" y="585"/>
                    </a:lnTo>
                    <a:lnTo>
                      <a:pt x="48" y="596"/>
                    </a:lnTo>
                    <a:lnTo>
                      <a:pt x="39" y="610"/>
                    </a:lnTo>
                    <a:lnTo>
                      <a:pt x="36" y="638"/>
                    </a:lnTo>
                    <a:lnTo>
                      <a:pt x="36" y="643"/>
                    </a:lnTo>
                    <a:lnTo>
                      <a:pt x="39" y="643"/>
                    </a:lnTo>
                    <a:lnTo>
                      <a:pt x="39" y="641"/>
                    </a:lnTo>
                    <a:lnTo>
                      <a:pt x="42" y="641"/>
                    </a:lnTo>
                    <a:lnTo>
                      <a:pt x="48" y="641"/>
                    </a:lnTo>
                    <a:lnTo>
                      <a:pt x="50" y="638"/>
                    </a:lnTo>
                    <a:lnTo>
                      <a:pt x="50" y="641"/>
                    </a:lnTo>
                    <a:lnTo>
                      <a:pt x="53" y="668"/>
                    </a:lnTo>
                    <a:lnTo>
                      <a:pt x="56" y="674"/>
                    </a:lnTo>
                    <a:lnTo>
                      <a:pt x="59" y="674"/>
                    </a:lnTo>
                    <a:lnTo>
                      <a:pt x="75" y="674"/>
                    </a:lnTo>
                    <a:lnTo>
                      <a:pt x="92" y="674"/>
                    </a:lnTo>
                    <a:lnTo>
                      <a:pt x="114" y="680"/>
                    </a:lnTo>
                    <a:lnTo>
                      <a:pt x="114" y="682"/>
                    </a:lnTo>
                    <a:lnTo>
                      <a:pt x="112" y="682"/>
                    </a:lnTo>
                    <a:lnTo>
                      <a:pt x="106" y="682"/>
                    </a:lnTo>
                    <a:lnTo>
                      <a:pt x="103" y="680"/>
                    </a:lnTo>
                    <a:lnTo>
                      <a:pt x="101" y="680"/>
                    </a:lnTo>
                    <a:lnTo>
                      <a:pt x="95" y="680"/>
                    </a:lnTo>
                    <a:lnTo>
                      <a:pt x="95" y="685"/>
                    </a:lnTo>
                    <a:lnTo>
                      <a:pt x="89" y="685"/>
                    </a:lnTo>
                    <a:lnTo>
                      <a:pt x="84" y="691"/>
                    </a:lnTo>
                    <a:lnTo>
                      <a:pt x="81" y="691"/>
                    </a:lnTo>
                    <a:lnTo>
                      <a:pt x="75" y="691"/>
                    </a:lnTo>
                    <a:lnTo>
                      <a:pt x="73" y="719"/>
                    </a:lnTo>
                    <a:lnTo>
                      <a:pt x="70" y="721"/>
                    </a:lnTo>
                    <a:lnTo>
                      <a:pt x="64" y="719"/>
                    </a:lnTo>
                    <a:lnTo>
                      <a:pt x="62" y="719"/>
                    </a:lnTo>
                    <a:lnTo>
                      <a:pt x="56" y="716"/>
                    </a:lnTo>
                    <a:lnTo>
                      <a:pt x="53" y="713"/>
                    </a:lnTo>
                    <a:lnTo>
                      <a:pt x="53" y="710"/>
                    </a:lnTo>
                    <a:lnTo>
                      <a:pt x="53" y="707"/>
                    </a:lnTo>
                    <a:lnTo>
                      <a:pt x="56" y="705"/>
                    </a:lnTo>
                    <a:lnTo>
                      <a:pt x="56" y="707"/>
                    </a:lnTo>
                    <a:lnTo>
                      <a:pt x="56" y="710"/>
                    </a:lnTo>
                    <a:lnTo>
                      <a:pt x="59" y="707"/>
                    </a:lnTo>
                    <a:lnTo>
                      <a:pt x="62" y="705"/>
                    </a:lnTo>
                    <a:lnTo>
                      <a:pt x="64" y="705"/>
                    </a:lnTo>
                    <a:lnTo>
                      <a:pt x="70" y="699"/>
                    </a:lnTo>
                    <a:lnTo>
                      <a:pt x="70" y="696"/>
                    </a:lnTo>
                    <a:lnTo>
                      <a:pt x="67" y="693"/>
                    </a:lnTo>
                    <a:lnTo>
                      <a:pt x="64" y="688"/>
                    </a:lnTo>
                    <a:lnTo>
                      <a:pt x="56" y="688"/>
                    </a:lnTo>
                    <a:lnTo>
                      <a:pt x="50" y="688"/>
                    </a:lnTo>
                    <a:lnTo>
                      <a:pt x="50" y="691"/>
                    </a:lnTo>
                    <a:lnTo>
                      <a:pt x="50" y="688"/>
                    </a:lnTo>
                    <a:lnTo>
                      <a:pt x="50" y="685"/>
                    </a:lnTo>
                    <a:lnTo>
                      <a:pt x="45" y="688"/>
                    </a:lnTo>
                    <a:lnTo>
                      <a:pt x="45" y="685"/>
                    </a:lnTo>
                    <a:lnTo>
                      <a:pt x="50" y="682"/>
                    </a:lnTo>
                    <a:lnTo>
                      <a:pt x="50" y="680"/>
                    </a:lnTo>
                    <a:lnTo>
                      <a:pt x="50" y="677"/>
                    </a:lnTo>
                    <a:lnTo>
                      <a:pt x="48" y="671"/>
                    </a:lnTo>
                    <a:lnTo>
                      <a:pt x="50" y="671"/>
                    </a:lnTo>
                    <a:lnTo>
                      <a:pt x="50" y="668"/>
                    </a:lnTo>
                    <a:lnTo>
                      <a:pt x="42" y="660"/>
                    </a:lnTo>
                    <a:lnTo>
                      <a:pt x="39" y="660"/>
                    </a:lnTo>
                    <a:lnTo>
                      <a:pt x="48" y="666"/>
                    </a:lnTo>
                    <a:lnTo>
                      <a:pt x="48" y="668"/>
                    </a:lnTo>
                    <a:lnTo>
                      <a:pt x="45" y="668"/>
                    </a:lnTo>
                    <a:lnTo>
                      <a:pt x="42" y="666"/>
                    </a:lnTo>
                    <a:lnTo>
                      <a:pt x="39" y="666"/>
                    </a:lnTo>
                    <a:lnTo>
                      <a:pt x="42" y="668"/>
                    </a:lnTo>
                    <a:lnTo>
                      <a:pt x="42" y="671"/>
                    </a:lnTo>
                    <a:lnTo>
                      <a:pt x="39" y="674"/>
                    </a:lnTo>
                    <a:lnTo>
                      <a:pt x="36" y="663"/>
                    </a:lnTo>
                    <a:lnTo>
                      <a:pt x="36" y="668"/>
                    </a:lnTo>
                    <a:lnTo>
                      <a:pt x="36" y="674"/>
                    </a:lnTo>
                    <a:lnTo>
                      <a:pt x="34" y="674"/>
                    </a:lnTo>
                    <a:lnTo>
                      <a:pt x="34" y="671"/>
                    </a:lnTo>
                    <a:lnTo>
                      <a:pt x="34" y="663"/>
                    </a:lnTo>
                    <a:lnTo>
                      <a:pt x="31" y="657"/>
                    </a:lnTo>
                    <a:lnTo>
                      <a:pt x="25" y="652"/>
                    </a:lnTo>
                    <a:lnTo>
                      <a:pt x="23" y="646"/>
                    </a:lnTo>
                    <a:lnTo>
                      <a:pt x="25" y="646"/>
                    </a:lnTo>
                    <a:lnTo>
                      <a:pt x="28" y="646"/>
                    </a:lnTo>
                    <a:lnTo>
                      <a:pt x="31" y="643"/>
                    </a:lnTo>
                    <a:lnTo>
                      <a:pt x="31" y="641"/>
                    </a:lnTo>
                    <a:lnTo>
                      <a:pt x="28" y="641"/>
                    </a:lnTo>
                    <a:lnTo>
                      <a:pt x="28" y="643"/>
                    </a:lnTo>
                    <a:lnTo>
                      <a:pt x="25" y="641"/>
                    </a:lnTo>
                    <a:lnTo>
                      <a:pt x="25" y="638"/>
                    </a:lnTo>
                    <a:lnTo>
                      <a:pt x="25" y="635"/>
                    </a:lnTo>
                    <a:lnTo>
                      <a:pt x="28" y="638"/>
                    </a:lnTo>
                    <a:lnTo>
                      <a:pt x="25" y="635"/>
                    </a:lnTo>
                    <a:lnTo>
                      <a:pt x="23" y="632"/>
                    </a:lnTo>
                    <a:lnTo>
                      <a:pt x="20" y="632"/>
                    </a:lnTo>
                    <a:lnTo>
                      <a:pt x="20" y="629"/>
                    </a:lnTo>
                    <a:lnTo>
                      <a:pt x="17" y="627"/>
                    </a:lnTo>
                    <a:lnTo>
                      <a:pt x="20" y="624"/>
                    </a:lnTo>
                    <a:lnTo>
                      <a:pt x="23" y="618"/>
                    </a:lnTo>
                    <a:lnTo>
                      <a:pt x="23" y="616"/>
                    </a:lnTo>
                    <a:lnTo>
                      <a:pt x="25" y="613"/>
                    </a:lnTo>
                    <a:lnTo>
                      <a:pt x="28" y="613"/>
                    </a:lnTo>
                    <a:lnTo>
                      <a:pt x="28" y="610"/>
                    </a:lnTo>
                    <a:lnTo>
                      <a:pt x="28" y="602"/>
                    </a:lnTo>
                    <a:lnTo>
                      <a:pt x="25" y="604"/>
                    </a:lnTo>
                    <a:lnTo>
                      <a:pt x="23" y="610"/>
                    </a:lnTo>
                    <a:lnTo>
                      <a:pt x="23" y="593"/>
                    </a:lnTo>
                    <a:lnTo>
                      <a:pt x="23" y="590"/>
                    </a:lnTo>
                    <a:lnTo>
                      <a:pt x="23" y="588"/>
                    </a:lnTo>
                    <a:lnTo>
                      <a:pt x="25" y="588"/>
                    </a:lnTo>
                    <a:lnTo>
                      <a:pt x="31" y="590"/>
                    </a:lnTo>
                    <a:lnTo>
                      <a:pt x="28" y="585"/>
                    </a:lnTo>
                    <a:lnTo>
                      <a:pt x="20" y="588"/>
                    </a:lnTo>
                    <a:lnTo>
                      <a:pt x="20" y="585"/>
                    </a:lnTo>
                    <a:lnTo>
                      <a:pt x="20" y="582"/>
                    </a:lnTo>
                    <a:lnTo>
                      <a:pt x="17" y="582"/>
                    </a:lnTo>
                    <a:lnTo>
                      <a:pt x="17" y="574"/>
                    </a:lnTo>
                    <a:lnTo>
                      <a:pt x="20" y="577"/>
                    </a:lnTo>
                    <a:lnTo>
                      <a:pt x="23" y="582"/>
                    </a:lnTo>
                    <a:lnTo>
                      <a:pt x="23" y="577"/>
                    </a:lnTo>
                    <a:lnTo>
                      <a:pt x="31" y="577"/>
                    </a:lnTo>
                    <a:lnTo>
                      <a:pt x="34" y="582"/>
                    </a:lnTo>
                    <a:lnTo>
                      <a:pt x="36" y="579"/>
                    </a:lnTo>
                    <a:lnTo>
                      <a:pt x="34" y="579"/>
                    </a:lnTo>
                    <a:lnTo>
                      <a:pt x="28" y="568"/>
                    </a:lnTo>
                    <a:lnTo>
                      <a:pt x="28" y="571"/>
                    </a:lnTo>
                    <a:lnTo>
                      <a:pt x="25" y="571"/>
                    </a:lnTo>
                    <a:lnTo>
                      <a:pt x="23" y="568"/>
                    </a:lnTo>
                    <a:lnTo>
                      <a:pt x="25" y="565"/>
                    </a:lnTo>
                    <a:lnTo>
                      <a:pt x="20" y="563"/>
                    </a:lnTo>
                    <a:lnTo>
                      <a:pt x="20" y="560"/>
                    </a:lnTo>
                    <a:lnTo>
                      <a:pt x="25" y="557"/>
                    </a:lnTo>
                    <a:lnTo>
                      <a:pt x="23" y="554"/>
                    </a:lnTo>
                    <a:lnTo>
                      <a:pt x="25" y="551"/>
                    </a:lnTo>
                    <a:lnTo>
                      <a:pt x="25" y="549"/>
                    </a:lnTo>
                    <a:lnTo>
                      <a:pt x="20" y="546"/>
                    </a:lnTo>
                    <a:lnTo>
                      <a:pt x="17" y="546"/>
                    </a:lnTo>
                    <a:lnTo>
                      <a:pt x="17" y="549"/>
                    </a:lnTo>
                    <a:lnTo>
                      <a:pt x="14" y="549"/>
                    </a:lnTo>
                    <a:lnTo>
                      <a:pt x="11" y="546"/>
                    </a:lnTo>
                    <a:lnTo>
                      <a:pt x="9" y="543"/>
                    </a:lnTo>
                    <a:lnTo>
                      <a:pt x="3" y="546"/>
                    </a:lnTo>
                    <a:lnTo>
                      <a:pt x="6" y="546"/>
                    </a:lnTo>
                    <a:lnTo>
                      <a:pt x="6" y="549"/>
                    </a:lnTo>
                    <a:lnTo>
                      <a:pt x="6" y="551"/>
                    </a:lnTo>
                    <a:lnTo>
                      <a:pt x="3" y="551"/>
                    </a:lnTo>
                    <a:lnTo>
                      <a:pt x="0" y="549"/>
                    </a:lnTo>
                    <a:lnTo>
                      <a:pt x="3" y="543"/>
                    </a:lnTo>
                    <a:lnTo>
                      <a:pt x="6" y="540"/>
                    </a:lnTo>
                    <a:lnTo>
                      <a:pt x="9" y="538"/>
                    </a:lnTo>
                    <a:lnTo>
                      <a:pt x="11" y="535"/>
                    </a:lnTo>
                    <a:lnTo>
                      <a:pt x="14" y="535"/>
                    </a:lnTo>
                    <a:lnTo>
                      <a:pt x="14" y="532"/>
                    </a:lnTo>
                    <a:lnTo>
                      <a:pt x="11" y="532"/>
                    </a:lnTo>
                    <a:lnTo>
                      <a:pt x="9" y="532"/>
                    </a:lnTo>
                    <a:lnTo>
                      <a:pt x="9" y="529"/>
                    </a:lnTo>
                    <a:lnTo>
                      <a:pt x="14" y="526"/>
                    </a:lnTo>
                    <a:lnTo>
                      <a:pt x="17" y="529"/>
                    </a:lnTo>
                    <a:lnTo>
                      <a:pt x="20" y="529"/>
                    </a:lnTo>
                    <a:lnTo>
                      <a:pt x="20" y="526"/>
                    </a:lnTo>
                    <a:lnTo>
                      <a:pt x="23" y="529"/>
                    </a:lnTo>
                    <a:lnTo>
                      <a:pt x="23" y="532"/>
                    </a:lnTo>
                    <a:lnTo>
                      <a:pt x="23" y="535"/>
                    </a:lnTo>
                    <a:lnTo>
                      <a:pt x="25" y="532"/>
                    </a:lnTo>
                    <a:lnTo>
                      <a:pt x="25" y="535"/>
                    </a:lnTo>
                    <a:lnTo>
                      <a:pt x="23" y="538"/>
                    </a:lnTo>
                    <a:lnTo>
                      <a:pt x="25" y="540"/>
                    </a:lnTo>
                    <a:lnTo>
                      <a:pt x="28" y="538"/>
                    </a:lnTo>
                    <a:lnTo>
                      <a:pt x="28" y="535"/>
                    </a:lnTo>
                    <a:lnTo>
                      <a:pt x="28" y="543"/>
                    </a:lnTo>
                    <a:lnTo>
                      <a:pt x="31" y="543"/>
                    </a:lnTo>
                    <a:lnTo>
                      <a:pt x="31" y="540"/>
                    </a:lnTo>
                    <a:lnTo>
                      <a:pt x="34" y="538"/>
                    </a:lnTo>
                    <a:lnTo>
                      <a:pt x="34" y="535"/>
                    </a:lnTo>
                    <a:lnTo>
                      <a:pt x="36" y="529"/>
                    </a:lnTo>
                    <a:lnTo>
                      <a:pt x="36" y="526"/>
                    </a:lnTo>
                    <a:lnTo>
                      <a:pt x="36" y="529"/>
                    </a:lnTo>
                    <a:lnTo>
                      <a:pt x="31" y="535"/>
                    </a:lnTo>
                    <a:lnTo>
                      <a:pt x="34" y="529"/>
                    </a:lnTo>
                    <a:lnTo>
                      <a:pt x="34" y="526"/>
                    </a:lnTo>
                    <a:lnTo>
                      <a:pt x="36" y="526"/>
                    </a:lnTo>
                    <a:lnTo>
                      <a:pt x="36" y="524"/>
                    </a:lnTo>
                    <a:lnTo>
                      <a:pt x="36" y="521"/>
                    </a:lnTo>
                    <a:lnTo>
                      <a:pt x="39" y="521"/>
                    </a:lnTo>
                    <a:lnTo>
                      <a:pt x="36" y="521"/>
                    </a:lnTo>
                    <a:lnTo>
                      <a:pt x="34" y="521"/>
                    </a:lnTo>
                    <a:lnTo>
                      <a:pt x="34" y="518"/>
                    </a:lnTo>
                    <a:lnTo>
                      <a:pt x="36" y="515"/>
                    </a:lnTo>
                    <a:lnTo>
                      <a:pt x="42" y="518"/>
                    </a:lnTo>
                    <a:lnTo>
                      <a:pt x="45" y="518"/>
                    </a:lnTo>
                    <a:lnTo>
                      <a:pt x="42" y="518"/>
                    </a:lnTo>
                    <a:lnTo>
                      <a:pt x="39" y="515"/>
                    </a:lnTo>
                    <a:lnTo>
                      <a:pt x="36" y="515"/>
                    </a:lnTo>
                    <a:lnTo>
                      <a:pt x="36" y="510"/>
                    </a:lnTo>
                    <a:lnTo>
                      <a:pt x="39" y="510"/>
                    </a:lnTo>
                    <a:lnTo>
                      <a:pt x="42" y="507"/>
                    </a:lnTo>
                    <a:lnTo>
                      <a:pt x="45" y="504"/>
                    </a:lnTo>
                    <a:lnTo>
                      <a:pt x="48" y="504"/>
                    </a:lnTo>
                    <a:lnTo>
                      <a:pt x="48" y="499"/>
                    </a:lnTo>
                    <a:lnTo>
                      <a:pt x="45" y="496"/>
                    </a:lnTo>
                    <a:lnTo>
                      <a:pt x="39" y="493"/>
                    </a:lnTo>
                    <a:lnTo>
                      <a:pt x="39" y="490"/>
                    </a:lnTo>
                    <a:lnTo>
                      <a:pt x="36" y="490"/>
                    </a:lnTo>
                    <a:lnTo>
                      <a:pt x="39" y="490"/>
                    </a:lnTo>
                    <a:lnTo>
                      <a:pt x="39" y="487"/>
                    </a:lnTo>
                    <a:lnTo>
                      <a:pt x="42" y="482"/>
                    </a:lnTo>
                    <a:lnTo>
                      <a:pt x="42" y="479"/>
                    </a:lnTo>
                    <a:lnTo>
                      <a:pt x="42" y="476"/>
                    </a:lnTo>
                    <a:lnTo>
                      <a:pt x="42" y="474"/>
                    </a:lnTo>
                    <a:lnTo>
                      <a:pt x="42" y="471"/>
                    </a:lnTo>
                    <a:lnTo>
                      <a:pt x="45" y="471"/>
                    </a:lnTo>
                    <a:lnTo>
                      <a:pt x="45" y="465"/>
                    </a:lnTo>
                    <a:lnTo>
                      <a:pt x="45" y="460"/>
                    </a:lnTo>
                    <a:lnTo>
                      <a:pt x="48" y="457"/>
                    </a:lnTo>
                    <a:lnTo>
                      <a:pt x="48" y="454"/>
                    </a:lnTo>
                    <a:lnTo>
                      <a:pt x="45" y="451"/>
                    </a:lnTo>
                    <a:lnTo>
                      <a:pt x="48" y="448"/>
                    </a:lnTo>
                    <a:lnTo>
                      <a:pt x="50" y="448"/>
                    </a:lnTo>
                    <a:lnTo>
                      <a:pt x="50" y="454"/>
                    </a:lnTo>
                    <a:lnTo>
                      <a:pt x="50" y="446"/>
                    </a:lnTo>
                    <a:lnTo>
                      <a:pt x="48" y="446"/>
                    </a:lnTo>
                    <a:lnTo>
                      <a:pt x="45" y="443"/>
                    </a:lnTo>
                    <a:lnTo>
                      <a:pt x="45" y="440"/>
                    </a:lnTo>
                    <a:lnTo>
                      <a:pt x="48" y="440"/>
                    </a:lnTo>
                    <a:lnTo>
                      <a:pt x="50" y="437"/>
                    </a:lnTo>
                    <a:lnTo>
                      <a:pt x="53" y="437"/>
                    </a:lnTo>
                    <a:lnTo>
                      <a:pt x="50" y="437"/>
                    </a:lnTo>
                    <a:lnTo>
                      <a:pt x="48" y="437"/>
                    </a:lnTo>
                    <a:lnTo>
                      <a:pt x="45" y="435"/>
                    </a:lnTo>
                    <a:lnTo>
                      <a:pt x="42" y="435"/>
                    </a:lnTo>
                    <a:lnTo>
                      <a:pt x="39" y="435"/>
                    </a:lnTo>
                    <a:lnTo>
                      <a:pt x="39" y="437"/>
                    </a:lnTo>
                    <a:lnTo>
                      <a:pt x="34" y="440"/>
                    </a:lnTo>
                    <a:lnTo>
                      <a:pt x="31" y="437"/>
                    </a:lnTo>
                    <a:lnTo>
                      <a:pt x="31" y="435"/>
                    </a:lnTo>
                    <a:lnTo>
                      <a:pt x="28" y="435"/>
                    </a:lnTo>
                    <a:lnTo>
                      <a:pt x="28" y="432"/>
                    </a:lnTo>
                    <a:lnTo>
                      <a:pt x="28" y="418"/>
                    </a:lnTo>
                    <a:lnTo>
                      <a:pt x="31" y="415"/>
                    </a:lnTo>
                    <a:lnTo>
                      <a:pt x="31" y="401"/>
                    </a:lnTo>
                    <a:lnTo>
                      <a:pt x="34" y="398"/>
                    </a:lnTo>
                    <a:lnTo>
                      <a:pt x="36" y="396"/>
                    </a:lnTo>
                    <a:lnTo>
                      <a:pt x="36" y="393"/>
                    </a:lnTo>
                    <a:lnTo>
                      <a:pt x="34" y="379"/>
                    </a:lnTo>
                    <a:lnTo>
                      <a:pt x="31" y="373"/>
                    </a:lnTo>
                    <a:lnTo>
                      <a:pt x="34" y="373"/>
                    </a:lnTo>
                    <a:lnTo>
                      <a:pt x="34" y="365"/>
                    </a:lnTo>
                    <a:lnTo>
                      <a:pt x="31" y="359"/>
                    </a:lnTo>
                    <a:lnTo>
                      <a:pt x="31" y="348"/>
                    </a:lnTo>
                    <a:lnTo>
                      <a:pt x="34" y="345"/>
                    </a:lnTo>
                    <a:lnTo>
                      <a:pt x="36" y="348"/>
                    </a:lnTo>
                    <a:lnTo>
                      <a:pt x="39" y="345"/>
                    </a:lnTo>
                    <a:lnTo>
                      <a:pt x="39" y="337"/>
                    </a:lnTo>
                    <a:lnTo>
                      <a:pt x="42" y="337"/>
                    </a:lnTo>
                    <a:lnTo>
                      <a:pt x="56" y="295"/>
                    </a:lnTo>
                    <a:lnTo>
                      <a:pt x="56" y="293"/>
                    </a:lnTo>
                    <a:lnTo>
                      <a:pt x="59" y="284"/>
                    </a:lnTo>
                    <a:lnTo>
                      <a:pt x="62" y="281"/>
                    </a:lnTo>
                    <a:lnTo>
                      <a:pt x="62" y="270"/>
                    </a:lnTo>
                    <a:lnTo>
                      <a:pt x="64" y="265"/>
                    </a:lnTo>
                    <a:lnTo>
                      <a:pt x="62" y="217"/>
                    </a:lnTo>
                    <a:lnTo>
                      <a:pt x="64" y="215"/>
                    </a:lnTo>
                    <a:lnTo>
                      <a:pt x="67" y="209"/>
                    </a:lnTo>
                    <a:lnTo>
                      <a:pt x="64" y="198"/>
                    </a:lnTo>
                    <a:lnTo>
                      <a:pt x="64" y="195"/>
                    </a:lnTo>
                    <a:lnTo>
                      <a:pt x="67" y="190"/>
                    </a:lnTo>
                    <a:lnTo>
                      <a:pt x="70" y="173"/>
                    </a:lnTo>
                    <a:lnTo>
                      <a:pt x="73" y="170"/>
                    </a:lnTo>
                    <a:lnTo>
                      <a:pt x="73" y="162"/>
                    </a:lnTo>
                    <a:lnTo>
                      <a:pt x="75" y="159"/>
                    </a:lnTo>
                    <a:lnTo>
                      <a:pt x="78" y="145"/>
                    </a:lnTo>
                    <a:lnTo>
                      <a:pt x="75" y="137"/>
                    </a:lnTo>
                    <a:lnTo>
                      <a:pt x="78" y="134"/>
                    </a:lnTo>
                    <a:lnTo>
                      <a:pt x="81" y="131"/>
                    </a:lnTo>
                    <a:lnTo>
                      <a:pt x="81" y="100"/>
                    </a:lnTo>
                    <a:lnTo>
                      <a:pt x="78" y="98"/>
                    </a:lnTo>
                    <a:lnTo>
                      <a:pt x="78" y="92"/>
                    </a:lnTo>
                    <a:lnTo>
                      <a:pt x="81" y="92"/>
                    </a:lnTo>
                    <a:lnTo>
                      <a:pt x="84" y="89"/>
                    </a:lnTo>
                    <a:lnTo>
                      <a:pt x="87" y="64"/>
                    </a:lnTo>
                    <a:lnTo>
                      <a:pt x="78" y="11"/>
                    </a:lnTo>
                    <a:lnTo>
                      <a:pt x="81" y="9"/>
                    </a:lnTo>
                    <a:lnTo>
                      <a:pt x="84" y="9"/>
                    </a:lnTo>
                    <a:lnTo>
                      <a:pt x="87" y="9"/>
                    </a:lnTo>
                    <a:lnTo>
                      <a:pt x="89" y="9"/>
                    </a:lnTo>
                    <a:lnTo>
                      <a:pt x="89" y="6"/>
                    </a:lnTo>
                    <a:lnTo>
                      <a:pt x="92" y="3"/>
                    </a:lnTo>
                    <a:lnTo>
                      <a:pt x="92" y="0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7" name="Freeform 205"/>
              <p:cNvSpPr>
                <a:spLocks noChangeAspect="1"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3767437" y="5388824"/>
                <a:ext cx="54664" cy="83567"/>
              </a:xfrm>
              <a:custGeom>
                <a:avLst/>
                <a:gdLst>
                  <a:gd name="T0" fmla="*/ 72210381 w 42"/>
                  <a:gd name="T1" fmla="*/ 100926720 h 67"/>
                  <a:gd name="T2" fmla="*/ 72210381 w 42"/>
                  <a:gd name="T3" fmla="*/ 100926720 h 67"/>
                  <a:gd name="T4" fmla="*/ 62952084 w 42"/>
                  <a:gd name="T5" fmla="*/ 100926720 h 67"/>
                  <a:gd name="T6" fmla="*/ 40734339 w 42"/>
                  <a:gd name="T7" fmla="*/ 100926720 h 67"/>
                  <a:gd name="T8" fmla="*/ 20367169 w 42"/>
                  <a:gd name="T9" fmla="*/ 96194958 h 67"/>
                  <a:gd name="T10" fmla="*/ 14812736 w 42"/>
                  <a:gd name="T11" fmla="*/ 96194958 h 67"/>
                  <a:gd name="T12" fmla="*/ 14812736 w 42"/>
                  <a:gd name="T13" fmla="*/ 93041705 h 67"/>
                  <a:gd name="T14" fmla="*/ 11108870 w 42"/>
                  <a:gd name="T15" fmla="*/ 93041705 h 67"/>
                  <a:gd name="T16" fmla="*/ 5554435 w 42"/>
                  <a:gd name="T17" fmla="*/ 88309943 h 67"/>
                  <a:gd name="T18" fmla="*/ 0 w 42"/>
                  <a:gd name="T19" fmla="*/ 93041705 h 67"/>
                  <a:gd name="T20" fmla="*/ 0 w 42"/>
                  <a:gd name="T21" fmla="*/ 83579437 h 67"/>
                  <a:gd name="T22" fmla="*/ 5554435 w 42"/>
                  <a:gd name="T23" fmla="*/ 83579437 h 67"/>
                  <a:gd name="T24" fmla="*/ 11108870 w 42"/>
                  <a:gd name="T25" fmla="*/ 78848910 h 67"/>
                  <a:gd name="T26" fmla="*/ 14812736 w 42"/>
                  <a:gd name="T27" fmla="*/ 78848910 h 67"/>
                  <a:gd name="T28" fmla="*/ 14812736 w 42"/>
                  <a:gd name="T29" fmla="*/ 74117148 h 67"/>
                  <a:gd name="T30" fmla="*/ 11108870 w 42"/>
                  <a:gd name="T31" fmla="*/ 66233389 h 67"/>
                  <a:gd name="T32" fmla="*/ 31476042 w 42"/>
                  <a:gd name="T33" fmla="*/ 83579437 h 67"/>
                  <a:gd name="T34" fmla="*/ 37030476 w 42"/>
                  <a:gd name="T35" fmla="*/ 78848910 h 67"/>
                  <a:gd name="T36" fmla="*/ 31476042 w 42"/>
                  <a:gd name="T37" fmla="*/ 74117148 h 67"/>
                  <a:gd name="T38" fmla="*/ 40734339 w 42"/>
                  <a:gd name="T39" fmla="*/ 78848910 h 67"/>
                  <a:gd name="T40" fmla="*/ 46288783 w 42"/>
                  <a:gd name="T41" fmla="*/ 74117148 h 67"/>
                  <a:gd name="T42" fmla="*/ 51843217 w 42"/>
                  <a:gd name="T43" fmla="*/ 78848910 h 67"/>
                  <a:gd name="T44" fmla="*/ 57397650 w 42"/>
                  <a:gd name="T45" fmla="*/ 74117148 h 67"/>
                  <a:gd name="T46" fmla="*/ 37030476 w 42"/>
                  <a:gd name="T47" fmla="*/ 66233389 h 67"/>
                  <a:gd name="T48" fmla="*/ 37030476 w 42"/>
                  <a:gd name="T49" fmla="*/ 48886106 h 67"/>
                  <a:gd name="T50" fmla="*/ 40734339 w 42"/>
                  <a:gd name="T51" fmla="*/ 48886106 h 67"/>
                  <a:gd name="T52" fmla="*/ 57397650 w 42"/>
                  <a:gd name="T53" fmla="*/ 39423827 h 67"/>
                  <a:gd name="T54" fmla="*/ 51843217 w 42"/>
                  <a:gd name="T55" fmla="*/ 34693321 h 67"/>
                  <a:gd name="T56" fmla="*/ 37030476 w 42"/>
                  <a:gd name="T57" fmla="*/ 39423827 h 67"/>
                  <a:gd name="T58" fmla="*/ 25921608 w 42"/>
                  <a:gd name="T59" fmla="*/ 31540068 h 67"/>
                  <a:gd name="T60" fmla="*/ 31476042 w 42"/>
                  <a:gd name="T61" fmla="*/ 22077800 h 67"/>
                  <a:gd name="T62" fmla="*/ 37030476 w 42"/>
                  <a:gd name="T63" fmla="*/ 22077800 h 67"/>
                  <a:gd name="T64" fmla="*/ 31476042 w 42"/>
                  <a:gd name="T65" fmla="*/ 12615526 h 67"/>
                  <a:gd name="T66" fmla="*/ 25921608 w 42"/>
                  <a:gd name="T67" fmla="*/ 9462271 h 67"/>
                  <a:gd name="T68" fmla="*/ 40734339 w 42"/>
                  <a:gd name="T69" fmla="*/ 12615526 h 67"/>
                  <a:gd name="T70" fmla="*/ 46288783 w 42"/>
                  <a:gd name="T71" fmla="*/ 9462271 h 67"/>
                  <a:gd name="T72" fmla="*/ 57397650 w 42"/>
                  <a:gd name="T73" fmla="*/ 0 h 67"/>
                  <a:gd name="T74" fmla="*/ 66655947 w 42"/>
                  <a:gd name="T75" fmla="*/ 4730508 h 67"/>
                  <a:gd name="T76" fmla="*/ 77764814 w 42"/>
                  <a:gd name="T77" fmla="*/ 0 h 67"/>
                  <a:gd name="T78" fmla="*/ 77764814 w 42"/>
                  <a:gd name="T79" fmla="*/ 100926720 h 67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42"/>
                  <a:gd name="T121" fmla="*/ 0 h 67"/>
                  <a:gd name="T122" fmla="*/ 42 w 42"/>
                  <a:gd name="T123" fmla="*/ 67 h 67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42" h="67">
                    <a:moveTo>
                      <a:pt x="42" y="64"/>
                    </a:moveTo>
                    <a:lnTo>
                      <a:pt x="39" y="64"/>
                    </a:lnTo>
                    <a:lnTo>
                      <a:pt x="42" y="64"/>
                    </a:lnTo>
                    <a:lnTo>
                      <a:pt x="39" y="64"/>
                    </a:lnTo>
                    <a:lnTo>
                      <a:pt x="36" y="67"/>
                    </a:lnTo>
                    <a:lnTo>
                      <a:pt x="34" y="64"/>
                    </a:lnTo>
                    <a:lnTo>
                      <a:pt x="22" y="61"/>
                    </a:lnTo>
                    <a:lnTo>
                      <a:pt x="22" y="64"/>
                    </a:lnTo>
                    <a:lnTo>
                      <a:pt x="17" y="64"/>
                    </a:lnTo>
                    <a:lnTo>
                      <a:pt x="11" y="61"/>
                    </a:lnTo>
                    <a:lnTo>
                      <a:pt x="8" y="61"/>
                    </a:lnTo>
                    <a:lnTo>
                      <a:pt x="8" y="59"/>
                    </a:lnTo>
                    <a:lnTo>
                      <a:pt x="6" y="59"/>
                    </a:lnTo>
                    <a:lnTo>
                      <a:pt x="8" y="59"/>
                    </a:lnTo>
                    <a:lnTo>
                      <a:pt x="3" y="56"/>
                    </a:lnTo>
                    <a:lnTo>
                      <a:pt x="3" y="59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0" y="53"/>
                    </a:lnTo>
                    <a:lnTo>
                      <a:pt x="3" y="53"/>
                    </a:lnTo>
                    <a:lnTo>
                      <a:pt x="3" y="50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1" y="50"/>
                    </a:lnTo>
                    <a:lnTo>
                      <a:pt x="8" y="47"/>
                    </a:lnTo>
                    <a:lnTo>
                      <a:pt x="6" y="45"/>
                    </a:lnTo>
                    <a:lnTo>
                      <a:pt x="6" y="42"/>
                    </a:lnTo>
                    <a:lnTo>
                      <a:pt x="17" y="50"/>
                    </a:lnTo>
                    <a:lnTo>
                      <a:pt x="17" y="53"/>
                    </a:lnTo>
                    <a:lnTo>
                      <a:pt x="20" y="50"/>
                    </a:lnTo>
                    <a:lnTo>
                      <a:pt x="17" y="50"/>
                    </a:lnTo>
                    <a:lnTo>
                      <a:pt x="17" y="47"/>
                    </a:lnTo>
                    <a:lnTo>
                      <a:pt x="20" y="45"/>
                    </a:lnTo>
                    <a:lnTo>
                      <a:pt x="22" y="50"/>
                    </a:lnTo>
                    <a:lnTo>
                      <a:pt x="22" y="47"/>
                    </a:lnTo>
                    <a:lnTo>
                      <a:pt x="25" y="47"/>
                    </a:lnTo>
                    <a:lnTo>
                      <a:pt x="28" y="50"/>
                    </a:lnTo>
                    <a:lnTo>
                      <a:pt x="31" y="50"/>
                    </a:lnTo>
                    <a:lnTo>
                      <a:pt x="31" y="47"/>
                    </a:lnTo>
                    <a:lnTo>
                      <a:pt x="22" y="45"/>
                    </a:lnTo>
                    <a:lnTo>
                      <a:pt x="20" y="42"/>
                    </a:lnTo>
                    <a:lnTo>
                      <a:pt x="20" y="34"/>
                    </a:lnTo>
                    <a:lnTo>
                      <a:pt x="20" y="31"/>
                    </a:lnTo>
                    <a:lnTo>
                      <a:pt x="22" y="31"/>
                    </a:lnTo>
                    <a:lnTo>
                      <a:pt x="31" y="28"/>
                    </a:lnTo>
                    <a:lnTo>
                      <a:pt x="31" y="25"/>
                    </a:lnTo>
                    <a:lnTo>
                      <a:pt x="31" y="22"/>
                    </a:lnTo>
                    <a:lnTo>
                      <a:pt x="28" y="22"/>
                    </a:lnTo>
                    <a:lnTo>
                      <a:pt x="25" y="22"/>
                    </a:lnTo>
                    <a:lnTo>
                      <a:pt x="20" y="25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20" y="14"/>
                    </a:lnTo>
                    <a:lnTo>
                      <a:pt x="20" y="11"/>
                    </a:lnTo>
                    <a:lnTo>
                      <a:pt x="17" y="8"/>
                    </a:lnTo>
                    <a:lnTo>
                      <a:pt x="14" y="6"/>
                    </a:lnTo>
                    <a:lnTo>
                      <a:pt x="20" y="6"/>
                    </a:lnTo>
                    <a:lnTo>
                      <a:pt x="22" y="8"/>
                    </a:lnTo>
                    <a:lnTo>
                      <a:pt x="25" y="6"/>
                    </a:lnTo>
                    <a:lnTo>
                      <a:pt x="28" y="0"/>
                    </a:lnTo>
                    <a:lnTo>
                      <a:pt x="31" y="0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9" y="3"/>
                    </a:lnTo>
                    <a:lnTo>
                      <a:pt x="42" y="0"/>
                    </a:lnTo>
                    <a:lnTo>
                      <a:pt x="42" y="3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8" name="Freeform 270"/>
              <p:cNvSpPr>
                <a:spLocks noChangeAspect="1"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3960281" y="3801047"/>
                <a:ext cx="3037" cy="4731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0 w 2"/>
                  <a:gd name="T5" fmla="*/ 7562057 h 3"/>
                  <a:gd name="T6" fmla="*/ 0 w 2"/>
                  <a:gd name="T7" fmla="*/ 7562057 h 3"/>
                  <a:gd name="T8" fmla="*/ 0 w 2"/>
                  <a:gd name="T9" fmla="*/ 7562057 h 3"/>
                  <a:gd name="T10" fmla="*/ 5040312 w 2"/>
                  <a:gd name="T11" fmla="*/ 7562057 h 3"/>
                  <a:gd name="T12" fmla="*/ 5040312 w 2"/>
                  <a:gd name="T13" fmla="*/ 0 h 3"/>
                  <a:gd name="T14" fmla="*/ 0 w 2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3"/>
                  <a:gd name="T26" fmla="*/ 2 w 2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19" name="Freeform 271"/>
              <p:cNvSpPr>
                <a:spLocks noChangeAspect="1"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3960281" y="3801047"/>
                <a:ext cx="3037" cy="4731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0 w 2"/>
                  <a:gd name="T5" fmla="*/ 7562057 h 3"/>
                  <a:gd name="T6" fmla="*/ 0 w 2"/>
                  <a:gd name="T7" fmla="*/ 7562057 h 3"/>
                  <a:gd name="T8" fmla="*/ 0 w 2"/>
                  <a:gd name="T9" fmla="*/ 7562057 h 3"/>
                  <a:gd name="T10" fmla="*/ 5040312 w 2"/>
                  <a:gd name="T11" fmla="*/ 7562057 h 3"/>
                  <a:gd name="T12" fmla="*/ 5040312 w 2"/>
                  <a:gd name="T13" fmla="*/ 0 h 3"/>
                  <a:gd name="T14" fmla="*/ 0 w 2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3"/>
                  <a:gd name="T26" fmla="*/ 2 w 2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0" name="Freeform 272"/>
              <p:cNvSpPr>
                <a:spLocks noChangeAspect="1"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3973946" y="3849926"/>
                <a:ext cx="6074" cy="11037"/>
              </a:xfrm>
              <a:custGeom>
                <a:avLst/>
                <a:gdLst>
                  <a:gd name="T0" fmla="*/ 0 w 5"/>
                  <a:gd name="T1" fmla="*/ 0 h 8"/>
                  <a:gd name="T2" fmla="*/ 0 w 5"/>
                  <a:gd name="T3" fmla="*/ 0 h 8"/>
                  <a:gd name="T4" fmla="*/ 4838699 w 5"/>
                  <a:gd name="T5" fmla="*/ 3858642 h 8"/>
                  <a:gd name="T6" fmla="*/ 8064499 w 5"/>
                  <a:gd name="T7" fmla="*/ 15434566 h 8"/>
                  <a:gd name="T8" fmla="*/ 8064499 w 5"/>
                  <a:gd name="T9" fmla="*/ 15434566 h 8"/>
                  <a:gd name="T10" fmla="*/ 4838699 w 5"/>
                  <a:gd name="T11" fmla="*/ 15434566 h 8"/>
                  <a:gd name="T12" fmla="*/ 4838699 w 5"/>
                  <a:gd name="T13" fmla="*/ 15434566 h 8"/>
                  <a:gd name="T14" fmla="*/ 0 w 5"/>
                  <a:gd name="T15" fmla="*/ 0 h 8"/>
                  <a:gd name="T16" fmla="*/ 0 w 5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8"/>
                  <a:gd name="T29" fmla="*/ 5 w 5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1" name="Freeform 273"/>
              <p:cNvSpPr>
                <a:spLocks noChangeAspect="1"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3973946" y="3849926"/>
                <a:ext cx="6074" cy="11037"/>
              </a:xfrm>
              <a:custGeom>
                <a:avLst/>
                <a:gdLst>
                  <a:gd name="T0" fmla="*/ 0 w 5"/>
                  <a:gd name="T1" fmla="*/ 0 h 8"/>
                  <a:gd name="T2" fmla="*/ 0 w 5"/>
                  <a:gd name="T3" fmla="*/ 0 h 8"/>
                  <a:gd name="T4" fmla="*/ 4838699 w 5"/>
                  <a:gd name="T5" fmla="*/ 3858642 h 8"/>
                  <a:gd name="T6" fmla="*/ 8064499 w 5"/>
                  <a:gd name="T7" fmla="*/ 15434566 h 8"/>
                  <a:gd name="T8" fmla="*/ 8064499 w 5"/>
                  <a:gd name="T9" fmla="*/ 15434566 h 8"/>
                  <a:gd name="T10" fmla="*/ 4838699 w 5"/>
                  <a:gd name="T11" fmla="*/ 15434566 h 8"/>
                  <a:gd name="T12" fmla="*/ 4838699 w 5"/>
                  <a:gd name="T13" fmla="*/ 15434566 h 8"/>
                  <a:gd name="T14" fmla="*/ 0 w 5"/>
                  <a:gd name="T15" fmla="*/ 0 h 8"/>
                  <a:gd name="T16" fmla="*/ 0 w 5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8"/>
                  <a:gd name="T29" fmla="*/ 5 w 5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8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2" name="Freeform 274"/>
              <p:cNvSpPr>
                <a:spLocks noChangeAspect="1"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3908654" y="3924031"/>
                <a:ext cx="10628" cy="7884"/>
              </a:xfrm>
              <a:custGeom>
                <a:avLst/>
                <a:gdLst>
                  <a:gd name="T0" fmla="*/ 15434566 w 8"/>
                  <a:gd name="T1" fmla="*/ 0 h 6"/>
                  <a:gd name="T2" fmla="*/ 15434566 w 8"/>
                  <a:gd name="T3" fmla="*/ 5250987 h 6"/>
                  <a:gd name="T4" fmla="*/ 15434566 w 8"/>
                  <a:gd name="T5" fmla="*/ 5250987 h 6"/>
                  <a:gd name="T6" fmla="*/ 9646603 w 8"/>
                  <a:gd name="T7" fmla="*/ 10501973 h 6"/>
                  <a:gd name="T8" fmla="*/ 9646603 w 8"/>
                  <a:gd name="T9" fmla="*/ 10501973 h 6"/>
                  <a:gd name="T10" fmla="*/ 3858642 w 8"/>
                  <a:gd name="T11" fmla="*/ 10501973 h 6"/>
                  <a:gd name="T12" fmla="*/ 0 w 8"/>
                  <a:gd name="T13" fmla="*/ 10501973 h 6"/>
                  <a:gd name="T14" fmla="*/ 0 w 8"/>
                  <a:gd name="T15" fmla="*/ 5250987 h 6"/>
                  <a:gd name="T16" fmla="*/ 3858642 w 8"/>
                  <a:gd name="T17" fmla="*/ 5250987 h 6"/>
                  <a:gd name="T18" fmla="*/ 3858642 w 8"/>
                  <a:gd name="T19" fmla="*/ 5250987 h 6"/>
                  <a:gd name="T20" fmla="*/ 9646603 w 8"/>
                  <a:gd name="T21" fmla="*/ 5250987 h 6"/>
                  <a:gd name="T22" fmla="*/ 15434566 w 8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6"/>
                  <a:gd name="T38" fmla="*/ 8 w 8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6">
                    <a:moveTo>
                      <a:pt x="8" y="0"/>
                    </a:moveTo>
                    <a:lnTo>
                      <a:pt x="8" y="3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3" name="Freeform 275"/>
              <p:cNvSpPr>
                <a:spLocks noChangeAspect="1"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3908654" y="3924031"/>
                <a:ext cx="10628" cy="7884"/>
              </a:xfrm>
              <a:custGeom>
                <a:avLst/>
                <a:gdLst>
                  <a:gd name="T0" fmla="*/ 15434566 w 8"/>
                  <a:gd name="T1" fmla="*/ 0 h 6"/>
                  <a:gd name="T2" fmla="*/ 15434566 w 8"/>
                  <a:gd name="T3" fmla="*/ 5250987 h 6"/>
                  <a:gd name="T4" fmla="*/ 15434566 w 8"/>
                  <a:gd name="T5" fmla="*/ 5250987 h 6"/>
                  <a:gd name="T6" fmla="*/ 9646603 w 8"/>
                  <a:gd name="T7" fmla="*/ 10501973 h 6"/>
                  <a:gd name="T8" fmla="*/ 9646603 w 8"/>
                  <a:gd name="T9" fmla="*/ 10501973 h 6"/>
                  <a:gd name="T10" fmla="*/ 3858642 w 8"/>
                  <a:gd name="T11" fmla="*/ 10501973 h 6"/>
                  <a:gd name="T12" fmla="*/ 0 w 8"/>
                  <a:gd name="T13" fmla="*/ 10501973 h 6"/>
                  <a:gd name="T14" fmla="*/ 0 w 8"/>
                  <a:gd name="T15" fmla="*/ 5250987 h 6"/>
                  <a:gd name="T16" fmla="*/ 3858642 w 8"/>
                  <a:gd name="T17" fmla="*/ 5250987 h 6"/>
                  <a:gd name="T18" fmla="*/ 3858642 w 8"/>
                  <a:gd name="T19" fmla="*/ 5250987 h 6"/>
                  <a:gd name="T20" fmla="*/ 9646603 w 8"/>
                  <a:gd name="T21" fmla="*/ 5250987 h 6"/>
                  <a:gd name="T22" fmla="*/ 15434566 w 8"/>
                  <a:gd name="T23" fmla="*/ 0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"/>
                  <a:gd name="T37" fmla="*/ 0 h 6"/>
                  <a:gd name="T38" fmla="*/ 8 w 8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" h="6">
                    <a:moveTo>
                      <a:pt x="8" y="0"/>
                    </a:moveTo>
                    <a:lnTo>
                      <a:pt x="8" y="3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4" name="Freeform 305"/>
              <p:cNvSpPr>
                <a:spLocks noChangeAspect="1"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4321673" y="2643721"/>
                <a:ext cx="9110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2147483647 h 6"/>
                  <a:gd name="T4" fmla="*/ 0 w 6"/>
                  <a:gd name="T5" fmla="*/ 0 h 6"/>
                  <a:gd name="T6" fmla="*/ 0 w 6"/>
                  <a:gd name="T7" fmla="*/ 2147483647 h 6"/>
                  <a:gd name="T8" fmla="*/ 0 w 6"/>
                  <a:gd name="T9" fmla="*/ 2147483647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0 h 6"/>
                  <a:gd name="T16" fmla="*/ 2147483647 w 6"/>
                  <a:gd name="T17" fmla="*/ 0 h 6"/>
                  <a:gd name="T18" fmla="*/ 0 w 6"/>
                  <a:gd name="T19" fmla="*/ 0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6"/>
                  <a:gd name="T32" fmla="*/ 6 w 6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5" name="Freeform 306"/>
              <p:cNvSpPr>
                <a:spLocks noChangeAspect="1"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4321673" y="2643721"/>
                <a:ext cx="9110" cy="7884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2147483647 h 6"/>
                  <a:gd name="T4" fmla="*/ 0 w 6"/>
                  <a:gd name="T5" fmla="*/ 0 h 6"/>
                  <a:gd name="T6" fmla="*/ 0 w 6"/>
                  <a:gd name="T7" fmla="*/ 2147483647 h 6"/>
                  <a:gd name="T8" fmla="*/ 0 w 6"/>
                  <a:gd name="T9" fmla="*/ 2147483647 h 6"/>
                  <a:gd name="T10" fmla="*/ 2147483647 w 6"/>
                  <a:gd name="T11" fmla="*/ 2147483647 h 6"/>
                  <a:gd name="T12" fmla="*/ 2147483647 w 6"/>
                  <a:gd name="T13" fmla="*/ 2147483647 h 6"/>
                  <a:gd name="T14" fmla="*/ 2147483647 w 6"/>
                  <a:gd name="T15" fmla="*/ 0 h 6"/>
                  <a:gd name="T16" fmla="*/ 2147483647 w 6"/>
                  <a:gd name="T17" fmla="*/ 0 h 6"/>
                  <a:gd name="T18" fmla="*/ 0 w 6"/>
                  <a:gd name="T19" fmla="*/ 0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6"/>
                  <a:gd name="T32" fmla="*/ 6 w 6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6" name="Freeform 307"/>
              <p:cNvSpPr>
                <a:spLocks noChangeAspect="1"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4321673" y="2635836"/>
                <a:ext cx="19739" cy="7884"/>
              </a:xfrm>
              <a:custGeom>
                <a:avLst/>
                <a:gdLst>
                  <a:gd name="T0" fmla="*/ 2147483647 w 14"/>
                  <a:gd name="T1" fmla="*/ 2147483647 h 6"/>
                  <a:gd name="T2" fmla="*/ 2147483647 w 14"/>
                  <a:gd name="T3" fmla="*/ 2147483647 h 6"/>
                  <a:gd name="T4" fmla="*/ 2147483647 w 14"/>
                  <a:gd name="T5" fmla="*/ 0 h 6"/>
                  <a:gd name="T6" fmla="*/ 0 w 14"/>
                  <a:gd name="T7" fmla="*/ 0 h 6"/>
                  <a:gd name="T8" fmla="*/ 2147483647 w 14"/>
                  <a:gd name="T9" fmla="*/ 2147483647 h 6"/>
                  <a:gd name="T10" fmla="*/ 2147483647 w 14"/>
                  <a:gd name="T11" fmla="*/ 2147483647 h 6"/>
                  <a:gd name="T12" fmla="*/ 2147483647 w 14"/>
                  <a:gd name="T13" fmla="*/ 2147483647 h 6"/>
                  <a:gd name="T14" fmla="*/ 2147483647 w 14"/>
                  <a:gd name="T15" fmla="*/ 2147483647 h 6"/>
                  <a:gd name="T16" fmla="*/ 2147483647 w 14"/>
                  <a:gd name="T17" fmla="*/ 2147483647 h 6"/>
                  <a:gd name="T18" fmla="*/ 2147483647 w 14"/>
                  <a:gd name="T19" fmla="*/ 2147483647 h 6"/>
                  <a:gd name="T20" fmla="*/ 2147483647 w 14"/>
                  <a:gd name="T21" fmla="*/ 2147483647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6"/>
                  <a:gd name="T35" fmla="*/ 14 w 14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6">
                    <a:moveTo>
                      <a:pt x="14" y="3"/>
                    </a:moveTo>
                    <a:lnTo>
                      <a:pt x="14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7" name="Freeform 308"/>
              <p:cNvSpPr>
                <a:spLocks noChangeAspect="1"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4321673" y="2635836"/>
                <a:ext cx="19739" cy="7884"/>
              </a:xfrm>
              <a:custGeom>
                <a:avLst/>
                <a:gdLst>
                  <a:gd name="T0" fmla="*/ 2147483647 w 14"/>
                  <a:gd name="T1" fmla="*/ 2147483647 h 6"/>
                  <a:gd name="T2" fmla="*/ 2147483647 w 14"/>
                  <a:gd name="T3" fmla="*/ 2147483647 h 6"/>
                  <a:gd name="T4" fmla="*/ 2147483647 w 14"/>
                  <a:gd name="T5" fmla="*/ 0 h 6"/>
                  <a:gd name="T6" fmla="*/ 0 w 14"/>
                  <a:gd name="T7" fmla="*/ 0 h 6"/>
                  <a:gd name="T8" fmla="*/ 2147483647 w 14"/>
                  <a:gd name="T9" fmla="*/ 2147483647 h 6"/>
                  <a:gd name="T10" fmla="*/ 2147483647 w 14"/>
                  <a:gd name="T11" fmla="*/ 2147483647 h 6"/>
                  <a:gd name="T12" fmla="*/ 2147483647 w 14"/>
                  <a:gd name="T13" fmla="*/ 2147483647 h 6"/>
                  <a:gd name="T14" fmla="*/ 2147483647 w 14"/>
                  <a:gd name="T15" fmla="*/ 2147483647 h 6"/>
                  <a:gd name="T16" fmla="*/ 2147483647 w 14"/>
                  <a:gd name="T17" fmla="*/ 2147483647 h 6"/>
                  <a:gd name="T18" fmla="*/ 2147483647 w 14"/>
                  <a:gd name="T19" fmla="*/ 2147483647 h 6"/>
                  <a:gd name="T20" fmla="*/ 2147483647 w 14"/>
                  <a:gd name="T21" fmla="*/ 2147483647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6"/>
                  <a:gd name="T35" fmla="*/ 14 w 14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6">
                    <a:moveTo>
                      <a:pt x="14" y="3"/>
                    </a:moveTo>
                    <a:lnTo>
                      <a:pt x="14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14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8" name="Freeform 309"/>
              <p:cNvSpPr>
                <a:spLocks noChangeAspect="1"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2813847" y="3544038"/>
                <a:ext cx="4557" cy="4730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0 h 3"/>
                  <a:gd name="T6" fmla="*/ 7562057 w 3"/>
                  <a:gd name="T7" fmla="*/ 0 h 3"/>
                  <a:gd name="T8" fmla="*/ 7562057 w 3"/>
                  <a:gd name="T9" fmla="*/ 7558882 h 3"/>
                  <a:gd name="T10" fmla="*/ 7562057 w 3"/>
                  <a:gd name="T11" fmla="*/ 7558882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29" name="Freeform 310"/>
              <p:cNvSpPr>
                <a:spLocks noChangeAspect="1"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2813847" y="3544038"/>
                <a:ext cx="4557" cy="4730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0 h 3"/>
                  <a:gd name="T6" fmla="*/ 7562057 w 3"/>
                  <a:gd name="T7" fmla="*/ 0 h 3"/>
                  <a:gd name="T8" fmla="*/ 7562057 w 3"/>
                  <a:gd name="T9" fmla="*/ 7558882 h 3"/>
                  <a:gd name="T10" fmla="*/ 7562057 w 3"/>
                  <a:gd name="T11" fmla="*/ 7558882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0" name="Freeform 311"/>
              <p:cNvSpPr>
                <a:spLocks noChangeAspect="1"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2879140" y="3562959"/>
                <a:ext cx="0" cy="6307"/>
              </a:xfrm>
              <a:custGeom>
                <a:avLst/>
                <a:gdLst>
                  <a:gd name="T0" fmla="*/ 8064499 h 5"/>
                  <a:gd name="T1" fmla="*/ 8064499 h 5"/>
                  <a:gd name="T2" fmla="*/ 4838699 h 5"/>
                  <a:gd name="T3" fmla="*/ 4838699 h 5"/>
                  <a:gd name="T4" fmla="*/ 4838699 h 5"/>
                  <a:gd name="T5" fmla="*/ 4838699 h 5"/>
                  <a:gd name="T6" fmla="*/ 0 h 5"/>
                  <a:gd name="T7" fmla="*/ 0 h 5"/>
                  <a:gd name="T8" fmla="*/ 4838699 h 5"/>
                  <a:gd name="T9" fmla="*/ 8064499 h 5"/>
                  <a:gd name="T10" fmla="*/ 8064499 h 5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h 5"/>
                  <a:gd name="T23" fmla="*/ 5 h 5"/>
                </a:gdLst>
                <a:ahLst/>
                <a:cxnLst>
                  <a:cxn ang="T11">
                    <a:pos x="0" y="T0"/>
                  </a:cxn>
                  <a:cxn ang="T12">
                    <a:pos x="0" y="T1"/>
                  </a:cxn>
                  <a:cxn ang="T13">
                    <a:pos x="0" y="T2"/>
                  </a:cxn>
                  <a:cxn ang="T14">
                    <a:pos x="0" y="T3"/>
                  </a:cxn>
                  <a:cxn ang="T15">
                    <a:pos x="0" y="T4"/>
                  </a:cxn>
                  <a:cxn ang="T16">
                    <a:pos x="0" y="T5"/>
                  </a:cxn>
                  <a:cxn ang="T17">
                    <a:pos x="0" y="T6"/>
                  </a:cxn>
                  <a:cxn ang="T18">
                    <a:pos x="0" y="T7"/>
                  </a:cxn>
                  <a:cxn ang="T19">
                    <a:pos x="0" y="T8"/>
                  </a:cxn>
                  <a:cxn ang="T20">
                    <a:pos x="0" y="T9"/>
                  </a:cxn>
                  <a:cxn ang="T21">
                    <a:pos x="0" y="T10"/>
                  </a:cxn>
                </a:cxnLst>
                <a:rect l="0" t="T22" r="0" b="T23"/>
                <a:pathLst>
                  <a:path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1" name="Freeform 312"/>
              <p:cNvSpPr>
                <a:spLocks noChangeAspect="1"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2879140" y="3562959"/>
                <a:ext cx="0" cy="6307"/>
              </a:xfrm>
              <a:custGeom>
                <a:avLst/>
                <a:gdLst>
                  <a:gd name="T0" fmla="*/ 8064499 h 5"/>
                  <a:gd name="T1" fmla="*/ 8064499 h 5"/>
                  <a:gd name="T2" fmla="*/ 4838699 h 5"/>
                  <a:gd name="T3" fmla="*/ 4838699 h 5"/>
                  <a:gd name="T4" fmla="*/ 4838699 h 5"/>
                  <a:gd name="T5" fmla="*/ 4838699 h 5"/>
                  <a:gd name="T6" fmla="*/ 0 h 5"/>
                  <a:gd name="T7" fmla="*/ 0 h 5"/>
                  <a:gd name="T8" fmla="*/ 4838699 h 5"/>
                  <a:gd name="T9" fmla="*/ 8064499 h 5"/>
                  <a:gd name="T10" fmla="*/ 8064499 h 5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h 5"/>
                  <a:gd name="T23" fmla="*/ 5 h 5"/>
                </a:gdLst>
                <a:ahLst/>
                <a:cxnLst>
                  <a:cxn ang="T11">
                    <a:pos x="0" y="T0"/>
                  </a:cxn>
                  <a:cxn ang="T12">
                    <a:pos x="0" y="T1"/>
                  </a:cxn>
                  <a:cxn ang="T13">
                    <a:pos x="0" y="T2"/>
                  </a:cxn>
                  <a:cxn ang="T14">
                    <a:pos x="0" y="T3"/>
                  </a:cxn>
                  <a:cxn ang="T15">
                    <a:pos x="0" y="T4"/>
                  </a:cxn>
                  <a:cxn ang="T16">
                    <a:pos x="0" y="T5"/>
                  </a:cxn>
                  <a:cxn ang="T17">
                    <a:pos x="0" y="T6"/>
                  </a:cxn>
                  <a:cxn ang="T18">
                    <a:pos x="0" y="T7"/>
                  </a:cxn>
                  <a:cxn ang="T19">
                    <a:pos x="0" y="T8"/>
                  </a:cxn>
                  <a:cxn ang="T20">
                    <a:pos x="0" y="T9"/>
                  </a:cxn>
                  <a:cxn ang="T21">
                    <a:pos x="0" y="T10"/>
                  </a:cxn>
                </a:cxnLst>
                <a:rect l="0" t="T22" r="0" b="T23"/>
                <a:pathLst>
                  <a:path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2" name="Freeform 313"/>
              <p:cNvSpPr>
                <a:spLocks noChangeAspect="1"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2911027" y="3534577"/>
                <a:ext cx="10630" cy="9460"/>
              </a:xfrm>
              <a:custGeom>
                <a:avLst/>
                <a:gdLst>
                  <a:gd name="T0" fmla="*/ 15437344 w 8"/>
                  <a:gd name="T1" fmla="*/ 11340702 h 8"/>
                  <a:gd name="T2" fmla="*/ 11578357 w 8"/>
                  <a:gd name="T3" fmla="*/ 11340702 h 8"/>
                  <a:gd name="T4" fmla="*/ 0 w 8"/>
                  <a:gd name="T5" fmla="*/ 2834878 h 8"/>
                  <a:gd name="T6" fmla="*/ 0 w 8"/>
                  <a:gd name="T7" fmla="*/ 0 h 8"/>
                  <a:gd name="T8" fmla="*/ 5788484 w 8"/>
                  <a:gd name="T9" fmla="*/ 0 h 8"/>
                  <a:gd name="T10" fmla="*/ 11578357 w 8"/>
                  <a:gd name="T11" fmla="*/ 7087790 h 8"/>
                  <a:gd name="T12" fmla="*/ 11578357 w 8"/>
                  <a:gd name="T13" fmla="*/ 7087790 h 8"/>
                  <a:gd name="T14" fmla="*/ 11578357 w 8"/>
                  <a:gd name="T15" fmla="*/ 11340702 h 8"/>
                  <a:gd name="T16" fmla="*/ 15437344 w 8"/>
                  <a:gd name="T17" fmla="*/ 11340702 h 8"/>
                  <a:gd name="T18" fmla="*/ 15437344 w 8"/>
                  <a:gd name="T19" fmla="*/ 11340702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"/>
                  <a:gd name="T31" fmla="*/ 0 h 8"/>
                  <a:gd name="T32" fmla="*/ 8 w 8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" h="8">
                    <a:moveTo>
                      <a:pt x="8" y="8"/>
                    </a:moveTo>
                    <a:lnTo>
                      <a:pt x="6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3" name="Freeform 314"/>
              <p:cNvSpPr>
                <a:spLocks noChangeAspect="1"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2911027" y="3534577"/>
                <a:ext cx="10630" cy="9460"/>
              </a:xfrm>
              <a:custGeom>
                <a:avLst/>
                <a:gdLst>
                  <a:gd name="T0" fmla="*/ 15437344 w 8"/>
                  <a:gd name="T1" fmla="*/ 11340702 h 8"/>
                  <a:gd name="T2" fmla="*/ 11578357 w 8"/>
                  <a:gd name="T3" fmla="*/ 11340702 h 8"/>
                  <a:gd name="T4" fmla="*/ 0 w 8"/>
                  <a:gd name="T5" fmla="*/ 2834878 h 8"/>
                  <a:gd name="T6" fmla="*/ 0 w 8"/>
                  <a:gd name="T7" fmla="*/ 0 h 8"/>
                  <a:gd name="T8" fmla="*/ 5788484 w 8"/>
                  <a:gd name="T9" fmla="*/ 0 h 8"/>
                  <a:gd name="T10" fmla="*/ 11578357 w 8"/>
                  <a:gd name="T11" fmla="*/ 7087790 h 8"/>
                  <a:gd name="T12" fmla="*/ 11578357 w 8"/>
                  <a:gd name="T13" fmla="*/ 7087790 h 8"/>
                  <a:gd name="T14" fmla="*/ 11578357 w 8"/>
                  <a:gd name="T15" fmla="*/ 11340702 h 8"/>
                  <a:gd name="T16" fmla="*/ 15437344 w 8"/>
                  <a:gd name="T17" fmla="*/ 11340702 h 8"/>
                  <a:gd name="T18" fmla="*/ 15437344 w 8"/>
                  <a:gd name="T19" fmla="*/ 11340702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"/>
                  <a:gd name="T31" fmla="*/ 0 h 8"/>
                  <a:gd name="T32" fmla="*/ 8 w 8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" h="8">
                    <a:moveTo>
                      <a:pt x="8" y="8"/>
                    </a:moveTo>
                    <a:lnTo>
                      <a:pt x="6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8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4" name="Freeform 315"/>
              <p:cNvSpPr>
                <a:spLocks noChangeAspect="1"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2933805" y="3540884"/>
                <a:ext cx="6074" cy="9460"/>
              </a:xfrm>
              <a:custGeom>
                <a:avLst/>
                <a:gdLst>
                  <a:gd name="T0" fmla="*/ 0 w 5"/>
                  <a:gd name="T1" fmla="*/ 4252912 h 8"/>
                  <a:gd name="T2" fmla="*/ 4838699 w 5"/>
                  <a:gd name="T3" fmla="*/ 0 h 8"/>
                  <a:gd name="T4" fmla="*/ 4838699 w 5"/>
                  <a:gd name="T5" fmla="*/ 0 h 8"/>
                  <a:gd name="T6" fmla="*/ 4838699 w 5"/>
                  <a:gd name="T7" fmla="*/ 0 h 8"/>
                  <a:gd name="T8" fmla="*/ 8064499 w 5"/>
                  <a:gd name="T9" fmla="*/ 8505823 h 8"/>
                  <a:gd name="T10" fmla="*/ 8064499 w 5"/>
                  <a:gd name="T11" fmla="*/ 11340702 h 8"/>
                  <a:gd name="T12" fmla="*/ 4838699 w 5"/>
                  <a:gd name="T13" fmla="*/ 11340702 h 8"/>
                  <a:gd name="T14" fmla="*/ 0 w 5"/>
                  <a:gd name="T15" fmla="*/ 11340702 h 8"/>
                  <a:gd name="T16" fmla="*/ 0 w 5"/>
                  <a:gd name="T17" fmla="*/ 8505823 h 8"/>
                  <a:gd name="T18" fmla="*/ 0 w 5"/>
                  <a:gd name="T19" fmla="*/ 4252912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8"/>
                  <a:gd name="T32" fmla="*/ 5 w 5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8">
                    <a:moveTo>
                      <a:pt x="0" y="3"/>
                    </a:moveTo>
                    <a:lnTo>
                      <a:pt x="3" y="0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5" name="Freeform 316"/>
              <p:cNvSpPr>
                <a:spLocks noChangeAspect="1"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2933805" y="3540884"/>
                <a:ext cx="6074" cy="9460"/>
              </a:xfrm>
              <a:custGeom>
                <a:avLst/>
                <a:gdLst>
                  <a:gd name="T0" fmla="*/ 0 w 5"/>
                  <a:gd name="T1" fmla="*/ 4252912 h 8"/>
                  <a:gd name="T2" fmla="*/ 4838699 w 5"/>
                  <a:gd name="T3" fmla="*/ 0 h 8"/>
                  <a:gd name="T4" fmla="*/ 4838699 w 5"/>
                  <a:gd name="T5" fmla="*/ 0 h 8"/>
                  <a:gd name="T6" fmla="*/ 4838699 w 5"/>
                  <a:gd name="T7" fmla="*/ 0 h 8"/>
                  <a:gd name="T8" fmla="*/ 8064499 w 5"/>
                  <a:gd name="T9" fmla="*/ 8505823 h 8"/>
                  <a:gd name="T10" fmla="*/ 8064499 w 5"/>
                  <a:gd name="T11" fmla="*/ 11340702 h 8"/>
                  <a:gd name="T12" fmla="*/ 4838699 w 5"/>
                  <a:gd name="T13" fmla="*/ 11340702 h 8"/>
                  <a:gd name="T14" fmla="*/ 0 w 5"/>
                  <a:gd name="T15" fmla="*/ 11340702 h 8"/>
                  <a:gd name="T16" fmla="*/ 0 w 5"/>
                  <a:gd name="T17" fmla="*/ 8505823 h 8"/>
                  <a:gd name="T18" fmla="*/ 0 w 5"/>
                  <a:gd name="T19" fmla="*/ 4252912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8"/>
                  <a:gd name="T32" fmla="*/ 5 w 5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8">
                    <a:moveTo>
                      <a:pt x="0" y="3"/>
                    </a:moveTo>
                    <a:lnTo>
                      <a:pt x="3" y="0"/>
                    </a:lnTo>
                    <a:lnTo>
                      <a:pt x="5" y="6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6" name="Freeform 317"/>
              <p:cNvSpPr>
                <a:spLocks noChangeAspect="1"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3237496" y="3626028"/>
                <a:ext cx="3037" cy="7884"/>
              </a:xfrm>
              <a:custGeom>
                <a:avLst/>
                <a:gdLst>
                  <a:gd name="T0" fmla="*/ 5040312 w 2"/>
                  <a:gd name="T1" fmla="*/ 0 h 6"/>
                  <a:gd name="T2" fmla="*/ 5040312 w 2"/>
                  <a:gd name="T3" fmla="*/ 0 h 6"/>
                  <a:gd name="T4" fmla="*/ 5040312 w 2"/>
                  <a:gd name="T5" fmla="*/ 5250325 h 6"/>
                  <a:gd name="T6" fmla="*/ 5040312 w 2"/>
                  <a:gd name="T7" fmla="*/ 10499327 h 6"/>
                  <a:gd name="T8" fmla="*/ 5040312 w 2"/>
                  <a:gd name="T9" fmla="*/ 10499327 h 6"/>
                  <a:gd name="T10" fmla="*/ 0 w 2"/>
                  <a:gd name="T11" fmla="*/ 10499327 h 6"/>
                  <a:gd name="T12" fmla="*/ 0 w 2"/>
                  <a:gd name="T13" fmla="*/ 5250325 h 6"/>
                  <a:gd name="T14" fmla="*/ 0 w 2"/>
                  <a:gd name="T15" fmla="*/ 5250325 h 6"/>
                  <a:gd name="T16" fmla="*/ 5040312 w 2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6"/>
                  <a:gd name="T29" fmla="*/ 2 w 2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7" name="Freeform 318"/>
              <p:cNvSpPr>
                <a:spLocks noChangeAspect="1"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3237496" y="3626028"/>
                <a:ext cx="3037" cy="7884"/>
              </a:xfrm>
              <a:custGeom>
                <a:avLst/>
                <a:gdLst>
                  <a:gd name="T0" fmla="*/ 5040312 w 2"/>
                  <a:gd name="T1" fmla="*/ 0 h 6"/>
                  <a:gd name="T2" fmla="*/ 5040312 w 2"/>
                  <a:gd name="T3" fmla="*/ 0 h 6"/>
                  <a:gd name="T4" fmla="*/ 5040312 w 2"/>
                  <a:gd name="T5" fmla="*/ 5250325 h 6"/>
                  <a:gd name="T6" fmla="*/ 5040312 w 2"/>
                  <a:gd name="T7" fmla="*/ 10499327 h 6"/>
                  <a:gd name="T8" fmla="*/ 5040312 w 2"/>
                  <a:gd name="T9" fmla="*/ 10499327 h 6"/>
                  <a:gd name="T10" fmla="*/ 0 w 2"/>
                  <a:gd name="T11" fmla="*/ 10499327 h 6"/>
                  <a:gd name="T12" fmla="*/ 0 w 2"/>
                  <a:gd name="T13" fmla="*/ 5250325 h 6"/>
                  <a:gd name="T14" fmla="*/ 0 w 2"/>
                  <a:gd name="T15" fmla="*/ 5250325 h 6"/>
                  <a:gd name="T16" fmla="*/ 5040312 w 2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"/>
                  <a:gd name="T28" fmla="*/ 0 h 6"/>
                  <a:gd name="T29" fmla="*/ 2 w 2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8" name="Freeform 319"/>
              <p:cNvSpPr>
                <a:spLocks noChangeAspect="1"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3448560" y="3731670"/>
                <a:ext cx="7593" cy="1577"/>
              </a:xfrm>
              <a:custGeom>
                <a:avLst/>
                <a:gdLst>
                  <a:gd name="T0" fmla="*/ 10501973 w 6"/>
                  <a:gd name="T1" fmla="*/ 0 h 2"/>
                  <a:gd name="T2" fmla="*/ 5250987 w 6"/>
                  <a:gd name="T3" fmla="*/ 0 h 2"/>
                  <a:gd name="T4" fmla="*/ 0 w 6"/>
                  <a:gd name="T5" fmla="*/ 1260872 h 2"/>
                  <a:gd name="T6" fmla="*/ 0 w 6"/>
                  <a:gd name="T7" fmla="*/ 1260872 h 2"/>
                  <a:gd name="T8" fmla="*/ 5250987 w 6"/>
                  <a:gd name="T9" fmla="*/ 1260872 h 2"/>
                  <a:gd name="T10" fmla="*/ 10501973 w 6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2"/>
                  <a:gd name="T20" fmla="*/ 6 w 6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2">
                    <a:moveTo>
                      <a:pt x="6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39" name="Freeform 320"/>
              <p:cNvSpPr>
                <a:spLocks noChangeAspect="1"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3448560" y="3731670"/>
                <a:ext cx="7593" cy="1577"/>
              </a:xfrm>
              <a:custGeom>
                <a:avLst/>
                <a:gdLst>
                  <a:gd name="T0" fmla="*/ 10501973 w 6"/>
                  <a:gd name="T1" fmla="*/ 0 h 2"/>
                  <a:gd name="T2" fmla="*/ 5250987 w 6"/>
                  <a:gd name="T3" fmla="*/ 0 h 2"/>
                  <a:gd name="T4" fmla="*/ 0 w 6"/>
                  <a:gd name="T5" fmla="*/ 1260872 h 2"/>
                  <a:gd name="T6" fmla="*/ 0 w 6"/>
                  <a:gd name="T7" fmla="*/ 1260872 h 2"/>
                  <a:gd name="T8" fmla="*/ 5250987 w 6"/>
                  <a:gd name="T9" fmla="*/ 1260872 h 2"/>
                  <a:gd name="T10" fmla="*/ 10501973 w 6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2"/>
                  <a:gd name="T20" fmla="*/ 6 w 6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2">
                    <a:moveTo>
                      <a:pt x="6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0" name="Freeform 321"/>
              <p:cNvSpPr>
                <a:spLocks noChangeAspect="1"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3611036" y="3594495"/>
                <a:ext cx="21259" cy="3154"/>
              </a:xfrm>
              <a:custGeom>
                <a:avLst/>
                <a:gdLst>
                  <a:gd name="T0" fmla="*/ 23928480 w 17"/>
                  <a:gd name="T1" fmla="*/ 0 h 3"/>
                  <a:gd name="T2" fmla="*/ 23928480 w 17"/>
                  <a:gd name="T3" fmla="*/ 0 h 3"/>
                  <a:gd name="T4" fmla="*/ 23928480 w 17"/>
                  <a:gd name="T5" fmla="*/ 0 h 3"/>
                  <a:gd name="T6" fmla="*/ 29055916 w 17"/>
                  <a:gd name="T7" fmla="*/ 0 h 3"/>
                  <a:gd name="T8" fmla="*/ 29055916 w 17"/>
                  <a:gd name="T9" fmla="*/ 3360208 h 3"/>
                  <a:gd name="T10" fmla="*/ 29055916 w 17"/>
                  <a:gd name="T11" fmla="*/ 3360208 h 3"/>
                  <a:gd name="T12" fmla="*/ 29055916 w 17"/>
                  <a:gd name="T13" fmla="*/ 3360208 h 3"/>
                  <a:gd name="T14" fmla="*/ 23928480 w 17"/>
                  <a:gd name="T15" fmla="*/ 3360208 h 3"/>
                  <a:gd name="T16" fmla="*/ 10254874 w 17"/>
                  <a:gd name="T17" fmla="*/ 3360208 h 3"/>
                  <a:gd name="T18" fmla="*/ 5127437 w 17"/>
                  <a:gd name="T19" fmla="*/ 3360208 h 3"/>
                  <a:gd name="T20" fmla="*/ 0 w 17"/>
                  <a:gd name="T21" fmla="*/ 3360208 h 3"/>
                  <a:gd name="T22" fmla="*/ 10254874 w 17"/>
                  <a:gd name="T23" fmla="*/ 3360208 h 3"/>
                  <a:gd name="T24" fmla="*/ 20509749 w 17"/>
                  <a:gd name="T25" fmla="*/ 0 h 3"/>
                  <a:gd name="T26" fmla="*/ 23928480 w 17"/>
                  <a:gd name="T27" fmla="*/ 0 h 3"/>
                  <a:gd name="T28" fmla="*/ 23928480 w 17"/>
                  <a:gd name="T29" fmla="*/ 0 h 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"/>
                  <a:gd name="T47" fmla="*/ 17 w 17"/>
                  <a:gd name="T48" fmla="*/ 3 h 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">
                    <a:moveTo>
                      <a:pt x="14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2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1" name="Freeform 322"/>
              <p:cNvSpPr>
                <a:spLocks noChangeAspect="1"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3611036" y="3594495"/>
                <a:ext cx="21259" cy="3154"/>
              </a:xfrm>
              <a:custGeom>
                <a:avLst/>
                <a:gdLst>
                  <a:gd name="T0" fmla="*/ 23928480 w 17"/>
                  <a:gd name="T1" fmla="*/ 0 h 3"/>
                  <a:gd name="T2" fmla="*/ 23928480 w 17"/>
                  <a:gd name="T3" fmla="*/ 0 h 3"/>
                  <a:gd name="T4" fmla="*/ 23928480 w 17"/>
                  <a:gd name="T5" fmla="*/ 0 h 3"/>
                  <a:gd name="T6" fmla="*/ 29055916 w 17"/>
                  <a:gd name="T7" fmla="*/ 0 h 3"/>
                  <a:gd name="T8" fmla="*/ 29055916 w 17"/>
                  <a:gd name="T9" fmla="*/ 3360208 h 3"/>
                  <a:gd name="T10" fmla="*/ 29055916 w 17"/>
                  <a:gd name="T11" fmla="*/ 3360208 h 3"/>
                  <a:gd name="T12" fmla="*/ 29055916 w 17"/>
                  <a:gd name="T13" fmla="*/ 3360208 h 3"/>
                  <a:gd name="T14" fmla="*/ 23928480 w 17"/>
                  <a:gd name="T15" fmla="*/ 3360208 h 3"/>
                  <a:gd name="T16" fmla="*/ 10254874 w 17"/>
                  <a:gd name="T17" fmla="*/ 3360208 h 3"/>
                  <a:gd name="T18" fmla="*/ 5127437 w 17"/>
                  <a:gd name="T19" fmla="*/ 3360208 h 3"/>
                  <a:gd name="T20" fmla="*/ 0 w 17"/>
                  <a:gd name="T21" fmla="*/ 3360208 h 3"/>
                  <a:gd name="T22" fmla="*/ 10254874 w 17"/>
                  <a:gd name="T23" fmla="*/ 3360208 h 3"/>
                  <a:gd name="T24" fmla="*/ 20509749 w 17"/>
                  <a:gd name="T25" fmla="*/ 0 h 3"/>
                  <a:gd name="T26" fmla="*/ 23928480 w 17"/>
                  <a:gd name="T27" fmla="*/ 0 h 3"/>
                  <a:gd name="T28" fmla="*/ 23928480 w 17"/>
                  <a:gd name="T29" fmla="*/ 0 h 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"/>
                  <a:gd name="T47" fmla="*/ 17 w 17"/>
                  <a:gd name="T48" fmla="*/ 3 h 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">
                    <a:moveTo>
                      <a:pt x="14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2" y="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2" name="Freeform 323"/>
              <p:cNvSpPr>
                <a:spLocks noChangeAspect="1"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3642923" y="3597648"/>
                <a:ext cx="9110" cy="17344"/>
              </a:xfrm>
              <a:custGeom>
                <a:avLst/>
                <a:gdLst>
                  <a:gd name="T0" fmla="*/ 15120939 w 6"/>
                  <a:gd name="T1" fmla="*/ 7778074 h 14"/>
                  <a:gd name="T2" fmla="*/ 15120939 w 6"/>
                  <a:gd name="T3" fmla="*/ 3111978 h 14"/>
                  <a:gd name="T4" fmla="*/ 15120939 w 6"/>
                  <a:gd name="T5" fmla="*/ 3111978 h 14"/>
                  <a:gd name="T6" fmla="*/ 7561263 w 6"/>
                  <a:gd name="T7" fmla="*/ 21780107 h 14"/>
                  <a:gd name="T8" fmla="*/ 0 w 6"/>
                  <a:gd name="T9" fmla="*/ 12445418 h 14"/>
                  <a:gd name="T10" fmla="*/ 7561263 w 6"/>
                  <a:gd name="T11" fmla="*/ 12445418 h 14"/>
                  <a:gd name="T12" fmla="*/ 7561263 w 6"/>
                  <a:gd name="T13" fmla="*/ 12445418 h 14"/>
                  <a:gd name="T14" fmla="*/ 7561263 w 6"/>
                  <a:gd name="T15" fmla="*/ 7778074 h 14"/>
                  <a:gd name="T16" fmla="*/ 7561263 w 6"/>
                  <a:gd name="T17" fmla="*/ 3111978 h 14"/>
                  <a:gd name="T18" fmla="*/ 7561263 w 6"/>
                  <a:gd name="T19" fmla="*/ 0 h 14"/>
                  <a:gd name="T20" fmla="*/ 15120939 w 6"/>
                  <a:gd name="T21" fmla="*/ 3111978 h 14"/>
                  <a:gd name="T22" fmla="*/ 15120939 w 6"/>
                  <a:gd name="T23" fmla="*/ 7778074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14"/>
                  <a:gd name="T38" fmla="*/ 6 w 6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14">
                    <a:moveTo>
                      <a:pt x="6" y="5"/>
                    </a:moveTo>
                    <a:lnTo>
                      <a:pt x="6" y="2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3" name="Freeform 324"/>
              <p:cNvSpPr>
                <a:spLocks noChangeAspect="1"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3642923" y="3597648"/>
                <a:ext cx="9110" cy="17344"/>
              </a:xfrm>
              <a:custGeom>
                <a:avLst/>
                <a:gdLst>
                  <a:gd name="T0" fmla="*/ 15120939 w 6"/>
                  <a:gd name="T1" fmla="*/ 7778074 h 14"/>
                  <a:gd name="T2" fmla="*/ 15120939 w 6"/>
                  <a:gd name="T3" fmla="*/ 3111978 h 14"/>
                  <a:gd name="T4" fmla="*/ 15120939 w 6"/>
                  <a:gd name="T5" fmla="*/ 3111978 h 14"/>
                  <a:gd name="T6" fmla="*/ 7561263 w 6"/>
                  <a:gd name="T7" fmla="*/ 21780107 h 14"/>
                  <a:gd name="T8" fmla="*/ 0 w 6"/>
                  <a:gd name="T9" fmla="*/ 12445418 h 14"/>
                  <a:gd name="T10" fmla="*/ 7561263 w 6"/>
                  <a:gd name="T11" fmla="*/ 12445418 h 14"/>
                  <a:gd name="T12" fmla="*/ 7561263 w 6"/>
                  <a:gd name="T13" fmla="*/ 12445418 h 14"/>
                  <a:gd name="T14" fmla="*/ 7561263 w 6"/>
                  <a:gd name="T15" fmla="*/ 7778074 h 14"/>
                  <a:gd name="T16" fmla="*/ 7561263 w 6"/>
                  <a:gd name="T17" fmla="*/ 3111978 h 14"/>
                  <a:gd name="T18" fmla="*/ 7561263 w 6"/>
                  <a:gd name="T19" fmla="*/ 0 h 14"/>
                  <a:gd name="T20" fmla="*/ 15120939 w 6"/>
                  <a:gd name="T21" fmla="*/ 3111978 h 14"/>
                  <a:gd name="T22" fmla="*/ 15120939 w 6"/>
                  <a:gd name="T23" fmla="*/ 7778074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"/>
                  <a:gd name="T37" fmla="*/ 0 h 14"/>
                  <a:gd name="T38" fmla="*/ 6 w 6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" h="14">
                    <a:moveTo>
                      <a:pt x="6" y="5"/>
                    </a:moveTo>
                    <a:lnTo>
                      <a:pt x="6" y="2"/>
                    </a:lnTo>
                    <a:lnTo>
                      <a:pt x="3" y="14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4" name="Freeform 325"/>
              <p:cNvSpPr>
                <a:spLocks noChangeAspect="1"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3639887" y="3630759"/>
                <a:ext cx="7593" cy="3154"/>
              </a:xfrm>
              <a:custGeom>
                <a:avLst/>
                <a:gdLst>
                  <a:gd name="T0" fmla="*/ 5040630 w 5"/>
                  <a:gd name="T1" fmla="*/ 3360208 h 3"/>
                  <a:gd name="T2" fmla="*/ 12602367 w 5"/>
                  <a:gd name="T3" fmla="*/ 3360208 h 3"/>
                  <a:gd name="T4" fmla="*/ 12602367 w 5"/>
                  <a:gd name="T5" fmla="*/ 0 h 3"/>
                  <a:gd name="T6" fmla="*/ 0 w 5"/>
                  <a:gd name="T7" fmla="*/ 3360208 h 3"/>
                  <a:gd name="T8" fmla="*/ 0 w 5"/>
                  <a:gd name="T9" fmla="*/ 3360208 h 3"/>
                  <a:gd name="T10" fmla="*/ 5040630 w 5"/>
                  <a:gd name="T11" fmla="*/ 33602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2" y="3"/>
                    </a:moveTo>
                    <a:lnTo>
                      <a:pt x="5" y="3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5" name="Freeform 326"/>
              <p:cNvSpPr>
                <a:spLocks noChangeAspect="1"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3639887" y="3630759"/>
                <a:ext cx="7593" cy="3154"/>
              </a:xfrm>
              <a:custGeom>
                <a:avLst/>
                <a:gdLst>
                  <a:gd name="T0" fmla="*/ 5040630 w 5"/>
                  <a:gd name="T1" fmla="*/ 3360208 h 3"/>
                  <a:gd name="T2" fmla="*/ 12602367 w 5"/>
                  <a:gd name="T3" fmla="*/ 3360208 h 3"/>
                  <a:gd name="T4" fmla="*/ 12602367 w 5"/>
                  <a:gd name="T5" fmla="*/ 0 h 3"/>
                  <a:gd name="T6" fmla="*/ 0 w 5"/>
                  <a:gd name="T7" fmla="*/ 3360208 h 3"/>
                  <a:gd name="T8" fmla="*/ 0 w 5"/>
                  <a:gd name="T9" fmla="*/ 3360208 h 3"/>
                  <a:gd name="T10" fmla="*/ 5040630 w 5"/>
                  <a:gd name="T11" fmla="*/ 33602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2" y="3"/>
                    </a:moveTo>
                    <a:lnTo>
                      <a:pt x="5" y="3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6" name="Freeform 327"/>
              <p:cNvSpPr>
                <a:spLocks noChangeAspect="1"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3626220" y="3630759"/>
                <a:ext cx="12148" cy="17345"/>
              </a:xfrm>
              <a:custGeom>
                <a:avLst/>
                <a:gdLst>
                  <a:gd name="T0" fmla="*/ 5040312 w 8"/>
                  <a:gd name="T1" fmla="*/ 4667610 h 14"/>
                  <a:gd name="T2" fmla="*/ 5040312 w 8"/>
                  <a:gd name="T3" fmla="*/ 4667610 h 14"/>
                  <a:gd name="T4" fmla="*/ 12599985 w 8"/>
                  <a:gd name="T5" fmla="*/ 4667610 h 14"/>
                  <a:gd name="T6" fmla="*/ 20161247 w 8"/>
                  <a:gd name="T7" fmla="*/ 12447378 h 14"/>
                  <a:gd name="T8" fmla="*/ 20161247 w 8"/>
                  <a:gd name="T9" fmla="*/ 17114988 h 14"/>
                  <a:gd name="T10" fmla="*/ 20161247 w 8"/>
                  <a:gd name="T11" fmla="*/ 21782602 h 14"/>
                  <a:gd name="T12" fmla="*/ 12599985 w 8"/>
                  <a:gd name="T13" fmla="*/ 21782602 h 14"/>
                  <a:gd name="T14" fmla="*/ 5040312 w 8"/>
                  <a:gd name="T15" fmla="*/ 21782602 h 14"/>
                  <a:gd name="T16" fmla="*/ 5040312 w 8"/>
                  <a:gd name="T17" fmla="*/ 17114988 h 14"/>
                  <a:gd name="T18" fmla="*/ 0 w 8"/>
                  <a:gd name="T19" fmla="*/ 17114988 h 14"/>
                  <a:gd name="T20" fmla="*/ 0 w 8"/>
                  <a:gd name="T21" fmla="*/ 12447378 h 14"/>
                  <a:gd name="T22" fmla="*/ 0 w 8"/>
                  <a:gd name="T23" fmla="*/ 4667610 h 14"/>
                  <a:gd name="T24" fmla="*/ 0 w 8"/>
                  <a:gd name="T25" fmla="*/ 0 h 14"/>
                  <a:gd name="T26" fmla="*/ 5040312 w 8"/>
                  <a:gd name="T27" fmla="*/ 0 h 14"/>
                  <a:gd name="T28" fmla="*/ 5040312 w 8"/>
                  <a:gd name="T29" fmla="*/ 466761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14"/>
                  <a:gd name="T47" fmla="*/ 8 w 8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14">
                    <a:moveTo>
                      <a:pt x="2" y="3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4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7" name="Freeform 328"/>
              <p:cNvSpPr>
                <a:spLocks noChangeAspect="1"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3626220" y="3630759"/>
                <a:ext cx="12148" cy="17345"/>
              </a:xfrm>
              <a:custGeom>
                <a:avLst/>
                <a:gdLst>
                  <a:gd name="T0" fmla="*/ 5040312 w 8"/>
                  <a:gd name="T1" fmla="*/ 4667610 h 14"/>
                  <a:gd name="T2" fmla="*/ 5040312 w 8"/>
                  <a:gd name="T3" fmla="*/ 4667610 h 14"/>
                  <a:gd name="T4" fmla="*/ 12599985 w 8"/>
                  <a:gd name="T5" fmla="*/ 4667610 h 14"/>
                  <a:gd name="T6" fmla="*/ 20161247 w 8"/>
                  <a:gd name="T7" fmla="*/ 12447378 h 14"/>
                  <a:gd name="T8" fmla="*/ 20161247 w 8"/>
                  <a:gd name="T9" fmla="*/ 17114988 h 14"/>
                  <a:gd name="T10" fmla="*/ 20161247 w 8"/>
                  <a:gd name="T11" fmla="*/ 21782602 h 14"/>
                  <a:gd name="T12" fmla="*/ 12599985 w 8"/>
                  <a:gd name="T13" fmla="*/ 21782602 h 14"/>
                  <a:gd name="T14" fmla="*/ 5040312 w 8"/>
                  <a:gd name="T15" fmla="*/ 21782602 h 14"/>
                  <a:gd name="T16" fmla="*/ 5040312 w 8"/>
                  <a:gd name="T17" fmla="*/ 17114988 h 14"/>
                  <a:gd name="T18" fmla="*/ 0 w 8"/>
                  <a:gd name="T19" fmla="*/ 17114988 h 14"/>
                  <a:gd name="T20" fmla="*/ 0 w 8"/>
                  <a:gd name="T21" fmla="*/ 12447378 h 14"/>
                  <a:gd name="T22" fmla="*/ 0 w 8"/>
                  <a:gd name="T23" fmla="*/ 4667610 h 14"/>
                  <a:gd name="T24" fmla="*/ 0 w 8"/>
                  <a:gd name="T25" fmla="*/ 0 h 14"/>
                  <a:gd name="T26" fmla="*/ 5040312 w 8"/>
                  <a:gd name="T27" fmla="*/ 0 h 14"/>
                  <a:gd name="T28" fmla="*/ 5040312 w 8"/>
                  <a:gd name="T29" fmla="*/ 466761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14"/>
                  <a:gd name="T47" fmla="*/ 8 w 8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14">
                    <a:moveTo>
                      <a:pt x="2" y="3"/>
                    </a:moveTo>
                    <a:lnTo>
                      <a:pt x="2" y="3"/>
                    </a:lnTo>
                    <a:lnTo>
                      <a:pt x="5" y="3"/>
                    </a:lnTo>
                    <a:lnTo>
                      <a:pt x="8" y="8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2" y="14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8" name="Freeform 329"/>
              <p:cNvSpPr>
                <a:spLocks noChangeAspect="1"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3638369" y="3651257"/>
                <a:ext cx="1518" cy="12614"/>
              </a:xfrm>
              <a:custGeom>
                <a:avLst/>
                <a:gdLst>
                  <a:gd name="T0" fmla="*/ 0 w 3"/>
                  <a:gd name="T1" fmla="*/ 5973234 h 9"/>
                  <a:gd name="T2" fmla="*/ 839523 w 3"/>
                  <a:gd name="T3" fmla="*/ 0 h 9"/>
                  <a:gd name="T4" fmla="*/ 839523 w 3"/>
                  <a:gd name="T5" fmla="*/ 11947878 h 9"/>
                  <a:gd name="T6" fmla="*/ 839523 w 3"/>
                  <a:gd name="T7" fmla="*/ 17921109 h 9"/>
                  <a:gd name="T8" fmla="*/ 0 w 3"/>
                  <a:gd name="T9" fmla="*/ 11947878 h 9"/>
                  <a:gd name="T10" fmla="*/ 0 w 3"/>
                  <a:gd name="T11" fmla="*/ 5973234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9"/>
                  <a:gd name="T20" fmla="*/ 3 w 3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9">
                    <a:moveTo>
                      <a:pt x="0" y="3"/>
                    </a:moveTo>
                    <a:lnTo>
                      <a:pt x="3" y="0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9" name="Freeform 330"/>
              <p:cNvSpPr>
                <a:spLocks noChangeAspect="1"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3638369" y="3651257"/>
                <a:ext cx="1518" cy="12614"/>
              </a:xfrm>
              <a:custGeom>
                <a:avLst/>
                <a:gdLst>
                  <a:gd name="T0" fmla="*/ 0 w 3"/>
                  <a:gd name="T1" fmla="*/ 5973234 h 9"/>
                  <a:gd name="T2" fmla="*/ 839523 w 3"/>
                  <a:gd name="T3" fmla="*/ 0 h 9"/>
                  <a:gd name="T4" fmla="*/ 839523 w 3"/>
                  <a:gd name="T5" fmla="*/ 11947878 h 9"/>
                  <a:gd name="T6" fmla="*/ 839523 w 3"/>
                  <a:gd name="T7" fmla="*/ 17921109 h 9"/>
                  <a:gd name="T8" fmla="*/ 0 w 3"/>
                  <a:gd name="T9" fmla="*/ 11947878 h 9"/>
                  <a:gd name="T10" fmla="*/ 0 w 3"/>
                  <a:gd name="T11" fmla="*/ 5973234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9"/>
                  <a:gd name="T20" fmla="*/ 3 w 3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9">
                    <a:moveTo>
                      <a:pt x="0" y="3"/>
                    </a:moveTo>
                    <a:lnTo>
                      <a:pt x="3" y="0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0" name="Freeform 331"/>
              <p:cNvSpPr>
                <a:spLocks noChangeAspect="1"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3664181" y="3630759"/>
                <a:ext cx="6074" cy="11038"/>
              </a:xfrm>
              <a:custGeom>
                <a:avLst/>
                <a:gdLst>
                  <a:gd name="T0" fmla="*/ 13440833 w 3"/>
                  <a:gd name="T1" fmla="*/ 0 h 8"/>
                  <a:gd name="T2" fmla="*/ 13440833 w 3"/>
                  <a:gd name="T3" fmla="*/ 0 h 8"/>
                  <a:gd name="T4" fmla="*/ 13440833 w 3"/>
                  <a:gd name="T5" fmla="*/ 0 h 8"/>
                  <a:gd name="T6" fmla="*/ 13440833 w 3"/>
                  <a:gd name="T7" fmla="*/ 15437344 h 8"/>
                  <a:gd name="T8" fmla="*/ 0 w 3"/>
                  <a:gd name="T9" fmla="*/ 9648860 h 8"/>
                  <a:gd name="T10" fmla="*/ 0 w 3"/>
                  <a:gd name="T11" fmla="*/ 9648860 h 8"/>
                  <a:gd name="T12" fmla="*/ 0 w 3"/>
                  <a:gd name="T13" fmla="*/ 5788484 h 8"/>
                  <a:gd name="T14" fmla="*/ 13440833 w 3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8"/>
                  <a:gd name="T26" fmla="*/ 3 w 3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1" name="Freeform 332"/>
              <p:cNvSpPr>
                <a:spLocks noChangeAspect="1"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3664181" y="3630759"/>
                <a:ext cx="6074" cy="11038"/>
              </a:xfrm>
              <a:custGeom>
                <a:avLst/>
                <a:gdLst>
                  <a:gd name="T0" fmla="*/ 13440833 w 3"/>
                  <a:gd name="T1" fmla="*/ 0 h 8"/>
                  <a:gd name="T2" fmla="*/ 13440833 w 3"/>
                  <a:gd name="T3" fmla="*/ 0 h 8"/>
                  <a:gd name="T4" fmla="*/ 13440833 w 3"/>
                  <a:gd name="T5" fmla="*/ 0 h 8"/>
                  <a:gd name="T6" fmla="*/ 13440833 w 3"/>
                  <a:gd name="T7" fmla="*/ 15437344 h 8"/>
                  <a:gd name="T8" fmla="*/ 0 w 3"/>
                  <a:gd name="T9" fmla="*/ 9648860 h 8"/>
                  <a:gd name="T10" fmla="*/ 0 w 3"/>
                  <a:gd name="T11" fmla="*/ 9648860 h 8"/>
                  <a:gd name="T12" fmla="*/ 0 w 3"/>
                  <a:gd name="T13" fmla="*/ 5788484 h 8"/>
                  <a:gd name="T14" fmla="*/ 13440833 w 3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8"/>
                  <a:gd name="T26" fmla="*/ 3 w 3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8">
                    <a:moveTo>
                      <a:pt x="3" y="0"/>
                    </a:moveTo>
                    <a:lnTo>
                      <a:pt x="3" y="0"/>
                    </a:lnTo>
                    <a:lnTo>
                      <a:pt x="3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2" name="Freeform 333"/>
              <p:cNvSpPr>
                <a:spLocks noChangeAspect="1"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3677848" y="3641796"/>
                <a:ext cx="10628" cy="9460"/>
              </a:xfrm>
              <a:custGeom>
                <a:avLst/>
                <a:gdLst>
                  <a:gd name="T0" fmla="*/ 9646603 w 8"/>
                  <a:gd name="T1" fmla="*/ 8505823 h 8"/>
                  <a:gd name="T2" fmla="*/ 9646603 w 8"/>
                  <a:gd name="T3" fmla="*/ 8505823 h 8"/>
                  <a:gd name="T4" fmla="*/ 15434566 w 8"/>
                  <a:gd name="T5" fmla="*/ 11340702 h 8"/>
                  <a:gd name="T6" fmla="*/ 9646603 w 8"/>
                  <a:gd name="T7" fmla="*/ 11340702 h 8"/>
                  <a:gd name="T8" fmla="*/ 9646603 w 8"/>
                  <a:gd name="T9" fmla="*/ 11340702 h 8"/>
                  <a:gd name="T10" fmla="*/ 9646603 w 8"/>
                  <a:gd name="T11" fmla="*/ 8505823 h 8"/>
                  <a:gd name="T12" fmla="*/ 0 w 8"/>
                  <a:gd name="T13" fmla="*/ 0 h 8"/>
                  <a:gd name="T14" fmla="*/ 3858642 w 8"/>
                  <a:gd name="T15" fmla="*/ 0 h 8"/>
                  <a:gd name="T16" fmla="*/ 9646603 w 8"/>
                  <a:gd name="T17" fmla="*/ 8505823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8"/>
                  <a:gd name="T29" fmla="*/ 8 w 8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8">
                    <a:moveTo>
                      <a:pt x="5" y="6"/>
                    </a:moveTo>
                    <a:lnTo>
                      <a:pt x="5" y="6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3" name="Freeform 334"/>
              <p:cNvSpPr>
                <a:spLocks noChangeAspect="1"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3677848" y="3641796"/>
                <a:ext cx="10628" cy="9460"/>
              </a:xfrm>
              <a:custGeom>
                <a:avLst/>
                <a:gdLst>
                  <a:gd name="T0" fmla="*/ 9646603 w 8"/>
                  <a:gd name="T1" fmla="*/ 8505823 h 8"/>
                  <a:gd name="T2" fmla="*/ 9646603 w 8"/>
                  <a:gd name="T3" fmla="*/ 8505823 h 8"/>
                  <a:gd name="T4" fmla="*/ 15434566 w 8"/>
                  <a:gd name="T5" fmla="*/ 11340702 h 8"/>
                  <a:gd name="T6" fmla="*/ 9646603 w 8"/>
                  <a:gd name="T7" fmla="*/ 11340702 h 8"/>
                  <a:gd name="T8" fmla="*/ 9646603 w 8"/>
                  <a:gd name="T9" fmla="*/ 11340702 h 8"/>
                  <a:gd name="T10" fmla="*/ 9646603 w 8"/>
                  <a:gd name="T11" fmla="*/ 8505823 h 8"/>
                  <a:gd name="T12" fmla="*/ 0 w 8"/>
                  <a:gd name="T13" fmla="*/ 0 h 8"/>
                  <a:gd name="T14" fmla="*/ 3858642 w 8"/>
                  <a:gd name="T15" fmla="*/ 0 h 8"/>
                  <a:gd name="T16" fmla="*/ 9646603 w 8"/>
                  <a:gd name="T17" fmla="*/ 8505823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8"/>
                  <a:gd name="T29" fmla="*/ 8 w 8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8">
                    <a:moveTo>
                      <a:pt x="5" y="6"/>
                    </a:moveTo>
                    <a:lnTo>
                      <a:pt x="5" y="6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4" name="Freeform 335"/>
              <p:cNvSpPr>
                <a:spLocks noChangeAspect="1"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3702143" y="3651257"/>
                <a:ext cx="303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360208 h 3"/>
                  <a:gd name="T4" fmla="*/ 0 w 3"/>
                  <a:gd name="T5" fmla="*/ 3360208 h 3"/>
                  <a:gd name="T6" fmla="*/ 0 w 3"/>
                  <a:gd name="T7" fmla="*/ 3360208 h 3"/>
                  <a:gd name="T8" fmla="*/ 3360208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5" name="Freeform 336"/>
              <p:cNvSpPr>
                <a:spLocks noChangeAspect="1"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3702143" y="3651257"/>
                <a:ext cx="303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360208 h 3"/>
                  <a:gd name="T4" fmla="*/ 0 w 3"/>
                  <a:gd name="T5" fmla="*/ 3360208 h 3"/>
                  <a:gd name="T6" fmla="*/ 0 w 3"/>
                  <a:gd name="T7" fmla="*/ 3360208 h 3"/>
                  <a:gd name="T8" fmla="*/ 3360208 w 3"/>
                  <a:gd name="T9" fmla="*/ 0 h 3"/>
                  <a:gd name="T10" fmla="*/ 0 w 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3"/>
                  <a:gd name="T20" fmla="*/ 3 w 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6" name="Freeform 337"/>
              <p:cNvSpPr>
                <a:spLocks noChangeAspect="1"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3688476" y="3667024"/>
                <a:ext cx="6074" cy="14190"/>
              </a:xfrm>
              <a:custGeom>
                <a:avLst/>
                <a:gdLst>
                  <a:gd name="T0" fmla="*/ 0 w 5"/>
                  <a:gd name="T1" fmla="*/ 0 h 11"/>
                  <a:gd name="T2" fmla="*/ 4838699 w 5"/>
                  <a:gd name="T3" fmla="*/ 8434525 h 11"/>
                  <a:gd name="T4" fmla="*/ 8064499 w 5"/>
                  <a:gd name="T5" fmla="*/ 8434525 h 11"/>
                  <a:gd name="T6" fmla="*/ 8064499 w 5"/>
                  <a:gd name="T7" fmla="*/ 13496020 h 11"/>
                  <a:gd name="T8" fmla="*/ 8064499 w 5"/>
                  <a:gd name="T9" fmla="*/ 18556214 h 11"/>
                  <a:gd name="T10" fmla="*/ 8064499 w 5"/>
                  <a:gd name="T11" fmla="*/ 13496020 h 11"/>
                  <a:gd name="T12" fmla="*/ 4838699 w 5"/>
                  <a:gd name="T13" fmla="*/ 13496020 h 11"/>
                  <a:gd name="T14" fmla="*/ 0 w 5"/>
                  <a:gd name="T15" fmla="*/ 3374330 h 11"/>
                  <a:gd name="T16" fmla="*/ 0 w 5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11"/>
                  <a:gd name="T29" fmla="*/ 5 w 5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11">
                    <a:moveTo>
                      <a:pt x="0" y="0"/>
                    </a:moveTo>
                    <a:lnTo>
                      <a:pt x="3" y="5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7" name="Freeform 338"/>
              <p:cNvSpPr>
                <a:spLocks noChangeAspect="1"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3688476" y="3667024"/>
                <a:ext cx="6074" cy="14190"/>
              </a:xfrm>
              <a:custGeom>
                <a:avLst/>
                <a:gdLst>
                  <a:gd name="T0" fmla="*/ 0 w 5"/>
                  <a:gd name="T1" fmla="*/ 0 h 11"/>
                  <a:gd name="T2" fmla="*/ 4838699 w 5"/>
                  <a:gd name="T3" fmla="*/ 8434525 h 11"/>
                  <a:gd name="T4" fmla="*/ 8064499 w 5"/>
                  <a:gd name="T5" fmla="*/ 8434525 h 11"/>
                  <a:gd name="T6" fmla="*/ 8064499 w 5"/>
                  <a:gd name="T7" fmla="*/ 13496020 h 11"/>
                  <a:gd name="T8" fmla="*/ 8064499 w 5"/>
                  <a:gd name="T9" fmla="*/ 18556214 h 11"/>
                  <a:gd name="T10" fmla="*/ 8064499 w 5"/>
                  <a:gd name="T11" fmla="*/ 13496020 h 11"/>
                  <a:gd name="T12" fmla="*/ 4838699 w 5"/>
                  <a:gd name="T13" fmla="*/ 13496020 h 11"/>
                  <a:gd name="T14" fmla="*/ 0 w 5"/>
                  <a:gd name="T15" fmla="*/ 3374330 h 11"/>
                  <a:gd name="T16" fmla="*/ 0 w 5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11"/>
                  <a:gd name="T29" fmla="*/ 5 w 5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11">
                    <a:moveTo>
                      <a:pt x="0" y="0"/>
                    </a:moveTo>
                    <a:lnTo>
                      <a:pt x="3" y="5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8" name="Freeform 339"/>
              <p:cNvSpPr>
                <a:spLocks noChangeAspect="1"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3705181" y="3681214"/>
                <a:ext cx="10628" cy="12614"/>
              </a:xfrm>
              <a:custGeom>
                <a:avLst/>
                <a:gdLst>
                  <a:gd name="T0" fmla="*/ 9646603 w 8"/>
                  <a:gd name="T1" fmla="*/ 3999345 h 11"/>
                  <a:gd name="T2" fmla="*/ 9646603 w 8"/>
                  <a:gd name="T3" fmla="*/ 3999345 h 11"/>
                  <a:gd name="T4" fmla="*/ 9646603 w 8"/>
                  <a:gd name="T5" fmla="*/ 3999345 h 11"/>
                  <a:gd name="T6" fmla="*/ 5787963 w 8"/>
                  <a:gd name="T7" fmla="*/ 3999345 h 11"/>
                  <a:gd name="T8" fmla="*/ 0 w 8"/>
                  <a:gd name="T9" fmla="*/ 3999345 h 11"/>
                  <a:gd name="T10" fmla="*/ 0 w 8"/>
                  <a:gd name="T11" fmla="*/ 3999345 h 11"/>
                  <a:gd name="T12" fmla="*/ 0 w 8"/>
                  <a:gd name="T13" fmla="*/ 0 h 11"/>
                  <a:gd name="T14" fmla="*/ 0 w 8"/>
                  <a:gd name="T15" fmla="*/ 0 h 11"/>
                  <a:gd name="T16" fmla="*/ 5787963 w 8"/>
                  <a:gd name="T17" fmla="*/ 0 h 11"/>
                  <a:gd name="T18" fmla="*/ 5787963 w 8"/>
                  <a:gd name="T19" fmla="*/ 3999345 h 11"/>
                  <a:gd name="T20" fmla="*/ 9646603 w 8"/>
                  <a:gd name="T21" fmla="*/ 3999345 h 11"/>
                  <a:gd name="T22" fmla="*/ 9646603 w 8"/>
                  <a:gd name="T23" fmla="*/ 3999345 h 11"/>
                  <a:gd name="T24" fmla="*/ 15434566 w 8"/>
                  <a:gd name="T25" fmla="*/ 6665191 h 11"/>
                  <a:gd name="T26" fmla="*/ 5787963 w 8"/>
                  <a:gd name="T27" fmla="*/ 14662727 h 11"/>
                  <a:gd name="T28" fmla="*/ 0 w 8"/>
                  <a:gd name="T29" fmla="*/ 10663383 h 11"/>
                  <a:gd name="T30" fmla="*/ 9646603 w 8"/>
                  <a:gd name="T31" fmla="*/ 6665191 h 11"/>
                  <a:gd name="T32" fmla="*/ 9646603 w 8"/>
                  <a:gd name="T33" fmla="*/ 3999345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11"/>
                  <a:gd name="T53" fmla="*/ 8 w 8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11">
                    <a:moveTo>
                      <a:pt x="5" y="3"/>
                    </a:move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8" y="5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5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59" name="Freeform 340"/>
              <p:cNvSpPr>
                <a:spLocks noChangeAspect="1"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3705181" y="3681214"/>
                <a:ext cx="10628" cy="12614"/>
              </a:xfrm>
              <a:custGeom>
                <a:avLst/>
                <a:gdLst>
                  <a:gd name="T0" fmla="*/ 9646603 w 8"/>
                  <a:gd name="T1" fmla="*/ 3999345 h 11"/>
                  <a:gd name="T2" fmla="*/ 9646603 w 8"/>
                  <a:gd name="T3" fmla="*/ 3999345 h 11"/>
                  <a:gd name="T4" fmla="*/ 9646603 w 8"/>
                  <a:gd name="T5" fmla="*/ 3999345 h 11"/>
                  <a:gd name="T6" fmla="*/ 5787963 w 8"/>
                  <a:gd name="T7" fmla="*/ 3999345 h 11"/>
                  <a:gd name="T8" fmla="*/ 0 w 8"/>
                  <a:gd name="T9" fmla="*/ 3999345 h 11"/>
                  <a:gd name="T10" fmla="*/ 0 w 8"/>
                  <a:gd name="T11" fmla="*/ 3999345 h 11"/>
                  <a:gd name="T12" fmla="*/ 0 w 8"/>
                  <a:gd name="T13" fmla="*/ 0 h 11"/>
                  <a:gd name="T14" fmla="*/ 0 w 8"/>
                  <a:gd name="T15" fmla="*/ 0 h 11"/>
                  <a:gd name="T16" fmla="*/ 5787963 w 8"/>
                  <a:gd name="T17" fmla="*/ 0 h 11"/>
                  <a:gd name="T18" fmla="*/ 5787963 w 8"/>
                  <a:gd name="T19" fmla="*/ 3999345 h 11"/>
                  <a:gd name="T20" fmla="*/ 9646603 w 8"/>
                  <a:gd name="T21" fmla="*/ 3999345 h 11"/>
                  <a:gd name="T22" fmla="*/ 9646603 w 8"/>
                  <a:gd name="T23" fmla="*/ 3999345 h 11"/>
                  <a:gd name="T24" fmla="*/ 15434566 w 8"/>
                  <a:gd name="T25" fmla="*/ 6665191 h 11"/>
                  <a:gd name="T26" fmla="*/ 5787963 w 8"/>
                  <a:gd name="T27" fmla="*/ 14662727 h 11"/>
                  <a:gd name="T28" fmla="*/ 0 w 8"/>
                  <a:gd name="T29" fmla="*/ 10663383 h 11"/>
                  <a:gd name="T30" fmla="*/ 9646603 w 8"/>
                  <a:gd name="T31" fmla="*/ 6665191 h 11"/>
                  <a:gd name="T32" fmla="*/ 9646603 w 8"/>
                  <a:gd name="T33" fmla="*/ 3999345 h 1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11"/>
                  <a:gd name="T53" fmla="*/ 8 w 8"/>
                  <a:gd name="T54" fmla="*/ 11 h 1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11">
                    <a:moveTo>
                      <a:pt x="5" y="3"/>
                    </a:moveTo>
                    <a:lnTo>
                      <a:pt x="5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8" y="5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5" y="5"/>
                    </a:lnTo>
                    <a:lnTo>
                      <a:pt x="5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0" name="Freeform 341"/>
              <p:cNvSpPr>
                <a:spLocks noChangeAspect="1"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3729476" y="3692252"/>
                <a:ext cx="9110" cy="1577"/>
              </a:xfrm>
              <a:custGeom>
                <a:avLst/>
                <a:gdLst>
                  <a:gd name="T0" fmla="*/ 15120939 w 6"/>
                  <a:gd name="T1" fmla="*/ 0 h 1587"/>
                  <a:gd name="T2" fmla="*/ 15120939 w 6"/>
                  <a:gd name="T3" fmla="*/ 0 h 1587"/>
                  <a:gd name="T4" fmla="*/ 7561263 w 6"/>
                  <a:gd name="T5" fmla="*/ 0 h 1587"/>
                  <a:gd name="T6" fmla="*/ 0 w 6"/>
                  <a:gd name="T7" fmla="*/ 0 h 1587"/>
                  <a:gd name="T8" fmla="*/ 7561263 w 6"/>
                  <a:gd name="T9" fmla="*/ 0 h 1587"/>
                  <a:gd name="T10" fmla="*/ 15120939 w 6"/>
                  <a:gd name="T11" fmla="*/ 0 h 1587"/>
                  <a:gd name="T12" fmla="*/ 15120939 w 6"/>
                  <a:gd name="T13" fmla="*/ 0 h 15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587"/>
                  <a:gd name="T23" fmla="*/ 6 w 6"/>
                  <a:gd name="T24" fmla="*/ 1587 h 15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587">
                    <a:moveTo>
                      <a:pt x="6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1" name="Freeform 342"/>
              <p:cNvSpPr>
                <a:spLocks noChangeAspect="1"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3729476" y="3692252"/>
                <a:ext cx="9110" cy="1577"/>
              </a:xfrm>
              <a:custGeom>
                <a:avLst/>
                <a:gdLst>
                  <a:gd name="T0" fmla="*/ 15120939 w 6"/>
                  <a:gd name="T1" fmla="*/ 0 h 1587"/>
                  <a:gd name="T2" fmla="*/ 15120939 w 6"/>
                  <a:gd name="T3" fmla="*/ 0 h 1587"/>
                  <a:gd name="T4" fmla="*/ 7561263 w 6"/>
                  <a:gd name="T5" fmla="*/ 0 h 1587"/>
                  <a:gd name="T6" fmla="*/ 0 w 6"/>
                  <a:gd name="T7" fmla="*/ 0 h 1587"/>
                  <a:gd name="T8" fmla="*/ 7561263 w 6"/>
                  <a:gd name="T9" fmla="*/ 0 h 1587"/>
                  <a:gd name="T10" fmla="*/ 15120939 w 6"/>
                  <a:gd name="T11" fmla="*/ 0 h 1587"/>
                  <a:gd name="T12" fmla="*/ 15120939 w 6"/>
                  <a:gd name="T13" fmla="*/ 0 h 15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587"/>
                  <a:gd name="T23" fmla="*/ 6 w 6"/>
                  <a:gd name="T24" fmla="*/ 1587 h 15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587">
                    <a:moveTo>
                      <a:pt x="6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2" name="Freeform 343"/>
              <p:cNvSpPr>
                <a:spLocks noChangeAspect="1"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3744661" y="3698558"/>
                <a:ext cx="18222" cy="6307"/>
              </a:xfrm>
              <a:custGeom>
                <a:avLst/>
                <a:gdLst>
                  <a:gd name="T0" fmla="*/ 5554436 w 14"/>
                  <a:gd name="T1" fmla="*/ 3225800 h 5"/>
                  <a:gd name="T2" fmla="*/ 11108871 w 14"/>
                  <a:gd name="T3" fmla="*/ 0 h 5"/>
                  <a:gd name="T4" fmla="*/ 25921611 w 14"/>
                  <a:gd name="T5" fmla="*/ 8064499 h 5"/>
                  <a:gd name="T6" fmla="*/ 25921611 w 14"/>
                  <a:gd name="T7" fmla="*/ 8064499 h 5"/>
                  <a:gd name="T8" fmla="*/ 22219103 w 14"/>
                  <a:gd name="T9" fmla="*/ 8064499 h 5"/>
                  <a:gd name="T10" fmla="*/ 11108871 w 14"/>
                  <a:gd name="T11" fmla="*/ 3225800 h 5"/>
                  <a:gd name="T12" fmla="*/ 5554436 w 14"/>
                  <a:gd name="T13" fmla="*/ 3225800 h 5"/>
                  <a:gd name="T14" fmla="*/ 0 w 14"/>
                  <a:gd name="T15" fmla="*/ 8064499 h 5"/>
                  <a:gd name="T16" fmla="*/ 5554436 w 14"/>
                  <a:gd name="T17" fmla="*/ 3225800 h 5"/>
                  <a:gd name="T18" fmla="*/ 5554436 w 14"/>
                  <a:gd name="T19" fmla="*/ 322580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5"/>
                  <a:gd name="T32" fmla="*/ 14 w 14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5">
                    <a:moveTo>
                      <a:pt x="3" y="2"/>
                    </a:moveTo>
                    <a:lnTo>
                      <a:pt x="6" y="0"/>
                    </a:lnTo>
                    <a:lnTo>
                      <a:pt x="14" y="5"/>
                    </a:lnTo>
                    <a:lnTo>
                      <a:pt x="12" y="5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3" name="Freeform 344"/>
              <p:cNvSpPr>
                <a:spLocks noChangeAspect="1"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3744661" y="3698558"/>
                <a:ext cx="18222" cy="6307"/>
              </a:xfrm>
              <a:custGeom>
                <a:avLst/>
                <a:gdLst>
                  <a:gd name="T0" fmla="*/ 5554436 w 14"/>
                  <a:gd name="T1" fmla="*/ 3225800 h 5"/>
                  <a:gd name="T2" fmla="*/ 11108871 w 14"/>
                  <a:gd name="T3" fmla="*/ 0 h 5"/>
                  <a:gd name="T4" fmla="*/ 25921611 w 14"/>
                  <a:gd name="T5" fmla="*/ 8064499 h 5"/>
                  <a:gd name="T6" fmla="*/ 25921611 w 14"/>
                  <a:gd name="T7" fmla="*/ 8064499 h 5"/>
                  <a:gd name="T8" fmla="*/ 22219103 w 14"/>
                  <a:gd name="T9" fmla="*/ 8064499 h 5"/>
                  <a:gd name="T10" fmla="*/ 11108871 w 14"/>
                  <a:gd name="T11" fmla="*/ 3225800 h 5"/>
                  <a:gd name="T12" fmla="*/ 5554436 w 14"/>
                  <a:gd name="T13" fmla="*/ 3225800 h 5"/>
                  <a:gd name="T14" fmla="*/ 0 w 14"/>
                  <a:gd name="T15" fmla="*/ 8064499 h 5"/>
                  <a:gd name="T16" fmla="*/ 5554436 w 14"/>
                  <a:gd name="T17" fmla="*/ 3225800 h 5"/>
                  <a:gd name="T18" fmla="*/ 5554436 w 14"/>
                  <a:gd name="T19" fmla="*/ 322580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5"/>
                  <a:gd name="T32" fmla="*/ 14 w 14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5">
                    <a:moveTo>
                      <a:pt x="3" y="2"/>
                    </a:moveTo>
                    <a:lnTo>
                      <a:pt x="6" y="0"/>
                    </a:lnTo>
                    <a:lnTo>
                      <a:pt x="14" y="5"/>
                    </a:lnTo>
                    <a:lnTo>
                      <a:pt x="12" y="5"/>
                    </a:lnTo>
                    <a:lnTo>
                      <a:pt x="6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4" name="Freeform 345"/>
              <p:cNvSpPr>
                <a:spLocks noChangeAspect="1"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3720365" y="3712749"/>
                <a:ext cx="15185" cy="9460"/>
              </a:xfrm>
              <a:custGeom>
                <a:avLst/>
                <a:gdLst>
                  <a:gd name="T0" fmla="*/ 22910509 w 11"/>
                  <a:gd name="T1" fmla="*/ 0 h 8"/>
                  <a:gd name="T2" fmla="*/ 16661534 w 11"/>
                  <a:gd name="T3" fmla="*/ 0 h 8"/>
                  <a:gd name="T4" fmla="*/ 16661534 w 11"/>
                  <a:gd name="T5" fmla="*/ 7087790 h 8"/>
                  <a:gd name="T6" fmla="*/ 10413999 w 11"/>
                  <a:gd name="T7" fmla="*/ 7087790 h 8"/>
                  <a:gd name="T8" fmla="*/ 0 w 11"/>
                  <a:gd name="T9" fmla="*/ 11340702 h 8"/>
                  <a:gd name="T10" fmla="*/ 0 w 11"/>
                  <a:gd name="T11" fmla="*/ 4252912 h 8"/>
                  <a:gd name="T12" fmla="*/ 6248978 w 11"/>
                  <a:gd name="T13" fmla="*/ 4252912 h 8"/>
                  <a:gd name="T14" fmla="*/ 10413999 w 11"/>
                  <a:gd name="T15" fmla="*/ 4252912 h 8"/>
                  <a:gd name="T16" fmla="*/ 22910509 w 11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8"/>
                  <a:gd name="T29" fmla="*/ 11 w 11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8">
                    <a:moveTo>
                      <a:pt x="11" y="0"/>
                    </a:moveTo>
                    <a:lnTo>
                      <a:pt x="8" y="0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5" name="Freeform 346"/>
              <p:cNvSpPr>
                <a:spLocks noChangeAspect="1"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3720365" y="3712749"/>
                <a:ext cx="15185" cy="9460"/>
              </a:xfrm>
              <a:custGeom>
                <a:avLst/>
                <a:gdLst>
                  <a:gd name="T0" fmla="*/ 22910509 w 11"/>
                  <a:gd name="T1" fmla="*/ 0 h 8"/>
                  <a:gd name="T2" fmla="*/ 16661534 w 11"/>
                  <a:gd name="T3" fmla="*/ 0 h 8"/>
                  <a:gd name="T4" fmla="*/ 16661534 w 11"/>
                  <a:gd name="T5" fmla="*/ 7087790 h 8"/>
                  <a:gd name="T6" fmla="*/ 10413999 w 11"/>
                  <a:gd name="T7" fmla="*/ 7087790 h 8"/>
                  <a:gd name="T8" fmla="*/ 0 w 11"/>
                  <a:gd name="T9" fmla="*/ 11340702 h 8"/>
                  <a:gd name="T10" fmla="*/ 0 w 11"/>
                  <a:gd name="T11" fmla="*/ 4252912 h 8"/>
                  <a:gd name="T12" fmla="*/ 6248978 w 11"/>
                  <a:gd name="T13" fmla="*/ 4252912 h 8"/>
                  <a:gd name="T14" fmla="*/ 10413999 w 11"/>
                  <a:gd name="T15" fmla="*/ 4252912 h 8"/>
                  <a:gd name="T16" fmla="*/ 22910509 w 11"/>
                  <a:gd name="T17" fmla="*/ 0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8"/>
                  <a:gd name="T29" fmla="*/ 11 w 11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8">
                    <a:moveTo>
                      <a:pt x="11" y="0"/>
                    </a:moveTo>
                    <a:lnTo>
                      <a:pt x="8" y="0"/>
                    </a:lnTo>
                    <a:lnTo>
                      <a:pt x="8" y="5"/>
                    </a:lnTo>
                    <a:lnTo>
                      <a:pt x="5" y="5"/>
                    </a:lnTo>
                    <a:lnTo>
                      <a:pt x="0" y="8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11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6" name="Freeform 347"/>
              <p:cNvSpPr>
                <a:spLocks noChangeAspect="1"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3632295" y="3648104"/>
                <a:ext cx="6074" cy="6307"/>
              </a:xfrm>
              <a:custGeom>
                <a:avLst/>
                <a:gdLst>
                  <a:gd name="T0" fmla="*/ 13440833 w 3"/>
                  <a:gd name="T1" fmla="*/ 0 h 5"/>
                  <a:gd name="T2" fmla="*/ 0 w 3"/>
                  <a:gd name="T3" fmla="*/ 3225800 h 5"/>
                  <a:gd name="T4" fmla="*/ 0 w 3"/>
                  <a:gd name="T5" fmla="*/ 8064499 h 5"/>
                  <a:gd name="T6" fmla="*/ 13440833 w 3"/>
                  <a:gd name="T7" fmla="*/ 3225800 h 5"/>
                  <a:gd name="T8" fmla="*/ 13440833 w 3"/>
                  <a:gd name="T9" fmla="*/ 3225800 h 5"/>
                  <a:gd name="T10" fmla="*/ 13440833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7" name="Freeform 348"/>
              <p:cNvSpPr>
                <a:spLocks noChangeAspect="1"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3632295" y="3648104"/>
                <a:ext cx="6074" cy="6307"/>
              </a:xfrm>
              <a:custGeom>
                <a:avLst/>
                <a:gdLst>
                  <a:gd name="T0" fmla="*/ 13440833 w 3"/>
                  <a:gd name="T1" fmla="*/ 0 h 5"/>
                  <a:gd name="T2" fmla="*/ 0 w 3"/>
                  <a:gd name="T3" fmla="*/ 3225800 h 5"/>
                  <a:gd name="T4" fmla="*/ 0 w 3"/>
                  <a:gd name="T5" fmla="*/ 8064499 h 5"/>
                  <a:gd name="T6" fmla="*/ 13440833 w 3"/>
                  <a:gd name="T7" fmla="*/ 3225800 h 5"/>
                  <a:gd name="T8" fmla="*/ 13440833 w 3"/>
                  <a:gd name="T9" fmla="*/ 3225800 h 5"/>
                  <a:gd name="T10" fmla="*/ 13440833 w 3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5"/>
                  <a:gd name="T20" fmla="*/ 3 w 3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5">
                    <a:moveTo>
                      <a:pt x="3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8" name="Freeform 349"/>
              <p:cNvSpPr>
                <a:spLocks noChangeAspect="1"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3973946" y="5363596"/>
                <a:ext cx="6074" cy="6307"/>
              </a:xfrm>
              <a:custGeom>
                <a:avLst/>
                <a:gdLst>
                  <a:gd name="T0" fmla="*/ 8064499 w 5"/>
                  <a:gd name="T1" fmla="*/ 3225800 h 5"/>
                  <a:gd name="T2" fmla="*/ 8064499 w 5"/>
                  <a:gd name="T3" fmla="*/ 3225800 h 5"/>
                  <a:gd name="T4" fmla="*/ 8064499 w 5"/>
                  <a:gd name="T5" fmla="*/ 3225800 h 5"/>
                  <a:gd name="T6" fmla="*/ 8064499 w 5"/>
                  <a:gd name="T7" fmla="*/ 3225800 h 5"/>
                  <a:gd name="T8" fmla="*/ 8064499 w 5"/>
                  <a:gd name="T9" fmla="*/ 8064499 h 5"/>
                  <a:gd name="T10" fmla="*/ 8064499 w 5"/>
                  <a:gd name="T11" fmla="*/ 8064499 h 5"/>
                  <a:gd name="T12" fmla="*/ 4838699 w 5"/>
                  <a:gd name="T13" fmla="*/ 8064499 h 5"/>
                  <a:gd name="T14" fmla="*/ 0 w 5"/>
                  <a:gd name="T15" fmla="*/ 3225800 h 5"/>
                  <a:gd name="T16" fmla="*/ 0 w 5"/>
                  <a:gd name="T17" fmla="*/ 0 h 5"/>
                  <a:gd name="T18" fmla="*/ 0 w 5"/>
                  <a:gd name="T19" fmla="*/ 0 h 5"/>
                  <a:gd name="T20" fmla="*/ 0 w 5"/>
                  <a:gd name="T21" fmla="*/ 0 h 5"/>
                  <a:gd name="T22" fmla="*/ 0 w 5"/>
                  <a:gd name="T23" fmla="*/ 0 h 5"/>
                  <a:gd name="T24" fmla="*/ 0 w 5"/>
                  <a:gd name="T25" fmla="*/ 3225800 h 5"/>
                  <a:gd name="T26" fmla="*/ 0 w 5"/>
                  <a:gd name="T27" fmla="*/ 3225800 h 5"/>
                  <a:gd name="T28" fmla="*/ 0 w 5"/>
                  <a:gd name="T29" fmla="*/ 3225800 h 5"/>
                  <a:gd name="T30" fmla="*/ 4838699 w 5"/>
                  <a:gd name="T31" fmla="*/ 3225800 h 5"/>
                  <a:gd name="T32" fmla="*/ 4838699 w 5"/>
                  <a:gd name="T33" fmla="*/ 3225800 h 5"/>
                  <a:gd name="T34" fmla="*/ 8064499 w 5"/>
                  <a:gd name="T35" fmla="*/ 3225800 h 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"/>
                  <a:gd name="T55" fmla="*/ 0 h 5"/>
                  <a:gd name="T56" fmla="*/ 5 w 5"/>
                  <a:gd name="T57" fmla="*/ 5 h 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" h="5">
                    <a:moveTo>
                      <a:pt x="5" y="2"/>
                    </a:moveTo>
                    <a:lnTo>
                      <a:pt x="5" y="2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9" name="Freeform 350"/>
              <p:cNvSpPr>
                <a:spLocks noChangeAspect="1"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3973946" y="5363596"/>
                <a:ext cx="6074" cy="6307"/>
              </a:xfrm>
              <a:custGeom>
                <a:avLst/>
                <a:gdLst>
                  <a:gd name="T0" fmla="*/ 8064499 w 5"/>
                  <a:gd name="T1" fmla="*/ 3225800 h 5"/>
                  <a:gd name="T2" fmla="*/ 8064499 w 5"/>
                  <a:gd name="T3" fmla="*/ 3225800 h 5"/>
                  <a:gd name="T4" fmla="*/ 8064499 w 5"/>
                  <a:gd name="T5" fmla="*/ 3225800 h 5"/>
                  <a:gd name="T6" fmla="*/ 8064499 w 5"/>
                  <a:gd name="T7" fmla="*/ 3225800 h 5"/>
                  <a:gd name="T8" fmla="*/ 8064499 w 5"/>
                  <a:gd name="T9" fmla="*/ 8064499 h 5"/>
                  <a:gd name="T10" fmla="*/ 8064499 w 5"/>
                  <a:gd name="T11" fmla="*/ 8064499 h 5"/>
                  <a:gd name="T12" fmla="*/ 4838699 w 5"/>
                  <a:gd name="T13" fmla="*/ 8064499 h 5"/>
                  <a:gd name="T14" fmla="*/ 0 w 5"/>
                  <a:gd name="T15" fmla="*/ 3225800 h 5"/>
                  <a:gd name="T16" fmla="*/ 0 w 5"/>
                  <a:gd name="T17" fmla="*/ 0 h 5"/>
                  <a:gd name="T18" fmla="*/ 0 w 5"/>
                  <a:gd name="T19" fmla="*/ 0 h 5"/>
                  <a:gd name="T20" fmla="*/ 0 w 5"/>
                  <a:gd name="T21" fmla="*/ 0 h 5"/>
                  <a:gd name="T22" fmla="*/ 0 w 5"/>
                  <a:gd name="T23" fmla="*/ 0 h 5"/>
                  <a:gd name="T24" fmla="*/ 0 w 5"/>
                  <a:gd name="T25" fmla="*/ 3225800 h 5"/>
                  <a:gd name="T26" fmla="*/ 0 w 5"/>
                  <a:gd name="T27" fmla="*/ 3225800 h 5"/>
                  <a:gd name="T28" fmla="*/ 0 w 5"/>
                  <a:gd name="T29" fmla="*/ 3225800 h 5"/>
                  <a:gd name="T30" fmla="*/ 4838699 w 5"/>
                  <a:gd name="T31" fmla="*/ 3225800 h 5"/>
                  <a:gd name="T32" fmla="*/ 4838699 w 5"/>
                  <a:gd name="T33" fmla="*/ 3225800 h 5"/>
                  <a:gd name="T34" fmla="*/ 8064499 w 5"/>
                  <a:gd name="T35" fmla="*/ 3225800 h 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"/>
                  <a:gd name="T55" fmla="*/ 0 h 5"/>
                  <a:gd name="T56" fmla="*/ 5 w 5"/>
                  <a:gd name="T57" fmla="*/ 5 h 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" h="5">
                    <a:moveTo>
                      <a:pt x="5" y="2"/>
                    </a:moveTo>
                    <a:lnTo>
                      <a:pt x="5" y="2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0" name="Freeform 351"/>
              <p:cNvSpPr>
                <a:spLocks noChangeAspect="1"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3980021" y="5352559"/>
                <a:ext cx="33406" cy="28381"/>
              </a:xfrm>
              <a:custGeom>
                <a:avLst/>
                <a:gdLst>
                  <a:gd name="T0" fmla="*/ 44887004 w 25"/>
                  <a:gd name="T1" fmla="*/ 0 h 23"/>
                  <a:gd name="T2" fmla="*/ 48790232 w 25"/>
                  <a:gd name="T3" fmla="*/ 0 h 23"/>
                  <a:gd name="T4" fmla="*/ 48790232 w 25"/>
                  <a:gd name="T5" fmla="*/ 0 h 23"/>
                  <a:gd name="T6" fmla="*/ 48790232 w 25"/>
                  <a:gd name="T7" fmla="*/ 0 h 23"/>
                  <a:gd name="T8" fmla="*/ 48790232 w 25"/>
                  <a:gd name="T9" fmla="*/ 4630392 h 23"/>
                  <a:gd name="T10" fmla="*/ 48790232 w 25"/>
                  <a:gd name="T11" fmla="*/ 4630392 h 23"/>
                  <a:gd name="T12" fmla="*/ 48790232 w 25"/>
                  <a:gd name="T13" fmla="*/ 9260784 h 23"/>
                  <a:gd name="T14" fmla="*/ 44887004 w 25"/>
                  <a:gd name="T15" fmla="*/ 9260784 h 23"/>
                  <a:gd name="T16" fmla="*/ 39032179 w 25"/>
                  <a:gd name="T17" fmla="*/ 16978519 h 23"/>
                  <a:gd name="T18" fmla="*/ 39032179 w 25"/>
                  <a:gd name="T19" fmla="*/ 16978519 h 23"/>
                  <a:gd name="T20" fmla="*/ 33177354 w 25"/>
                  <a:gd name="T21" fmla="*/ 21608914 h 23"/>
                  <a:gd name="T22" fmla="*/ 27322529 w 25"/>
                  <a:gd name="T23" fmla="*/ 21608914 h 23"/>
                  <a:gd name="T24" fmla="*/ 27322529 w 25"/>
                  <a:gd name="T25" fmla="*/ 21608914 h 23"/>
                  <a:gd name="T26" fmla="*/ 23419312 w 25"/>
                  <a:gd name="T27" fmla="*/ 26240548 h 23"/>
                  <a:gd name="T28" fmla="*/ 23419312 w 25"/>
                  <a:gd name="T29" fmla="*/ 26240548 h 23"/>
                  <a:gd name="T30" fmla="*/ 23419312 w 25"/>
                  <a:gd name="T31" fmla="*/ 26240548 h 23"/>
                  <a:gd name="T32" fmla="*/ 23419312 w 25"/>
                  <a:gd name="T33" fmla="*/ 30870939 h 23"/>
                  <a:gd name="T34" fmla="*/ 17564481 w 25"/>
                  <a:gd name="T35" fmla="*/ 30870939 h 23"/>
                  <a:gd name="T36" fmla="*/ 17564481 w 25"/>
                  <a:gd name="T37" fmla="*/ 30870939 h 23"/>
                  <a:gd name="T38" fmla="*/ 11709656 w 25"/>
                  <a:gd name="T39" fmla="*/ 35501329 h 23"/>
                  <a:gd name="T40" fmla="*/ 5854828 w 25"/>
                  <a:gd name="T41" fmla="*/ 30870939 h 23"/>
                  <a:gd name="T42" fmla="*/ 5854828 w 25"/>
                  <a:gd name="T43" fmla="*/ 30870939 h 23"/>
                  <a:gd name="T44" fmla="*/ 5854828 w 25"/>
                  <a:gd name="T45" fmla="*/ 30870939 h 23"/>
                  <a:gd name="T46" fmla="*/ 5854828 w 25"/>
                  <a:gd name="T47" fmla="*/ 30870939 h 23"/>
                  <a:gd name="T48" fmla="*/ 0 w 25"/>
                  <a:gd name="T49" fmla="*/ 26240548 h 23"/>
                  <a:gd name="T50" fmla="*/ 0 w 25"/>
                  <a:gd name="T51" fmla="*/ 26240548 h 23"/>
                  <a:gd name="T52" fmla="*/ 5854828 w 25"/>
                  <a:gd name="T53" fmla="*/ 26240548 h 23"/>
                  <a:gd name="T54" fmla="*/ 5854828 w 25"/>
                  <a:gd name="T55" fmla="*/ 21608914 h 23"/>
                  <a:gd name="T56" fmla="*/ 5854828 w 25"/>
                  <a:gd name="T57" fmla="*/ 21608914 h 23"/>
                  <a:gd name="T58" fmla="*/ 11709656 w 25"/>
                  <a:gd name="T59" fmla="*/ 21608914 h 23"/>
                  <a:gd name="T60" fmla="*/ 17564481 w 25"/>
                  <a:gd name="T61" fmla="*/ 21608914 h 23"/>
                  <a:gd name="T62" fmla="*/ 11709656 w 25"/>
                  <a:gd name="T63" fmla="*/ 21608914 h 23"/>
                  <a:gd name="T64" fmla="*/ 11709656 w 25"/>
                  <a:gd name="T65" fmla="*/ 21608914 h 23"/>
                  <a:gd name="T66" fmla="*/ 17564481 w 25"/>
                  <a:gd name="T67" fmla="*/ 16978519 h 23"/>
                  <a:gd name="T68" fmla="*/ 17564481 w 25"/>
                  <a:gd name="T69" fmla="*/ 16978519 h 23"/>
                  <a:gd name="T70" fmla="*/ 23419312 w 25"/>
                  <a:gd name="T71" fmla="*/ 13892420 h 23"/>
                  <a:gd name="T72" fmla="*/ 27322529 w 25"/>
                  <a:gd name="T73" fmla="*/ 13892420 h 23"/>
                  <a:gd name="T74" fmla="*/ 17564481 w 25"/>
                  <a:gd name="T75" fmla="*/ 4630392 h 23"/>
                  <a:gd name="T76" fmla="*/ 17564481 w 25"/>
                  <a:gd name="T77" fmla="*/ 4630392 h 23"/>
                  <a:gd name="T78" fmla="*/ 11709656 w 25"/>
                  <a:gd name="T79" fmla="*/ 4630392 h 23"/>
                  <a:gd name="T80" fmla="*/ 17564481 w 25"/>
                  <a:gd name="T81" fmla="*/ 4630392 h 23"/>
                  <a:gd name="T82" fmla="*/ 17564481 w 25"/>
                  <a:gd name="T83" fmla="*/ 4630392 h 23"/>
                  <a:gd name="T84" fmla="*/ 11709656 w 25"/>
                  <a:gd name="T85" fmla="*/ 4630392 h 23"/>
                  <a:gd name="T86" fmla="*/ 11709656 w 25"/>
                  <a:gd name="T87" fmla="*/ 0 h 23"/>
                  <a:gd name="T88" fmla="*/ 11709656 w 25"/>
                  <a:gd name="T89" fmla="*/ 0 h 23"/>
                  <a:gd name="T90" fmla="*/ 17564481 w 25"/>
                  <a:gd name="T91" fmla="*/ 4630392 h 23"/>
                  <a:gd name="T92" fmla="*/ 23419312 w 25"/>
                  <a:gd name="T93" fmla="*/ 4630392 h 23"/>
                  <a:gd name="T94" fmla="*/ 27322529 w 25"/>
                  <a:gd name="T95" fmla="*/ 0 h 23"/>
                  <a:gd name="T96" fmla="*/ 44887004 w 25"/>
                  <a:gd name="T97" fmla="*/ 4630392 h 23"/>
                  <a:gd name="T98" fmla="*/ 44887004 w 25"/>
                  <a:gd name="T99" fmla="*/ 0 h 2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"/>
                  <a:gd name="T151" fmla="*/ 0 h 23"/>
                  <a:gd name="T152" fmla="*/ 25 w 25"/>
                  <a:gd name="T153" fmla="*/ 23 h 23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" h="23">
                    <a:moveTo>
                      <a:pt x="23" y="0"/>
                    </a:moveTo>
                    <a:lnTo>
                      <a:pt x="25" y="0"/>
                    </a:lnTo>
                    <a:lnTo>
                      <a:pt x="25" y="3"/>
                    </a:lnTo>
                    <a:lnTo>
                      <a:pt x="25" y="6"/>
                    </a:lnTo>
                    <a:lnTo>
                      <a:pt x="23" y="6"/>
                    </a:lnTo>
                    <a:lnTo>
                      <a:pt x="20" y="11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2" y="17"/>
                    </a:lnTo>
                    <a:lnTo>
                      <a:pt x="12" y="20"/>
                    </a:lnTo>
                    <a:lnTo>
                      <a:pt x="9" y="20"/>
                    </a:lnTo>
                    <a:lnTo>
                      <a:pt x="6" y="23"/>
                    </a:lnTo>
                    <a:lnTo>
                      <a:pt x="3" y="20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9" y="11"/>
                    </a:lnTo>
                    <a:lnTo>
                      <a:pt x="12" y="9"/>
                    </a:lnTo>
                    <a:lnTo>
                      <a:pt x="14" y="9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9" y="3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23" y="3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1" name="Freeform 352"/>
              <p:cNvSpPr>
                <a:spLocks noChangeAspect="1"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4005835" y="5349405"/>
                <a:ext cx="37961" cy="33112"/>
              </a:xfrm>
              <a:custGeom>
                <a:avLst/>
                <a:gdLst>
                  <a:gd name="T0" fmla="*/ 56252077 w 28"/>
                  <a:gd name="T1" fmla="*/ 16770249 h 27"/>
                  <a:gd name="T2" fmla="*/ 50225324 w 28"/>
                  <a:gd name="T3" fmla="*/ 16770249 h 27"/>
                  <a:gd name="T4" fmla="*/ 44198560 w 28"/>
                  <a:gd name="T5" fmla="*/ 19820058 h 27"/>
                  <a:gd name="T6" fmla="*/ 44198560 w 28"/>
                  <a:gd name="T7" fmla="*/ 19820058 h 27"/>
                  <a:gd name="T8" fmla="*/ 28126747 w 28"/>
                  <a:gd name="T9" fmla="*/ 19820058 h 27"/>
                  <a:gd name="T10" fmla="*/ 22098572 w 28"/>
                  <a:gd name="T11" fmla="*/ 19820058 h 27"/>
                  <a:gd name="T12" fmla="*/ 22098572 w 28"/>
                  <a:gd name="T13" fmla="*/ 24393541 h 27"/>
                  <a:gd name="T14" fmla="*/ 28126747 w 28"/>
                  <a:gd name="T15" fmla="*/ 28967019 h 27"/>
                  <a:gd name="T16" fmla="*/ 34153500 w 28"/>
                  <a:gd name="T17" fmla="*/ 33540498 h 27"/>
                  <a:gd name="T18" fmla="*/ 28126747 w 28"/>
                  <a:gd name="T19" fmla="*/ 28967019 h 27"/>
                  <a:gd name="T20" fmla="*/ 22098572 w 28"/>
                  <a:gd name="T21" fmla="*/ 28967019 h 27"/>
                  <a:gd name="T22" fmla="*/ 22098572 w 28"/>
                  <a:gd name="T23" fmla="*/ 28967019 h 27"/>
                  <a:gd name="T24" fmla="*/ 16071819 w 28"/>
                  <a:gd name="T25" fmla="*/ 28967019 h 27"/>
                  <a:gd name="T26" fmla="*/ 16071819 w 28"/>
                  <a:gd name="T27" fmla="*/ 33540498 h 27"/>
                  <a:gd name="T28" fmla="*/ 22098572 w 28"/>
                  <a:gd name="T29" fmla="*/ 33540498 h 27"/>
                  <a:gd name="T30" fmla="*/ 22098572 w 28"/>
                  <a:gd name="T31" fmla="*/ 38115211 h 27"/>
                  <a:gd name="T32" fmla="*/ 16071819 w 28"/>
                  <a:gd name="T33" fmla="*/ 38115211 h 27"/>
                  <a:gd name="T34" fmla="*/ 10045063 w 28"/>
                  <a:gd name="T35" fmla="*/ 33540498 h 27"/>
                  <a:gd name="T36" fmla="*/ 6026756 w 28"/>
                  <a:gd name="T37" fmla="*/ 41163794 h 27"/>
                  <a:gd name="T38" fmla="*/ 6026756 w 28"/>
                  <a:gd name="T39" fmla="*/ 38115211 h 27"/>
                  <a:gd name="T40" fmla="*/ 0 w 28"/>
                  <a:gd name="T41" fmla="*/ 33540498 h 27"/>
                  <a:gd name="T42" fmla="*/ 0 w 28"/>
                  <a:gd name="T43" fmla="*/ 28967019 h 27"/>
                  <a:gd name="T44" fmla="*/ 0 w 28"/>
                  <a:gd name="T45" fmla="*/ 19820058 h 27"/>
                  <a:gd name="T46" fmla="*/ 6026756 w 28"/>
                  <a:gd name="T47" fmla="*/ 19820058 h 27"/>
                  <a:gd name="T48" fmla="*/ 6026756 w 28"/>
                  <a:gd name="T49" fmla="*/ 19820058 h 27"/>
                  <a:gd name="T50" fmla="*/ 6026756 w 28"/>
                  <a:gd name="T51" fmla="*/ 19820058 h 27"/>
                  <a:gd name="T52" fmla="*/ 10045063 w 28"/>
                  <a:gd name="T53" fmla="*/ 16770249 h 27"/>
                  <a:gd name="T54" fmla="*/ 16071819 w 28"/>
                  <a:gd name="T55" fmla="*/ 16770249 h 27"/>
                  <a:gd name="T56" fmla="*/ 16071819 w 28"/>
                  <a:gd name="T57" fmla="*/ 19820058 h 27"/>
                  <a:gd name="T58" fmla="*/ 22098572 w 28"/>
                  <a:gd name="T59" fmla="*/ 19820058 h 27"/>
                  <a:gd name="T60" fmla="*/ 16071819 w 28"/>
                  <a:gd name="T61" fmla="*/ 7623290 h 27"/>
                  <a:gd name="T62" fmla="*/ 16071819 w 28"/>
                  <a:gd name="T63" fmla="*/ 3048575 h 27"/>
                  <a:gd name="T64" fmla="*/ 22098572 w 28"/>
                  <a:gd name="T65" fmla="*/ 3048575 h 27"/>
                  <a:gd name="T66" fmla="*/ 22098572 w 28"/>
                  <a:gd name="T67" fmla="*/ 0 h 27"/>
                  <a:gd name="T68" fmla="*/ 22098572 w 28"/>
                  <a:gd name="T69" fmla="*/ 0 h 27"/>
                  <a:gd name="T70" fmla="*/ 28126747 w 28"/>
                  <a:gd name="T71" fmla="*/ 0 h 27"/>
                  <a:gd name="T72" fmla="*/ 34153500 w 28"/>
                  <a:gd name="T73" fmla="*/ 0 h 27"/>
                  <a:gd name="T74" fmla="*/ 38170390 w 28"/>
                  <a:gd name="T75" fmla="*/ 7623290 h 27"/>
                  <a:gd name="T76" fmla="*/ 50225324 w 28"/>
                  <a:gd name="T77" fmla="*/ 3048575 h 27"/>
                  <a:gd name="T78" fmla="*/ 50225324 w 28"/>
                  <a:gd name="T79" fmla="*/ 3048575 h 27"/>
                  <a:gd name="T80" fmla="*/ 56252077 w 28"/>
                  <a:gd name="T81" fmla="*/ 7623290 h 27"/>
                  <a:gd name="T82" fmla="*/ 56252077 w 28"/>
                  <a:gd name="T83" fmla="*/ 7623290 h 27"/>
                  <a:gd name="T84" fmla="*/ 56252077 w 28"/>
                  <a:gd name="T85" fmla="*/ 7623290 h 27"/>
                  <a:gd name="T86" fmla="*/ 56252077 w 28"/>
                  <a:gd name="T87" fmla="*/ 12196770 h 27"/>
                  <a:gd name="T88" fmla="*/ 56252077 w 28"/>
                  <a:gd name="T89" fmla="*/ 12196770 h 27"/>
                  <a:gd name="T90" fmla="*/ 56252077 w 28"/>
                  <a:gd name="T91" fmla="*/ 16770249 h 27"/>
                  <a:gd name="T92" fmla="*/ 56252077 w 28"/>
                  <a:gd name="T93" fmla="*/ 16770249 h 27"/>
                  <a:gd name="T94" fmla="*/ 56252077 w 28"/>
                  <a:gd name="T95" fmla="*/ 16770249 h 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8"/>
                  <a:gd name="T145" fmla="*/ 0 h 27"/>
                  <a:gd name="T146" fmla="*/ 28 w 28"/>
                  <a:gd name="T147" fmla="*/ 27 h 2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8" h="27">
                    <a:moveTo>
                      <a:pt x="28" y="11"/>
                    </a:moveTo>
                    <a:lnTo>
                      <a:pt x="25" y="11"/>
                    </a:lnTo>
                    <a:lnTo>
                      <a:pt x="22" y="13"/>
                    </a:lnTo>
                    <a:lnTo>
                      <a:pt x="14" y="13"/>
                    </a:lnTo>
                    <a:lnTo>
                      <a:pt x="11" y="13"/>
                    </a:lnTo>
                    <a:lnTo>
                      <a:pt x="11" y="16"/>
                    </a:lnTo>
                    <a:lnTo>
                      <a:pt x="14" y="19"/>
                    </a:lnTo>
                    <a:lnTo>
                      <a:pt x="17" y="22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5" y="22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5" y="11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11" y="13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5"/>
                    </a:lnTo>
                    <a:lnTo>
                      <a:pt x="25" y="2"/>
                    </a:lnTo>
                    <a:lnTo>
                      <a:pt x="28" y="5"/>
                    </a:lnTo>
                    <a:lnTo>
                      <a:pt x="28" y="8"/>
                    </a:lnTo>
                    <a:lnTo>
                      <a:pt x="28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2" name="Freeform 353"/>
              <p:cNvSpPr>
                <a:spLocks noChangeAspect="1"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2813847" y="3544038"/>
                <a:ext cx="4557" cy="4730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0 h 3"/>
                  <a:gd name="T6" fmla="*/ 7562057 w 3"/>
                  <a:gd name="T7" fmla="*/ 0 h 3"/>
                  <a:gd name="T8" fmla="*/ 7562057 w 3"/>
                  <a:gd name="T9" fmla="*/ 7558882 h 3"/>
                  <a:gd name="T10" fmla="*/ 7562057 w 3"/>
                  <a:gd name="T11" fmla="*/ 7558882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3" name="Freeform 354"/>
              <p:cNvSpPr>
                <a:spLocks noChangeAspect="1"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2813847" y="3544038"/>
                <a:ext cx="4557" cy="4730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0 h 3"/>
                  <a:gd name="T6" fmla="*/ 7562057 w 3"/>
                  <a:gd name="T7" fmla="*/ 0 h 3"/>
                  <a:gd name="T8" fmla="*/ 7562057 w 3"/>
                  <a:gd name="T9" fmla="*/ 7558882 h 3"/>
                  <a:gd name="T10" fmla="*/ 7562057 w 3"/>
                  <a:gd name="T11" fmla="*/ 7558882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4" name="Freeform 570"/>
              <p:cNvSpPr>
                <a:spLocks noChangeAspect="1"/>
              </p:cNvSpPr>
              <p:nvPr>
                <p:custDataLst>
                  <p:tags r:id="rId162"/>
                </p:custDataLst>
              </p:nvPr>
            </p:nvSpPr>
            <p:spPr bwMode="gray">
              <a:xfrm>
                <a:off x="2838142" y="3458897"/>
                <a:ext cx="613457" cy="397338"/>
              </a:xfrm>
              <a:custGeom>
                <a:avLst/>
                <a:gdLst>
                  <a:gd name="T0" fmla="*/ 98270905 w 471"/>
                  <a:gd name="T1" fmla="*/ 36875802 h 309"/>
                  <a:gd name="T2" fmla="*/ 124228552 w 471"/>
                  <a:gd name="T3" fmla="*/ 70398435 h 309"/>
                  <a:gd name="T4" fmla="*/ 135353453 w 471"/>
                  <a:gd name="T5" fmla="*/ 93864162 h 309"/>
                  <a:gd name="T6" fmla="*/ 155750011 w 471"/>
                  <a:gd name="T7" fmla="*/ 125711496 h 309"/>
                  <a:gd name="T8" fmla="*/ 190979359 w 471"/>
                  <a:gd name="T9" fmla="*/ 154205661 h 309"/>
                  <a:gd name="T10" fmla="*/ 216937007 w 471"/>
                  <a:gd name="T11" fmla="*/ 182699866 h 309"/>
                  <a:gd name="T12" fmla="*/ 228061907 w 471"/>
                  <a:gd name="T13" fmla="*/ 201137115 h 309"/>
                  <a:gd name="T14" fmla="*/ 237333566 w 471"/>
                  <a:gd name="T15" fmla="*/ 214547200 h 309"/>
                  <a:gd name="T16" fmla="*/ 268853663 w 471"/>
                  <a:gd name="T17" fmla="*/ 243041365 h 309"/>
                  <a:gd name="T18" fmla="*/ 331895220 w 471"/>
                  <a:gd name="T19" fmla="*/ 298354405 h 309"/>
                  <a:gd name="T20" fmla="*/ 346729328 w 471"/>
                  <a:gd name="T21" fmla="*/ 326848570 h 309"/>
                  <a:gd name="T22" fmla="*/ 346729328 w 471"/>
                  <a:gd name="T23" fmla="*/ 355342816 h 309"/>
                  <a:gd name="T24" fmla="*/ 367124611 w 471"/>
                  <a:gd name="T25" fmla="*/ 397245771 h 309"/>
                  <a:gd name="T26" fmla="*/ 393083620 w 471"/>
                  <a:gd name="T27" fmla="*/ 410655856 h 309"/>
                  <a:gd name="T28" fmla="*/ 413478817 w 471"/>
                  <a:gd name="T29" fmla="*/ 420712772 h 309"/>
                  <a:gd name="T30" fmla="*/ 465395473 w 471"/>
                  <a:gd name="T31" fmla="*/ 444178479 h 309"/>
                  <a:gd name="T32" fmla="*/ 558103885 w 471"/>
                  <a:gd name="T33" fmla="*/ 476025813 h 309"/>
                  <a:gd name="T34" fmla="*/ 615582991 w 471"/>
                  <a:gd name="T35" fmla="*/ 486081434 h 309"/>
                  <a:gd name="T36" fmla="*/ 717561870 w 471"/>
                  <a:gd name="T37" fmla="*/ 517928768 h 309"/>
                  <a:gd name="T38" fmla="*/ 728686771 w 471"/>
                  <a:gd name="T39" fmla="*/ 494463061 h 309"/>
                  <a:gd name="T40" fmla="*/ 763916076 w 471"/>
                  <a:gd name="T41" fmla="*/ 462615728 h 309"/>
                  <a:gd name="T42" fmla="*/ 821395183 w 471"/>
                  <a:gd name="T43" fmla="*/ 415684314 h 309"/>
                  <a:gd name="T44" fmla="*/ 841790380 w 471"/>
                  <a:gd name="T45" fmla="*/ 410655856 h 309"/>
                  <a:gd name="T46" fmla="*/ 852916642 w 471"/>
                  <a:gd name="T47" fmla="*/ 387188855 h 309"/>
                  <a:gd name="T48" fmla="*/ 873311839 w 471"/>
                  <a:gd name="T49" fmla="*/ 345285899 h 309"/>
                  <a:gd name="T50" fmla="*/ 836227930 w 471"/>
                  <a:gd name="T51" fmla="*/ 321820112 h 309"/>
                  <a:gd name="T52" fmla="*/ 760208230 w 471"/>
                  <a:gd name="T53" fmla="*/ 387188855 h 309"/>
                  <a:gd name="T54" fmla="*/ 728686771 w 471"/>
                  <a:gd name="T55" fmla="*/ 410655856 h 309"/>
                  <a:gd name="T56" fmla="*/ 661937197 w 471"/>
                  <a:gd name="T57" fmla="*/ 420712772 h 309"/>
                  <a:gd name="T58" fmla="*/ 615582991 w 471"/>
                  <a:gd name="T59" fmla="*/ 402274229 h 309"/>
                  <a:gd name="T60" fmla="*/ 572936632 w 471"/>
                  <a:gd name="T61" fmla="*/ 336905486 h 309"/>
                  <a:gd name="T62" fmla="*/ 563666335 w 471"/>
                  <a:gd name="T63" fmla="*/ 266507071 h 309"/>
                  <a:gd name="T64" fmla="*/ 563666335 w 471"/>
                  <a:gd name="T65" fmla="*/ 219574363 h 309"/>
                  <a:gd name="T66" fmla="*/ 578499082 w 471"/>
                  <a:gd name="T67" fmla="*/ 209517447 h 309"/>
                  <a:gd name="T68" fmla="*/ 558103885 w 471"/>
                  <a:gd name="T69" fmla="*/ 201137115 h 309"/>
                  <a:gd name="T70" fmla="*/ 496916932 w 471"/>
                  <a:gd name="T71" fmla="*/ 149177202 h 309"/>
                  <a:gd name="T72" fmla="*/ 413478817 w 471"/>
                  <a:gd name="T73" fmla="*/ 88835704 h 309"/>
                  <a:gd name="T74" fmla="*/ 315207869 w 471"/>
                  <a:gd name="T75" fmla="*/ 36875802 h 309"/>
                  <a:gd name="T76" fmla="*/ 68604028 w 471"/>
                  <a:gd name="T77" fmla="*/ 0 h 309"/>
                  <a:gd name="T78" fmla="*/ 11124903 w 471"/>
                  <a:gd name="T79" fmla="*/ 28494175 h 309"/>
                  <a:gd name="T80" fmla="*/ 31521470 w 471"/>
                  <a:gd name="T81" fmla="*/ 55313061 h 309"/>
                  <a:gd name="T82" fmla="*/ 42646370 w 471"/>
                  <a:gd name="T83" fmla="*/ 88835704 h 309"/>
                  <a:gd name="T84" fmla="*/ 68604028 w 471"/>
                  <a:gd name="T85" fmla="*/ 112301411 h 309"/>
                  <a:gd name="T86" fmla="*/ 92708455 w 471"/>
                  <a:gd name="T87" fmla="*/ 140795576 h 309"/>
                  <a:gd name="T88" fmla="*/ 89000587 w 471"/>
                  <a:gd name="T89" fmla="*/ 149177202 h 309"/>
                  <a:gd name="T90" fmla="*/ 72311875 w 471"/>
                  <a:gd name="T91" fmla="*/ 159234119 h 309"/>
                  <a:gd name="T92" fmla="*/ 92708455 w 471"/>
                  <a:gd name="T93" fmla="*/ 172642950 h 309"/>
                  <a:gd name="T94" fmla="*/ 118666102 w 471"/>
                  <a:gd name="T95" fmla="*/ 182699866 h 309"/>
                  <a:gd name="T96" fmla="*/ 144625111 w 471"/>
                  <a:gd name="T97" fmla="*/ 238012906 h 309"/>
                  <a:gd name="T98" fmla="*/ 155750011 w 471"/>
                  <a:gd name="T99" fmla="*/ 243041365 h 309"/>
                  <a:gd name="T100" fmla="*/ 207666710 w 471"/>
                  <a:gd name="T101" fmla="*/ 289972778 h 309"/>
                  <a:gd name="T102" fmla="*/ 213229161 w 471"/>
                  <a:gd name="T103" fmla="*/ 261478613 h 309"/>
                  <a:gd name="T104" fmla="*/ 187270152 w 471"/>
                  <a:gd name="T105" fmla="*/ 232984448 h 309"/>
                  <a:gd name="T106" fmla="*/ 165020308 w 471"/>
                  <a:gd name="T107" fmla="*/ 191080198 h 309"/>
                  <a:gd name="T108" fmla="*/ 161312462 w 471"/>
                  <a:gd name="T109" fmla="*/ 186051740 h 309"/>
                  <a:gd name="T110" fmla="*/ 144625111 w 471"/>
                  <a:gd name="T111" fmla="*/ 164262577 h 309"/>
                  <a:gd name="T112" fmla="*/ 124228552 w 471"/>
                  <a:gd name="T113" fmla="*/ 130738659 h 309"/>
                  <a:gd name="T114" fmla="*/ 103833355 w 471"/>
                  <a:gd name="T115" fmla="*/ 107272952 h 309"/>
                  <a:gd name="T116" fmla="*/ 68604028 w 471"/>
                  <a:gd name="T117" fmla="*/ 51959892 h 30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71"/>
                  <a:gd name="T178" fmla="*/ 0 h 309"/>
                  <a:gd name="T179" fmla="*/ 471 w 471"/>
                  <a:gd name="T180" fmla="*/ 309 h 30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71" h="309">
                    <a:moveTo>
                      <a:pt x="37" y="17"/>
                    </a:moveTo>
                    <a:lnTo>
                      <a:pt x="39" y="20"/>
                    </a:lnTo>
                    <a:lnTo>
                      <a:pt x="42" y="20"/>
                    </a:lnTo>
                    <a:lnTo>
                      <a:pt x="45" y="22"/>
                    </a:lnTo>
                    <a:lnTo>
                      <a:pt x="48" y="22"/>
                    </a:lnTo>
                    <a:lnTo>
                      <a:pt x="53" y="22"/>
                    </a:lnTo>
                    <a:lnTo>
                      <a:pt x="53" y="25"/>
                    </a:lnTo>
                    <a:lnTo>
                      <a:pt x="56" y="25"/>
                    </a:lnTo>
                    <a:lnTo>
                      <a:pt x="62" y="28"/>
                    </a:lnTo>
                    <a:lnTo>
                      <a:pt x="64" y="31"/>
                    </a:lnTo>
                    <a:lnTo>
                      <a:pt x="64" y="39"/>
                    </a:lnTo>
                    <a:lnTo>
                      <a:pt x="67" y="42"/>
                    </a:lnTo>
                    <a:lnTo>
                      <a:pt x="67" y="45"/>
                    </a:lnTo>
                    <a:lnTo>
                      <a:pt x="70" y="47"/>
                    </a:lnTo>
                    <a:lnTo>
                      <a:pt x="70" y="50"/>
                    </a:lnTo>
                    <a:lnTo>
                      <a:pt x="70" y="53"/>
                    </a:lnTo>
                    <a:lnTo>
                      <a:pt x="73" y="53"/>
                    </a:lnTo>
                    <a:lnTo>
                      <a:pt x="73" y="56"/>
                    </a:lnTo>
                    <a:lnTo>
                      <a:pt x="73" y="61"/>
                    </a:lnTo>
                    <a:lnTo>
                      <a:pt x="76" y="61"/>
                    </a:lnTo>
                    <a:lnTo>
                      <a:pt x="76" y="64"/>
                    </a:lnTo>
                    <a:lnTo>
                      <a:pt x="78" y="64"/>
                    </a:lnTo>
                    <a:lnTo>
                      <a:pt x="78" y="70"/>
                    </a:lnTo>
                    <a:lnTo>
                      <a:pt x="81" y="70"/>
                    </a:lnTo>
                    <a:lnTo>
                      <a:pt x="84" y="75"/>
                    </a:lnTo>
                    <a:lnTo>
                      <a:pt x="87" y="78"/>
                    </a:lnTo>
                    <a:lnTo>
                      <a:pt x="89" y="78"/>
                    </a:lnTo>
                    <a:lnTo>
                      <a:pt x="92" y="84"/>
                    </a:lnTo>
                    <a:lnTo>
                      <a:pt x="95" y="86"/>
                    </a:lnTo>
                    <a:lnTo>
                      <a:pt x="101" y="86"/>
                    </a:lnTo>
                    <a:lnTo>
                      <a:pt x="103" y="89"/>
                    </a:lnTo>
                    <a:lnTo>
                      <a:pt x="103" y="92"/>
                    </a:lnTo>
                    <a:lnTo>
                      <a:pt x="103" y="95"/>
                    </a:lnTo>
                    <a:lnTo>
                      <a:pt x="103" y="98"/>
                    </a:lnTo>
                    <a:lnTo>
                      <a:pt x="106" y="100"/>
                    </a:lnTo>
                    <a:lnTo>
                      <a:pt x="112" y="103"/>
                    </a:lnTo>
                    <a:lnTo>
                      <a:pt x="115" y="106"/>
                    </a:lnTo>
                    <a:lnTo>
                      <a:pt x="115" y="109"/>
                    </a:lnTo>
                    <a:lnTo>
                      <a:pt x="117" y="109"/>
                    </a:lnTo>
                    <a:lnTo>
                      <a:pt x="120" y="109"/>
                    </a:lnTo>
                    <a:lnTo>
                      <a:pt x="123" y="111"/>
                    </a:lnTo>
                    <a:lnTo>
                      <a:pt x="123" y="114"/>
                    </a:lnTo>
                    <a:lnTo>
                      <a:pt x="126" y="114"/>
                    </a:lnTo>
                    <a:lnTo>
                      <a:pt x="123" y="117"/>
                    </a:lnTo>
                    <a:lnTo>
                      <a:pt x="123" y="120"/>
                    </a:lnTo>
                    <a:lnTo>
                      <a:pt x="123" y="125"/>
                    </a:lnTo>
                    <a:lnTo>
                      <a:pt x="123" y="128"/>
                    </a:lnTo>
                    <a:lnTo>
                      <a:pt x="126" y="128"/>
                    </a:lnTo>
                    <a:lnTo>
                      <a:pt x="128" y="125"/>
                    </a:lnTo>
                    <a:lnTo>
                      <a:pt x="128" y="128"/>
                    </a:lnTo>
                    <a:lnTo>
                      <a:pt x="128" y="131"/>
                    </a:lnTo>
                    <a:lnTo>
                      <a:pt x="137" y="134"/>
                    </a:lnTo>
                    <a:lnTo>
                      <a:pt x="140" y="134"/>
                    </a:lnTo>
                    <a:lnTo>
                      <a:pt x="145" y="139"/>
                    </a:lnTo>
                    <a:lnTo>
                      <a:pt x="145" y="145"/>
                    </a:lnTo>
                    <a:lnTo>
                      <a:pt x="162" y="159"/>
                    </a:lnTo>
                    <a:lnTo>
                      <a:pt x="162" y="162"/>
                    </a:lnTo>
                    <a:lnTo>
                      <a:pt x="165" y="162"/>
                    </a:lnTo>
                    <a:lnTo>
                      <a:pt x="167" y="170"/>
                    </a:lnTo>
                    <a:lnTo>
                      <a:pt x="179" y="178"/>
                    </a:lnTo>
                    <a:lnTo>
                      <a:pt x="181" y="181"/>
                    </a:lnTo>
                    <a:lnTo>
                      <a:pt x="179" y="181"/>
                    </a:lnTo>
                    <a:lnTo>
                      <a:pt x="179" y="184"/>
                    </a:lnTo>
                    <a:lnTo>
                      <a:pt x="181" y="189"/>
                    </a:lnTo>
                    <a:lnTo>
                      <a:pt x="184" y="192"/>
                    </a:lnTo>
                    <a:lnTo>
                      <a:pt x="184" y="195"/>
                    </a:lnTo>
                    <a:lnTo>
                      <a:pt x="187" y="195"/>
                    </a:lnTo>
                    <a:lnTo>
                      <a:pt x="187" y="201"/>
                    </a:lnTo>
                    <a:lnTo>
                      <a:pt x="187" y="203"/>
                    </a:lnTo>
                    <a:lnTo>
                      <a:pt x="187" y="206"/>
                    </a:lnTo>
                    <a:lnTo>
                      <a:pt x="184" y="209"/>
                    </a:lnTo>
                    <a:lnTo>
                      <a:pt x="187" y="212"/>
                    </a:lnTo>
                    <a:lnTo>
                      <a:pt x="181" y="214"/>
                    </a:lnTo>
                    <a:lnTo>
                      <a:pt x="181" y="217"/>
                    </a:lnTo>
                    <a:lnTo>
                      <a:pt x="184" y="226"/>
                    </a:lnTo>
                    <a:lnTo>
                      <a:pt x="195" y="234"/>
                    </a:lnTo>
                    <a:lnTo>
                      <a:pt x="198" y="237"/>
                    </a:lnTo>
                    <a:lnTo>
                      <a:pt x="201" y="237"/>
                    </a:lnTo>
                    <a:lnTo>
                      <a:pt x="206" y="240"/>
                    </a:lnTo>
                    <a:lnTo>
                      <a:pt x="209" y="242"/>
                    </a:lnTo>
                    <a:lnTo>
                      <a:pt x="212" y="245"/>
                    </a:lnTo>
                    <a:lnTo>
                      <a:pt x="212" y="248"/>
                    </a:lnTo>
                    <a:lnTo>
                      <a:pt x="215" y="248"/>
                    </a:lnTo>
                    <a:lnTo>
                      <a:pt x="215" y="251"/>
                    </a:lnTo>
                    <a:lnTo>
                      <a:pt x="220" y="251"/>
                    </a:lnTo>
                    <a:lnTo>
                      <a:pt x="223" y="251"/>
                    </a:lnTo>
                    <a:lnTo>
                      <a:pt x="223" y="253"/>
                    </a:lnTo>
                    <a:lnTo>
                      <a:pt x="237" y="256"/>
                    </a:lnTo>
                    <a:lnTo>
                      <a:pt x="243" y="256"/>
                    </a:lnTo>
                    <a:lnTo>
                      <a:pt x="243" y="259"/>
                    </a:lnTo>
                    <a:lnTo>
                      <a:pt x="251" y="265"/>
                    </a:lnTo>
                    <a:lnTo>
                      <a:pt x="251" y="267"/>
                    </a:lnTo>
                    <a:lnTo>
                      <a:pt x="254" y="267"/>
                    </a:lnTo>
                    <a:lnTo>
                      <a:pt x="284" y="279"/>
                    </a:lnTo>
                    <a:lnTo>
                      <a:pt x="287" y="279"/>
                    </a:lnTo>
                    <a:lnTo>
                      <a:pt x="295" y="284"/>
                    </a:lnTo>
                    <a:lnTo>
                      <a:pt x="301" y="284"/>
                    </a:lnTo>
                    <a:lnTo>
                      <a:pt x="301" y="287"/>
                    </a:lnTo>
                    <a:lnTo>
                      <a:pt x="318" y="290"/>
                    </a:lnTo>
                    <a:lnTo>
                      <a:pt x="321" y="290"/>
                    </a:lnTo>
                    <a:lnTo>
                      <a:pt x="321" y="292"/>
                    </a:lnTo>
                    <a:lnTo>
                      <a:pt x="329" y="292"/>
                    </a:lnTo>
                    <a:lnTo>
                      <a:pt x="332" y="290"/>
                    </a:lnTo>
                    <a:lnTo>
                      <a:pt x="337" y="290"/>
                    </a:lnTo>
                    <a:lnTo>
                      <a:pt x="343" y="284"/>
                    </a:lnTo>
                    <a:lnTo>
                      <a:pt x="346" y="284"/>
                    </a:lnTo>
                    <a:lnTo>
                      <a:pt x="351" y="284"/>
                    </a:lnTo>
                    <a:lnTo>
                      <a:pt x="368" y="290"/>
                    </a:lnTo>
                    <a:lnTo>
                      <a:pt x="387" y="309"/>
                    </a:lnTo>
                    <a:lnTo>
                      <a:pt x="387" y="304"/>
                    </a:lnTo>
                    <a:lnTo>
                      <a:pt x="390" y="304"/>
                    </a:lnTo>
                    <a:lnTo>
                      <a:pt x="390" y="301"/>
                    </a:lnTo>
                    <a:lnTo>
                      <a:pt x="393" y="295"/>
                    </a:lnTo>
                    <a:lnTo>
                      <a:pt x="399" y="284"/>
                    </a:lnTo>
                    <a:lnTo>
                      <a:pt x="412" y="284"/>
                    </a:lnTo>
                    <a:lnTo>
                      <a:pt x="415" y="284"/>
                    </a:lnTo>
                    <a:lnTo>
                      <a:pt x="415" y="279"/>
                    </a:lnTo>
                    <a:lnTo>
                      <a:pt x="412" y="279"/>
                    </a:lnTo>
                    <a:lnTo>
                      <a:pt x="412" y="276"/>
                    </a:lnTo>
                    <a:lnTo>
                      <a:pt x="410" y="273"/>
                    </a:lnTo>
                    <a:lnTo>
                      <a:pt x="399" y="262"/>
                    </a:lnTo>
                    <a:lnTo>
                      <a:pt x="399" y="265"/>
                    </a:lnTo>
                    <a:lnTo>
                      <a:pt x="407" y="265"/>
                    </a:lnTo>
                    <a:lnTo>
                      <a:pt x="407" y="256"/>
                    </a:lnTo>
                    <a:lnTo>
                      <a:pt x="440" y="253"/>
                    </a:lnTo>
                    <a:lnTo>
                      <a:pt x="443" y="248"/>
                    </a:lnTo>
                    <a:lnTo>
                      <a:pt x="446" y="245"/>
                    </a:lnTo>
                    <a:lnTo>
                      <a:pt x="449" y="245"/>
                    </a:lnTo>
                    <a:lnTo>
                      <a:pt x="451" y="240"/>
                    </a:lnTo>
                    <a:lnTo>
                      <a:pt x="451" y="245"/>
                    </a:lnTo>
                    <a:lnTo>
                      <a:pt x="454" y="245"/>
                    </a:lnTo>
                    <a:lnTo>
                      <a:pt x="454" y="251"/>
                    </a:lnTo>
                    <a:lnTo>
                      <a:pt x="454" y="253"/>
                    </a:lnTo>
                    <a:lnTo>
                      <a:pt x="454" y="251"/>
                    </a:lnTo>
                    <a:lnTo>
                      <a:pt x="460" y="234"/>
                    </a:lnTo>
                    <a:lnTo>
                      <a:pt x="460" y="231"/>
                    </a:lnTo>
                    <a:lnTo>
                      <a:pt x="460" y="228"/>
                    </a:lnTo>
                    <a:lnTo>
                      <a:pt x="460" y="226"/>
                    </a:lnTo>
                    <a:lnTo>
                      <a:pt x="463" y="220"/>
                    </a:lnTo>
                    <a:lnTo>
                      <a:pt x="463" y="217"/>
                    </a:lnTo>
                    <a:lnTo>
                      <a:pt x="465" y="212"/>
                    </a:lnTo>
                    <a:lnTo>
                      <a:pt x="471" y="206"/>
                    </a:lnTo>
                    <a:lnTo>
                      <a:pt x="471" y="201"/>
                    </a:lnTo>
                    <a:lnTo>
                      <a:pt x="471" y="198"/>
                    </a:lnTo>
                    <a:lnTo>
                      <a:pt x="468" y="195"/>
                    </a:lnTo>
                    <a:lnTo>
                      <a:pt x="460" y="195"/>
                    </a:lnTo>
                    <a:lnTo>
                      <a:pt x="457" y="198"/>
                    </a:lnTo>
                    <a:lnTo>
                      <a:pt x="457" y="195"/>
                    </a:lnTo>
                    <a:lnTo>
                      <a:pt x="451" y="192"/>
                    </a:lnTo>
                    <a:lnTo>
                      <a:pt x="443" y="195"/>
                    </a:lnTo>
                    <a:lnTo>
                      <a:pt x="440" y="198"/>
                    </a:lnTo>
                    <a:lnTo>
                      <a:pt x="421" y="201"/>
                    </a:lnTo>
                    <a:lnTo>
                      <a:pt x="415" y="203"/>
                    </a:lnTo>
                    <a:lnTo>
                      <a:pt x="412" y="223"/>
                    </a:lnTo>
                    <a:lnTo>
                      <a:pt x="410" y="226"/>
                    </a:lnTo>
                    <a:lnTo>
                      <a:pt x="410" y="231"/>
                    </a:lnTo>
                    <a:lnTo>
                      <a:pt x="407" y="234"/>
                    </a:lnTo>
                    <a:lnTo>
                      <a:pt x="401" y="237"/>
                    </a:lnTo>
                    <a:lnTo>
                      <a:pt x="401" y="242"/>
                    </a:lnTo>
                    <a:lnTo>
                      <a:pt x="399" y="245"/>
                    </a:lnTo>
                    <a:lnTo>
                      <a:pt x="396" y="245"/>
                    </a:lnTo>
                    <a:lnTo>
                      <a:pt x="393" y="245"/>
                    </a:lnTo>
                    <a:lnTo>
                      <a:pt x="393" y="242"/>
                    </a:lnTo>
                    <a:lnTo>
                      <a:pt x="390" y="242"/>
                    </a:lnTo>
                    <a:lnTo>
                      <a:pt x="385" y="242"/>
                    </a:lnTo>
                    <a:lnTo>
                      <a:pt x="373" y="245"/>
                    </a:lnTo>
                    <a:lnTo>
                      <a:pt x="371" y="245"/>
                    </a:lnTo>
                    <a:lnTo>
                      <a:pt x="362" y="248"/>
                    </a:lnTo>
                    <a:lnTo>
                      <a:pt x="357" y="251"/>
                    </a:lnTo>
                    <a:lnTo>
                      <a:pt x="351" y="251"/>
                    </a:lnTo>
                    <a:lnTo>
                      <a:pt x="348" y="248"/>
                    </a:lnTo>
                    <a:lnTo>
                      <a:pt x="346" y="242"/>
                    </a:lnTo>
                    <a:lnTo>
                      <a:pt x="340" y="242"/>
                    </a:lnTo>
                    <a:lnTo>
                      <a:pt x="332" y="240"/>
                    </a:lnTo>
                    <a:lnTo>
                      <a:pt x="329" y="234"/>
                    </a:lnTo>
                    <a:lnTo>
                      <a:pt x="326" y="234"/>
                    </a:lnTo>
                    <a:lnTo>
                      <a:pt x="321" y="220"/>
                    </a:lnTo>
                    <a:lnTo>
                      <a:pt x="315" y="214"/>
                    </a:lnTo>
                    <a:lnTo>
                      <a:pt x="309" y="201"/>
                    </a:lnTo>
                    <a:lnTo>
                      <a:pt x="309" y="198"/>
                    </a:lnTo>
                    <a:lnTo>
                      <a:pt x="309" y="195"/>
                    </a:lnTo>
                    <a:lnTo>
                      <a:pt x="304" y="189"/>
                    </a:lnTo>
                    <a:lnTo>
                      <a:pt x="304" y="184"/>
                    </a:lnTo>
                    <a:lnTo>
                      <a:pt x="304" y="162"/>
                    </a:lnTo>
                    <a:lnTo>
                      <a:pt x="304" y="159"/>
                    </a:lnTo>
                    <a:lnTo>
                      <a:pt x="301" y="156"/>
                    </a:lnTo>
                    <a:lnTo>
                      <a:pt x="301" y="145"/>
                    </a:lnTo>
                    <a:lnTo>
                      <a:pt x="301" y="142"/>
                    </a:lnTo>
                    <a:lnTo>
                      <a:pt x="304" y="139"/>
                    </a:lnTo>
                    <a:lnTo>
                      <a:pt x="304" y="137"/>
                    </a:lnTo>
                    <a:lnTo>
                      <a:pt x="304" y="131"/>
                    </a:lnTo>
                    <a:lnTo>
                      <a:pt x="307" y="131"/>
                    </a:lnTo>
                    <a:lnTo>
                      <a:pt x="309" y="131"/>
                    </a:lnTo>
                    <a:lnTo>
                      <a:pt x="312" y="128"/>
                    </a:lnTo>
                    <a:lnTo>
                      <a:pt x="312" y="125"/>
                    </a:lnTo>
                    <a:lnTo>
                      <a:pt x="312" y="128"/>
                    </a:lnTo>
                    <a:lnTo>
                      <a:pt x="309" y="128"/>
                    </a:lnTo>
                    <a:lnTo>
                      <a:pt x="309" y="125"/>
                    </a:lnTo>
                    <a:lnTo>
                      <a:pt x="312" y="123"/>
                    </a:lnTo>
                    <a:lnTo>
                      <a:pt x="307" y="123"/>
                    </a:lnTo>
                    <a:lnTo>
                      <a:pt x="301" y="120"/>
                    </a:lnTo>
                    <a:lnTo>
                      <a:pt x="295" y="120"/>
                    </a:lnTo>
                    <a:lnTo>
                      <a:pt x="290" y="117"/>
                    </a:lnTo>
                    <a:lnTo>
                      <a:pt x="287" y="117"/>
                    </a:lnTo>
                    <a:lnTo>
                      <a:pt x="282" y="111"/>
                    </a:lnTo>
                    <a:lnTo>
                      <a:pt x="276" y="106"/>
                    </a:lnTo>
                    <a:lnTo>
                      <a:pt x="273" y="92"/>
                    </a:lnTo>
                    <a:lnTo>
                      <a:pt x="268" y="89"/>
                    </a:lnTo>
                    <a:lnTo>
                      <a:pt x="265" y="84"/>
                    </a:lnTo>
                    <a:lnTo>
                      <a:pt x="259" y="78"/>
                    </a:lnTo>
                    <a:lnTo>
                      <a:pt x="254" y="64"/>
                    </a:lnTo>
                    <a:lnTo>
                      <a:pt x="243" y="53"/>
                    </a:lnTo>
                    <a:lnTo>
                      <a:pt x="229" y="53"/>
                    </a:lnTo>
                    <a:lnTo>
                      <a:pt x="226" y="53"/>
                    </a:lnTo>
                    <a:lnTo>
                      <a:pt x="223" y="53"/>
                    </a:lnTo>
                    <a:lnTo>
                      <a:pt x="215" y="67"/>
                    </a:lnTo>
                    <a:lnTo>
                      <a:pt x="209" y="67"/>
                    </a:lnTo>
                    <a:lnTo>
                      <a:pt x="192" y="53"/>
                    </a:lnTo>
                    <a:lnTo>
                      <a:pt x="190" y="39"/>
                    </a:lnTo>
                    <a:lnTo>
                      <a:pt x="176" y="28"/>
                    </a:lnTo>
                    <a:lnTo>
                      <a:pt x="173" y="25"/>
                    </a:lnTo>
                    <a:lnTo>
                      <a:pt x="170" y="22"/>
                    </a:lnTo>
                    <a:lnTo>
                      <a:pt x="167" y="20"/>
                    </a:lnTo>
                    <a:lnTo>
                      <a:pt x="162" y="17"/>
                    </a:lnTo>
                    <a:lnTo>
                      <a:pt x="137" y="17"/>
                    </a:lnTo>
                    <a:lnTo>
                      <a:pt x="137" y="25"/>
                    </a:lnTo>
                    <a:lnTo>
                      <a:pt x="95" y="25"/>
                    </a:lnTo>
                    <a:lnTo>
                      <a:pt x="37" y="3"/>
                    </a:lnTo>
                    <a:lnTo>
                      <a:pt x="37" y="0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9" y="22"/>
                    </a:lnTo>
                    <a:lnTo>
                      <a:pt x="14" y="31"/>
                    </a:lnTo>
                    <a:lnTo>
                      <a:pt x="14" y="33"/>
                    </a:lnTo>
                    <a:lnTo>
                      <a:pt x="17" y="33"/>
                    </a:lnTo>
                    <a:lnTo>
                      <a:pt x="17" y="36"/>
                    </a:lnTo>
                    <a:lnTo>
                      <a:pt x="20" y="39"/>
                    </a:lnTo>
                    <a:lnTo>
                      <a:pt x="20" y="42"/>
                    </a:lnTo>
                    <a:lnTo>
                      <a:pt x="20" y="45"/>
                    </a:lnTo>
                    <a:lnTo>
                      <a:pt x="20" y="42"/>
                    </a:lnTo>
                    <a:lnTo>
                      <a:pt x="23" y="53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1" y="59"/>
                    </a:lnTo>
                    <a:lnTo>
                      <a:pt x="31" y="61"/>
                    </a:lnTo>
                    <a:lnTo>
                      <a:pt x="34" y="61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42" y="70"/>
                    </a:lnTo>
                    <a:lnTo>
                      <a:pt x="48" y="78"/>
                    </a:lnTo>
                    <a:lnTo>
                      <a:pt x="50" y="81"/>
                    </a:lnTo>
                    <a:lnTo>
                      <a:pt x="50" y="84"/>
                    </a:lnTo>
                    <a:lnTo>
                      <a:pt x="50" y="86"/>
                    </a:lnTo>
                    <a:lnTo>
                      <a:pt x="48" y="86"/>
                    </a:lnTo>
                    <a:lnTo>
                      <a:pt x="48" y="89"/>
                    </a:lnTo>
                    <a:lnTo>
                      <a:pt x="45" y="89"/>
                    </a:lnTo>
                    <a:lnTo>
                      <a:pt x="42" y="89"/>
                    </a:lnTo>
                    <a:lnTo>
                      <a:pt x="34" y="89"/>
                    </a:lnTo>
                    <a:lnTo>
                      <a:pt x="34" y="92"/>
                    </a:lnTo>
                    <a:lnTo>
                      <a:pt x="37" y="92"/>
                    </a:lnTo>
                    <a:lnTo>
                      <a:pt x="39" y="95"/>
                    </a:lnTo>
                    <a:lnTo>
                      <a:pt x="42" y="95"/>
                    </a:lnTo>
                    <a:lnTo>
                      <a:pt x="45" y="100"/>
                    </a:lnTo>
                    <a:lnTo>
                      <a:pt x="48" y="100"/>
                    </a:lnTo>
                    <a:lnTo>
                      <a:pt x="50" y="103"/>
                    </a:lnTo>
                    <a:lnTo>
                      <a:pt x="53" y="103"/>
                    </a:lnTo>
                    <a:lnTo>
                      <a:pt x="56" y="106"/>
                    </a:lnTo>
                    <a:lnTo>
                      <a:pt x="62" y="109"/>
                    </a:lnTo>
                    <a:lnTo>
                      <a:pt x="64" y="103"/>
                    </a:lnTo>
                    <a:lnTo>
                      <a:pt x="64" y="106"/>
                    </a:lnTo>
                    <a:lnTo>
                      <a:pt x="64" y="109"/>
                    </a:lnTo>
                    <a:lnTo>
                      <a:pt x="67" y="114"/>
                    </a:lnTo>
                    <a:lnTo>
                      <a:pt x="73" y="117"/>
                    </a:lnTo>
                    <a:lnTo>
                      <a:pt x="76" y="117"/>
                    </a:lnTo>
                    <a:lnTo>
                      <a:pt x="78" y="125"/>
                    </a:lnTo>
                    <a:lnTo>
                      <a:pt x="81" y="134"/>
                    </a:lnTo>
                    <a:lnTo>
                      <a:pt x="78" y="139"/>
                    </a:lnTo>
                    <a:lnTo>
                      <a:pt x="78" y="142"/>
                    </a:lnTo>
                    <a:lnTo>
                      <a:pt x="78" y="139"/>
                    </a:lnTo>
                    <a:lnTo>
                      <a:pt x="81" y="142"/>
                    </a:lnTo>
                    <a:lnTo>
                      <a:pt x="84" y="142"/>
                    </a:lnTo>
                    <a:lnTo>
                      <a:pt x="84" y="145"/>
                    </a:lnTo>
                    <a:lnTo>
                      <a:pt x="87" y="145"/>
                    </a:lnTo>
                    <a:lnTo>
                      <a:pt x="87" y="148"/>
                    </a:lnTo>
                    <a:lnTo>
                      <a:pt x="103" y="159"/>
                    </a:lnTo>
                    <a:lnTo>
                      <a:pt x="106" y="162"/>
                    </a:lnTo>
                    <a:lnTo>
                      <a:pt x="109" y="164"/>
                    </a:lnTo>
                    <a:lnTo>
                      <a:pt x="112" y="173"/>
                    </a:lnTo>
                    <a:lnTo>
                      <a:pt x="115" y="173"/>
                    </a:lnTo>
                    <a:lnTo>
                      <a:pt x="117" y="170"/>
                    </a:lnTo>
                    <a:lnTo>
                      <a:pt x="120" y="167"/>
                    </a:lnTo>
                    <a:lnTo>
                      <a:pt x="120" y="164"/>
                    </a:lnTo>
                    <a:lnTo>
                      <a:pt x="120" y="162"/>
                    </a:lnTo>
                    <a:lnTo>
                      <a:pt x="115" y="156"/>
                    </a:lnTo>
                    <a:lnTo>
                      <a:pt x="109" y="150"/>
                    </a:lnTo>
                    <a:lnTo>
                      <a:pt x="106" y="153"/>
                    </a:lnTo>
                    <a:lnTo>
                      <a:pt x="106" y="150"/>
                    </a:lnTo>
                    <a:lnTo>
                      <a:pt x="103" y="150"/>
                    </a:lnTo>
                    <a:lnTo>
                      <a:pt x="101" y="145"/>
                    </a:lnTo>
                    <a:lnTo>
                      <a:pt x="101" y="139"/>
                    </a:lnTo>
                    <a:lnTo>
                      <a:pt x="98" y="134"/>
                    </a:lnTo>
                    <a:lnTo>
                      <a:pt x="98" y="128"/>
                    </a:lnTo>
                    <a:lnTo>
                      <a:pt x="95" y="128"/>
                    </a:lnTo>
                    <a:lnTo>
                      <a:pt x="92" y="125"/>
                    </a:lnTo>
                    <a:lnTo>
                      <a:pt x="92" y="117"/>
                    </a:lnTo>
                    <a:lnTo>
                      <a:pt x="89" y="114"/>
                    </a:lnTo>
                    <a:lnTo>
                      <a:pt x="87" y="109"/>
                    </a:lnTo>
                    <a:lnTo>
                      <a:pt x="87" y="106"/>
                    </a:lnTo>
                    <a:lnTo>
                      <a:pt x="84" y="106"/>
                    </a:lnTo>
                    <a:lnTo>
                      <a:pt x="84" y="109"/>
                    </a:lnTo>
                    <a:lnTo>
                      <a:pt x="87" y="111"/>
                    </a:lnTo>
                    <a:lnTo>
                      <a:pt x="84" y="109"/>
                    </a:lnTo>
                    <a:lnTo>
                      <a:pt x="81" y="103"/>
                    </a:lnTo>
                    <a:lnTo>
                      <a:pt x="81" y="100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76" y="95"/>
                    </a:lnTo>
                    <a:lnTo>
                      <a:pt x="70" y="89"/>
                    </a:lnTo>
                    <a:lnTo>
                      <a:pt x="67" y="78"/>
                    </a:lnTo>
                    <a:lnTo>
                      <a:pt x="62" y="70"/>
                    </a:lnTo>
                    <a:lnTo>
                      <a:pt x="62" y="72"/>
                    </a:lnTo>
                    <a:lnTo>
                      <a:pt x="59" y="70"/>
                    </a:lnTo>
                    <a:lnTo>
                      <a:pt x="56" y="67"/>
                    </a:lnTo>
                    <a:lnTo>
                      <a:pt x="56" y="64"/>
                    </a:lnTo>
                    <a:lnTo>
                      <a:pt x="48" y="56"/>
                    </a:lnTo>
                    <a:lnTo>
                      <a:pt x="45" y="56"/>
                    </a:lnTo>
                    <a:lnTo>
                      <a:pt x="42" y="47"/>
                    </a:lnTo>
                    <a:lnTo>
                      <a:pt x="39" y="33"/>
                    </a:lnTo>
                    <a:lnTo>
                      <a:pt x="37" y="31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5" name="Freeform 571"/>
              <p:cNvSpPr>
                <a:spLocks noChangeAspect="1"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3611036" y="3900381"/>
                <a:ext cx="247508" cy="332691"/>
              </a:xfrm>
              <a:custGeom>
                <a:avLst/>
                <a:gdLst>
                  <a:gd name="T0" fmla="*/ 228138210 w 190"/>
                  <a:gd name="T1" fmla="*/ 8362409 h 259"/>
                  <a:gd name="T2" fmla="*/ 207735514 w 190"/>
                  <a:gd name="T3" fmla="*/ 3345740 h 259"/>
                  <a:gd name="T4" fmla="*/ 202172133 w 190"/>
                  <a:gd name="T5" fmla="*/ 8362409 h 259"/>
                  <a:gd name="T6" fmla="*/ 155801955 w 190"/>
                  <a:gd name="T7" fmla="*/ 31780000 h 259"/>
                  <a:gd name="T8" fmla="*/ 129834515 w 190"/>
                  <a:gd name="T9" fmla="*/ 45160378 h 259"/>
                  <a:gd name="T10" fmla="*/ 118706391 w 190"/>
                  <a:gd name="T11" fmla="*/ 36796668 h 259"/>
                  <a:gd name="T12" fmla="*/ 98303695 w 190"/>
                  <a:gd name="T13" fmla="*/ 78612590 h 259"/>
                  <a:gd name="T14" fmla="*/ 63063024 w 190"/>
                  <a:gd name="T15" fmla="*/ 102028900 h 259"/>
                  <a:gd name="T16" fmla="*/ 68626405 w 190"/>
                  <a:gd name="T17" fmla="*/ 115409268 h 259"/>
                  <a:gd name="T18" fmla="*/ 46370157 w 190"/>
                  <a:gd name="T19" fmla="*/ 102028900 h 259"/>
                  <a:gd name="T20" fmla="*/ 46370157 w 190"/>
                  <a:gd name="T21" fmla="*/ 107046861 h 259"/>
                  <a:gd name="T22" fmla="*/ 51933538 w 190"/>
                  <a:gd name="T23" fmla="*/ 115409268 h 259"/>
                  <a:gd name="T24" fmla="*/ 37095574 w 190"/>
                  <a:gd name="T25" fmla="*/ 125445190 h 259"/>
                  <a:gd name="T26" fmla="*/ 31530831 w 190"/>
                  <a:gd name="T27" fmla="*/ 133807597 h 259"/>
                  <a:gd name="T28" fmla="*/ 46370157 w 190"/>
                  <a:gd name="T29" fmla="*/ 175622256 h 259"/>
                  <a:gd name="T30" fmla="*/ 46370157 w 190"/>
                  <a:gd name="T31" fmla="*/ 222456129 h 259"/>
                  <a:gd name="T32" fmla="*/ 63063024 w 190"/>
                  <a:gd name="T33" fmla="*/ 222456129 h 259"/>
                  <a:gd name="T34" fmla="*/ 42660317 w 190"/>
                  <a:gd name="T35" fmla="*/ 255907048 h 259"/>
                  <a:gd name="T36" fmla="*/ 16692873 w 190"/>
                  <a:gd name="T37" fmla="*/ 260925010 h 259"/>
                  <a:gd name="T38" fmla="*/ 5564744 w 190"/>
                  <a:gd name="T39" fmla="*/ 279323338 h 259"/>
                  <a:gd name="T40" fmla="*/ 5564744 w 190"/>
                  <a:gd name="T41" fmla="*/ 287687038 h 259"/>
                  <a:gd name="T42" fmla="*/ 51933538 w 190"/>
                  <a:gd name="T43" fmla="*/ 321139250 h 259"/>
                  <a:gd name="T44" fmla="*/ 89029102 w 190"/>
                  <a:gd name="T45" fmla="*/ 316121289 h 259"/>
                  <a:gd name="T46" fmla="*/ 124271134 w 190"/>
                  <a:gd name="T47" fmla="*/ 334519618 h 259"/>
                  <a:gd name="T48" fmla="*/ 140964002 w 190"/>
                  <a:gd name="T49" fmla="*/ 352918028 h 259"/>
                  <a:gd name="T50" fmla="*/ 150237211 w 190"/>
                  <a:gd name="T51" fmla="*/ 352918028 h 259"/>
                  <a:gd name="T52" fmla="*/ 161366698 w 190"/>
                  <a:gd name="T53" fmla="*/ 371316357 h 259"/>
                  <a:gd name="T54" fmla="*/ 170639908 w 190"/>
                  <a:gd name="T55" fmla="*/ 386370240 h 259"/>
                  <a:gd name="T56" fmla="*/ 187332818 w 190"/>
                  <a:gd name="T57" fmla="*/ 389714685 h 259"/>
                  <a:gd name="T58" fmla="*/ 202172133 w 190"/>
                  <a:gd name="T59" fmla="*/ 386370240 h 259"/>
                  <a:gd name="T60" fmla="*/ 217010086 w 190"/>
                  <a:gd name="T61" fmla="*/ 386370240 h 259"/>
                  <a:gd name="T62" fmla="*/ 233702953 w 190"/>
                  <a:gd name="T63" fmla="*/ 386370240 h 259"/>
                  <a:gd name="T64" fmla="*/ 259670393 w 190"/>
                  <a:gd name="T65" fmla="*/ 399750608 h 259"/>
                  <a:gd name="T66" fmla="*/ 248540906 w 190"/>
                  <a:gd name="T67" fmla="*/ 428184859 h 259"/>
                  <a:gd name="T68" fmla="*/ 263380221 w 190"/>
                  <a:gd name="T69" fmla="*/ 433202820 h 259"/>
                  <a:gd name="T70" fmla="*/ 268943602 w 190"/>
                  <a:gd name="T71" fmla="*/ 413130975 h 259"/>
                  <a:gd name="T72" fmla="*/ 274508346 w 190"/>
                  <a:gd name="T73" fmla="*/ 344555621 h 259"/>
                  <a:gd name="T74" fmla="*/ 280073089 w 190"/>
                  <a:gd name="T75" fmla="*/ 311103328 h 259"/>
                  <a:gd name="T76" fmla="*/ 285636470 w 190"/>
                  <a:gd name="T77" fmla="*/ 311103328 h 259"/>
                  <a:gd name="T78" fmla="*/ 274508346 w 190"/>
                  <a:gd name="T79" fmla="*/ 297722960 h 259"/>
                  <a:gd name="T80" fmla="*/ 263380221 w 190"/>
                  <a:gd name="T81" fmla="*/ 297722960 h 259"/>
                  <a:gd name="T82" fmla="*/ 309748995 w 190"/>
                  <a:gd name="T83" fmla="*/ 282669077 h 259"/>
                  <a:gd name="T84" fmla="*/ 315313738 w 190"/>
                  <a:gd name="T85" fmla="*/ 274305377 h 259"/>
                  <a:gd name="T86" fmla="*/ 332006605 w 190"/>
                  <a:gd name="T87" fmla="*/ 274305377 h 259"/>
                  <a:gd name="T88" fmla="*/ 346844558 w 190"/>
                  <a:gd name="T89" fmla="*/ 297722960 h 259"/>
                  <a:gd name="T90" fmla="*/ 326441862 w 190"/>
                  <a:gd name="T91" fmla="*/ 255907048 h 259"/>
                  <a:gd name="T92" fmla="*/ 335716434 w 190"/>
                  <a:gd name="T93" fmla="*/ 240854458 h 259"/>
                  <a:gd name="T94" fmla="*/ 335716434 w 190"/>
                  <a:gd name="T95" fmla="*/ 232490758 h 259"/>
                  <a:gd name="T96" fmla="*/ 326441862 w 190"/>
                  <a:gd name="T97" fmla="*/ 222456129 h 259"/>
                  <a:gd name="T98" fmla="*/ 326441862 w 190"/>
                  <a:gd name="T99" fmla="*/ 199038546 h 259"/>
                  <a:gd name="T100" fmla="*/ 332006605 w 190"/>
                  <a:gd name="T101" fmla="*/ 175622256 h 259"/>
                  <a:gd name="T102" fmla="*/ 335716434 w 190"/>
                  <a:gd name="T103" fmla="*/ 162241848 h 259"/>
                  <a:gd name="T104" fmla="*/ 300475785 w 190"/>
                  <a:gd name="T105" fmla="*/ 167259809 h 259"/>
                  <a:gd name="T106" fmla="*/ 280073089 w 190"/>
                  <a:gd name="T107" fmla="*/ 167259809 h 259"/>
                  <a:gd name="T108" fmla="*/ 263380221 w 190"/>
                  <a:gd name="T109" fmla="*/ 143843519 h 259"/>
                  <a:gd name="T110" fmla="*/ 202172133 w 190"/>
                  <a:gd name="T111" fmla="*/ 133807597 h 259"/>
                  <a:gd name="T112" fmla="*/ 191042646 w 190"/>
                  <a:gd name="T113" fmla="*/ 110391307 h 259"/>
                  <a:gd name="T114" fmla="*/ 181769436 w 190"/>
                  <a:gd name="T115" fmla="*/ 102028900 h 259"/>
                  <a:gd name="T116" fmla="*/ 181769436 w 190"/>
                  <a:gd name="T117" fmla="*/ 50178339 h 25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90"/>
                  <a:gd name="T178" fmla="*/ 0 h 259"/>
                  <a:gd name="T179" fmla="*/ 190 w 190"/>
                  <a:gd name="T180" fmla="*/ 259 h 25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90" h="259">
                    <a:moveTo>
                      <a:pt x="120" y="11"/>
                    </a:moveTo>
                    <a:lnTo>
                      <a:pt x="123" y="8"/>
                    </a:lnTo>
                    <a:lnTo>
                      <a:pt x="123" y="5"/>
                    </a:lnTo>
                    <a:lnTo>
                      <a:pt x="120" y="2"/>
                    </a:lnTo>
                    <a:lnTo>
                      <a:pt x="115" y="0"/>
                    </a:lnTo>
                    <a:lnTo>
                      <a:pt x="115" y="2"/>
                    </a:lnTo>
                    <a:lnTo>
                      <a:pt x="112" y="2"/>
                    </a:lnTo>
                    <a:lnTo>
                      <a:pt x="112" y="5"/>
                    </a:lnTo>
                    <a:lnTo>
                      <a:pt x="109" y="5"/>
                    </a:lnTo>
                    <a:lnTo>
                      <a:pt x="109" y="8"/>
                    </a:lnTo>
                    <a:lnTo>
                      <a:pt x="106" y="8"/>
                    </a:lnTo>
                    <a:lnTo>
                      <a:pt x="84" y="19"/>
                    </a:lnTo>
                    <a:lnTo>
                      <a:pt x="76" y="19"/>
                    </a:lnTo>
                    <a:lnTo>
                      <a:pt x="73" y="25"/>
                    </a:lnTo>
                    <a:lnTo>
                      <a:pt x="70" y="27"/>
                    </a:lnTo>
                    <a:lnTo>
                      <a:pt x="70" y="25"/>
                    </a:lnTo>
                    <a:lnTo>
                      <a:pt x="64" y="22"/>
                    </a:lnTo>
                    <a:lnTo>
                      <a:pt x="62" y="25"/>
                    </a:lnTo>
                    <a:lnTo>
                      <a:pt x="53" y="30"/>
                    </a:lnTo>
                    <a:lnTo>
                      <a:pt x="53" y="47"/>
                    </a:lnTo>
                    <a:lnTo>
                      <a:pt x="51" y="47"/>
                    </a:lnTo>
                    <a:lnTo>
                      <a:pt x="45" y="50"/>
                    </a:lnTo>
                    <a:lnTo>
                      <a:pt x="39" y="58"/>
                    </a:lnTo>
                    <a:lnTo>
                      <a:pt x="34" y="61"/>
                    </a:lnTo>
                    <a:lnTo>
                      <a:pt x="34" y="64"/>
                    </a:lnTo>
                    <a:lnTo>
                      <a:pt x="37" y="69"/>
                    </a:lnTo>
                    <a:lnTo>
                      <a:pt x="34" y="69"/>
                    </a:lnTo>
                    <a:lnTo>
                      <a:pt x="25" y="61"/>
                    </a:lnTo>
                    <a:lnTo>
                      <a:pt x="25" y="64"/>
                    </a:lnTo>
                    <a:lnTo>
                      <a:pt x="28" y="66"/>
                    </a:lnTo>
                    <a:lnTo>
                      <a:pt x="28" y="69"/>
                    </a:lnTo>
                    <a:lnTo>
                      <a:pt x="23" y="78"/>
                    </a:lnTo>
                    <a:lnTo>
                      <a:pt x="23" y="75"/>
                    </a:lnTo>
                    <a:lnTo>
                      <a:pt x="20" y="75"/>
                    </a:lnTo>
                    <a:lnTo>
                      <a:pt x="20" y="78"/>
                    </a:lnTo>
                    <a:lnTo>
                      <a:pt x="17" y="80"/>
                    </a:lnTo>
                    <a:lnTo>
                      <a:pt x="20" y="89"/>
                    </a:lnTo>
                    <a:lnTo>
                      <a:pt x="25" y="91"/>
                    </a:lnTo>
                    <a:lnTo>
                      <a:pt x="25" y="94"/>
                    </a:lnTo>
                    <a:lnTo>
                      <a:pt x="25" y="105"/>
                    </a:lnTo>
                    <a:lnTo>
                      <a:pt x="25" y="108"/>
                    </a:lnTo>
                    <a:lnTo>
                      <a:pt x="25" y="111"/>
                    </a:lnTo>
                    <a:lnTo>
                      <a:pt x="25" y="125"/>
                    </a:lnTo>
                    <a:lnTo>
                      <a:pt x="25" y="133"/>
                    </a:lnTo>
                    <a:lnTo>
                      <a:pt x="28" y="133"/>
                    </a:lnTo>
                    <a:lnTo>
                      <a:pt x="31" y="133"/>
                    </a:lnTo>
                    <a:lnTo>
                      <a:pt x="34" y="133"/>
                    </a:lnTo>
                    <a:lnTo>
                      <a:pt x="31" y="136"/>
                    </a:lnTo>
                    <a:lnTo>
                      <a:pt x="23" y="144"/>
                    </a:lnTo>
                    <a:lnTo>
                      <a:pt x="23" y="153"/>
                    </a:lnTo>
                    <a:lnTo>
                      <a:pt x="20" y="153"/>
                    </a:lnTo>
                    <a:lnTo>
                      <a:pt x="17" y="156"/>
                    </a:lnTo>
                    <a:lnTo>
                      <a:pt x="12" y="153"/>
                    </a:lnTo>
                    <a:lnTo>
                      <a:pt x="9" y="156"/>
                    </a:lnTo>
                    <a:lnTo>
                      <a:pt x="6" y="161"/>
                    </a:lnTo>
                    <a:lnTo>
                      <a:pt x="6" y="164"/>
                    </a:lnTo>
                    <a:lnTo>
                      <a:pt x="6" y="167"/>
                    </a:lnTo>
                    <a:lnTo>
                      <a:pt x="3" y="167"/>
                    </a:lnTo>
                    <a:lnTo>
                      <a:pt x="3" y="169"/>
                    </a:lnTo>
                    <a:lnTo>
                      <a:pt x="0" y="169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" y="175"/>
                    </a:lnTo>
                    <a:lnTo>
                      <a:pt x="25" y="186"/>
                    </a:lnTo>
                    <a:lnTo>
                      <a:pt x="28" y="192"/>
                    </a:lnTo>
                    <a:lnTo>
                      <a:pt x="45" y="192"/>
                    </a:lnTo>
                    <a:lnTo>
                      <a:pt x="45" y="189"/>
                    </a:lnTo>
                    <a:lnTo>
                      <a:pt x="48" y="189"/>
                    </a:lnTo>
                    <a:lnTo>
                      <a:pt x="56" y="194"/>
                    </a:lnTo>
                    <a:lnTo>
                      <a:pt x="64" y="197"/>
                    </a:lnTo>
                    <a:lnTo>
                      <a:pt x="67" y="197"/>
                    </a:lnTo>
                    <a:lnTo>
                      <a:pt x="67" y="200"/>
                    </a:lnTo>
                    <a:lnTo>
                      <a:pt x="70" y="203"/>
                    </a:lnTo>
                    <a:lnTo>
                      <a:pt x="73" y="203"/>
                    </a:lnTo>
                    <a:lnTo>
                      <a:pt x="76" y="208"/>
                    </a:lnTo>
                    <a:lnTo>
                      <a:pt x="76" y="211"/>
                    </a:lnTo>
                    <a:lnTo>
                      <a:pt x="78" y="211"/>
                    </a:lnTo>
                    <a:lnTo>
                      <a:pt x="81" y="211"/>
                    </a:lnTo>
                    <a:lnTo>
                      <a:pt x="84" y="214"/>
                    </a:lnTo>
                    <a:lnTo>
                      <a:pt x="87" y="222"/>
                    </a:lnTo>
                    <a:lnTo>
                      <a:pt x="89" y="222"/>
                    </a:lnTo>
                    <a:lnTo>
                      <a:pt x="92" y="222"/>
                    </a:lnTo>
                    <a:lnTo>
                      <a:pt x="92" y="231"/>
                    </a:lnTo>
                    <a:lnTo>
                      <a:pt x="92" y="233"/>
                    </a:lnTo>
                    <a:lnTo>
                      <a:pt x="95" y="233"/>
                    </a:lnTo>
                    <a:lnTo>
                      <a:pt x="98" y="233"/>
                    </a:lnTo>
                    <a:lnTo>
                      <a:pt x="101" y="233"/>
                    </a:lnTo>
                    <a:lnTo>
                      <a:pt x="103" y="233"/>
                    </a:lnTo>
                    <a:lnTo>
                      <a:pt x="106" y="233"/>
                    </a:lnTo>
                    <a:lnTo>
                      <a:pt x="109" y="233"/>
                    </a:lnTo>
                    <a:lnTo>
                      <a:pt x="109" y="231"/>
                    </a:lnTo>
                    <a:lnTo>
                      <a:pt x="112" y="231"/>
                    </a:lnTo>
                    <a:lnTo>
                      <a:pt x="117" y="231"/>
                    </a:lnTo>
                    <a:lnTo>
                      <a:pt x="120" y="231"/>
                    </a:lnTo>
                    <a:lnTo>
                      <a:pt x="123" y="231"/>
                    </a:lnTo>
                    <a:lnTo>
                      <a:pt x="126" y="231"/>
                    </a:lnTo>
                    <a:lnTo>
                      <a:pt x="128" y="231"/>
                    </a:lnTo>
                    <a:lnTo>
                      <a:pt x="137" y="236"/>
                    </a:lnTo>
                    <a:lnTo>
                      <a:pt x="140" y="239"/>
                    </a:lnTo>
                    <a:lnTo>
                      <a:pt x="131" y="250"/>
                    </a:lnTo>
                    <a:lnTo>
                      <a:pt x="131" y="253"/>
                    </a:lnTo>
                    <a:lnTo>
                      <a:pt x="134" y="256"/>
                    </a:lnTo>
                    <a:lnTo>
                      <a:pt x="134" y="253"/>
                    </a:lnTo>
                    <a:lnTo>
                      <a:pt x="137" y="256"/>
                    </a:lnTo>
                    <a:lnTo>
                      <a:pt x="140" y="259"/>
                    </a:lnTo>
                    <a:lnTo>
                      <a:pt x="142" y="259"/>
                    </a:lnTo>
                    <a:lnTo>
                      <a:pt x="142" y="256"/>
                    </a:lnTo>
                    <a:lnTo>
                      <a:pt x="142" y="250"/>
                    </a:lnTo>
                    <a:lnTo>
                      <a:pt x="145" y="247"/>
                    </a:lnTo>
                    <a:lnTo>
                      <a:pt x="145" y="236"/>
                    </a:lnTo>
                    <a:lnTo>
                      <a:pt x="148" y="236"/>
                    </a:lnTo>
                    <a:lnTo>
                      <a:pt x="151" y="214"/>
                    </a:lnTo>
                    <a:lnTo>
                      <a:pt x="148" y="206"/>
                    </a:lnTo>
                    <a:lnTo>
                      <a:pt x="140" y="197"/>
                    </a:lnTo>
                    <a:lnTo>
                      <a:pt x="140" y="186"/>
                    </a:lnTo>
                    <a:lnTo>
                      <a:pt x="148" y="183"/>
                    </a:lnTo>
                    <a:lnTo>
                      <a:pt x="151" y="186"/>
                    </a:lnTo>
                    <a:lnTo>
                      <a:pt x="154" y="186"/>
                    </a:lnTo>
                    <a:lnTo>
                      <a:pt x="154" y="181"/>
                    </a:lnTo>
                    <a:lnTo>
                      <a:pt x="151" y="178"/>
                    </a:lnTo>
                    <a:lnTo>
                      <a:pt x="148" y="178"/>
                    </a:lnTo>
                    <a:lnTo>
                      <a:pt x="145" y="178"/>
                    </a:lnTo>
                    <a:lnTo>
                      <a:pt x="142" y="178"/>
                    </a:lnTo>
                    <a:lnTo>
                      <a:pt x="142" y="167"/>
                    </a:lnTo>
                    <a:lnTo>
                      <a:pt x="145" y="169"/>
                    </a:lnTo>
                    <a:lnTo>
                      <a:pt x="167" y="169"/>
                    </a:lnTo>
                    <a:lnTo>
                      <a:pt x="167" y="167"/>
                    </a:lnTo>
                    <a:lnTo>
                      <a:pt x="167" y="164"/>
                    </a:lnTo>
                    <a:lnTo>
                      <a:pt x="170" y="164"/>
                    </a:lnTo>
                    <a:lnTo>
                      <a:pt x="173" y="167"/>
                    </a:lnTo>
                    <a:lnTo>
                      <a:pt x="179" y="164"/>
                    </a:lnTo>
                    <a:lnTo>
                      <a:pt x="181" y="164"/>
                    </a:lnTo>
                    <a:lnTo>
                      <a:pt x="184" y="169"/>
                    </a:lnTo>
                    <a:lnTo>
                      <a:pt x="187" y="178"/>
                    </a:lnTo>
                    <a:lnTo>
                      <a:pt x="190" y="175"/>
                    </a:lnTo>
                    <a:lnTo>
                      <a:pt x="181" y="156"/>
                    </a:lnTo>
                    <a:lnTo>
                      <a:pt x="176" y="153"/>
                    </a:lnTo>
                    <a:lnTo>
                      <a:pt x="176" y="150"/>
                    </a:lnTo>
                    <a:lnTo>
                      <a:pt x="181" y="144"/>
                    </a:lnTo>
                    <a:lnTo>
                      <a:pt x="184" y="144"/>
                    </a:lnTo>
                    <a:lnTo>
                      <a:pt x="184" y="142"/>
                    </a:lnTo>
                    <a:lnTo>
                      <a:pt x="181" y="139"/>
                    </a:lnTo>
                    <a:lnTo>
                      <a:pt x="181" y="136"/>
                    </a:lnTo>
                    <a:lnTo>
                      <a:pt x="179" y="133"/>
                    </a:lnTo>
                    <a:lnTo>
                      <a:pt x="176" y="133"/>
                    </a:lnTo>
                    <a:lnTo>
                      <a:pt x="176" y="125"/>
                    </a:lnTo>
                    <a:lnTo>
                      <a:pt x="173" y="122"/>
                    </a:lnTo>
                    <a:lnTo>
                      <a:pt x="173" y="119"/>
                    </a:lnTo>
                    <a:lnTo>
                      <a:pt x="176" y="119"/>
                    </a:lnTo>
                    <a:lnTo>
                      <a:pt x="176" y="114"/>
                    </a:lnTo>
                    <a:lnTo>
                      <a:pt x="176" y="111"/>
                    </a:lnTo>
                    <a:lnTo>
                      <a:pt x="179" y="108"/>
                    </a:lnTo>
                    <a:lnTo>
                      <a:pt x="179" y="105"/>
                    </a:lnTo>
                    <a:lnTo>
                      <a:pt x="179" y="103"/>
                    </a:lnTo>
                    <a:lnTo>
                      <a:pt x="181" y="103"/>
                    </a:lnTo>
                    <a:lnTo>
                      <a:pt x="181" y="100"/>
                    </a:lnTo>
                    <a:lnTo>
                      <a:pt x="181" y="97"/>
                    </a:lnTo>
                    <a:lnTo>
                      <a:pt x="179" y="97"/>
                    </a:lnTo>
                    <a:lnTo>
                      <a:pt x="167" y="100"/>
                    </a:lnTo>
                    <a:lnTo>
                      <a:pt x="162" y="100"/>
                    </a:lnTo>
                    <a:lnTo>
                      <a:pt x="159" y="100"/>
                    </a:lnTo>
                    <a:lnTo>
                      <a:pt x="156" y="100"/>
                    </a:lnTo>
                    <a:lnTo>
                      <a:pt x="151" y="100"/>
                    </a:lnTo>
                    <a:lnTo>
                      <a:pt x="142" y="89"/>
                    </a:lnTo>
                    <a:lnTo>
                      <a:pt x="142" y="86"/>
                    </a:lnTo>
                    <a:lnTo>
                      <a:pt x="131" y="83"/>
                    </a:lnTo>
                    <a:lnTo>
                      <a:pt x="120" y="86"/>
                    </a:lnTo>
                    <a:lnTo>
                      <a:pt x="109" y="83"/>
                    </a:lnTo>
                    <a:lnTo>
                      <a:pt x="109" y="80"/>
                    </a:lnTo>
                    <a:lnTo>
                      <a:pt x="103" y="80"/>
                    </a:lnTo>
                    <a:lnTo>
                      <a:pt x="103" y="78"/>
                    </a:lnTo>
                    <a:lnTo>
                      <a:pt x="103" y="66"/>
                    </a:lnTo>
                    <a:lnTo>
                      <a:pt x="103" y="64"/>
                    </a:lnTo>
                    <a:lnTo>
                      <a:pt x="101" y="64"/>
                    </a:lnTo>
                    <a:lnTo>
                      <a:pt x="98" y="61"/>
                    </a:lnTo>
                    <a:lnTo>
                      <a:pt x="95" y="52"/>
                    </a:lnTo>
                    <a:lnTo>
                      <a:pt x="89" y="52"/>
                    </a:lnTo>
                    <a:lnTo>
                      <a:pt x="98" y="30"/>
                    </a:lnTo>
                    <a:lnTo>
                      <a:pt x="112" y="13"/>
                    </a:lnTo>
                    <a:lnTo>
                      <a:pt x="115" y="11"/>
                    </a:lnTo>
                    <a:lnTo>
                      <a:pt x="120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6" name="Freeform 572"/>
              <p:cNvSpPr>
                <a:spLocks noChangeAspect="1"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3800843" y="4345022"/>
                <a:ext cx="242953" cy="275928"/>
              </a:xfrm>
              <a:custGeom>
                <a:avLst/>
                <a:gdLst>
                  <a:gd name="T0" fmla="*/ 5535026 w 187"/>
                  <a:gd name="T1" fmla="*/ 32021079 h 214"/>
                  <a:gd name="T2" fmla="*/ 16605080 w 187"/>
                  <a:gd name="T3" fmla="*/ 32021079 h 214"/>
                  <a:gd name="T4" fmla="*/ 62728493 w 187"/>
                  <a:gd name="T5" fmla="*/ 28649689 h 214"/>
                  <a:gd name="T6" fmla="*/ 123611072 w 187"/>
                  <a:gd name="T7" fmla="*/ 0 h 214"/>
                  <a:gd name="T8" fmla="*/ 129146097 w 187"/>
                  <a:gd name="T9" fmla="*/ 5056438 h 214"/>
                  <a:gd name="T10" fmla="*/ 123611072 w 187"/>
                  <a:gd name="T11" fmla="*/ 37076218 h 214"/>
                  <a:gd name="T12" fmla="*/ 129146097 w 187"/>
                  <a:gd name="T13" fmla="*/ 50559193 h 214"/>
                  <a:gd name="T14" fmla="*/ 149440282 w 187"/>
                  <a:gd name="T15" fmla="*/ 70782343 h 214"/>
                  <a:gd name="T16" fmla="*/ 184495030 w 187"/>
                  <a:gd name="T17" fmla="*/ 79208872 h 214"/>
                  <a:gd name="T18" fmla="*/ 190030055 w 187"/>
                  <a:gd name="T19" fmla="*/ 84264011 h 214"/>
                  <a:gd name="T20" fmla="*/ 226929316 w 187"/>
                  <a:gd name="T21" fmla="*/ 97746997 h 214"/>
                  <a:gd name="T22" fmla="*/ 261982662 w 187"/>
                  <a:gd name="T23" fmla="*/ 107858572 h 214"/>
                  <a:gd name="T24" fmla="*/ 267517687 w 187"/>
                  <a:gd name="T25" fmla="*/ 126396675 h 214"/>
                  <a:gd name="T26" fmla="*/ 267517687 w 187"/>
                  <a:gd name="T27" fmla="*/ 144934779 h 214"/>
                  <a:gd name="T28" fmla="*/ 267517687 w 187"/>
                  <a:gd name="T29" fmla="*/ 149991216 h 214"/>
                  <a:gd name="T30" fmla="*/ 324711134 w 187"/>
                  <a:gd name="T31" fmla="*/ 178640935 h 214"/>
                  <a:gd name="T32" fmla="*/ 324711134 w 187"/>
                  <a:gd name="T33" fmla="*/ 178640935 h 214"/>
                  <a:gd name="T34" fmla="*/ 324711134 w 187"/>
                  <a:gd name="T35" fmla="*/ 192122603 h 214"/>
                  <a:gd name="T36" fmla="*/ 333935270 w 187"/>
                  <a:gd name="T37" fmla="*/ 205605568 h 214"/>
                  <a:gd name="T38" fmla="*/ 345005320 w 187"/>
                  <a:gd name="T39" fmla="*/ 225828718 h 214"/>
                  <a:gd name="T40" fmla="*/ 339470295 w 187"/>
                  <a:gd name="T41" fmla="*/ 267961362 h 214"/>
                  <a:gd name="T42" fmla="*/ 339470295 w 187"/>
                  <a:gd name="T43" fmla="*/ 276387891 h 214"/>
                  <a:gd name="T44" fmla="*/ 339470295 w 187"/>
                  <a:gd name="T45" fmla="*/ 281443030 h 214"/>
                  <a:gd name="T46" fmla="*/ 333935270 w 187"/>
                  <a:gd name="T47" fmla="*/ 281443030 h 214"/>
                  <a:gd name="T48" fmla="*/ 282276848 w 187"/>
                  <a:gd name="T49" fmla="*/ 257849787 h 214"/>
                  <a:gd name="T50" fmla="*/ 221394291 w 187"/>
                  <a:gd name="T51" fmla="*/ 281443030 h 214"/>
                  <a:gd name="T52" fmla="*/ 210324241 w 187"/>
                  <a:gd name="T53" fmla="*/ 318519237 h 214"/>
                  <a:gd name="T54" fmla="*/ 201098747 w 187"/>
                  <a:gd name="T55" fmla="*/ 342113859 h 214"/>
                  <a:gd name="T56" fmla="*/ 158665777 w 187"/>
                  <a:gd name="T57" fmla="*/ 337057341 h 214"/>
                  <a:gd name="T58" fmla="*/ 154975307 w 187"/>
                  <a:gd name="T59" fmla="*/ 355595526 h 214"/>
                  <a:gd name="T60" fmla="*/ 149440282 w 187"/>
                  <a:gd name="T61" fmla="*/ 347170296 h 214"/>
                  <a:gd name="T62" fmla="*/ 143906616 w 187"/>
                  <a:gd name="T63" fmla="*/ 342113859 h 214"/>
                  <a:gd name="T64" fmla="*/ 112542380 w 187"/>
                  <a:gd name="T65" fmla="*/ 337057341 h 214"/>
                  <a:gd name="T66" fmla="*/ 103316886 w 187"/>
                  <a:gd name="T67" fmla="*/ 328630812 h 214"/>
                  <a:gd name="T68" fmla="*/ 77487654 w 187"/>
                  <a:gd name="T69" fmla="*/ 352225434 h 214"/>
                  <a:gd name="T70" fmla="*/ 71952629 w 187"/>
                  <a:gd name="T71" fmla="*/ 360651963 h 214"/>
                  <a:gd name="T72" fmla="*/ 66417604 w 187"/>
                  <a:gd name="T73" fmla="*/ 360651963 h 214"/>
                  <a:gd name="T74" fmla="*/ 57193468 w 187"/>
                  <a:gd name="T75" fmla="*/ 360651963 h 214"/>
                  <a:gd name="T76" fmla="*/ 46123418 w 187"/>
                  <a:gd name="T77" fmla="*/ 318519237 h 214"/>
                  <a:gd name="T78" fmla="*/ 40588382 w 187"/>
                  <a:gd name="T79" fmla="*/ 305037570 h 214"/>
                  <a:gd name="T80" fmla="*/ 31364246 w 187"/>
                  <a:gd name="T81" fmla="*/ 294925995 h 214"/>
                  <a:gd name="T82" fmla="*/ 31364246 w 187"/>
                  <a:gd name="T83" fmla="*/ 286499466 h 214"/>
                  <a:gd name="T84" fmla="*/ 25829221 w 187"/>
                  <a:gd name="T85" fmla="*/ 276387891 h 214"/>
                  <a:gd name="T86" fmla="*/ 31364246 w 187"/>
                  <a:gd name="T87" fmla="*/ 276387891 h 214"/>
                  <a:gd name="T88" fmla="*/ 31364246 w 187"/>
                  <a:gd name="T89" fmla="*/ 271331455 h 214"/>
                  <a:gd name="T90" fmla="*/ 31364246 w 187"/>
                  <a:gd name="T91" fmla="*/ 267961362 h 214"/>
                  <a:gd name="T92" fmla="*/ 31364246 w 187"/>
                  <a:gd name="T93" fmla="*/ 257849787 h 214"/>
                  <a:gd name="T94" fmla="*/ 16605080 w 187"/>
                  <a:gd name="T95" fmla="*/ 225828718 h 214"/>
                  <a:gd name="T96" fmla="*/ 11070053 w 187"/>
                  <a:gd name="T97" fmla="*/ 220773580 h 214"/>
                  <a:gd name="T98" fmla="*/ 5535026 w 187"/>
                  <a:gd name="T99" fmla="*/ 210660706 h 214"/>
                  <a:gd name="T100" fmla="*/ 0 w 187"/>
                  <a:gd name="T101" fmla="*/ 210660706 h 214"/>
                  <a:gd name="T102" fmla="*/ 20294191 w 187"/>
                  <a:gd name="T103" fmla="*/ 182011028 h 214"/>
                  <a:gd name="T104" fmla="*/ 20294191 w 187"/>
                  <a:gd name="T105" fmla="*/ 178640935 h 214"/>
                  <a:gd name="T106" fmla="*/ 16605080 w 187"/>
                  <a:gd name="T107" fmla="*/ 173584499 h 214"/>
                  <a:gd name="T108" fmla="*/ 11070053 w 187"/>
                  <a:gd name="T109" fmla="*/ 168529320 h 214"/>
                  <a:gd name="T110" fmla="*/ 11070053 w 187"/>
                  <a:gd name="T111" fmla="*/ 149991216 h 214"/>
                  <a:gd name="T112" fmla="*/ 16605080 w 187"/>
                  <a:gd name="T113" fmla="*/ 144934779 h 214"/>
                  <a:gd name="T114" fmla="*/ 16605080 w 187"/>
                  <a:gd name="T115" fmla="*/ 139879641 h 214"/>
                  <a:gd name="T116" fmla="*/ 11070053 w 187"/>
                  <a:gd name="T117" fmla="*/ 136508250 h 214"/>
                  <a:gd name="T118" fmla="*/ 20294191 w 187"/>
                  <a:gd name="T119" fmla="*/ 126396675 h 214"/>
                  <a:gd name="T120" fmla="*/ 20294191 w 187"/>
                  <a:gd name="T121" fmla="*/ 84264011 h 214"/>
                  <a:gd name="T122" fmla="*/ 25829221 w 187"/>
                  <a:gd name="T123" fmla="*/ 74152436 h 214"/>
                  <a:gd name="T124" fmla="*/ 0 w 187"/>
                  <a:gd name="T125" fmla="*/ 32021079 h 21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87"/>
                  <a:gd name="T190" fmla="*/ 0 h 214"/>
                  <a:gd name="T191" fmla="*/ 187 w 187"/>
                  <a:gd name="T192" fmla="*/ 214 h 21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87" h="214">
                    <a:moveTo>
                      <a:pt x="0" y="19"/>
                    </a:moveTo>
                    <a:lnTo>
                      <a:pt x="3" y="19"/>
                    </a:lnTo>
                    <a:lnTo>
                      <a:pt x="9" y="19"/>
                    </a:lnTo>
                    <a:lnTo>
                      <a:pt x="20" y="22"/>
                    </a:lnTo>
                    <a:lnTo>
                      <a:pt x="34" y="17"/>
                    </a:lnTo>
                    <a:lnTo>
                      <a:pt x="48" y="3"/>
                    </a:lnTo>
                    <a:lnTo>
                      <a:pt x="67" y="0"/>
                    </a:lnTo>
                    <a:lnTo>
                      <a:pt x="70" y="3"/>
                    </a:lnTo>
                    <a:lnTo>
                      <a:pt x="70" y="19"/>
                    </a:lnTo>
                    <a:lnTo>
                      <a:pt x="67" y="22"/>
                    </a:lnTo>
                    <a:lnTo>
                      <a:pt x="67" y="25"/>
                    </a:lnTo>
                    <a:lnTo>
                      <a:pt x="70" y="30"/>
                    </a:lnTo>
                    <a:lnTo>
                      <a:pt x="73" y="36"/>
                    </a:lnTo>
                    <a:lnTo>
                      <a:pt x="81" y="42"/>
                    </a:lnTo>
                    <a:lnTo>
                      <a:pt x="100" y="44"/>
                    </a:lnTo>
                    <a:lnTo>
                      <a:pt x="100" y="47"/>
                    </a:lnTo>
                    <a:lnTo>
                      <a:pt x="103" y="47"/>
                    </a:lnTo>
                    <a:lnTo>
                      <a:pt x="103" y="50"/>
                    </a:lnTo>
                    <a:lnTo>
                      <a:pt x="117" y="56"/>
                    </a:lnTo>
                    <a:lnTo>
                      <a:pt x="123" y="58"/>
                    </a:lnTo>
                    <a:lnTo>
                      <a:pt x="134" y="58"/>
                    </a:lnTo>
                    <a:lnTo>
                      <a:pt x="142" y="64"/>
                    </a:lnTo>
                    <a:lnTo>
                      <a:pt x="145" y="72"/>
                    </a:lnTo>
                    <a:lnTo>
                      <a:pt x="145" y="75"/>
                    </a:lnTo>
                    <a:lnTo>
                      <a:pt x="148" y="81"/>
                    </a:lnTo>
                    <a:lnTo>
                      <a:pt x="145" y="86"/>
                    </a:lnTo>
                    <a:lnTo>
                      <a:pt x="145" y="89"/>
                    </a:lnTo>
                    <a:lnTo>
                      <a:pt x="151" y="103"/>
                    </a:lnTo>
                    <a:lnTo>
                      <a:pt x="176" y="106"/>
                    </a:lnTo>
                    <a:lnTo>
                      <a:pt x="178" y="108"/>
                    </a:lnTo>
                    <a:lnTo>
                      <a:pt x="176" y="114"/>
                    </a:lnTo>
                    <a:lnTo>
                      <a:pt x="178" y="120"/>
                    </a:lnTo>
                    <a:lnTo>
                      <a:pt x="181" y="122"/>
                    </a:lnTo>
                    <a:lnTo>
                      <a:pt x="184" y="122"/>
                    </a:lnTo>
                    <a:lnTo>
                      <a:pt x="187" y="134"/>
                    </a:lnTo>
                    <a:lnTo>
                      <a:pt x="187" y="150"/>
                    </a:lnTo>
                    <a:lnTo>
                      <a:pt x="184" y="159"/>
                    </a:lnTo>
                    <a:lnTo>
                      <a:pt x="184" y="161"/>
                    </a:lnTo>
                    <a:lnTo>
                      <a:pt x="184" y="164"/>
                    </a:lnTo>
                    <a:lnTo>
                      <a:pt x="184" y="167"/>
                    </a:lnTo>
                    <a:lnTo>
                      <a:pt x="181" y="167"/>
                    </a:lnTo>
                    <a:lnTo>
                      <a:pt x="170" y="153"/>
                    </a:lnTo>
                    <a:lnTo>
                      <a:pt x="153" y="153"/>
                    </a:lnTo>
                    <a:lnTo>
                      <a:pt x="123" y="161"/>
                    </a:lnTo>
                    <a:lnTo>
                      <a:pt x="120" y="167"/>
                    </a:lnTo>
                    <a:lnTo>
                      <a:pt x="114" y="178"/>
                    </a:lnTo>
                    <a:lnTo>
                      <a:pt x="114" y="189"/>
                    </a:lnTo>
                    <a:lnTo>
                      <a:pt x="109" y="203"/>
                    </a:lnTo>
                    <a:lnTo>
                      <a:pt x="103" y="200"/>
                    </a:lnTo>
                    <a:lnTo>
                      <a:pt x="86" y="200"/>
                    </a:lnTo>
                    <a:lnTo>
                      <a:pt x="84" y="211"/>
                    </a:lnTo>
                    <a:lnTo>
                      <a:pt x="81" y="206"/>
                    </a:lnTo>
                    <a:lnTo>
                      <a:pt x="78" y="203"/>
                    </a:lnTo>
                    <a:lnTo>
                      <a:pt x="61" y="200"/>
                    </a:lnTo>
                    <a:lnTo>
                      <a:pt x="56" y="195"/>
                    </a:lnTo>
                    <a:lnTo>
                      <a:pt x="45" y="209"/>
                    </a:lnTo>
                    <a:lnTo>
                      <a:pt x="42" y="209"/>
                    </a:lnTo>
                    <a:lnTo>
                      <a:pt x="42" y="211"/>
                    </a:lnTo>
                    <a:lnTo>
                      <a:pt x="39" y="214"/>
                    </a:lnTo>
                    <a:lnTo>
                      <a:pt x="36" y="214"/>
                    </a:lnTo>
                    <a:lnTo>
                      <a:pt x="31" y="214"/>
                    </a:lnTo>
                    <a:lnTo>
                      <a:pt x="28" y="214"/>
                    </a:lnTo>
                    <a:lnTo>
                      <a:pt x="25" y="189"/>
                    </a:lnTo>
                    <a:lnTo>
                      <a:pt x="22" y="186"/>
                    </a:lnTo>
                    <a:lnTo>
                      <a:pt x="22" y="181"/>
                    </a:lnTo>
                    <a:lnTo>
                      <a:pt x="17" y="178"/>
                    </a:lnTo>
                    <a:lnTo>
                      <a:pt x="17" y="175"/>
                    </a:lnTo>
                    <a:lnTo>
                      <a:pt x="17" y="172"/>
                    </a:lnTo>
                    <a:lnTo>
                      <a:pt x="17" y="170"/>
                    </a:lnTo>
                    <a:lnTo>
                      <a:pt x="14" y="170"/>
                    </a:lnTo>
                    <a:lnTo>
                      <a:pt x="14" y="164"/>
                    </a:lnTo>
                    <a:lnTo>
                      <a:pt x="17" y="164"/>
                    </a:lnTo>
                    <a:lnTo>
                      <a:pt x="17" y="161"/>
                    </a:lnTo>
                    <a:lnTo>
                      <a:pt x="17" y="159"/>
                    </a:lnTo>
                    <a:lnTo>
                      <a:pt x="20" y="156"/>
                    </a:lnTo>
                    <a:lnTo>
                      <a:pt x="17" y="153"/>
                    </a:lnTo>
                    <a:lnTo>
                      <a:pt x="11" y="147"/>
                    </a:lnTo>
                    <a:lnTo>
                      <a:pt x="9" y="134"/>
                    </a:lnTo>
                    <a:lnTo>
                      <a:pt x="6" y="131"/>
                    </a:lnTo>
                    <a:lnTo>
                      <a:pt x="3" y="125"/>
                    </a:lnTo>
                    <a:lnTo>
                      <a:pt x="0" y="125"/>
                    </a:lnTo>
                    <a:lnTo>
                      <a:pt x="0" y="122"/>
                    </a:lnTo>
                    <a:lnTo>
                      <a:pt x="11" y="108"/>
                    </a:lnTo>
                    <a:lnTo>
                      <a:pt x="11" y="106"/>
                    </a:lnTo>
                    <a:lnTo>
                      <a:pt x="9" y="103"/>
                    </a:lnTo>
                    <a:lnTo>
                      <a:pt x="6" y="100"/>
                    </a:lnTo>
                    <a:lnTo>
                      <a:pt x="6" y="92"/>
                    </a:lnTo>
                    <a:lnTo>
                      <a:pt x="6" y="89"/>
                    </a:lnTo>
                    <a:lnTo>
                      <a:pt x="9" y="89"/>
                    </a:lnTo>
                    <a:lnTo>
                      <a:pt x="9" y="86"/>
                    </a:lnTo>
                    <a:lnTo>
                      <a:pt x="9" y="83"/>
                    </a:lnTo>
                    <a:lnTo>
                      <a:pt x="6" y="81"/>
                    </a:lnTo>
                    <a:lnTo>
                      <a:pt x="6" y="78"/>
                    </a:lnTo>
                    <a:lnTo>
                      <a:pt x="11" y="75"/>
                    </a:lnTo>
                    <a:lnTo>
                      <a:pt x="11" y="50"/>
                    </a:lnTo>
                    <a:lnTo>
                      <a:pt x="11" y="47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7" name="Freeform 573"/>
              <p:cNvSpPr>
                <a:spLocks noChangeAspect="1"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4028613" y="4781779"/>
                <a:ext cx="107811" cy="115102"/>
              </a:xfrm>
              <a:custGeom>
                <a:avLst/>
                <a:gdLst>
                  <a:gd name="T0" fmla="*/ 0 w 83"/>
                  <a:gd name="T1" fmla="*/ 116989588 h 89"/>
                  <a:gd name="T2" fmla="*/ 0 w 83"/>
                  <a:gd name="T3" fmla="*/ 116989588 h 89"/>
                  <a:gd name="T4" fmla="*/ 3688295 w 83"/>
                  <a:gd name="T5" fmla="*/ 122075637 h 89"/>
                  <a:gd name="T6" fmla="*/ 14753181 w 83"/>
                  <a:gd name="T7" fmla="*/ 132249037 h 89"/>
                  <a:gd name="T8" fmla="*/ 14753181 w 83"/>
                  <a:gd name="T9" fmla="*/ 132249037 h 89"/>
                  <a:gd name="T10" fmla="*/ 35038803 w 83"/>
                  <a:gd name="T11" fmla="*/ 135639737 h 89"/>
                  <a:gd name="T12" fmla="*/ 66389312 w 83"/>
                  <a:gd name="T13" fmla="*/ 145813137 h 89"/>
                  <a:gd name="T14" fmla="*/ 86673570 w 83"/>
                  <a:gd name="T15" fmla="*/ 145813137 h 89"/>
                  <a:gd name="T16" fmla="*/ 101426767 w 83"/>
                  <a:gd name="T17" fmla="*/ 150899186 h 89"/>
                  <a:gd name="T18" fmla="*/ 118024090 w 83"/>
                  <a:gd name="T19" fmla="*/ 145813137 h 89"/>
                  <a:gd name="T20" fmla="*/ 132777266 w 83"/>
                  <a:gd name="T21" fmla="*/ 132249037 h 89"/>
                  <a:gd name="T22" fmla="*/ 132777266 w 83"/>
                  <a:gd name="T23" fmla="*/ 132249037 h 89"/>
                  <a:gd name="T24" fmla="*/ 138309706 w 83"/>
                  <a:gd name="T25" fmla="*/ 122075637 h 89"/>
                  <a:gd name="T26" fmla="*/ 143842147 w 83"/>
                  <a:gd name="T27" fmla="*/ 111902236 h 89"/>
                  <a:gd name="T28" fmla="*/ 143842147 w 83"/>
                  <a:gd name="T29" fmla="*/ 111902236 h 89"/>
                  <a:gd name="T30" fmla="*/ 143842147 w 83"/>
                  <a:gd name="T31" fmla="*/ 108511537 h 89"/>
                  <a:gd name="T32" fmla="*/ 143842147 w 83"/>
                  <a:gd name="T33" fmla="*/ 108511537 h 89"/>
                  <a:gd name="T34" fmla="*/ 143842147 w 83"/>
                  <a:gd name="T35" fmla="*/ 93252087 h 89"/>
                  <a:gd name="T36" fmla="*/ 147530441 w 83"/>
                  <a:gd name="T37" fmla="*/ 88166038 h 89"/>
                  <a:gd name="T38" fmla="*/ 147530441 w 83"/>
                  <a:gd name="T39" fmla="*/ 84775319 h 89"/>
                  <a:gd name="T40" fmla="*/ 147530441 w 83"/>
                  <a:gd name="T41" fmla="*/ 84775319 h 89"/>
                  <a:gd name="T42" fmla="*/ 153062882 w 83"/>
                  <a:gd name="T43" fmla="*/ 84775319 h 89"/>
                  <a:gd name="T44" fmla="*/ 153062882 w 83"/>
                  <a:gd name="T45" fmla="*/ 79687967 h 89"/>
                  <a:gd name="T46" fmla="*/ 147530441 w 83"/>
                  <a:gd name="T47" fmla="*/ 74601918 h 89"/>
                  <a:gd name="T48" fmla="*/ 138309706 w 83"/>
                  <a:gd name="T49" fmla="*/ 69515869 h 89"/>
                  <a:gd name="T50" fmla="*/ 138309706 w 83"/>
                  <a:gd name="T51" fmla="*/ 61037818 h 89"/>
                  <a:gd name="T52" fmla="*/ 132777266 w 83"/>
                  <a:gd name="T53" fmla="*/ 55951769 h 89"/>
                  <a:gd name="T54" fmla="*/ 127244825 w 83"/>
                  <a:gd name="T55" fmla="*/ 50864418 h 89"/>
                  <a:gd name="T56" fmla="*/ 121712384 w 83"/>
                  <a:gd name="T57" fmla="*/ 50864418 h 89"/>
                  <a:gd name="T58" fmla="*/ 118024090 w 83"/>
                  <a:gd name="T59" fmla="*/ 50864418 h 89"/>
                  <a:gd name="T60" fmla="*/ 118024090 w 83"/>
                  <a:gd name="T61" fmla="*/ 45778369 h 89"/>
                  <a:gd name="T62" fmla="*/ 112491649 w 83"/>
                  <a:gd name="T63" fmla="*/ 42387659 h 89"/>
                  <a:gd name="T64" fmla="*/ 112491649 w 83"/>
                  <a:gd name="T65" fmla="*/ 42387659 h 89"/>
                  <a:gd name="T66" fmla="*/ 106959208 w 83"/>
                  <a:gd name="T67" fmla="*/ 37300308 h 89"/>
                  <a:gd name="T68" fmla="*/ 101426767 w 83"/>
                  <a:gd name="T69" fmla="*/ 37300308 h 89"/>
                  <a:gd name="T70" fmla="*/ 95894326 w 83"/>
                  <a:gd name="T71" fmla="*/ 37300308 h 89"/>
                  <a:gd name="T72" fmla="*/ 92206032 w 83"/>
                  <a:gd name="T73" fmla="*/ 32214259 h 89"/>
                  <a:gd name="T74" fmla="*/ 92206032 w 83"/>
                  <a:gd name="T75" fmla="*/ 32214259 h 89"/>
                  <a:gd name="T76" fmla="*/ 86673570 w 83"/>
                  <a:gd name="T77" fmla="*/ 22040859 h 89"/>
                  <a:gd name="T78" fmla="*/ 86673570 w 83"/>
                  <a:gd name="T79" fmla="*/ 22040859 h 89"/>
                  <a:gd name="T80" fmla="*/ 81141129 w 83"/>
                  <a:gd name="T81" fmla="*/ 22040859 h 89"/>
                  <a:gd name="T82" fmla="*/ 75610047 w 83"/>
                  <a:gd name="T83" fmla="*/ 27128210 h 89"/>
                  <a:gd name="T84" fmla="*/ 75610047 w 83"/>
                  <a:gd name="T85" fmla="*/ 27128210 h 89"/>
                  <a:gd name="T86" fmla="*/ 71921753 w 83"/>
                  <a:gd name="T87" fmla="*/ 27128210 h 89"/>
                  <a:gd name="T88" fmla="*/ 66389312 w 83"/>
                  <a:gd name="T89" fmla="*/ 13564105 h 89"/>
                  <a:gd name="T90" fmla="*/ 46103695 w 83"/>
                  <a:gd name="T91" fmla="*/ 0 h 89"/>
                  <a:gd name="T92" fmla="*/ 46103695 w 83"/>
                  <a:gd name="T93" fmla="*/ 0 h 89"/>
                  <a:gd name="T94" fmla="*/ 40571244 w 83"/>
                  <a:gd name="T95" fmla="*/ 0 h 89"/>
                  <a:gd name="T96" fmla="*/ 40571244 w 83"/>
                  <a:gd name="T97" fmla="*/ 0 h 89"/>
                  <a:gd name="T98" fmla="*/ 35038803 w 83"/>
                  <a:gd name="T99" fmla="*/ 3390701 h 89"/>
                  <a:gd name="T100" fmla="*/ 35038803 w 83"/>
                  <a:gd name="T101" fmla="*/ 3390701 h 89"/>
                  <a:gd name="T102" fmla="*/ 25818068 w 83"/>
                  <a:gd name="T103" fmla="*/ 3390701 h 89"/>
                  <a:gd name="T104" fmla="*/ 20285622 w 83"/>
                  <a:gd name="T105" fmla="*/ 3390701 h 89"/>
                  <a:gd name="T106" fmla="*/ 20285622 w 83"/>
                  <a:gd name="T107" fmla="*/ 8478053 h 89"/>
                  <a:gd name="T108" fmla="*/ 14753181 w 83"/>
                  <a:gd name="T109" fmla="*/ 45778369 h 89"/>
                  <a:gd name="T110" fmla="*/ 9220737 w 83"/>
                  <a:gd name="T111" fmla="*/ 55951769 h 89"/>
                  <a:gd name="T112" fmla="*/ 9220737 w 83"/>
                  <a:gd name="T113" fmla="*/ 84775319 h 89"/>
                  <a:gd name="T114" fmla="*/ 9220737 w 83"/>
                  <a:gd name="T115" fmla="*/ 88166038 h 89"/>
                  <a:gd name="T116" fmla="*/ 3688295 w 83"/>
                  <a:gd name="T117" fmla="*/ 93252087 h 89"/>
                  <a:gd name="T118" fmla="*/ 0 w 83"/>
                  <a:gd name="T119" fmla="*/ 116989588 h 8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3"/>
                  <a:gd name="T181" fmla="*/ 0 h 89"/>
                  <a:gd name="T182" fmla="*/ 83 w 83"/>
                  <a:gd name="T183" fmla="*/ 89 h 89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3" h="89">
                    <a:moveTo>
                      <a:pt x="0" y="69"/>
                    </a:moveTo>
                    <a:lnTo>
                      <a:pt x="0" y="69"/>
                    </a:lnTo>
                    <a:lnTo>
                      <a:pt x="2" y="72"/>
                    </a:lnTo>
                    <a:lnTo>
                      <a:pt x="8" y="78"/>
                    </a:lnTo>
                    <a:lnTo>
                      <a:pt x="19" y="80"/>
                    </a:lnTo>
                    <a:lnTo>
                      <a:pt x="36" y="86"/>
                    </a:lnTo>
                    <a:lnTo>
                      <a:pt x="47" y="86"/>
                    </a:lnTo>
                    <a:lnTo>
                      <a:pt x="55" y="89"/>
                    </a:lnTo>
                    <a:lnTo>
                      <a:pt x="64" y="86"/>
                    </a:lnTo>
                    <a:lnTo>
                      <a:pt x="72" y="78"/>
                    </a:lnTo>
                    <a:lnTo>
                      <a:pt x="75" y="72"/>
                    </a:lnTo>
                    <a:lnTo>
                      <a:pt x="78" y="66"/>
                    </a:lnTo>
                    <a:lnTo>
                      <a:pt x="78" y="64"/>
                    </a:lnTo>
                    <a:lnTo>
                      <a:pt x="78" y="55"/>
                    </a:lnTo>
                    <a:lnTo>
                      <a:pt x="80" y="52"/>
                    </a:lnTo>
                    <a:lnTo>
                      <a:pt x="80" y="50"/>
                    </a:lnTo>
                    <a:lnTo>
                      <a:pt x="83" y="50"/>
                    </a:lnTo>
                    <a:lnTo>
                      <a:pt x="83" y="47"/>
                    </a:lnTo>
                    <a:lnTo>
                      <a:pt x="80" y="44"/>
                    </a:lnTo>
                    <a:lnTo>
                      <a:pt x="75" y="41"/>
                    </a:lnTo>
                    <a:lnTo>
                      <a:pt x="75" y="36"/>
                    </a:lnTo>
                    <a:lnTo>
                      <a:pt x="72" y="33"/>
                    </a:lnTo>
                    <a:lnTo>
                      <a:pt x="69" y="30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4" y="27"/>
                    </a:lnTo>
                    <a:lnTo>
                      <a:pt x="61" y="25"/>
                    </a:lnTo>
                    <a:lnTo>
                      <a:pt x="58" y="22"/>
                    </a:lnTo>
                    <a:lnTo>
                      <a:pt x="55" y="22"/>
                    </a:lnTo>
                    <a:lnTo>
                      <a:pt x="52" y="22"/>
                    </a:lnTo>
                    <a:lnTo>
                      <a:pt x="50" y="19"/>
                    </a:lnTo>
                    <a:lnTo>
                      <a:pt x="47" y="13"/>
                    </a:lnTo>
                    <a:lnTo>
                      <a:pt x="44" y="13"/>
                    </a:lnTo>
                    <a:lnTo>
                      <a:pt x="41" y="16"/>
                    </a:lnTo>
                    <a:lnTo>
                      <a:pt x="39" y="16"/>
                    </a:lnTo>
                    <a:lnTo>
                      <a:pt x="36" y="8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9" y="2"/>
                    </a:lnTo>
                    <a:lnTo>
                      <a:pt x="14" y="2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27"/>
                    </a:lnTo>
                    <a:lnTo>
                      <a:pt x="5" y="33"/>
                    </a:lnTo>
                    <a:lnTo>
                      <a:pt x="5" y="50"/>
                    </a:lnTo>
                    <a:lnTo>
                      <a:pt x="5" y="52"/>
                    </a:lnTo>
                    <a:lnTo>
                      <a:pt x="2" y="55"/>
                    </a:lnTo>
                    <a:lnTo>
                      <a:pt x="0" y="6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8" name="Freeform 574"/>
              <p:cNvSpPr>
                <a:spLocks noChangeAspect="1"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3969393" y="3985524"/>
                <a:ext cx="101736" cy="140329"/>
              </a:xfrm>
              <a:custGeom>
                <a:avLst/>
                <a:gdLst>
                  <a:gd name="T0" fmla="*/ 46485652 w 78"/>
                  <a:gd name="T1" fmla="*/ 0 h 109"/>
                  <a:gd name="T2" fmla="*/ 52064200 w 78"/>
                  <a:gd name="T3" fmla="*/ 0 h 109"/>
                  <a:gd name="T4" fmla="*/ 83675519 w 78"/>
                  <a:gd name="T5" fmla="*/ 23522345 h 109"/>
                  <a:gd name="T6" fmla="*/ 98551215 w 78"/>
                  <a:gd name="T7" fmla="*/ 38643938 h 109"/>
                  <a:gd name="T8" fmla="*/ 113426890 w 78"/>
                  <a:gd name="T9" fmla="*/ 52085653 h 109"/>
                  <a:gd name="T10" fmla="*/ 124582623 w 78"/>
                  <a:gd name="T11" fmla="*/ 62166283 h 109"/>
                  <a:gd name="T12" fmla="*/ 119004074 w 78"/>
                  <a:gd name="T13" fmla="*/ 75606691 h 109"/>
                  <a:gd name="T14" fmla="*/ 119004074 w 78"/>
                  <a:gd name="T15" fmla="*/ 75606691 h 109"/>
                  <a:gd name="T16" fmla="*/ 119004074 w 78"/>
                  <a:gd name="T17" fmla="*/ 80647654 h 109"/>
                  <a:gd name="T18" fmla="*/ 113426890 w 78"/>
                  <a:gd name="T19" fmla="*/ 85688638 h 109"/>
                  <a:gd name="T20" fmla="*/ 98551215 w 78"/>
                  <a:gd name="T21" fmla="*/ 89048416 h 109"/>
                  <a:gd name="T22" fmla="*/ 98551215 w 78"/>
                  <a:gd name="T23" fmla="*/ 89048416 h 109"/>
                  <a:gd name="T24" fmla="*/ 92972667 w 78"/>
                  <a:gd name="T25" fmla="*/ 107531083 h 109"/>
                  <a:gd name="T26" fmla="*/ 104128400 w 78"/>
                  <a:gd name="T27" fmla="*/ 117611713 h 109"/>
                  <a:gd name="T28" fmla="*/ 109706948 w 78"/>
                  <a:gd name="T29" fmla="*/ 122651380 h 109"/>
                  <a:gd name="T30" fmla="*/ 109706948 w 78"/>
                  <a:gd name="T31" fmla="*/ 127692344 h 109"/>
                  <a:gd name="T32" fmla="*/ 119004074 w 78"/>
                  <a:gd name="T33" fmla="*/ 127692344 h 109"/>
                  <a:gd name="T34" fmla="*/ 119004074 w 78"/>
                  <a:gd name="T35" fmla="*/ 136093085 h 109"/>
                  <a:gd name="T36" fmla="*/ 124582623 w 78"/>
                  <a:gd name="T37" fmla="*/ 141134048 h 109"/>
                  <a:gd name="T38" fmla="*/ 145036845 w 78"/>
                  <a:gd name="T39" fmla="*/ 164656383 h 109"/>
                  <a:gd name="T40" fmla="*/ 130161171 w 78"/>
                  <a:gd name="T41" fmla="*/ 164656383 h 109"/>
                  <a:gd name="T42" fmla="*/ 124582623 w 78"/>
                  <a:gd name="T43" fmla="*/ 164656383 h 109"/>
                  <a:gd name="T44" fmla="*/ 119004074 w 78"/>
                  <a:gd name="T45" fmla="*/ 164656383 h 109"/>
                  <a:gd name="T46" fmla="*/ 109706948 w 78"/>
                  <a:gd name="T47" fmla="*/ 173057164 h 109"/>
                  <a:gd name="T48" fmla="*/ 98551215 w 78"/>
                  <a:gd name="T49" fmla="*/ 173057164 h 109"/>
                  <a:gd name="T50" fmla="*/ 87394097 w 78"/>
                  <a:gd name="T51" fmla="*/ 178096831 h 109"/>
                  <a:gd name="T52" fmla="*/ 78096971 w 78"/>
                  <a:gd name="T53" fmla="*/ 183137795 h 109"/>
                  <a:gd name="T54" fmla="*/ 61361326 w 78"/>
                  <a:gd name="T55" fmla="*/ 178096831 h 109"/>
                  <a:gd name="T56" fmla="*/ 52064200 w 78"/>
                  <a:gd name="T57" fmla="*/ 169696050 h 109"/>
                  <a:gd name="T58" fmla="*/ 52064200 w 78"/>
                  <a:gd name="T59" fmla="*/ 169696050 h 109"/>
                  <a:gd name="T60" fmla="*/ 46485652 w 78"/>
                  <a:gd name="T61" fmla="*/ 151214678 h 109"/>
                  <a:gd name="T62" fmla="*/ 40908456 w 78"/>
                  <a:gd name="T63" fmla="*/ 136093085 h 109"/>
                  <a:gd name="T64" fmla="*/ 46485652 w 78"/>
                  <a:gd name="T65" fmla="*/ 122651380 h 109"/>
                  <a:gd name="T66" fmla="*/ 52064200 w 78"/>
                  <a:gd name="T67" fmla="*/ 112570750 h 109"/>
                  <a:gd name="T68" fmla="*/ 52064200 w 78"/>
                  <a:gd name="T69" fmla="*/ 107531083 h 109"/>
                  <a:gd name="T70" fmla="*/ 46485652 w 78"/>
                  <a:gd name="T71" fmla="*/ 99129046 h 109"/>
                  <a:gd name="T72" fmla="*/ 37188515 w 78"/>
                  <a:gd name="T73" fmla="*/ 99129046 h 109"/>
                  <a:gd name="T74" fmla="*/ 40908456 w 78"/>
                  <a:gd name="T75" fmla="*/ 85688638 h 109"/>
                  <a:gd name="T76" fmla="*/ 31609967 w 78"/>
                  <a:gd name="T77" fmla="*/ 80647654 h 109"/>
                  <a:gd name="T78" fmla="*/ 20454228 w 78"/>
                  <a:gd name="T79" fmla="*/ 80647654 h 109"/>
                  <a:gd name="T80" fmla="*/ 20454228 w 78"/>
                  <a:gd name="T81" fmla="*/ 80647654 h 109"/>
                  <a:gd name="T82" fmla="*/ 0 w 78"/>
                  <a:gd name="T83" fmla="*/ 57125320 h 109"/>
                  <a:gd name="T84" fmla="*/ 5578550 w 78"/>
                  <a:gd name="T85" fmla="*/ 57125320 h 109"/>
                  <a:gd name="T86" fmla="*/ 11157099 w 78"/>
                  <a:gd name="T87" fmla="*/ 42003716 h 109"/>
                  <a:gd name="T88" fmla="*/ 26032782 w 78"/>
                  <a:gd name="T89" fmla="*/ 33602975 h 109"/>
                  <a:gd name="T90" fmla="*/ 26032782 w 78"/>
                  <a:gd name="T91" fmla="*/ 28563308 h 109"/>
                  <a:gd name="T92" fmla="*/ 20454228 w 78"/>
                  <a:gd name="T93" fmla="*/ 28563308 h 109"/>
                  <a:gd name="T94" fmla="*/ 14875680 w 78"/>
                  <a:gd name="T95" fmla="*/ 20162562 h 109"/>
                  <a:gd name="T96" fmla="*/ 14875680 w 78"/>
                  <a:gd name="T97" fmla="*/ 15121598 h 109"/>
                  <a:gd name="T98" fmla="*/ 26032782 w 78"/>
                  <a:gd name="T99" fmla="*/ 15121598 h 109"/>
                  <a:gd name="T100" fmla="*/ 37188515 w 78"/>
                  <a:gd name="T101" fmla="*/ 5040964 h 109"/>
                  <a:gd name="T102" fmla="*/ 40908456 w 78"/>
                  <a:gd name="T103" fmla="*/ 5040964 h 109"/>
                  <a:gd name="T104" fmla="*/ 46485652 w 78"/>
                  <a:gd name="T105" fmla="*/ 5040964 h 10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78"/>
                  <a:gd name="T160" fmla="*/ 0 h 109"/>
                  <a:gd name="T161" fmla="*/ 78 w 78"/>
                  <a:gd name="T162" fmla="*/ 109 h 10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78" h="109">
                    <a:moveTo>
                      <a:pt x="25" y="0"/>
                    </a:moveTo>
                    <a:lnTo>
                      <a:pt x="25" y="0"/>
                    </a:lnTo>
                    <a:lnTo>
                      <a:pt x="28" y="0"/>
                    </a:lnTo>
                    <a:lnTo>
                      <a:pt x="42" y="12"/>
                    </a:lnTo>
                    <a:lnTo>
                      <a:pt x="45" y="14"/>
                    </a:lnTo>
                    <a:lnTo>
                      <a:pt x="45" y="23"/>
                    </a:lnTo>
                    <a:lnTo>
                      <a:pt x="53" y="23"/>
                    </a:lnTo>
                    <a:lnTo>
                      <a:pt x="59" y="25"/>
                    </a:lnTo>
                    <a:lnTo>
                      <a:pt x="61" y="31"/>
                    </a:lnTo>
                    <a:lnTo>
                      <a:pt x="64" y="34"/>
                    </a:lnTo>
                    <a:lnTo>
                      <a:pt x="67" y="37"/>
                    </a:lnTo>
                    <a:lnTo>
                      <a:pt x="67" y="39"/>
                    </a:lnTo>
                    <a:lnTo>
                      <a:pt x="64" y="45"/>
                    </a:lnTo>
                    <a:lnTo>
                      <a:pt x="64" y="48"/>
                    </a:lnTo>
                    <a:lnTo>
                      <a:pt x="61" y="51"/>
                    </a:lnTo>
                    <a:lnTo>
                      <a:pt x="59" y="51"/>
                    </a:lnTo>
                    <a:lnTo>
                      <a:pt x="53" y="53"/>
                    </a:lnTo>
                    <a:lnTo>
                      <a:pt x="53" y="59"/>
                    </a:lnTo>
                    <a:lnTo>
                      <a:pt x="50" y="64"/>
                    </a:lnTo>
                    <a:lnTo>
                      <a:pt x="56" y="70"/>
                    </a:lnTo>
                    <a:lnTo>
                      <a:pt x="56" y="73"/>
                    </a:lnTo>
                    <a:lnTo>
                      <a:pt x="59" y="73"/>
                    </a:lnTo>
                    <a:lnTo>
                      <a:pt x="59" y="76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1"/>
                    </a:lnTo>
                    <a:lnTo>
                      <a:pt x="67" y="81"/>
                    </a:lnTo>
                    <a:lnTo>
                      <a:pt x="67" y="84"/>
                    </a:lnTo>
                    <a:lnTo>
                      <a:pt x="75" y="98"/>
                    </a:lnTo>
                    <a:lnTo>
                      <a:pt x="78" y="98"/>
                    </a:lnTo>
                    <a:lnTo>
                      <a:pt x="70" y="98"/>
                    </a:lnTo>
                    <a:lnTo>
                      <a:pt x="67" y="98"/>
                    </a:lnTo>
                    <a:lnTo>
                      <a:pt x="64" y="98"/>
                    </a:lnTo>
                    <a:lnTo>
                      <a:pt x="61" y="98"/>
                    </a:lnTo>
                    <a:lnTo>
                      <a:pt x="59" y="103"/>
                    </a:lnTo>
                    <a:lnTo>
                      <a:pt x="56" y="103"/>
                    </a:lnTo>
                    <a:lnTo>
                      <a:pt x="53" y="103"/>
                    </a:lnTo>
                    <a:lnTo>
                      <a:pt x="47" y="103"/>
                    </a:lnTo>
                    <a:lnTo>
                      <a:pt x="47" y="106"/>
                    </a:lnTo>
                    <a:lnTo>
                      <a:pt x="45" y="109"/>
                    </a:lnTo>
                    <a:lnTo>
                      <a:pt x="42" y="109"/>
                    </a:lnTo>
                    <a:lnTo>
                      <a:pt x="39" y="109"/>
                    </a:lnTo>
                    <a:lnTo>
                      <a:pt x="33" y="106"/>
                    </a:lnTo>
                    <a:lnTo>
                      <a:pt x="31" y="103"/>
                    </a:lnTo>
                    <a:lnTo>
                      <a:pt x="28" y="101"/>
                    </a:lnTo>
                    <a:lnTo>
                      <a:pt x="28" y="92"/>
                    </a:lnTo>
                    <a:lnTo>
                      <a:pt x="25" y="90"/>
                    </a:lnTo>
                    <a:lnTo>
                      <a:pt x="22" y="90"/>
                    </a:lnTo>
                    <a:lnTo>
                      <a:pt x="22" y="81"/>
                    </a:lnTo>
                    <a:lnTo>
                      <a:pt x="25" y="76"/>
                    </a:lnTo>
                    <a:lnTo>
                      <a:pt x="25" y="73"/>
                    </a:lnTo>
                    <a:lnTo>
                      <a:pt x="28" y="67"/>
                    </a:lnTo>
                    <a:lnTo>
                      <a:pt x="28" y="64"/>
                    </a:lnTo>
                    <a:lnTo>
                      <a:pt x="28" y="59"/>
                    </a:lnTo>
                    <a:lnTo>
                      <a:pt x="25" y="59"/>
                    </a:lnTo>
                    <a:lnTo>
                      <a:pt x="22" y="59"/>
                    </a:lnTo>
                    <a:lnTo>
                      <a:pt x="20" y="59"/>
                    </a:lnTo>
                    <a:lnTo>
                      <a:pt x="22" y="53"/>
                    </a:lnTo>
                    <a:lnTo>
                      <a:pt x="22" y="51"/>
                    </a:lnTo>
                    <a:lnTo>
                      <a:pt x="20" y="48"/>
                    </a:lnTo>
                    <a:lnTo>
                      <a:pt x="17" y="48"/>
                    </a:lnTo>
                    <a:lnTo>
                      <a:pt x="14" y="48"/>
                    </a:lnTo>
                    <a:lnTo>
                      <a:pt x="11" y="48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3" y="34"/>
                    </a:lnTo>
                    <a:lnTo>
                      <a:pt x="6" y="28"/>
                    </a:lnTo>
                    <a:lnTo>
                      <a:pt x="6" y="25"/>
                    </a:lnTo>
                    <a:lnTo>
                      <a:pt x="14" y="20"/>
                    </a:lnTo>
                    <a:lnTo>
                      <a:pt x="14" y="17"/>
                    </a:lnTo>
                    <a:lnTo>
                      <a:pt x="11" y="17"/>
                    </a:lnTo>
                    <a:lnTo>
                      <a:pt x="8" y="17"/>
                    </a:lnTo>
                    <a:lnTo>
                      <a:pt x="8" y="12"/>
                    </a:lnTo>
                    <a:lnTo>
                      <a:pt x="8" y="9"/>
                    </a:lnTo>
                    <a:lnTo>
                      <a:pt x="14" y="9"/>
                    </a:lnTo>
                    <a:lnTo>
                      <a:pt x="14" y="6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79" name="Freeform 575"/>
              <p:cNvSpPr>
                <a:spLocks noChangeAspect="1"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4179874" y="4069345"/>
                <a:ext cx="56182" cy="72530"/>
              </a:xfrm>
              <a:custGeom>
                <a:avLst/>
                <a:gdLst>
                  <a:gd name="T0" fmla="*/ 0 w 44"/>
                  <a:gd name="T1" fmla="*/ 85023266 h 56"/>
                  <a:gd name="T2" fmla="*/ 3564268 w 44"/>
                  <a:gd name="T3" fmla="*/ 81622388 h 56"/>
                  <a:gd name="T4" fmla="*/ 8910669 w 44"/>
                  <a:gd name="T5" fmla="*/ 52714928 h 56"/>
                  <a:gd name="T6" fmla="*/ 8910669 w 44"/>
                  <a:gd name="T7" fmla="*/ 47613611 h 56"/>
                  <a:gd name="T8" fmla="*/ 8910669 w 44"/>
                  <a:gd name="T9" fmla="*/ 47613611 h 56"/>
                  <a:gd name="T10" fmla="*/ 8910669 w 44"/>
                  <a:gd name="T11" fmla="*/ 47613611 h 56"/>
                  <a:gd name="T12" fmla="*/ 0 w 44"/>
                  <a:gd name="T13" fmla="*/ 34008787 h 56"/>
                  <a:gd name="T14" fmla="*/ 0 w 44"/>
                  <a:gd name="T15" fmla="*/ 15303954 h 56"/>
                  <a:gd name="T16" fmla="*/ 3564268 w 44"/>
                  <a:gd name="T17" fmla="*/ 10202635 h 56"/>
                  <a:gd name="T18" fmla="*/ 8910669 w 44"/>
                  <a:gd name="T19" fmla="*/ 5101318 h 56"/>
                  <a:gd name="T20" fmla="*/ 8910669 w 44"/>
                  <a:gd name="T21" fmla="*/ 5101318 h 56"/>
                  <a:gd name="T22" fmla="*/ 8910669 w 44"/>
                  <a:gd name="T23" fmla="*/ 0 h 56"/>
                  <a:gd name="T24" fmla="*/ 14255737 w 44"/>
                  <a:gd name="T25" fmla="*/ 0 h 56"/>
                  <a:gd name="T26" fmla="*/ 14255737 w 44"/>
                  <a:gd name="T27" fmla="*/ 0 h 56"/>
                  <a:gd name="T28" fmla="*/ 19602137 w 44"/>
                  <a:gd name="T29" fmla="*/ 0 h 56"/>
                  <a:gd name="T30" fmla="*/ 39205609 w 44"/>
                  <a:gd name="T31" fmla="*/ 10202635 h 56"/>
                  <a:gd name="T32" fmla="*/ 44550685 w 44"/>
                  <a:gd name="T33" fmla="*/ 10202635 h 56"/>
                  <a:gd name="T34" fmla="*/ 78409884 w 44"/>
                  <a:gd name="T35" fmla="*/ 34008787 h 56"/>
                  <a:gd name="T36" fmla="*/ 78409884 w 44"/>
                  <a:gd name="T37" fmla="*/ 37409664 h 56"/>
                  <a:gd name="T38" fmla="*/ 78409884 w 44"/>
                  <a:gd name="T39" fmla="*/ 37409664 h 56"/>
                  <a:gd name="T40" fmla="*/ 58807752 w 44"/>
                  <a:gd name="T41" fmla="*/ 66318438 h 56"/>
                  <a:gd name="T42" fmla="*/ 53461352 w 44"/>
                  <a:gd name="T43" fmla="*/ 81622388 h 56"/>
                  <a:gd name="T44" fmla="*/ 39205609 w 44"/>
                  <a:gd name="T45" fmla="*/ 90124602 h 56"/>
                  <a:gd name="T46" fmla="*/ 33859209 w 44"/>
                  <a:gd name="T47" fmla="*/ 95225919 h 56"/>
                  <a:gd name="T48" fmla="*/ 28512809 w 44"/>
                  <a:gd name="T49" fmla="*/ 95225919 h 56"/>
                  <a:gd name="T50" fmla="*/ 28512809 w 44"/>
                  <a:gd name="T51" fmla="*/ 90124602 h 56"/>
                  <a:gd name="T52" fmla="*/ 19602137 w 44"/>
                  <a:gd name="T53" fmla="*/ 90124602 h 56"/>
                  <a:gd name="T54" fmla="*/ 14255737 w 44"/>
                  <a:gd name="T55" fmla="*/ 95225919 h 56"/>
                  <a:gd name="T56" fmla="*/ 8910669 w 44"/>
                  <a:gd name="T57" fmla="*/ 95225919 h 56"/>
                  <a:gd name="T58" fmla="*/ 3564268 w 44"/>
                  <a:gd name="T59" fmla="*/ 90124602 h 56"/>
                  <a:gd name="T60" fmla="*/ 0 w 44"/>
                  <a:gd name="T61" fmla="*/ 85023266 h 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4"/>
                  <a:gd name="T94" fmla="*/ 0 h 56"/>
                  <a:gd name="T95" fmla="*/ 44 w 44"/>
                  <a:gd name="T96" fmla="*/ 56 h 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4" h="56">
                    <a:moveTo>
                      <a:pt x="0" y="50"/>
                    </a:moveTo>
                    <a:lnTo>
                      <a:pt x="2" y="48"/>
                    </a:lnTo>
                    <a:lnTo>
                      <a:pt x="5" y="31"/>
                    </a:lnTo>
                    <a:lnTo>
                      <a:pt x="5" y="28"/>
                    </a:lnTo>
                    <a:lnTo>
                      <a:pt x="0" y="20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44" y="20"/>
                    </a:lnTo>
                    <a:lnTo>
                      <a:pt x="44" y="22"/>
                    </a:lnTo>
                    <a:lnTo>
                      <a:pt x="33" y="39"/>
                    </a:lnTo>
                    <a:lnTo>
                      <a:pt x="30" y="48"/>
                    </a:lnTo>
                    <a:lnTo>
                      <a:pt x="22" y="53"/>
                    </a:lnTo>
                    <a:lnTo>
                      <a:pt x="19" y="56"/>
                    </a:lnTo>
                    <a:lnTo>
                      <a:pt x="16" y="56"/>
                    </a:lnTo>
                    <a:lnTo>
                      <a:pt x="16" y="53"/>
                    </a:lnTo>
                    <a:lnTo>
                      <a:pt x="11" y="53"/>
                    </a:lnTo>
                    <a:lnTo>
                      <a:pt x="8" y="56"/>
                    </a:lnTo>
                    <a:lnTo>
                      <a:pt x="5" y="56"/>
                    </a:lnTo>
                    <a:lnTo>
                      <a:pt x="2" y="53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0" name="Freeform 591"/>
              <p:cNvSpPr>
                <a:spLocks noChangeAspect="1"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4441631" y="5437704"/>
                <a:ext cx="47072" cy="33112"/>
              </a:xfrm>
              <a:custGeom>
                <a:avLst/>
                <a:gdLst>
                  <a:gd name="T0" fmla="*/ 0 w 36"/>
                  <a:gd name="T1" fmla="*/ 0 h 25"/>
                  <a:gd name="T2" fmla="*/ 0 w 36"/>
                  <a:gd name="T3" fmla="*/ 0 h 25"/>
                  <a:gd name="T4" fmla="*/ 11212362 w 36"/>
                  <a:gd name="T5" fmla="*/ 0 h 25"/>
                  <a:gd name="T6" fmla="*/ 11212362 w 36"/>
                  <a:gd name="T7" fmla="*/ 0 h 25"/>
                  <a:gd name="T8" fmla="*/ 14949815 w 36"/>
                  <a:gd name="T9" fmla="*/ 0 h 25"/>
                  <a:gd name="T10" fmla="*/ 20555993 w 36"/>
                  <a:gd name="T11" fmla="*/ 0 h 25"/>
                  <a:gd name="T12" fmla="*/ 20555993 w 36"/>
                  <a:gd name="T13" fmla="*/ 0 h 25"/>
                  <a:gd name="T14" fmla="*/ 26162177 w 36"/>
                  <a:gd name="T15" fmla="*/ 5335413 h 25"/>
                  <a:gd name="T16" fmla="*/ 26162177 w 36"/>
                  <a:gd name="T17" fmla="*/ 5335413 h 25"/>
                  <a:gd name="T18" fmla="*/ 31768356 w 36"/>
                  <a:gd name="T19" fmla="*/ 5335413 h 25"/>
                  <a:gd name="T20" fmla="*/ 41113354 w 36"/>
                  <a:gd name="T21" fmla="*/ 10669493 h 25"/>
                  <a:gd name="T22" fmla="*/ 41113354 w 36"/>
                  <a:gd name="T23" fmla="*/ 10669493 h 25"/>
                  <a:gd name="T24" fmla="*/ 46719543 w 36"/>
                  <a:gd name="T25" fmla="*/ 10669493 h 25"/>
                  <a:gd name="T26" fmla="*/ 46719543 w 36"/>
                  <a:gd name="T27" fmla="*/ 14225992 h 25"/>
                  <a:gd name="T28" fmla="*/ 52325721 w 36"/>
                  <a:gd name="T29" fmla="*/ 14225992 h 25"/>
                  <a:gd name="T30" fmla="*/ 52325721 w 36"/>
                  <a:gd name="T31" fmla="*/ 14225992 h 25"/>
                  <a:gd name="T32" fmla="*/ 52325721 w 36"/>
                  <a:gd name="T33" fmla="*/ 14225992 h 25"/>
                  <a:gd name="T34" fmla="*/ 57931900 w 36"/>
                  <a:gd name="T35" fmla="*/ 24895488 h 25"/>
                  <a:gd name="T36" fmla="*/ 57931900 w 36"/>
                  <a:gd name="T37" fmla="*/ 24895488 h 25"/>
                  <a:gd name="T38" fmla="*/ 61669352 w 36"/>
                  <a:gd name="T39" fmla="*/ 24895488 h 25"/>
                  <a:gd name="T40" fmla="*/ 61669352 w 36"/>
                  <a:gd name="T41" fmla="*/ 30230900 h 25"/>
                  <a:gd name="T42" fmla="*/ 61669352 w 36"/>
                  <a:gd name="T43" fmla="*/ 30230900 h 25"/>
                  <a:gd name="T44" fmla="*/ 61669352 w 36"/>
                  <a:gd name="T45" fmla="*/ 30230900 h 25"/>
                  <a:gd name="T46" fmla="*/ 67275531 w 36"/>
                  <a:gd name="T47" fmla="*/ 35564978 h 25"/>
                  <a:gd name="T48" fmla="*/ 67275531 w 36"/>
                  <a:gd name="T49" fmla="*/ 35564978 h 25"/>
                  <a:gd name="T50" fmla="*/ 61669352 w 36"/>
                  <a:gd name="T51" fmla="*/ 35564978 h 25"/>
                  <a:gd name="T52" fmla="*/ 61669352 w 36"/>
                  <a:gd name="T53" fmla="*/ 39121475 h 25"/>
                  <a:gd name="T54" fmla="*/ 61669352 w 36"/>
                  <a:gd name="T55" fmla="*/ 39121475 h 25"/>
                  <a:gd name="T56" fmla="*/ 61669352 w 36"/>
                  <a:gd name="T57" fmla="*/ 44456897 h 25"/>
                  <a:gd name="T58" fmla="*/ 57931900 w 36"/>
                  <a:gd name="T59" fmla="*/ 39121475 h 25"/>
                  <a:gd name="T60" fmla="*/ 52325721 w 36"/>
                  <a:gd name="T61" fmla="*/ 35564978 h 25"/>
                  <a:gd name="T62" fmla="*/ 52325721 w 36"/>
                  <a:gd name="T63" fmla="*/ 30230900 h 25"/>
                  <a:gd name="T64" fmla="*/ 46719543 w 36"/>
                  <a:gd name="T65" fmla="*/ 30230900 h 25"/>
                  <a:gd name="T66" fmla="*/ 46719543 w 36"/>
                  <a:gd name="T67" fmla="*/ 24895488 h 25"/>
                  <a:gd name="T68" fmla="*/ 46719543 w 36"/>
                  <a:gd name="T69" fmla="*/ 24895488 h 25"/>
                  <a:gd name="T70" fmla="*/ 41113354 w 36"/>
                  <a:gd name="T71" fmla="*/ 24895488 h 25"/>
                  <a:gd name="T72" fmla="*/ 41113354 w 36"/>
                  <a:gd name="T73" fmla="*/ 19561404 h 25"/>
                  <a:gd name="T74" fmla="*/ 26162177 w 36"/>
                  <a:gd name="T75" fmla="*/ 14225992 h 25"/>
                  <a:gd name="T76" fmla="*/ 20555993 w 36"/>
                  <a:gd name="T77" fmla="*/ 14225992 h 25"/>
                  <a:gd name="T78" fmla="*/ 20555993 w 36"/>
                  <a:gd name="T79" fmla="*/ 10669493 h 25"/>
                  <a:gd name="T80" fmla="*/ 20555993 w 36"/>
                  <a:gd name="T81" fmla="*/ 10669493 h 25"/>
                  <a:gd name="T82" fmla="*/ 20555993 w 36"/>
                  <a:gd name="T83" fmla="*/ 5335413 h 25"/>
                  <a:gd name="T84" fmla="*/ 14949815 w 36"/>
                  <a:gd name="T85" fmla="*/ 10669493 h 25"/>
                  <a:gd name="T86" fmla="*/ 11212362 w 36"/>
                  <a:gd name="T87" fmla="*/ 10669493 h 25"/>
                  <a:gd name="T88" fmla="*/ 11212362 w 36"/>
                  <a:gd name="T89" fmla="*/ 5335413 h 25"/>
                  <a:gd name="T90" fmla="*/ 11212362 w 36"/>
                  <a:gd name="T91" fmla="*/ 5335413 h 25"/>
                  <a:gd name="T92" fmla="*/ 5606181 w 36"/>
                  <a:gd name="T93" fmla="*/ 0 h 25"/>
                  <a:gd name="T94" fmla="*/ 0 w 36"/>
                  <a:gd name="T95" fmla="*/ 5335413 h 25"/>
                  <a:gd name="T96" fmla="*/ 0 w 36"/>
                  <a:gd name="T97" fmla="*/ 0 h 2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6"/>
                  <a:gd name="T148" fmla="*/ 0 h 25"/>
                  <a:gd name="T149" fmla="*/ 36 w 36"/>
                  <a:gd name="T150" fmla="*/ 25 h 2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6" h="25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8" y="8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3" y="17"/>
                    </a:lnTo>
                    <a:lnTo>
                      <a:pt x="36" y="20"/>
                    </a:lnTo>
                    <a:lnTo>
                      <a:pt x="33" y="20"/>
                    </a:lnTo>
                    <a:lnTo>
                      <a:pt x="33" y="22"/>
                    </a:lnTo>
                    <a:lnTo>
                      <a:pt x="33" y="25"/>
                    </a:lnTo>
                    <a:lnTo>
                      <a:pt x="31" y="22"/>
                    </a:lnTo>
                    <a:lnTo>
                      <a:pt x="28" y="20"/>
                    </a:lnTo>
                    <a:lnTo>
                      <a:pt x="28" y="17"/>
                    </a:lnTo>
                    <a:lnTo>
                      <a:pt x="25" y="17"/>
                    </a:lnTo>
                    <a:lnTo>
                      <a:pt x="25" y="14"/>
                    </a:lnTo>
                    <a:lnTo>
                      <a:pt x="22" y="14"/>
                    </a:lnTo>
                    <a:lnTo>
                      <a:pt x="22" y="11"/>
                    </a:lnTo>
                    <a:lnTo>
                      <a:pt x="14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1" name="Freeform 603"/>
              <p:cNvSpPr>
                <a:spLocks noChangeAspect="1"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3858545" y="3146700"/>
                <a:ext cx="455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4838699 h 5"/>
                  <a:gd name="T4" fmla="*/ 0 w 3"/>
                  <a:gd name="T5" fmla="*/ 8064499 h 5"/>
                  <a:gd name="T6" fmla="*/ 0 w 3"/>
                  <a:gd name="T7" fmla="*/ 4838699 h 5"/>
                  <a:gd name="T8" fmla="*/ 7562057 w 3"/>
                  <a:gd name="T9" fmla="*/ 4838699 h 5"/>
                  <a:gd name="T10" fmla="*/ 7562057 w 3"/>
                  <a:gd name="T11" fmla="*/ 0 h 5"/>
                  <a:gd name="T12" fmla="*/ 0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2" name="Freeform 604"/>
              <p:cNvSpPr>
                <a:spLocks noChangeAspect="1"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3858545" y="3146700"/>
                <a:ext cx="455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4838699 h 5"/>
                  <a:gd name="T4" fmla="*/ 0 w 3"/>
                  <a:gd name="T5" fmla="*/ 8064499 h 5"/>
                  <a:gd name="T6" fmla="*/ 0 w 3"/>
                  <a:gd name="T7" fmla="*/ 4838699 h 5"/>
                  <a:gd name="T8" fmla="*/ 7562057 w 3"/>
                  <a:gd name="T9" fmla="*/ 4838699 h 5"/>
                  <a:gd name="T10" fmla="*/ 7562057 w 3"/>
                  <a:gd name="T11" fmla="*/ 0 h 5"/>
                  <a:gd name="T12" fmla="*/ 0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3" name="Freeform 610"/>
              <p:cNvSpPr>
                <a:spLocks noChangeAspect="1"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3894989" y="3777396"/>
                <a:ext cx="3037" cy="1577"/>
              </a:xfrm>
              <a:custGeom>
                <a:avLst/>
                <a:gdLst>
                  <a:gd name="T0" fmla="*/ 5040312 w 2"/>
                  <a:gd name="T1" fmla="*/ 0 h 1587"/>
                  <a:gd name="T2" fmla="*/ 0 w 2"/>
                  <a:gd name="T3" fmla="*/ 0 h 1587"/>
                  <a:gd name="T4" fmla="*/ 5040312 w 2"/>
                  <a:gd name="T5" fmla="*/ 0 h 1587"/>
                  <a:gd name="T6" fmla="*/ 5040312 w 2"/>
                  <a:gd name="T7" fmla="*/ 0 h 1587"/>
                  <a:gd name="T8" fmla="*/ 5040312 w 2"/>
                  <a:gd name="T9" fmla="*/ 0 h 15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587"/>
                  <a:gd name="T17" fmla="*/ 2 w 2"/>
                  <a:gd name="T18" fmla="*/ 1587 h 158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587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4" name="Freeform 611"/>
              <p:cNvSpPr>
                <a:spLocks noChangeAspect="1"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3894989" y="3777396"/>
                <a:ext cx="3037" cy="1577"/>
              </a:xfrm>
              <a:custGeom>
                <a:avLst/>
                <a:gdLst>
                  <a:gd name="T0" fmla="*/ 5040312 w 2"/>
                  <a:gd name="T1" fmla="*/ 0 h 1587"/>
                  <a:gd name="T2" fmla="*/ 0 w 2"/>
                  <a:gd name="T3" fmla="*/ 0 h 1587"/>
                  <a:gd name="T4" fmla="*/ 5040312 w 2"/>
                  <a:gd name="T5" fmla="*/ 0 h 1587"/>
                  <a:gd name="T6" fmla="*/ 5040312 w 2"/>
                  <a:gd name="T7" fmla="*/ 0 h 1587"/>
                  <a:gd name="T8" fmla="*/ 5040312 w 2"/>
                  <a:gd name="T9" fmla="*/ 0 h 15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587"/>
                  <a:gd name="T17" fmla="*/ 2 w 2"/>
                  <a:gd name="T18" fmla="*/ 1587 h 158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587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5" name="Freeform 612"/>
              <p:cNvSpPr>
                <a:spLocks noChangeAspect="1"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3898024" y="3788432"/>
                <a:ext cx="455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360208 h 3"/>
                  <a:gd name="T4" fmla="*/ 0 w 3"/>
                  <a:gd name="T5" fmla="*/ 3360208 h 3"/>
                  <a:gd name="T6" fmla="*/ 7562057 w 3"/>
                  <a:gd name="T7" fmla="*/ 0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6" name="Freeform 613"/>
              <p:cNvSpPr>
                <a:spLocks noChangeAspect="1"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3898024" y="3788432"/>
                <a:ext cx="4557" cy="3154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360208 h 3"/>
                  <a:gd name="T4" fmla="*/ 0 w 3"/>
                  <a:gd name="T5" fmla="*/ 3360208 h 3"/>
                  <a:gd name="T6" fmla="*/ 7562057 w 3"/>
                  <a:gd name="T7" fmla="*/ 0 h 3"/>
                  <a:gd name="T8" fmla="*/ 0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7" name="Freeform 614"/>
              <p:cNvSpPr>
                <a:spLocks noChangeAspect="1"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3969393" y="3834158"/>
                <a:ext cx="4555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5250325 h 6"/>
                  <a:gd name="T6" fmla="*/ 0 w 3"/>
                  <a:gd name="T7" fmla="*/ 10499327 h 6"/>
                  <a:gd name="T8" fmla="*/ 7558882 w 3"/>
                  <a:gd name="T9" fmla="*/ 10499327 h 6"/>
                  <a:gd name="T10" fmla="*/ 7558882 w 3"/>
                  <a:gd name="T11" fmla="*/ 10499327 h 6"/>
                  <a:gd name="T12" fmla="*/ 7558882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8" name="Freeform 615"/>
              <p:cNvSpPr>
                <a:spLocks noChangeAspect="1"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3969393" y="3834158"/>
                <a:ext cx="4555" cy="7884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0 w 3"/>
                  <a:gd name="T5" fmla="*/ 5250325 h 6"/>
                  <a:gd name="T6" fmla="*/ 0 w 3"/>
                  <a:gd name="T7" fmla="*/ 10499327 h 6"/>
                  <a:gd name="T8" fmla="*/ 7558882 w 3"/>
                  <a:gd name="T9" fmla="*/ 10499327 h 6"/>
                  <a:gd name="T10" fmla="*/ 7558882 w 3"/>
                  <a:gd name="T11" fmla="*/ 10499327 h 6"/>
                  <a:gd name="T12" fmla="*/ 7558882 w 3"/>
                  <a:gd name="T13" fmla="*/ 0 h 6"/>
                  <a:gd name="T14" fmla="*/ 0 w 3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6"/>
                  <a:gd name="T26" fmla="*/ 3 w 3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89" name="Freeform 616"/>
              <p:cNvSpPr>
                <a:spLocks noChangeAspect="1"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3963318" y="3906688"/>
                <a:ext cx="3037" cy="3154"/>
              </a:xfrm>
              <a:custGeom>
                <a:avLst/>
                <a:gdLst>
                  <a:gd name="T0" fmla="*/ 3360208 w 3"/>
                  <a:gd name="T1" fmla="*/ 0 h 3"/>
                  <a:gd name="T2" fmla="*/ 0 w 3"/>
                  <a:gd name="T3" fmla="*/ 0 h 3"/>
                  <a:gd name="T4" fmla="*/ 0 w 3"/>
                  <a:gd name="T5" fmla="*/ 3360208 h 3"/>
                  <a:gd name="T6" fmla="*/ 3360208 w 3"/>
                  <a:gd name="T7" fmla="*/ 0 h 3"/>
                  <a:gd name="T8" fmla="*/ 3360208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0" name="Freeform 617"/>
              <p:cNvSpPr>
                <a:spLocks noChangeAspect="1"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3963318" y="3906688"/>
                <a:ext cx="3037" cy="3154"/>
              </a:xfrm>
              <a:custGeom>
                <a:avLst/>
                <a:gdLst>
                  <a:gd name="T0" fmla="*/ 3360208 w 3"/>
                  <a:gd name="T1" fmla="*/ 0 h 3"/>
                  <a:gd name="T2" fmla="*/ 0 w 3"/>
                  <a:gd name="T3" fmla="*/ 0 h 3"/>
                  <a:gd name="T4" fmla="*/ 0 w 3"/>
                  <a:gd name="T5" fmla="*/ 3360208 h 3"/>
                  <a:gd name="T6" fmla="*/ 3360208 w 3"/>
                  <a:gd name="T7" fmla="*/ 0 h 3"/>
                  <a:gd name="T8" fmla="*/ 3360208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1" name="Freeform 634"/>
              <p:cNvSpPr>
                <a:spLocks noChangeAspect="1"/>
              </p:cNvSpPr>
              <p:nvPr>
                <p:custDataLst>
                  <p:tags r:id="rId179"/>
                </p:custDataLst>
              </p:nvPr>
            </p:nvSpPr>
            <p:spPr bwMode="gray">
              <a:xfrm>
                <a:off x="3814509" y="3900381"/>
                <a:ext cx="3037" cy="6307"/>
              </a:xfrm>
              <a:custGeom>
                <a:avLst/>
                <a:gdLst>
                  <a:gd name="T0" fmla="*/ 0 w 3"/>
                  <a:gd name="T1" fmla="*/ 3225800 h 5"/>
                  <a:gd name="T2" fmla="*/ 0 w 3"/>
                  <a:gd name="T3" fmla="*/ 0 h 5"/>
                  <a:gd name="T4" fmla="*/ 0 w 3"/>
                  <a:gd name="T5" fmla="*/ 3225800 h 5"/>
                  <a:gd name="T6" fmla="*/ 0 w 3"/>
                  <a:gd name="T7" fmla="*/ 8064499 h 5"/>
                  <a:gd name="T8" fmla="*/ 3360208 w 3"/>
                  <a:gd name="T9" fmla="*/ 8064499 h 5"/>
                  <a:gd name="T10" fmla="*/ 3360208 w 3"/>
                  <a:gd name="T11" fmla="*/ 8064499 h 5"/>
                  <a:gd name="T12" fmla="*/ 3360208 w 3"/>
                  <a:gd name="T13" fmla="*/ 8064499 h 5"/>
                  <a:gd name="T14" fmla="*/ 0 w 3"/>
                  <a:gd name="T15" fmla="*/ 322580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2" name="Freeform 635"/>
              <p:cNvSpPr>
                <a:spLocks noChangeAspect="1"/>
              </p:cNvSpPr>
              <p:nvPr>
                <p:custDataLst>
                  <p:tags r:id="rId180"/>
                </p:custDataLst>
              </p:nvPr>
            </p:nvSpPr>
            <p:spPr bwMode="gray">
              <a:xfrm>
                <a:off x="3814509" y="3900381"/>
                <a:ext cx="3037" cy="6307"/>
              </a:xfrm>
              <a:custGeom>
                <a:avLst/>
                <a:gdLst>
                  <a:gd name="T0" fmla="*/ 0 w 3"/>
                  <a:gd name="T1" fmla="*/ 3225800 h 5"/>
                  <a:gd name="T2" fmla="*/ 0 w 3"/>
                  <a:gd name="T3" fmla="*/ 0 h 5"/>
                  <a:gd name="T4" fmla="*/ 0 w 3"/>
                  <a:gd name="T5" fmla="*/ 3225800 h 5"/>
                  <a:gd name="T6" fmla="*/ 0 w 3"/>
                  <a:gd name="T7" fmla="*/ 8064499 h 5"/>
                  <a:gd name="T8" fmla="*/ 3360208 w 3"/>
                  <a:gd name="T9" fmla="*/ 8064499 h 5"/>
                  <a:gd name="T10" fmla="*/ 3360208 w 3"/>
                  <a:gd name="T11" fmla="*/ 8064499 h 5"/>
                  <a:gd name="T12" fmla="*/ 3360208 w 3"/>
                  <a:gd name="T13" fmla="*/ 8064499 h 5"/>
                  <a:gd name="T14" fmla="*/ 0 w 3"/>
                  <a:gd name="T15" fmla="*/ 322580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5"/>
                  <a:gd name="T26" fmla="*/ 3 w 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5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3" name="Freeform 636"/>
              <p:cNvSpPr>
                <a:spLocks noChangeAspect="1"/>
              </p:cNvSpPr>
              <p:nvPr>
                <p:custDataLst>
                  <p:tags r:id="rId181"/>
                </p:custDataLst>
              </p:nvPr>
            </p:nvSpPr>
            <p:spPr bwMode="gray">
              <a:xfrm>
                <a:off x="3826657" y="3901959"/>
                <a:ext cx="6074" cy="4731"/>
              </a:xfrm>
              <a:custGeom>
                <a:avLst/>
                <a:gdLst>
                  <a:gd name="T0" fmla="*/ 3225800 w 5"/>
                  <a:gd name="T1" fmla="*/ 0 h 3"/>
                  <a:gd name="T2" fmla="*/ 0 w 5"/>
                  <a:gd name="T3" fmla="*/ 0 h 3"/>
                  <a:gd name="T4" fmla="*/ 3225800 w 5"/>
                  <a:gd name="T5" fmla="*/ 0 h 3"/>
                  <a:gd name="T6" fmla="*/ 3225800 w 5"/>
                  <a:gd name="T7" fmla="*/ 7562057 h 3"/>
                  <a:gd name="T8" fmla="*/ 3225800 w 5"/>
                  <a:gd name="T9" fmla="*/ 7562057 h 3"/>
                  <a:gd name="T10" fmla="*/ 3225800 w 5"/>
                  <a:gd name="T11" fmla="*/ 7562057 h 3"/>
                  <a:gd name="T12" fmla="*/ 8064499 w 5"/>
                  <a:gd name="T13" fmla="*/ 0 h 3"/>
                  <a:gd name="T14" fmla="*/ 3225800 w 5"/>
                  <a:gd name="T15" fmla="*/ 0 h 3"/>
                  <a:gd name="T16" fmla="*/ 322580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4" name="Freeform 637"/>
              <p:cNvSpPr>
                <a:spLocks noChangeAspect="1"/>
              </p:cNvSpPr>
              <p:nvPr>
                <p:custDataLst>
                  <p:tags r:id="rId182"/>
                </p:custDataLst>
              </p:nvPr>
            </p:nvSpPr>
            <p:spPr bwMode="gray">
              <a:xfrm>
                <a:off x="3826657" y="3901959"/>
                <a:ext cx="6074" cy="4731"/>
              </a:xfrm>
              <a:custGeom>
                <a:avLst/>
                <a:gdLst>
                  <a:gd name="T0" fmla="*/ 3225800 w 5"/>
                  <a:gd name="T1" fmla="*/ 0 h 3"/>
                  <a:gd name="T2" fmla="*/ 0 w 5"/>
                  <a:gd name="T3" fmla="*/ 0 h 3"/>
                  <a:gd name="T4" fmla="*/ 3225800 w 5"/>
                  <a:gd name="T5" fmla="*/ 0 h 3"/>
                  <a:gd name="T6" fmla="*/ 3225800 w 5"/>
                  <a:gd name="T7" fmla="*/ 7562057 h 3"/>
                  <a:gd name="T8" fmla="*/ 3225800 w 5"/>
                  <a:gd name="T9" fmla="*/ 7562057 h 3"/>
                  <a:gd name="T10" fmla="*/ 3225800 w 5"/>
                  <a:gd name="T11" fmla="*/ 7562057 h 3"/>
                  <a:gd name="T12" fmla="*/ 8064499 w 5"/>
                  <a:gd name="T13" fmla="*/ 0 h 3"/>
                  <a:gd name="T14" fmla="*/ 3225800 w 5"/>
                  <a:gd name="T15" fmla="*/ 0 h 3"/>
                  <a:gd name="T16" fmla="*/ 3225800 w 5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5" name="Freeform 638"/>
              <p:cNvSpPr>
                <a:spLocks noChangeAspect="1"/>
              </p:cNvSpPr>
              <p:nvPr>
                <p:custDataLst>
                  <p:tags r:id="rId183"/>
                </p:custDataLst>
              </p:nvPr>
            </p:nvSpPr>
            <p:spPr bwMode="gray">
              <a:xfrm>
                <a:off x="3980021" y="3919301"/>
                <a:ext cx="9110" cy="9460"/>
              </a:xfrm>
              <a:custGeom>
                <a:avLst/>
                <a:gdLst>
                  <a:gd name="T0" fmla="*/ 15120939 w 6"/>
                  <a:gd name="T1" fmla="*/ 0 h 6"/>
                  <a:gd name="T2" fmla="*/ 7561263 w 6"/>
                  <a:gd name="T3" fmla="*/ 7561263 h 6"/>
                  <a:gd name="T4" fmla="*/ 0 w 6"/>
                  <a:gd name="T5" fmla="*/ 7561263 h 6"/>
                  <a:gd name="T6" fmla="*/ 0 w 6"/>
                  <a:gd name="T7" fmla="*/ 15120939 h 6"/>
                  <a:gd name="T8" fmla="*/ 7561263 w 6"/>
                  <a:gd name="T9" fmla="*/ 7561263 h 6"/>
                  <a:gd name="T10" fmla="*/ 15120939 w 6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6"/>
                  <a:gd name="T20" fmla="*/ 6 w 6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6">
                    <a:moveTo>
                      <a:pt x="6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6" name="Freeform 639"/>
              <p:cNvSpPr>
                <a:spLocks noChangeAspect="1"/>
              </p:cNvSpPr>
              <p:nvPr>
                <p:custDataLst>
                  <p:tags r:id="rId184"/>
                </p:custDataLst>
              </p:nvPr>
            </p:nvSpPr>
            <p:spPr bwMode="gray">
              <a:xfrm>
                <a:off x="3980021" y="3919301"/>
                <a:ext cx="9110" cy="9460"/>
              </a:xfrm>
              <a:custGeom>
                <a:avLst/>
                <a:gdLst>
                  <a:gd name="T0" fmla="*/ 15120939 w 6"/>
                  <a:gd name="T1" fmla="*/ 0 h 6"/>
                  <a:gd name="T2" fmla="*/ 7561263 w 6"/>
                  <a:gd name="T3" fmla="*/ 7561263 h 6"/>
                  <a:gd name="T4" fmla="*/ 0 w 6"/>
                  <a:gd name="T5" fmla="*/ 7561263 h 6"/>
                  <a:gd name="T6" fmla="*/ 0 w 6"/>
                  <a:gd name="T7" fmla="*/ 15120939 h 6"/>
                  <a:gd name="T8" fmla="*/ 7561263 w 6"/>
                  <a:gd name="T9" fmla="*/ 7561263 h 6"/>
                  <a:gd name="T10" fmla="*/ 15120939 w 6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6"/>
                  <a:gd name="T20" fmla="*/ 6 w 6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6">
                    <a:moveTo>
                      <a:pt x="6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7" name="Freeform 640"/>
              <p:cNvSpPr>
                <a:spLocks noChangeAspect="1"/>
              </p:cNvSpPr>
              <p:nvPr>
                <p:custDataLst>
                  <p:tags r:id="rId185"/>
                </p:custDataLst>
              </p:nvPr>
            </p:nvSpPr>
            <p:spPr bwMode="gray">
              <a:xfrm>
                <a:off x="3960281" y="3931917"/>
                <a:ext cx="19739" cy="18921"/>
              </a:xfrm>
              <a:custGeom>
                <a:avLst/>
                <a:gdLst>
                  <a:gd name="T0" fmla="*/ 30420415 w 14"/>
                  <a:gd name="T1" fmla="*/ 3702504 h 14"/>
                  <a:gd name="T2" fmla="*/ 30420415 w 14"/>
                  <a:gd name="T3" fmla="*/ 3702504 h 14"/>
                  <a:gd name="T4" fmla="*/ 30420415 w 14"/>
                  <a:gd name="T5" fmla="*/ 9258300 h 14"/>
                  <a:gd name="T6" fmla="*/ 30420415 w 14"/>
                  <a:gd name="T7" fmla="*/ 14812737 h 14"/>
                  <a:gd name="T8" fmla="*/ 30420415 w 14"/>
                  <a:gd name="T9" fmla="*/ 14812737 h 14"/>
                  <a:gd name="T10" fmla="*/ 30420415 w 14"/>
                  <a:gd name="T11" fmla="*/ 20367171 h 14"/>
                  <a:gd name="T12" fmla="*/ 23902067 w 14"/>
                  <a:gd name="T13" fmla="*/ 25921611 h 14"/>
                  <a:gd name="T14" fmla="*/ 0 w 14"/>
                  <a:gd name="T15" fmla="*/ 25921611 h 14"/>
                  <a:gd name="T16" fmla="*/ 0 w 14"/>
                  <a:gd name="T17" fmla="*/ 25921611 h 14"/>
                  <a:gd name="T18" fmla="*/ 10863906 w 14"/>
                  <a:gd name="T19" fmla="*/ 20367171 h 14"/>
                  <a:gd name="T20" fmla="*/ 10863906 w 14"/>
                  <a:gd name="T21" fmla="*/ 14812737 h 14"/>
                  <a:gd name="T22" fmla="*/ 10863906 w 14"/>
                  <a:gd name="T23" fmla="*/ 9258300 h 14"/>
                  <a:gd name="T24" fmla="*/ 10863906 w 14"/>
                  <a:gd name="T25" fmla="*/ 9258300 h 14"/>
                  <a:gd name="T26" fmla="*/ 10863906 w 14"/>
                  <a:gd name="T27" fmla="*/ 9258300 h 14"/>
                  <a:gd name="T28" fmla="*/ 4345563 w 14"/>
                  <a:gd name="T29" fmla="*/ 3702504 h 14"/>
                  <a:gd name="T30" fmla="*/ 4345563 w 14"/>
                  <a:gd name="T31" fmla="*/ 3702504 h 14"/>
                  <a:gd name="T32" fmla="*/ 10863906 w 14"/>
                  <a:gd name="T33" fmla="*/ 3702504 h 14"/>
                  <a:gd name="T34" fmla="*/ 10863906 w 14"/>
                  <a:gd name="T35" fmla="*/ 3702504 h 14"/>
                  <a:gd name="T36" fmla="*/ 30420415 w 14"/>
                  <a:gd name="T37" fmla="*/ 0 h 14"/>
                  <a:gd name="T38" fmla="*/ 30420415 w 14"/>
                  <a:gd name="T39" fmla="*/ 3702504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"/>
                  <a:gd name="T61" fmla="*/ 0 h 14"/>
                  <a:gd name="T62" fmla="*/ 14 w 14"/>
                  <a:gd name="T63" fmla="*/ 14 h 1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" h="14">
                    <a:moveTo>
                      <a:pt x="14" y="2"/>
                    </a:moveTo>
                    <a:lnTo>
                      <a:pt x="14" y="2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1" y="14"/>
                    </a:lnTo>
                    <a:lnTo>
                      <a:pt x="0" y="14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14" y="0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8" name="Freeform 641"/>
              <p:cNvSpPr>
                <a:spLocks noChangeAspect="1"/>
              </p:cNvSpPr>
              <p:nvPr>
                <p:custDataLst>
                  <p:tags r:id="rId186"/>
                </p:custDataLst>
              </p:nvPr>
            </p:nvSpPr>
            <p:spPr bwMode="gray">
              <a:xfrm>
                <a:off x="3960281" y="3931917"/>
                <a:ext cx="19739" cy="18921"/>
              </a:xfrm>
              <a:custGeom>
                <a:avLst/>
                <a:gdLst>
                  <a:gd name="T0" fmla="*/ 30420415 w 14"/>
                  <a:gd name="T1" fmla="*/ 3702504 h 14"/>
                  <a:gd name="T2" fmla="*/ 30420415 w 14"/>
                  <a:gd name="T3" fmla="*/ 3702504 h 14"/>
                  <a:gd name="T4" fmla="*/ 30420415 w 14"/>
                  <a:gd name="T5" fmla="*/ 9258300 h 14"/>
                  <a:gd name="T6" fmla="*/ 30420415 w 14"/>
                  <a:gd name="T7" fmla="*/ 14812737 h 14"/>
                  <a:gd name="T8" fmla="*/ 30420415 w 14"/>
                  <a:gd name="T9" fmla="*/ 14812737 h 14"/>
                  <a:gd name="T10" fmla="*/ 30420415 w 14"/>
                  <a:gd name="T11" fmla="*/ 20367171 h 14"/>
                  <a:gd name="T12" fmla="*/ 23902067 w 14"/>
                  <a:gd name="T13" fmla="*/ 25921611 h 14"/>
                  <a:gd name="T14" fmla="*/ 0 w 14"/>
                  <a:gd name="T15" fmla="*/ 25921611 h 14"/>
                  <a:gd name="T16" fmla="*/ 0 w 14"/>
                  <a:gd name="T17" fmla="*/ 25921611 h 14"/>
                  <a:gd name="T18" fmla="*/ 10863906 w 14"/>
                  <a:gd name="T19" fmla="*/ 20367171 h 14"/>
                  <a:gd name="T20" fmla="*/ 10863906 w 14"/>
                  <a:gd name="T21" fmla="*/ 14812737 h 14"/>
                  <a:gd name="T22" fmla="*/ 10863906 w 14"/>
                  <a:gd name="T23" fmla="*/ 9258300 h 14"/>
                  <a:gd name="T24" fmla="*/ 10863906 w 14"/>
                  <a:gd name="T25" fmla="*/ 9258300 h 14"/>
                  <a:gd name="T26" fmla="*/ 10863906 w 14"/>
                  <a:gd name="T27" fmla="*/ 9258300 h 14"/>
                  <a:gd name="T28" fmla="*/ 4345563 w 14"/>
                  <a:gd name="T29" fmla="*/ 3702504 h 14"/>
                  <a:gd name="T30" fmla="*/ 4345563 w 14"/>
                  <a:gd name="T31" fmla="*/ 3702504 h 14"/>
                  <a:gd name="T32" fmla="*/ 10863906 w 14"/>
                  <a:gd name="T33" fmla="*/ 3702504 h 14"/>
                  <a:gd name="T34" fmla="*/ 10863906 w 14"/>
                  <a:gd name="T35" fmla="*/ 3702504 h 14"/>
                  <a:gd name="T36" fmla="*/ 30420415 w 14"/>
                  <a:gd name="T37" fmla="*/ 0 h 14"/>
                  <a:gd name="T38" fmla="*/ 30420415 w 14"/>
                  <a:gd name="T39" fmla="*/ 3702504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"/>
                  <a:gd name="T61" fmla="*/ 0 h 14"/>
                  <a:gd name="T62" fmla="*/ 14 w 14"/>
                  <a:gd name="T63" fmla="*/ 14 h 1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" h="14">
                    <a:moveTo>
                      <a:pt x="14" y="2"/>
                    </a:moveTo>
                    <a:lnTo>
                      <a:pt x="14" y="2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1" y="14"/>
                    </a:lnTo>
                    <a:lnTo>
                      <a:pt x="0" y="14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14" y="0"/>
                    </a:lnTo>
                    <a:lnTo>
                      <a:pt x="14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99" name="Freeform 642"/>
              <p:cNvSpPr>
                <a:spLocks noChangeAspect="1"/>
              </p:cNvSpPr>
              <p:nvPr>
                <p:custDataLst>
                  <p:tags r:id="rId187"/>
                </p:custDataLst>
              </p:nvPr>
            </p:nvSpPr>
            <p:spPr bwMode="gray">
              <a:xfrm>
                <a:off x="4195642" y="4138468"/>
                <a:ext cx="10630" cy="11038"/>
              </a:xfrm>
              <a:custGeom>
                <a:avLst/>
                <a:gdLst>
                  <a:gd name="T0" fmla="*/ 3858989 w 8"/>
                  <a:gd name="T1" fmla="*/ 0 h 8"/>
                  <a:gd name="T2" fmla="*/ 0 w 8"/>
                  <a:gd name="T3" fmla="*/ 5788484 h 8"/>
                  <a:gd name="T4" fmla="*/ 0 w 8"/>
                  <a:gd name="T5" fmla="*/ 11578357 h 8"/>
                  <a:gd name="T6" fmla="*/ 0 w 8"/>
                  <a:gd name="T7" fmla="*/ 15437344 h 8"/>
                  <a:gd name="T8" fmla="*/ 9648860 w 8"/>
                  <a:gd name="T9" fmla="*/ 15437344 h 8"/>
                  <a:gd name="T10" fmla="*/ 15437344 w 8"/>
                  <a:gd name="T11" fmla="*/ 15437344 h 8"/>
                  <a:gd name="T12" fmla="*/ 15437344 w 8"/>
                  <a:gd name="T13" fmla="*/ 11578357 h 8"/>
                  <a:gd name="T14" fmla="*/ 9648860 w 8"/>
                  <a:gd name="T15" fmla="*/ 11578357 h 8"/>
                  <a:gd name="T16" fmla="*/ 9648860 w 8"/>
                  <a:gd name="T17" fmla="*/ 11578357 h 8"/>
                  <a:gd name="T18" fmla="*/ 3858989 w 8"/>
                  <a:gd name="T19" fmla="*/ 5788484 h 8"/>
                  <a:gd name="T20" fmla="*/ 3858989 w 8"/>
                  <a:gd name="T21" fmla="*/ 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8"/>
                  <a:gd name="T35" fmla="*/ 8 w 8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8">
                    <a:moveTo>
                      <a:pt x="2" y="0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5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0" name="Freeform 643"/>
              <p:cNvSpPr>
                <a:spLocks noChangeAspect="1"/>
              </p:cNvSpPr>
              <p:nvPr>
                <p:custDataLst>
                  <p:tags r:id="rId188"/>
                </p:custDataLst>
              </p:nvPr>
            </p:nvSpPr>
            <p:spPr bwMode="gray">
              <a:xfrm>
                <a:off x="4195642" y="4138468"/>
                <a:ext cx="10630" cy="11038"/>
              </a:xfrm>
              <a:custGeom>
                <a:avLst/>
                <a:gdLst>
                  <a:gd name="T0" fmla="*/ 3858989 w 8"/>
                  <a:gd name="T1" fmla="*/ 0 h 8"/>
                  <a:gd name="T2" fmla="*/ 0 w 8"/>
                  <a:gd name="T3" fmla="*/ 5788484 h 8"/>
                  <a:gd name="T4" fmla="*/ 0 w 8"/>
                  <a:gd name="T5" fmla="*/ 11578357 h 8"/>
                  <a:gd name="T6" fmla="*/ 0 w 8"/>
                  <a:gd name="T7" fmla="*/ 15437344 h 8"/>
                  <a:gd name="T8" fmla="*/ 9648860 w 8"/>
                  <a:gd name="T9" fmla="*/ 15437344 h 8"/>
                  <a:gd name="T10" fmla="*/ 15437344 w 8"/>
                  <a:gd name="T11" fmla="*/ 15437344 h 8"/>
                  <a:gd name="T12" fmla="*/ 15437344 w 8"/>
                  <a:gd name="T13" fmla="*/ 11578357 h 8"/>
                  <a:gd name="T14" fmla="*/ 9648860 w 8"/>
                  <a:gd name="T15" fmla="*/ 11578357 h 8"/>
                  <a:gd name="T16" fmla="*/ 9648860 w 8"/>
                  <a:gd name="T17" fmla="*/ 11578357 h 8"/>
                  <a:gd name="T18" fmla="*/ 3858989 w 8"/>
                  <a:gd name="T19" fmla="*/ 5788484 h 8"/>
                  <a:gd name="T20" fmla="*/ 3858989 w 8"/>
                  <a:gd name="T21" fmla="*/ 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8"/>
                  <a:gd name="T35" fmla="*/ 8 w 8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8">
                    <a:moveTo>
                      <a:pt x="2" y="0"/>
                    </a:moveTo>
                    <a:lnTo>
                      <a:pt x="0" y="3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5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1" name="Freeform 644"/>
              <p:cNvSpPr>
                <a:spLocks noChangeAspect="1"/>
              </p:cNvSpPr>
              <p:nvPr>
                <p:custDataLst>
                  <p:tags r:id="rId189"/>
                </p:custDataLst>
              </p:nvPr>
            </p:nvSpPr>
            <p:spPr bwMode="gray">
              <a:xfrm>
                <a:off x="4206273" y="4149508"/>
                <a:ext cx="7592" cy="3154"/>
              </a:xfrm>
              <a:custGeom>
                <a:avLst/>
                <a:gdLst>
                  <a:gd name="T0" fmla="*/ 10499327 w 6"/>
                  <a:gd name="T1" fmla="*/ 3360208 h 3"/>
                  <a:gd name="T2" fmla="*/ 5250325 w 6"/>
                  <a:gd name="T3" fmla="*/ 3360208 h 3"/>
                  <a:gd name="T4" fmla="*/ 0 w 6"/>
                  <a:gd name="T5" fmla="*/ 3360208 h 3"/>
                  <a:gd name="T6" fmla="*/ 0 w 6"/>
                  <a:gd name="T7" fmla="*/ 3360208 h 3"/>
                  <a:gd name="T8" fmla="*/ 0 w 6"/>
                  <a:gd name="T9" fmla="*/ 3360208 h 3"/>
                  <a:gd name="T10" fmla="*/ 0 w 6"/>
                  <a:gd name="T11" fmla="*/ 0 h 3"/>
                  <a:gd name="T12" fmla="*/ 5250325 w 6"/>
                  <a:gd name="T13" fmla="*/ 0 h 3"/>
                  <a:gd name="T14" fmla="*/ 5250325 w 6"/>
                  <a:gd name="T15" fmla="*/ 0 h 3"/>
                  <a:gd name="T16" fmla="*/ 5250325 w 6"/>
                  <a:gd name="T17" fmla="*/ 0 h 3"/>
                  <a:gd name="T18" fmla="*/ 10499327 w 6"/>
                  <a:gd name="T19" fmla="*/ 0 h 3"/>
                  <a:gd name="T20" fmla="*/ 10499327 w 6"/>
                  <a:gd name="T21" fmla="*/ 0 h 3"/>
                  <a:gd name="T22" fmla="*/ 10499327 w 6"/>
                  <a:gd name="T23" fmla="*/ 0 h 3"/>
                  <a:gd name="T24" fmla="*/ 10499327 w 6"/>
                  <a:gd name="T25" fmla="*/ 3360208 h 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"/>
                  <a:gd name="T40" fmla="*/ 0 h 3"/>
                  <a:gd name="T41" fmla="*/ 6 w 6"/>
                  <a:gd name="T42" fmla="*/ 3 h 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2" name="Freeform 645"/>
              <p:cNvSpPr>
                <a:spLocks noChangeAspect="1"/>
              </p:cNvSpPr>
              <p:nvPr>
                <p:custDataLst>
                  <p:tags r:id="rId190"/>
                </p:custDataLst>
              </p:nvPr>
            </p:nvSpPr>
            <p:spPr bwMode="gray">
              <a:xfrm>
                <a:off x="4206273" y="4149508"/>
                <a:ext cx="7592" cy="3154"/>
              </a:xfrm>
              <a:custGeom>
                <a:avLst/>
                <a:gdLst>
                  <a:gd name="T0" fmla="*/ 10499327 w 6"/>
                  <a:gd name="T1" fmla="*/ 3360208 h 3"/>
                  <a:gd name="T2" fmla="*/ 5250325 w 6"/>
                  <a:gd name="T3" fmla="*/ 3360208 h 3"/>
                  <a:gd name="T4" fmla="*/ 0 w 6"/>
                  <a:gd name="T5" fmla="*/ 3360208 h 3"/>
                  <a:gd name="T6" fmla="*/ 0 w 6"/>
                  <a:gd name="T7" fmla="*/ 3360208 h 3"/>
                  <a:gd name="T8" fmla="*/ 0 w 6"/>
                  <a:gd name="T9" fmla="*/ 3360208 h 3"/>
                  <a:gd name="T10" fmla="*/ 0 w 6"/>
                  <a:gd name="T11" fmla="*/ 0 h 3"/>
                  <a:gd name="T12" fmla="*/ 5250325 w 6"/>
                  <a:gd name="T13" fmla="*/ 0 h 3"/>
                  <a:gd name="T14" fmla="*/ 5250325 w 6"/>
                  <a:gd name="T15" fmla="*/ 0 h 3"/>
                  <a:gd name="T16" fmla="*/ 5250325 w 6"/>
                  <a:gd name="T17" fmla="*/ 0 h 3"/>
                  <a:gd name="T18" fmla="*/ 10499327 w 6"/>
                  <a:gd name="T19" fmla="*/ 0 h 3"/>
                  <a:gd name="T20" fmla="*/ 10499327 w 6"/>
                  <a:gd name="T21" fmla="*/ 0 h 3"/>
                  <a:gd name="T22" fmla="*/ 10499327 w 6"/>
                  <a:gd name="T23" fmla="*/ 0 h 3"/>
                  <a:gd name="T24" fmla="*/ 10499327 w 6"/>
                  <a:gd name="T25" fmla="*/ 3360208 h 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"/>
                  <a:gd name="T40" fmla="*/ 0 h 3"/>
                  <a:gd name="T41" fmla="*/ 6 w 6"/>
                  <a:gd name="T42" fmla="*/ 3 h 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3" name="Freeform 646"/>
              <p:cNvSpPr>
                <a:spLocks noChangeAspect="1"/>
              </p:cNvSpPr>
              <p:nvPr>
                <p:custDataLst>
                  <p:tags r:id="rId191"/>
                </p:custDataLst>
              </p:nvPr>
            </p:nvSpPr>
            <p:spPr bwMode="gray">
              <a:xfrm>
                <a:off x="4192606" y="4152661"/>
                <a:ext cx="37961" cy="33111"/>
              </a:xfrm>
              <a:custGeom>
                <a:avLst/>
                <a:gdLst>
                  <a:gd name="T0" fmla="*/ 52504585 w 30"/>
                  <a:gd name="T1" fmla="*/ 5333920 h 25"/>
                  <a:gd name="T2" fmla="*/ 52504585 w 30"/>
                  <a:gd name="T3" fmla="*/ 19559484 h 25"/>
                  <a:gd name="T4" fmla="*/ 43753384 w 30"/>
                  <a:gd name="T5" fmla="*/ 35563911 h 25"/>
                  <a:gd name="T6" fmla="*/ 33253254 w 30"/>
                  <a:gd name="T7" fmla="*/ 40897830 h 25"/>
                  <a:gd name="T8" fmla="*/ 19251326 w 30"/>
                  <a:gd name="T9" fmla="*/ 44454230 h 25"/>
                  <a:gd name="T10" fmla="*/ 14000605 w 30"/>
                  <a:gd name="T11" fmla="*/ 44454230 h 25"/>
                  <a:gd name="T12" fmla="*/ 5250722 w 30"/>
                  <a:gd name="T13" fmla="*/ 44454230 h 25"/>
                  <a:gd name="T14" fmla="*/ 0 w 30"/>
                  <a:gd name="T15" fmla="*/ 44454230 h 25"/>
                  <a:gd name="T16" fmla="*/ 0 w 30"/>
                  <a:gd name="T17" fmla="*/ 40897830 h 25"/>
                  <a:gd name="T18" fmla="*/ 0 w 30"/>
                  <a:gd name="T19" fmla="*/ 10669173 h 25"/>
                  <a:gd name="T20" fmla="*/ 0 w 30"/>
                  <a:gd name="T21" fmla="*/ 5333920 h 25"/>
                  <a:gd name="T22" fmla="*/ 5250722 w 30"/>
                  <a:gd name="T23" fmla="*/ 5333920 h 25"/>
                  <a:gd name="T24" fmla="*/ 5250722 w 30"/>
                  <a:gd name="T25" fmla="*/ 0 h 25"/>
                  <a:gd name="T26" fmla="*/ 8751204 w 30"/>
                  <a:gd name="T27" fmla="*/ 0 h 25"/>
                  <a:gd name="T28" fmla="*/ 19251326 w 30"/>
                  <a:gd name="T29" fmla="*/ 0 h 25"/>
                  <a:gd name="T30" fmla="*/ 24502052 w 30"/>
                  <a:gd name="T31" fmla="*/ 5333920 h 25"/>
                  <a:gd name="T32" fmla="*/ 43753384 w 30"/>
                  <a:gd name="T33" fmla="*/ 0 h 25"/>
                  <a:gd name="T34" fmla="*/ 49004105 w 30"/>
                  <a:gd name="T35" fmla="*/ 0 h 25"/>
                  <a:gd name="T36" fmla="*/ 52504585 w 30"/>
                  <a:gd name="T37" fmla="*/ 0 h 25"/>
                  <a:gd name="T38" fmla="*/ 52504585 w 30"/>
                  <a:gd name="T39" fmla="*/ 5333920 h 25"/>
                  <a:gd name="T40" fmla="*/ 52504585 w 30"/>
                  <a:gd name="T41" fmla="*/ 5333920 h 25"/>
                  <a:gd name="T42" fmla="*/ 52504585 w 30"/>
                  <a:gd name="T43" fmla="*/ 5333920 h 2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0"/>
                  <a:gd name="T67" fmla="*/ 0 h 25"/>
                  <a:gd name="T68" fmla="*/ 30 w 30"/>
                  <a:gd name="T69" fmla="*/ 25 h 2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0" h="25">
                    <a:moveTo>
                      <a:pt x="30" y="3"/>
                    </a:moveTo>
                    <a:lnTo>
                      <a:pt x="30" y="11"/>
                    </a:lnTo>
                    <a:lnTo>
                      <a:pt x="25" y="20"/>
                    </a:lnTo>
                    <a:lnTo>
                      <a:pt x="19" y="23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3" y="25"/>
                    </a:lnTo>
                    <a:lnTo>
                      <a:pt x="0" y="25"/>
                    </a:lnTo>
                    <a:lnTo>
                      <a:pt x="0" y="23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4" y="3"/>
                    </a:lnTo>
                    <a:lnTo>
                      <a:pt x="25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4" name="Freeform 647"/>
              <p:cNvSpPr>
                <a:spLocks noChangeAspect="1"/>
              </p:cNvSpPr>
              <p:nvPr>
                <p:custDataLst>
                  <p:tags r:id="rId192"/>
                </p:custDataLst>
              </p:nvPr>
            </p:nvSpPr>
            <p:spPr bwMode="gray">
              <a:xfrm>
                <a:off x="4177420" y="4149508"/>
                <a:ext cx="15185" cy="15767"/>
              </a:xfrm>
              <a:custGeom>
                <a:avLst/>
                <a:gdLst>
                  <a:gd name="T0" fmla="*/ 22910509 w 11"/>
                  <a:gd name="T1" fmla="*/ 10501312 h 12"/>
                  <a:gd name="T2" fmla="*/ 22910509 w 11"/>
                  <a:gd name="T3" fmla="*/ 10501312 h 12"/>
                  <a:gd name="T4" fmla="*/ 16661534 w 11"/>
                  <a:gd name="T5" fmla="*/ 15750646 h 12"/>
                  <a:gd name="T6" fmla="*/ 16661534 w 11"/>
                  <a:gd name="T7" fmla="*/ 15750646 h 12"/>
                  <a:gd name="T8" fmla="*/ 10413999 w 11"/>
                  <a:gd name="T9" fmla="*/ 21001301 h 12"/>
                  <a:gd name="T10" fmla="*/ 6248978 w 11"/>
                  <a:gd name="T11" fmla="*/ 21001301 h 12"/>
                  <a:gd name="T12" fmla="*/ 6248978 w 11"/>
                  <a:gd name="T13" fmla="*/ 21001301 h 12"/>
                  <a:gd name="T14" fmla="*/ 0 w 11"/>
                  <a:gd name="T15" fmla="*/ 15750646 h 12"/>
                  <a:gd name="T16" fmla="*/ 0 w 11"/>
                  <a:gd name="T17" fmla="*/ 15750646 h 12"/>
                  <a:gd name="T18" fmla="*/ 6248978 w 11"/>
                  <a:gd name="T19" fmla="*/ 10501312 h 12"/>
                  <a:gd name="T20" fmla="*/ 6248978 w 11"/>
                  <a:gd name="T21" fmla="*/ 10501312 h 12"/>
                  <a:gd name="T22" fmla="*/ 6248978 w 11"/>
                  <a:gd name="T23" fmla="*/ 5250656 h 12"/>
                  <a:gd name="T24" fmla="*/ 10413999 w 11"/>
                  <a:gd name="T25" fmla="*/ 5250656 h 12"/>
                  <a:gd name="T26" fmla="*/ 10413999 w 11"/>
                  <a:gd name="T27" fmla="*/ 5250656 h 12"/>
                  <a:gd name="T28" fmla="*/ 16661534 w 11"/>
                  <a:gd name="T29" fmla="*/ 0 h 12"/>
                  <a:gd name="T30" fmla="*/ 16661534 w 11"/>
                  <a:gd name="T31" fmla="*/ 0 h 12"/>
                  <a:gd name="T32" fmla="*/ 22910509 w 11"/>
                  <a:gd name="T33" fmla="*/ 0 h 12"/>
                  <a:gd name="T34" fmla="*/ 22910509 w 11"/>
                  <a:gd name="T35" fmla="*/ 0 h 12"/>
                  <a:gd name="T36" fmla="*/ 16661534 w 11"/>
                  <a:gd name="T37" fmla="*/ 5250656 h 12"/>
                  <a:gd name="T38" fmla="*/ 10413999 w 11"/>
                  <a:gd name="T39" fmla="*/ 5250656 h 12"/>
                  <a:gd name="T40" fmla="*/ 10413999 w 11"/>
                  <a:gd name="T41" fmla="*/ 5250656 h 12"/>
                  <a:gd name="T42" fmla="*/ 16661534 w 11"/>
                  <a:gd name="T43" fmla="*/ 5250656 h 12"/>
                  <a:gd name="T44" fmla="*/ 16661534 w 11"/>
                  <a:gd name="T45" fmla="*/ 10501312 h 12"/>
                  <a:gd name="T46" fmla="*/ 22910509 w 11"/>
                  <a:gd name="T47" fmla="*/ 10501312 h 1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1"/>
                  <a:gd name="T73" fmla="*/ 0 h 12"/>
                  <a:gd name="T74" fmla="*/ 11 w 11"/>
                  <a:gd name="T75" fmla="*/ 12 h 1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1" h="12">
                    <a:moveTo>
                      <a:pt x="11" y="6"/>
                    </a:moveTo>
                    <a:lnTo>
                      <a:pt x="11" y="6"/>
                    </a:lnTo>
                    <a:lnTo>
                      <a:pt x="8" y="9"/>
                    </a:lnTo>
                    <a:lnTo>
                      <a:pt x="5" y="12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5" name="Freeform 648"/>
              <p:cNvSpPr>
                <a:spLocks noChangeAspect="1"/>
              </p:cNvSpPr>
              <p:nvPr>
                <p:custDataLst>
                  <p:tags r:id="rId193"/>
                </p:custDataLst>
              </p:nvPr>
            </p:nvSpPr>
            <p:spPr bwMode="gray">
              <a:xfrm>
                <a:off x="4177420" y="4149508"/>
                <a:ext cx="15185" cy="15767"/>
              </a:xfrm>
              <a:custGeom>
                <a:avLst/>
                <a:gdLst>
                  <a:gd name="T0" fmla="*/ 22910509 w 11"/>
                  <a:gd name="T1" fmla="*/ 10501312 h 12"/>
                  <a:gd name="T2" fmla="*/ 22910509 w 11"/>
                  <a:gd name="T3" fmla="*/ 10501312 h 12"/>
                  <a:gd name="T4" fmla="*/ 16661534 w 11"/>
                  <a:gd name="T5" fmla="*/ 15750646 h 12"/>
                  <a:gd name="T6" fmla="*/ 16661534 w 11"/>
                  <a:gd name="T7" fmla="*/ 15750646 h 12"/>
                  <a:gd name="T8" fmla="*/ 10413999 w 11"/>
                  <a:gd name="T9" fmla="*/ 21001301 h 12"/>
                  <a:gd name="T10" fmla="*/ 6248978 w 11"/>
                  <a:gd name="T11" fmla="*/ 21001301 h 12"/>
                  <a:gd name="T12" fmla="*/ 6248978 w 11"/>
                  <a:gd name="T13" fmla="*/ 21001301 h 12"/>
                  <a:gd name="T14" fmla="*/ 0 w 11"/>
                  <a:gd name="T15" fmla="*/ 15750646 h 12"/>
                  <a:gd name="T16" fmla="*/ 0 w 11"/>
                  <a:gd name="T17" fmla="*/ 15750646 h 12"/>
                  <a:gd name="T18" fmla="*/ 6248978 w 11"/>
                  <a:gd name="T19" fmla="*/ 10501312 h 12"/>
                  <a:gd name="T20" fmla="*/ 6248978 w 11"/>
                  <a:gd name="T21" fmla="*/ 10501312 h 12"/>
                  <a:gd name="T22" fmla="*/ 6248978 w 11"/>
                  <a:gd name="T23" fmla="*/ 5250656 h 12"/>
                  <a:gd name="T24" fmla="*/ 10413999 w 11"/>
                  <a:gd name="T25" fmla="*/ 5250656 h 12"/>
                  <a:gd name="T26" fmla="*/ 10413999 w 11"/>
                  <a:gd name="T27" fmla="*/ 5250656 h 12"/>
                  <a:gd name="T28" fmla="*/ 16661534 w 11"/>
                  <a:gd name="T29" fmla="*/ 0 h 12"/>
                  <a:gd name="T30" fmla="*/ 16661534 w 11"/>
                  <a:gd name="T31" fmla="*/ 0 h 12"/>
                  <a:gd name="T32" fmla="*/ 22910509 w 11"/>
                  <a:gd name="T33" fmla="*/ 0 h 12"/>
                  <a:gd name="T34" fmla="*/ 22910509 w 11"/>
                  <a:gd name="T35" fmla="*/ 0 h 12"/>
                  <a:gd name="T36" fmla="*/ 16661534 w 11"/>
                  <a:gd name="T37" fmla="*/ 5250656 h 12"/>
                  <a:gd name="T38" fmla="*/ 10413999 w 11"/>
                  <a:gd name="T39" fmla="*/ 5250656 h 12"/>
                  <a:gd name="T40" fmla="*/ 10413999 w 11"/>
                  <a:gd name="T41" fmla="*/ 5250656 h 12"/>
                  <a:gd name="T42" fmla="*/ 16661534 w 11"/>
                  <a:gd name="T43" fmla="*/ 5250656 h 12"/>
                  <a:gd name="T44" fmla="*/ 16661534 w 11"/>
                  <a:gd name="T45" fmla="*/ 10501312 h 12"/>
                  <a:gd name="T46" fmla="*/ 22910509 w 11"/>
                  <a:gd name="T47" fmla="*/ 10501312 h 1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1"/>
                  <a:gd name="T73" fmla="*/ 0 h 12"/>
                  <a:gd name="T74" fmla="*/ 11 w 11"/>
                  <a:gd name="T75" fmla="*/ 12 h 1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1" h="12">
                    <a:moveTo>
                      <a:pt x="11" y="6"/>
                    </a:moveTo>
                    <a:lnTo>
                      <a:pt x="11" y="6"/>
                    </a:lnTo>
                    <a:lnTo>
                      <a:pt x="8" y="9"/>
                    </a:lnTo>
                    <a:lnTo>
                      <a:pt x="5" y="12"/>
                    </a:lnTo>
                    <a:lnTo>
                      <a:pt x="3" y="12"/>
                    </a:lnTo>
                    <a:lnTo>
                      <a:pt x="0" y="9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6" name="Freeform 649"/>
              <p:cNvSpPr>
                <a:spLocks noChangeAspect="1"/>
              </p:cNvSpPr>
              <p:nvPr>
                <p:custDataLst>
                  <p:tags r:id="rId194"/>
                </p:custDataLst>
              </p:nvPr>
            </p:nvSpPr>
            <p:spPr bwMode="gray">
              <a:xfrm>
                <a:off x="4198678" y="4138468"/>
                <a:ext cx="3037" cy="4731"/>
              </a:xfrm>
              <a:custGeom>
                <a:avLst/>
                <a:gdLst>
                  <a:gd name="T0" fmla="*/ 3360208 w 3"/>
                  <a:gd name="T1" fmla="*/ 0 h 3"/>
                  <a:gd name="T2" fmla="*/ 3360208 w 3"/>
                  <a:gd name="T3" fmla="*/ 7562057 h 3"/>
                  <a:gd name="T4" fmla="*/ 3360208 w 3"/>
                  <a:gd name="T5" fmla="*/ 7562057 h 3"/>
                  <a:gd name="T6" fmla="*/ 3360208 w 3"/>
                  <a:gd name="T7" fmla="*/ 7562057 h 3"/>
                  <a:gd name="T8" fmla="*/ 0 w 3"/>
                  <a:gd name="T9" fmla="*/ 7562057 h 3"/>
                  <a:gd name="T10" fmla="*/ 0 w 3"/>
                  <a:gd name="T11" fmla="*/ 7562057 h 3"/>
                  <a:gd name="T12" fmla="*/ 0 w 3"/>
                  <a:gd name="T13" fmla="*/ 0 h 3"/>
                  <a:gd name="T14" fmla="*/ 3360208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7" name="Freeform 650"/>
              <p:cNvSpPr>
                <a:spLocks noChangeAspect="1"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4198678" y="4138468"/>
                <a:ext cx="3037" cy="4731"/>
              </a:xfrm>
              <a:custGeom>
                <a:avLst/>
                <a:gdLst>
                  <a:gd name="T0" fmla="*/ 3360208 w 3"/>
                  <a:gd name="T1" fmla="*/ 0 h 3"/>
                  <a:gd name="T2" fmla="*/ 3360208 w 3"/>
                  <a:gd name="T3" fmla="*/ 7562057 h 3"/>
                  <a:gd name="T4" fmla="*/ 3360208 w 3"/>
                  <a:gd name="T5" fmla="*/ 7562057 h 3"/>
                  <a:gd name="T6" fmla="*/ 3360208 w 3"/>
                  <a:gd name="T7" fmla="*/ 7562057 h 3"/>
                  <a:gd name="T8" fmla="*/ 0 w 3"/>
                  <a:gd name="T9" fmla="*/ 7562057 h 3"/>
                  <a:gd name="T10" fmla="*/ 0 w 3"/>
                  <a:gd name="T11" fmla="*/ 7562057 h 3"/>
                  <a:gd name="T12" fmla="*/ 0 w 3"/>
                  <a:gd name="T13" fmla="*/ 0 h 3"/>
                  <a:gd name="T14" fmla="*/ 3360208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3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8" name="Freeform 651"/>
              <p:cNvSpPr>
                <a:spLocks noChangeAspect="1"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192606" y="4149508"/>
                <a:ext cx="3037" cy="1577"/>
              </a:xfrm>
              <a:custGeom>
                <a:avLst/>
                <a:gdLst>
                  <a:gd name="T0" fmla="*/ 3360208 w 3"/>
                  <a:gd name="T1" fmla="*/ 0 h 1587"/>
                  <a:gd name="T2" fmla="*/ 3360208 w 3"/>
                  <a:gd name="T3" fmla="*/ 0 h 1587"/>
                  <a:gd name="T4" fmla="*/ 3360208 w 3"/>
                  <a:gd name="T5" fmla="*/ 0 h 1587"/>
                  <a:gd name="T6" fmla="*/ 3360208 w 3"/>
                  <a:gd name="T7" fmla="*/ 0 h 1587"/>
                  <a:gd name="T8" fmla="*/ 0 w 3"/>
                  <a:gd name="T9" fmla="*/ 0 h 1587"/>
                  <a:gd name="T10" fmla="*/ 3360208 w 3"/>
                  <a:gd name="T11" fmla="*/ 0 h 15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1587"/>
                  <a:gd name="T20" fmla="*/ 3 w 3"/>
                  <a:gd name="T21" fmla="*/ 1587 h 15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1587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09" name="Freeform 652"/>
              <p:cNvSpPr>
                <a:spLocks noChangeAspect="1"/>
              </p:cNvSpPr>
              <p:nvPr>
                <p:custDataLst>
                  <p:tags r:id="rId197"/>
                </p:custDataLst>
              </p:nvPr>
            </p:nvSpPr>
            <p:spPr bwMode="gray">
              <a:xfrm>
                <a:off x="4192606" y="4149508"/>
                <a:ext cx="3037" cy="1577"/>
              </a:xfrm>
              <a:custGeom>
                <a:avLst/>
                <a:gdLst>
                  <a:gd name="T0" fmla="*/ 3360208 w 3"/>
                  <a:gd name="T1" fmla="*/ 0 h 1587"/>
                  <a:gd name="T2" fmla="*/ 3360208 w 3"/>
                  <a:gd name="T3" fmla="*/ 0 h 1587"/>
                  <a:gd name="T4" fmla="*/ 3360208 w 3"/>
                  <a:gd name="T5" fmla="*/ 0 h 1587"/>
                  <a:gd name="T6" fmla="*/ 3360208 w 3"/>
                  <a:gd name="T7" fmla="*/ 0 h 1587"/>
                  <a:gd name="T8" fmla="*/ 0 w 3"/>
                  <a:gd name="T9" fmla="*/ 0 h 1587"/>
                  <a:gd name="T10" fmla="*/ 3360208 w 3"/>
                  <a:gd name="T11" fmla="*/ 0 h 15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1587"/>
                  <a:gd name="T20" fmla="*/ 3 w 3"/>
                  <a:gd name="T21" fmla="*/ 1587 h 15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1587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0" name="Freeform 750"/>
              <p:cNvSpPr>
                <a:spLocks noChangeAspect="1"/>
              </p:cNvSpPr>
              <p:nvPr>
                <p:custDataLst>
                  <p:tags r:id="rId198"/>
                </p:custDataLst>
              </p:nvPr>
            </p:nvSpPr>
            <p:spPr bwMode="gray">
              <a:xfrm>
                <a:off x="3404526" y="3772665"/>
                <a:ext cx="21259" cy="55186"/>
              </a:xfrm>
              <a:custGeom>
                <a:avLst/>
                <a:gdLst>
                  <a:gd name="T0" fmla="*/ 21224870 w 16"/>
                  <a:gd name="T1" fmla="*/ 0 h 42"/>
                  <a:gd name="T2" fmla="*/ 21224870 w 16"/>
                  <a:gd name="T3" fmla="*/ 0 h 42"/>
                  <a:gd name="T4" fmla="*/ 15436650 w 16"/>
                  <a:gd name="T5" fmla="*/ 5250703 h 42"/>
                  <a:gd name="T6" fmla="*/ 9647037 w 16"/>
                  <a:gd name="T7" fmla="*/ 14000553 h 42"/>
                  <a:gd name="T8" fmla="*/ 0 w 16"/>
                  <a:gd name="T9" fmla="*/ 19251255 h 42"/>
                  <a:gd name="T10" fmla="*/ 0 w 16"/>
                  <a:gd name="T11" fmla="*/ 73505874 h 42"/>
                  <a:gd name="T12" fmla="*/ 0 w 16"/>
                  <a:gd name="T13" fmla="*/ 73505874 h 42"/>
                  <a:gd name="T14" fmla="*/ 3858815 w 16"/>
                  <a:gd name="T15" fmla="*/ 73505874 h 42"/>
                  <a:gd name="T16" fmla="*/ 9647037 w 16"/>
                  <a:gd name="T17" fmla="*/ 73505874 h 42"/>
                  <a:gd name="T18" fmla="*/ 9647037 w 16"/>
                  <a:gd name="T19" fmla="*/ 73505874 h 42"/>
                  <a:gd name="T20" fmla="*/ 9647037 w 16"/>
                  <a:gd name="T21" fmla="*/ 68255173 h 42"/>
                  <a:gd name="T22" fmla="*/ 9647037 w 16"/>
                  <a:gd name="T23" fmla="*/ 68255173 h 42"/>
                  <a:gd name="T24" fmla="*/ 21224870 w 16"/>
                  <a:gd name="T25" fmla="*/ 59505326 h 42"/>
                  <a:gd name="T26" fmla="*/ 27013096 w 16"/>
                  <a:gd name="T27" fmla="*/ 54254625 h 42"/>
                  <a:gd name="T28" fmla="*/ 27013096 w 16"/>
                  <a:gd name="T29" fmla="*/ 54254625 h 42"/>
                  <a:gd name="T30" fmla="*/ 27013096 w 16"/>
                  <a:gd name="T31" fmla="*/ 19251255 h 42"/>
                  <a:gd name="T32" fmla="*/ 30871910 w 16"/>
                  <a:gd name="T33" fmla="*/ 10501406 h 42"/>
                  <a:gd name="T34" fmla="*/ 30871910 w 16"/>
                  <a:gd name="T35" fmla="*/ 10501406 h 42"/>
                  <a:gd name="T36" fmla="*/ 30871910 w 16"/>
                  <a:gd name="T37" fmla="*/ 5250703 h 42"/>
                  <a:gd name="T38" fmla="*/ 27013096 w 16"/>
                  <a:gd name="T39" fmla="*/ 5250703 h 42"/>
                  <a:gd name="T40" fmla="*/ 21224870 w 16"/>
                  <a:gd name="T41" fmla="*/ 0 h 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6"/>
                  <a:gd name="T64" fmla="*/ 0 h 42"/>
                  <a:gd name="T65" fmla="*/ 16 w 16"/>
                  <a:gd name="T66" fmla="*/ 42 h 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6" h="42">
                    <a:moveTo>
                      <a:pt x="11" y="0"/>
                    </a:moveTo>
                    <a:lnTo>
                      <a:pt x="11" y="0"/>
                    </a:lnTo>
                    <a:lnTo>
                      <a:pt x="8" y="3"/>
                    </a:lnTo>
                    <a:lnTo>
                      <a:pt x="5" y="8"/>
                    </a:lnTo>
                    <a:lnTo>
                      <a:pt x="0" y="11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5" y="42"/>
                    </a:lnTo>
                    <a:lnTo>
                      <a:pt x="5" y="39"/>
                    </a:lnTo>
                    <a:lnTo>
                      <a:pt x="11" y="34"/>
                    </a:lnTo>
                    <a:lnTo>
                      <a:pt x="14" y="31"/>
                    </a:lnTo>
                    <a:lnTo>
                      <a:pt x="14" y="11"/>
                    </a:lnTo>
                    <a:lnTo>
                      <a:pt x="16" y="6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1" name="Freeform 751"/>
              <p:cNvSpPr>
                <a:spLocks noChangeAspect="1"/>
              </p:cNvSpPr>
              <p:nvPr>
                <p:custDataLst>
                  <p:tags r:id="rId199"/>
                </p:custDataLst>
              </p:nvPr>
            </p:nvSpPr>
            <p:spPr bwMode="gray">
              <a:xfrm>
                <a:off x="3387822" y="3860962"/>
                <a:ext cx="45554" cy="23652"/>
              </a:xfrm>
              <a:custGeom>
                <a:avLst/>
                <a:gdLst>
                  <a:gd name="T0" fmla="*/ 19251080 w 36"/>
                  <a:gd name="T1" fmla="*/ 0 h 19"/>
                  <a:gd name="T2" fmla="*/ 14000426 w 36"/>
                  <a:gd name="T3" fmla="*/ 0 h 19"/>
                  <a:gd name="T4" fmla="*/ 14000426 w 36"/>
                  <a:gd name="T5" fmla="*/ 4712467 h 19"/>
                  <a:gd name="T6" fmla="*/ 14000426 w 36"/>
                  <a:gd name="T7" fmla="*/ 4712467 h 19"/>
                  <a:gd name="T8" fmla="*/ 8751093 w 36"/>
                  <a:gd name="T9" fmla="*/ 4712467 h 19"/>
                  <a:gd name="T10" fmla="*/ 8751093 w 36"/>
                  <a:gd name="T11" fmla="*/ 9424933 h 19"/>
                  <a:gd name="T12" fmla="*/ 5250655 w 36"/>
                  <a:gd name="T13" fmla="*/ 9424933 h 19"/>
                  <a:gd name="T14" fmla="*/ 0 w 36"/>
                  <a:gd name="T15" fmla="*/ 12566997 h 19"/>
                  <a:gd name="T16" fmla="*/ 0 w 36"/>
                  <a:gd name="T17" fmla="*/ 17278209 h 19"/>
                  <a:gd name="T18" fmla="*/ 5250655 w 36"/>
                  <a:gd name="T19" fmla="*/ 21990680 h 19"/>
                  <a:gd name="T20" fmla="*/ 38502161 w 36"/>
                  <a:gd name="T21" fmla="*/ 29845207 h 19"/>
                  <a:gd name="T22" fmla="*/ 52502592 w 36"/>
                  <a:gd name="T23" fmla="*/ 29845207 h 19"/>
                  <a:gd name="T24" fmla="*/ 63003900 w 36"/>
                  <a:gd name="T25" fmla="*/ 26703145 h 19"/>
                  <a:gd name="T26" fmla="*/ 63003900 w 36"/>
                  <a:gd name="T27" fmla="*/ 26703145 h 19"/>
                  <a:gd name="T28" fmla="*/ 63003900 w 36"/>
                  <a:gd name="T29" fmla="*/ 21990680 h 19"/>
                  <a:gd name="T30" fmla="*/ 63003900 w 36"/>
                  <a:gd name="T31" fmla="*/ 17278209 h 19"/>
                  <a:gd name="T32" fmla="*/ 63003900 w 36"/>
                  <a:gd name="T33" fmla="*/ 12566997 h 19"/>
                  <a:gd name="T34" fmla="*/ 57753246 w 36"/>
                  <a:gd name="T35" fmla="*/ 12566997 h 19"/>
                  <a:gd name="T36" fmla="*/ 52502592 w 36"/>
                  <a:gd name="T37" fmla="*/ 12566997 h 19"/>
                  <a:gd name="T38" fmla="*/ 52502592 w 36"/>
                  <a:gd name="T39" fmla="*/ 9424933 h 19"/>
                  <a:gd name="T40" fmla="*/ 49003479 w 36"/>
                  <a:gd name="T41" fmla="*/ 12566997 h 19"/>
                  <a:gd name="T42" fmla="*/ 49003479 w 36"/>
                  <a:gd name="T43" fmla="*/ 12566997 h 19"/>
                  <a:gd name="T44" fmla="*/ 43752825 w 36"/>
                  <a:gd name="T45" fmla="*/ 12566997 h 19"/>
                  <a:gd name="T46" fmla="*/ 43752825 w 36"/>
                  <a:gd name="T47" fmla="*/ 12566997 h 19"/>
                  <a:gd name="T48" fmla="*/ 43752825 w 36"/>
                  <a:gd name="T49" fmla="*/ 12566997 h 19"/>
                  <a:gd name="T50" fmla="*/ 43752825 w 36"/>
                  <a:gd name="T51" fmla="*/ 9424933 h 19"/>
                  <a:gd name="T52" fmla="*/ 38502161 w 36"/>
                  <a:gd name="T53" fmla="*/ 9424933 h 19"/>
                  <a:gd name="T54" fmla="*/ 38502161 w 36"/>
                  <a:gd name="T55" fmla="*/ 9424933 h 19"/>
                  <a:gd name="T56" fmla="*/ 38502161 w 36"/>
                  <a:gd name="T57" fmla="*/ 9424933 h 19"/>
                  <a:gd name="T58" fmla="*/ 33251507 w 36"/>
                  <a:gd name="T59" fmla="*/ 9424933 h 19"/>
                  <a:gd name="T60" fmla="*/ 28002176 w 36"/>
                  <a:gd name="T61" fmla="*/ 4712467 h 19"/>
                  <a:gd name="T62" fmla="*/ 28002176 w 36"/>
                  <a:gd name="T63" fmla="*/ 0 h 19"/>
                  <a:gd name="T64" fmla="*/ 19251080 w 36"/>
                  <a:gd name="T65" fmla="*/ 0 h 19"/>
                  <a:gd name="T66" fmla="*/ 19251080 w 36"/>
                  <a:gd name="T67" fmla="*/ 0 h 1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6"/>
                  <a:gd name="T103" fmla="*/ 0 h 19"/>
                  <a:gd name="T104" fmla="*/ 36 w 36"/>
                  <a:gd name="T105" fmla="*/ 19 h 1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6" h="19">
                    <a:moveTo>
                      <a:pt x="11" y="0"/>
                    </a:moveTo>
                    <a:lnTo>
                      <a:pt x="8" y="0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14"/>
                    </a:lnTo>
                    <a:lnTo>
                      <a:pt x="22" y="19"/>
                    </a:lnTo>
                    <a:lnTo>
                      <a:pt x="30" y="19"/>
                    </a:lnTo>
                    <a:lnTo>
                      <a:pt x="36" y="17"/>
                    </a:lnTo>
                    <a:lnTo>
                      <a:pt x="36" y="14"/>
                    </a:lnTo>
                    <a:lnTo>
                      <a:pt x="36" y="11"/>
                    </a:lnTo>
                    <a:lnTo>
                      <a:pt x="36" y="8"/>
                    </a:lnTo>
                    <a:lnTo>
                      <a:pt x="33" y="8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28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19" y="6"/>
                    </a:lnTo>
                    <a:lnTo>
                      <a:pt x="16" y="3"/>
                    </a:lnTo>
                    <a:lnTo>
                      <a:pt x="16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2" name="Freeform 752"/>
              <p:cNvSpPr>
                <a:spLocks noChangeAspect="1"/>
              </p:cNvSpPr>
              <p:nvPr>
                <p:custDataLst>
                  <p:tags r:id="rId200"/>
                </p:custDataLst>
              </p:nvPr>
            </p:nvSpPr>
            <p:spPr bwMode="gray">
              <a:xfrm>
                <a:off x="3474376" y="3924031"/>
                <a:ext cx="65293" cy="58340"/>
              </a:xfrm>
              <a:custGeom>
                <a:avLst/>
                <a:gdLst>
                  <a:gd name="T0" fmla="*/ 61508160 w 50"/>
                  <a:gd name="T1" fmla="*/ 10223022 h 45"/>
                  <a:gd name="T2" fmla="*/ 46597014 w 50"/>
                  <a:gd name="T3" fmla="*/ 13629827 h 45"/>
                  <a:gd name="T4" fmla="*/ 35414325 w 50"/>
                  <a:gd name="T5" fmla="*/ 5111511 h 45"/>
                  <a:gd name="T6" fmla="*/ 26093835 w 50"/>
                  <a:gd name="T7" fmla="*/ 10223022 h 45"/>
                  <a:gd name="T8" fmla="*/ 3727105 w 50"/>
                  <a:gd name="T9" fmla="*/ 0 h 45"/>
                  <a:gd name="T10" fmla="*/ 3727105 w 50"/>
                  <a:gd name="T11" fmla="*/ 0 h 45"/>
                  <a:gd name="T12" fmla="*/ 0 w 50"/>
                  <a:gd name="T13" fmla="*/ 5111511 h 45"/>
                  <a:gd name="T14" fmla="*/ 0 w 50"/>
                  <a:gd name="T15" fmla="*/ 10223022 h 45"/>
                  <a:gd name="T16" fmla="*/ 0 w 50"/>
                  <a:gd name="T17" fmla="*/ 10223022 h 45"/>
                  <a:gd name="T18" fmla="*/ 0 w 50"/>
                  <a:gd name="T19" fmla="*/ 10223022 h 45"/>
                  <a:gd name="T20" fmla="*/ 0 w 50"/>
                  <a:gd name="T21" fmla="*/ 18741337 h 45"/>
                  <a:gd name="T22" fmla="*/ 0 w 50"/>
                  <a:gd name="T23" fmla="*/ 23852851 h 45"/>
                  <a:gd name="T24" fmla="*/ 0 w 50"/>
                  <a:gd name="T25" fmla="*/ 34075870 h 45"/>
                  <a:gd name="T26" fmla="*/ 3727105 w 50"/>
                  <a:gd name="T27" fmla="*/ 34075870 h 45"/>
                  <a:gd name="T28" fmla="*/ 3727105 w 50"/>
                  <a:gd name="T29" fmla="*/ 37482673 h 45"/>
                  <a:gd name="T30" fmla="*/ 9319128 w 50"/>
                  <a:gd name="T31" fmla="*/ 37482673 h 45"/>
                  <a:gd name="T32" fmla="*/ 20503173 w 50"/>
                  <a:gd name="T33" fmla="*/ 42594183 h 45"/>
                  <a:gd name="T34" fmla="*/ 20503173 w 50"/>
                  <a:gd name="T35" fmla="*/ 42594183 h 45"/>
                  <a:gd name="T36" fmla="*/ 26093835 w 50"/>
                  <a:gd name="T37" fmla="*/ 37482673 h 45"/>
                  <a:gd name="T38" fmla="*/ 26093835 w 50"/>
                  <a:gd name="T39" fmla="*/ 34075870 h 45"/>
                  <a:gd name="T40" fmla="*/ 20503173 w 50"/>
                  <a:gd name="T41" fmla="*/ 34075870 h 45"/>
                  <a:gd name="T42" fmla="*/ 20503173 w 50"/>
                  <a:gd name="T43" fmla="*/ 34075870 h 45"/>
                  <a:gd name="T44" fmla="*/ 20503173 w 50"/>
                  <a:gd name="T45" fmla="*/ 28964361 h 45"/>
                  <a:gd name="T46" fmla="*/ 26093835 w 50"/>
                  <a:gd name="T47" fmla="*/ 34075870 h 45"/>
                  <a:gd name="T48" fmla="*/ 29822304 w 50"/>
                  <a:gd name="T49" fmla="*/ 37482673 h 45"/>
                  <a:gd name="T50" fmla="*/ 35414325 w 50"/>
                  <a:gd name="T51" fmla="*/ 42594183 h 45"/>
                  <a:gd name="T52" fmla="*/ 35414325 w 50"/>
                  <a:gd name="T53" fmla="*/ 47705703 h 45"/>
                  <a:gd name="T54" fmla="*/ 41004982 w 50"/>
                  <a:gd name="T55" fmla="*/ 47705703 h 45"/>
                  <a:gd name="T56" fmla="*/ 50324118 w 50"/>
                  <a:gd name="T57" fmla="*/ 52817212 h 45"/>
                  <a:gd name="T58" fmla="*/ 61508160 w 50"/>
                  <a:gd name="T59" fmla="*/ 56225320 h 45"/>
                  <a:gd name="T60" fmla="*/ 61508160 w 50"/>
                  <a:gd name="T61" fmla="*/ 71558544 h 45"/>
                  <a:gd name="T62" fmla="*/ 61508160 w 50"/>
                  <a:gd name="T63" fmla="*/ 71558544 h 45"/>
                  <a:gd name="T64" fmla="*/ 67100182 w 50"/>
                  <a:gd name="T65" fmla="*/ 76670053 h 45"/>
                  <a:gd name="T66" fmla="*/ 72690838 w 50"/>
                  <a:gd name="T67" fmla="*/ 76670053 h 45"/>
                  <a:gd name="T68" fmla="*/ 72690838 w 50"/>
                  <a:gd name="T69" fmla="*/ 76670053 h 45"/>
                  <a:gd name="T70" fmla="*/ 67100182 w 50"/>
                  <a:gd name="T71" fmla="*/ 66447034 h 45"/>
                  <a:gd name="T72" fmla="*/ 72690838 w 50"/>
                  <a:gd name="T73" fmla="*/ 66447034 h 45"/>
                  <a:gd name="T74" fmla="*/ 72690838 w 50"/>
                  <a:gd name="T75" fmla="*/ 71558544 h 45"/>
                  <a:gd name="T76" fmla="*/ 76419307 w 50"/>
                  <a:gd name="T77" fmla="*/ 71558544 h 45"/>
                  <a:gd name="T78" fmla="*/ 76419307 w 50"/>
                  <a:gd name="T79" fmla="*/ 76670053 h 45"/>
                  <a:gd name="T80" fmla="*/ 82011328 w 50"/>
                  <a:gd name="T81" fmla="*/ 76670053 h 45"/>
                  <a:gd name="T82" fmla="*/ 87601984 w 50"/>
                  <a:gd name="T83" fmla="*/ 71558544 h 45"/>
                  <a:gd name="T84" fmla="*/ 87601984 w 50"/>
                  <a:gd name="T85" fmla="*/ 71558544 h 45"/>
                  <a:gd name="T86" fmla="*/ 87601984 w 50"/>
                  <a:gd name="T87" fmla="*/ 66447034 h 45"/>
                  <a:gd name="T88" fmla="*/ 87601984 w 50"/>
                  <a:gd name="T89" fmla="*/ 61335524 h 45"/>
                  <a:gd name="T90" fmla="*/ 87601984 w 50"/>
                  <a:gd name="T91" fmla="*/ 61335524 h 45"/>
                  <a:gd name="T92" fmla="*/ 87601984 w 50"/>
                  <a:gd name="T93" fmla="*/ 56225320 h 45"/>
                  <a:gd name="T94" fmla="*/ 82011328 w 50"/>
                  <a:gd name="T95" fmla="*/ 56225320 h 45"/>
                  <a:gd name="T96" fmla="*/ 82011328 w 50"/>
                  <a:gd name="T97" fmla="*/ 47705703 h 45"/>
                  <a:gd name="T98" fmla="*/ 87601984 w 50"/>
                  <a:gd name="T99" fmla="*/ 42594183 h 45"/>
                  <a:gd name="T100" fmla="*/ 87601984 w 50"/>
                  <a:gd name="T101" fmla="*/ 42594183 h 45"/>
                  <a:gd name="T102" fmla="*/ 93194027 w 50"/>
                  <a:gd name="T103" fmla="*/ 42594183 h 45"/>
                  <a:gd name="T104" fmla="*/ 93194027 w 50"/>
                  <a:gd name="T105" fmla="*/ 42594183 h 45"/>
                  <a:gd name="T106" fmla="*/ 93194027 w 50"/>
                  <a:gd name="T107" fmla="*/ 42594183 h 45"/>
                  <a:gd name="T108" fmla="*/ 67100182 w 50"/>
                  <a:gd name="T109" fmla="*/ 23852851 h 45"/>
                  <a:gd name="T110" fmla="*/ 61508160 w 50"/>
                  <a:gd name="T111" fmla="*/ 10223022 h 45"/>
                  <a:gd name="T112" fmla="*/ 61508160 w 50"/>
                  <a:gd name="T113" fmla="*/ 10223022 h 4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0"/>
                  <a:gd name="T172" fmla="*/ 0 h 45"/>
                  <a:gd name="T173" fmla="*/ 50 w 50"/>
                  <a:gd name="T174" fmla="*/ 45 h 4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0" h="45">
                    <a:moveTo>
                      <a:pt x="33" y="6"/>
                    </a:moveTo>
                    <a:lnTo>
                      <a:pt x="25" y="8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5" y="22"/>
                    </a:lnTo>
                    <a:lnTo>
                      <a:pt x="11" y="25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11" y="17"/>
                    </a:lnTo>
                    <a:lnTo>
                      <a:pt x="14" y="20"/>
                    </a:lnTo>
                    <a:lnTo>
                      <a:pt x="16" y="22"/>
                    </a:lnTo>
                    <a:lnTo>
                      <a:pt x="19" y="25"/>
                    </a:lnTo>
                    <a:lnTo>
                      <a:pt x="19" y="28"/>
                    </a:lnTo>
                    <a:lnTo>
                      <a:pt x="22" y="28"/>
                    </a:lnTo>
                    <a:lnTo>
                      <a:pt x="27" y="31"/>
                    </a:lnTo>
                    <a:lnTo>
                      <a:pt x="33" y="33"/>
                    </a:lnTo>
                    <a:lnTo>
                      <a:pt x="33" y="42"/>
                    </a:lnTo>
                    <a:lnTo>
                      <a:pt x="36" y="45"/>
                    </a:lnTo>
                    <a:lnTo>
                      <a:pt x="39" y="45"/>
                    </a:lnTo>
                    <a:lnTo>
                      <a:pt x="36" y="39"/>
                    </a:lnTo>
                    <a:lnTo>
                      <a:pt x="39" y="39"/>
                    </a:lnTo>
                    <a:lnTo>
                      <a:pt x="39" y="42"/>
                    </a:lnTo>
                    <a:lnTo>
                      <a:pt x="41" y="42"/>
                    </a:lnTo>
                    <a:lnTo>
                      <a:pt x="41" y="45"/>
                    </a:lnTo>
                    <a:lnTo>
                      <a:pt x="44" y="45"/>
                    </a:lnTo>
                    <a:lnTo>
                      <a:pt x="47" y="42"/>
                    </a:lnTo>
                    <a:lnTo>
                      <a:pt x="47" y="39"/>
                    </a:lnTo>
                    <a:lnTo>
                      <a:pt x="47" y="36"/>
                    </a:lnTo>
                    <a:lnTo>
                      <a:pt x="47" y="33"/>
                    </a:lnTo>
                    <a:lnTo>
                      <a:pt x="44" y="33"/>
                    </a:lnTo>
                    <a:lnTo>
                      <a:pt x="44" y="28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36" y="14"/>
                    </a:lnTo>
                    <a:lnTo>
                      <a:pt x="3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3" name="Freeform 753"/>
              <p:cNvSpPr>
                <a:spLocks noChangeAspect="1"/>
              </p:cNvSpPr>
              <p:nvPr>
                <p:custDataLst>
                  <p:tags r:id="rId201"/>
                </p:custDataLst>
              </p:nvPr>
            </p:nvSpPr>
            <p:spPr bwMode="gray">
              <a:xfrm>
                <a:off x="3735550" y="3741130"/>
                <a:ext cx="6074" cy="1577"/>
              </a:xfrm>
              <a:custGeom>
                <a:avLst/>
                <a:gdLst>
                  <a:gd name="T0" fmla="*/ 3360208 w 6"/>
                  <a:gd name="T1" fmla="*/ 0 h 1588"/>
                  <a:gd name="T2" fmla="*/ 3360208 w 6"/>
                  <a:gd name="T3" fmla="*/ 0 h 1588"/>
                  <a:gd name="T4" fmla="*/ 6720417 w 6"/>
                  <a:gd name="T5" fmla="*/ 0 h 1588"/>
                  <a:gd name="T6" fmla="*/ 3360208 w 6"/>
                  <a:gd name="T7" fmla="*/ 0 h 1588"/>
                  <a:gd name="T8" fmla="*/ 3360208 w 6"/>
                  <a:gd name="T9" fmla="*/ 0 h 1588"/>
                  <a:gd name="T10" fmla="*/ 0 w 6"/>
                  <a:gd name="T11" fmla="*/ 0 h 1588"/>
                  <a:gd name="T12" fmla="*/ 0 w 6"/>
                  <a:gd name="T13" fmla="*/ 0 h 1588"/>
                  <a:gd name="T14" fmla="*/ 0 w 6"/>
                  <a:gd name="T15" fmla="*/ 0 h 1588"/>
                  <a:gd name="T16" fmla="*/ 3360208 w 6"/>
                  <a:gd name="T17" fmla="*/ 0 h 1588"/>
                  <a:gd name="T18" fmla="*/ 3360208 w 6"/>
                  <a:gd name="T19" fmla="*/ 0 h 15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588"/>
                  <a:gd name="T32" fmla="*/ 6 w 6"/>
                  <a:gd name="T33" fmla="*/ 1588 h 158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588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4" name="Freeform 754"/>
              <p:cNvSpPr>
                <a:spLocks noChangeAspect="1"/>
              </p:cNvSpPr>
              <p:nvPr>
                <p:custDataLst>
                  <p:tags r:id="rId202"/>
                </p:custDataLst>
              </p:nvPr>
            </p:nvSpPr>
            <p:spPr bwMode="gray">
              <a:xfrm>
                <a:off x="3735550" y="3741130"/>
                <a:ext cx="6074" cy="1577"/>
              </a:xfrm>
              <a:custGeom>
                <a:avLst/>
                <a:gdLst>
                  <a:gd name="T0" fmla="*/ 3360208 w 6"/>
                  <a:gd name="T1" fmla="*/ 0 h 1588"/>
                  <a:gd name="T2" fmla="*/ 3360208 w 6"/>
                  <a:gd name="T3" fmla="*/ 0 h 1588"/>
                  <a:gd name="T4" fmla="*/ 6720417 w 6"/>
                  <a:gd name="T5" fmla="*/ 0 h 1588"/>
                  <a:gd name="T6" fmla="*/ 3360208 w 6"/>
                  <a:gd name="T7" fmla="*/ 0 h 1588"/>
                  <a:gd name="T8" fmla="*/ 3360208 w 6"/>
                  <a:gd name="T9" fmla="*/ 0 h 1588"/>
                  <a:gd name="T10" fmla="*/ 0 w 6"/>
                  <a:gd name="T11" fmla="*/ 0 h 1588"/>
                  <a:gd name="T12" fmla="*/ 0 w 6"/>
                  <a:gd name="T13" fmla="*/ 0 h 1588"/>
                  <a:gd name="T14" fmla="*/ 0 w 6"/>
                  <a:gd name="T15" fmla="*/ 0 h 1588"/>
                  <a:gd name="T16" fmla="*/ 3360208 w 6"/>
                  <a:gd name="T17" fmla="*/ 0 h 1588"/>
                  <a:gd name="T18" fmla="*/ 3360208 w 6"/>
                  <a:gd name="T19" fmla="*/ 0 h 15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588"/>
                  <a:gd name="T32" fmla="*/ 6 w 6"/>
                  <a:gd name="T33" fmla="*/ 1588 h 158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588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5" name="Freeform 755"/>
              <p:cNvSpPr>
                <a:spLocks noChangeAspect="1"/>
              </p:cNvSpPr>
              <p:nvPr>
                <p:custDataLst>
                  <p:tags r:id="rId203"/>
                </p:custDataLst>
              </p:nvPr>
            </p:nvSpPr>
            <p:spPr bwMode="gray">
              <a:xfrm>
                <a:off x="3727957" y="3763205"/>
                <a:ext cx="10630" cy="6307"/>
              </a:xfrm>
              <a:custGeom>
                <a:avLst/>
                <a:gdLst>
                  <a:gd name="T0" fmla="*/ 9148467 w 9"/>
                  <a:gd name="T1" fmla="*/ 0 h 5"/>
                  <a:gd name="T2" fmla="*/ 9148467 w 9"/>
                  <a:gd name="T3" fmla="*/ 4838699 h 5"/>
                  <a:gd name="T4" fmla="*/ 13722084 w 9"/>
                  <a:gd name="T5" fmla="*/ 8064499 h 5"/>
                  <a:gd name="T6" fmla="*/ 9148467 w 9"/>
                  <a:gd name="T7" fmla="*/ 4838699 h 5"/>
                  <a:gd name="T8" fmla="*/ 0 w 9"/>
                  <a:gd name="T9" fmla="*/ 4838699 h 5"/>
                  <a:gd name="T10" fmla="*/ 0 w 9"/>
                  <a:gd name="T11" fmla="*/ 4838699 h 5"/>
                  <a:gd name="T12" fmla="*/ 4573616 w 9"/>
                  <a:gd name="T13" fmla="*/ 0 h 5"/>
                  <a:gd name="T14" fmla="*/ 9148467 w 9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5"/>
                  <a:gd name="T26" fmla="*/ 9 w 9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5">
                    <a:moveTo>
                      <a:pt x="6" y="0"/>
                    </a:moveTo>
                    <a:lnTo>
                      <a:pt x="6" y="3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6" name="Freeform 756"/>
              <p:cNvSpPr>
                <a:spLocks noChangeAspect="1"/>
              </p:cNvSpPr>
              <p:nvPr>
                <p:custDataLst>
                  <p:tags r:id="rId204"/>
                </p:custDataLst>
              </p:nvPr>
            </p:nvSpPr>
            <p:spPr bwMode="gray">
              <a:xfrm>
                <a:off x="3727957" y="3763205"/>
                <a:ext cx="10630" cy="6307"/>
              </a:xfrm>
              <a:custGeom>
                <a:avLst/>
                <a:gdLst>
                  <a:gd name="T0" fmla="*/ 9148467 w 9"/>
                  <a:gd name="T1" fmla="*/ 0 h 5"/>
                  <a:gd name="T2" fmla="*/ 9148467 w 9"/>
                  <a:gd name="T3" fmla="*/ 4838699 h 5"/>
                  <a:gd name="T4" fmla="*/ 13722084 w 9"/>
                  <a:gd name="T5" fmla="*/ 8064499 h 5"/>
                  <a:gd name="T6" fmla="*/ 9148467 w 9"/>
                  <a:gd name="T7" fmla="*/ 4838699 h 5"/>
                  <a:gd name="T8" fmla="*/ 0 w 9"/>
                  <a:gd name="T9" fmla="*/ 4838699 h 5"/>
                  <a:gd name="T10" fmla="*/ 0 w 9"/>
                  <a:gd name="T11" fmla="*/ 4838699 h 5"/>
                  <a:gd name="T12" fmla="*/ 4573616 w 9"/>
                  <a:gd name="T13" fmla="*/ 0 h 5"/>
                  <a:gd name="T14" fmla="*/ 9148467 w 9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5"/>
                  <a:gd name="T26" fmla="*/ 9 w 9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5">
                    <a:moveTo>
                      <a:pt x="6" y="0"/>
                    </a:moveTo>
                    <a:lnTo>
                      <a:pt x="6" y="3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7" name="Freeform 757"/>
              <p:cNvSpPr>
                <a:spLocks noChangeAspect="1"/>
              </p:cNvSpPr>
              <p:nvPr>
                <p:custDataLst>
                  <p:tags r:id="rId205"/>
                </p:custDataLst>
              </p:nvPr>
            </p:nvSpPr>
            <p:spPr bwMode="gray">
              <a:xfrm>
                <a:off x="3705181" y="3745862"/>
                <a:ext cx="57701" cy="37842"/>
              </a:xfrm>
              <a:custGeom>
                <a:avLst/>
                <a:gdLst>
                  <a:gd name="T0" fmla="*/ 78947596 w 44"/>
                  <a:gd name="T1" fmla="*/ 48387008 h 30"/>
                  <a:gd name="T2" fmla="*/ 78947596 w 44"/>
                  <a:gd name="T3" fmla="*/ 48387008 h 30"/>
                  <a:gd name="T4" fmla="*/ 78947596 w 44"/>
                  <a:gd name="T5" fmla="*/ 40322500 h 30"/>
                  <a:gd name="T6" fmla="*/ 78947596 w 44"/>
                  <a:gd name="T7" fmla="*/ 40322500 h 30"/>
                  <a:gd name="T8" fmla="*/ 73308581 w 44"/>
                  <a:gd name="T9" fmla="*/ 35483801 h 30"/>
                  <a:gd name="T10" fmla="*/ 73308581 w 44"/>
                  <a:gd name="T11" fmla="*/ 35483801 h 30"/>
                  <a:gd name="T12" fmla="*/ 73308581 w 44"/>
                  <a:gd name="T13" fmla="*/ 30645102 h 30"/>
                  <a:gd name="T14" fmla="*/ 78947596 w 44"/>
                  <a:gd name="T15" fmla="*/ 30645102 h 30"/>
                  <a:gd name="T16" fmla="*/ 78947596 w 44"/>
                  <a:gd name="T17" fmla="*/ 22580604 h 30"/>
                  <a:gd name="T18" fmla="*/ 78947596 w 44"/>
                  <a:gd name="T19" fmla="*/ 22580604 h 30"/>
                  <a:gd name="T20" fmla="*/ 82706939 w 44"/>
                  <a:gd name="T21" fmla="*/ 17741900 h 30"/>
                  <a:gd name="T22" fmla="*/ 78947596 w 44"/>
                  <a:gd name="T23" fmla="*/ 12903202 h 30"/>
                  <a:gd name="T24" fmla="*/ 78947596 w 44"/>
                  <a:gd name="T25" fmla="*/ 8064500 h 30"/>
                  <a:gd name="T26" fmla="*/ 78947596 w 44"/>
                  <a:gd name="T27" fmla="*/ 4838700 h 30"/>
                  <a:gd name="T28" fmla="*/ 73308581 w 44"/>
                  <a:gd name="T29" fmla="*/ 0 h 30"/>
                  <a:gd name="T30" fmla="*/ 78947596 w 44"/>
                  <a:gd name="T31" fmla="*/ 0 h 30"/>
                  <a:gd name="T32" fmla="*/ 73308581 w 44"/>
                  <a:gd name="T33" fmla="*/ 0 h 30"/>
                  <a:gd name="T34" fmla="*/ 73308581 w 44"/>
                  <a:gd name="T35" fmla="*/ 4838700 h 30"/>
                  <a:gd name="T36" fmla="*/ 56391538 w 44"/>
                  <a:gd name="T37" fmla="*/ 4838700 h 30"/>
                  <a:gd name="T38" fmla="*/ 46993180 w 44"/>
                  <a:gd name="T39" fmla="*/ 0 h 30"/>
                  <a:gd name="T40" fmla="*/ 41352784 w 44"/>
                  <a:gd name="T41" fmla="*/ 0 h 30"/>
                  <a:gd name="T42" fmla="*/ 30074755 w 44"/>
                  <a:gd name="T43" fmla="*/ 0 h 30"/>
                  <a:gd name="T44" fmla="*/ 30074755 w 44"/>
                  <a:gd name="T45" fmla="*/ 0 h 30"/>
                  <a:gd name="T46" fmla="*/ 26315412 w 44"/>
                  <a:gd name="T47" fmla="*/ 4838700 h 30"/>
                  <a:gd name="T48" fmla="*/ 26315412 w 44"/>
                  <a:gd name="T49" fmla="*/ 4838700 h 30"/>
                  <a:gd name="T50" fmla="*/ 30074755 w 44"/>
                  <a:gd name="T51" fmla="*/ 8064500 h 30"/>
                  <a:gd name="T52" fmla="*/ 41352784 w 44"/>
                  <a:gd name="T53" fmla="*/ 8064500 h 30"/>
                  <a:gd name="T54" fmla="*/ 46993180 w 44"/>
                  <a:gd name="T55" fmla="*/ 8064500 h 30"/>
                  <a:gd name="T56" fmla="*/ 46993180 w 44"/>
                  <a:gd name="T57" fmla="*/ 12903202 h 30"/>
                  <a:gd name="T58" fmla="*/ 46993180 w 44"/>
                  <a:gd name="T59" fmla="*/ 22580604 h 30"/>
                  <a:gd name="T60" fmla="*/ 46993180 w 44"/>
                  <a:gd name="T61" fmla="*/ 22580604 h 30"/>
                  <a:gd name="T62" fmla="*/ 56391538 w 44"/>
                  <a:gd name="T63" fmla="*/ 30645102 h 30"/>
                  <a:gd name="T64" fmla="*/ 56391538 w 44"/>
                  <a:gd name="T65" fmla="*/ 35483801 h 30"/>
                  <a:gd name="T66" fmla="*/ 56391538 w 44"/>
                  <a:gd name="T67" fmla="*/ 35483801 h 30"/>
                  <a:gd name="T68" fmla="*/ 26315412 w 44"/>
                  <a:gd name="T69" fmla="*/ 35483801 h 30"/>
                  <a:gd name="T70" fmla="*/ 15037377 w 44"/>
                  <a:gd name="T71" fmla="*/ 35483801 h 30"/>
                  <a:gd name="T72" fmla="*/ 0 w 44"/>
                  <a:gd name="T73" fmla="*/ 35483801 h 30"/>
                  <a:gd name="T74" fmla="*/ 0 w 44"/>
                  <a:gd name="T75" fmla="*/ 35483801 h 30"/>
                  <a:gd name="T76" fmla="*/ 0 w 44"/>
                  <a:gd name="T77" fmla="*/ 35483801 h 30"/>
                  <a:gd name="T78" fmla="*/ 5639017 w 44"/>
                  <a:gd name="T79" fmla="*/ 40322500 h 30"/>
                  <a:gd name="T80" fmla="*/ 9398360 w 44"/>
                  <a:gd name="T81" fmla="*/ 45161208 h 30"/>
                  <a:gd name="T82" fmla="*/ 15037377 w 44"/>
                  <a:gd name="T83" fmla="*/ 48387008 h 30"/>
                  <a:gd name="T84" fmla="*/ 15037377 w 44"/>
                  <a:gd name="T85" fmla="*/ 48387008 h 30"/>
                  <a:gd name="T86" fmla="*/ 15037377 w 44"/>
                  <a:gd name="T87" fmla="*/ 45161208 h 30"/>
                  <a:gd name="T88" fmla="*/ 15037377 w 44"/>
                  <a:gd name="T89" fmla="*/ 45161208 h 30"/>
                  <a:gd name="T90" fmla="*/ 20676392 w 44"/>
                  <a:gd name="T91" fmla="*/ 45161208 h 30"/>
                  <a:gd name="T92" fmla="*/ 46993180 w 44"/>
                  <a:gd name="T93" fmla="*/ 45161208 h 30"/>
                  <a:gd name="T94" fmla="*/ 62030552 w 44"/>
                  <a:gd name="T95" fmla="*/ 45161208 h 30"/>
                  <a:gd name="T96" fmla="*/ 67669567 w 44"/>
                  <a:gd name="T97" fmla="*/ 45161208 h 30"/>
                  <a:gd name="T98" fmla="*/ 78947596 w 44"/>
                  <a:gd name="T99" fmla="*/ 48387008 h 30"/>
                  <a:gd name="T100" fmla="*/ 78947596 w 44"/>
                  <a:gd name="T101" fmla="*/ 48387008 h 3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4"/>
                  <a:gd name="T154" fmla="*/ 0 h 30"/>
                  <a:gd name="T155" fmla="*/ 44 w 44"/>
                  <a:gd name="T156" fmla="*/ 30 h 3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25"/>
                    </a:lnTo>
                    <a:lnTo>
                      <a:pt x="39" y="22"/>
                    </a:lnTo>
                    <a:lnTo>
                      <a:pt x="39" y="19"/>
                    </a:lnTo>
                    <a:lnTo>
                      <a:pt x="42" y="19"/>
                    </a:lnTo>
                    <a:lnTo>
                      <a:pt x="42" y="14"/>
                    </a:lnTo>
                    <a:lnTo>
                      <a:pt x="44" y="11"/>
                    </a:lnTo>
                    <a:lnTo>
                      <a:pt x="42" y="8"/>
                    </a:lnTo>
                    <a:lnTo>
                      <a:pt x="42" y="5"/>
                    </a:lnTo>
                    <a:lnTo>
                      <a:pt x="42" y="3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9" y="3"/>
                    </a:lnTo>
                    <a:lnTo>
                      <a:pt x="30" y="3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22" y="5"/>
                    </a:lnTo>
                    <a:lnTo>
                      <a:pt x="25" y="5"/>
                    </a:lnTo>
                    <a:lnTo>
                      <a:pt x="25" y="8"/>
                    </a:lnTo>
                    <a:lnTo>
                      <a:pt x="25" y="14"/>
                    </a:lnTo>
                    <a:lnTo>
                      <a:pt x="30" y="19"/>
                    </a:lnTo>
                    <a:lnTo>
                      <a:pt x="30" y="22"/>
                    </a:lnTo>
                    <a:lnTo>
                      <a:pt x="14" y="22"/>
                    </a:lnTo>
                    <a:lnTo>
                      <a:pt x="8" y="22"/>
                    </a:lnTo>
                    <a:lnTo>
                      <a:pt x="0" y="22"/>
                    </a:lnTo>
                    <a:lnTo>
                      <a:pt x="3" y="25"/>
                    </a:lnTo>
                    <a:lnTo>
                      <a:pt x="5" y="28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25" y="28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8" name="Freeform 758"/>
              <p:cNvSpPr>
                <a:spLocks noChangeAspect="1"/>
              </p:cNvSpPr>
              <p:nvPr>
                <p:custDataLst>
                  <p:tags r:id="rId206"/>
                </p:custDataLst>
              </p:nvPr>
            </p:nvSpPr>
            <p:spPr bwMode="gray">
              <a:xfrm>
                <a:off x="3715809" y="4047018"/>
                <a:ext cx="791117" cy="819905"/>
              </a:xfrm>
              <a:custGeom>
                <a:avLst/>
                <a:gdLst>
                  <a:gd name="T0" fmla="*/ 350903269 w 607"/>
                  <a:gd name="T1" fmla="*/ 26870867 h 637"/>
                  <a:gd name="T2" fmla="*/ 263642114 w 607"/>
                  <a:gd name="T3" fmla="*/ 26870867 h 637"/>
                  <a:gd name="T4" fmla="*/ 304488254 w 607"/>
                  <a:gd name="T5" fmla="*/ 73893257 h 637"/>
                  <a:gd name="T6" fmla="*/ 278494265 w 607"/>
                  <a:gd name="T7" fmla="*/ 89008864 h 637"/>
                  <a:gd name="T8" fmla="*/ 237649487 w 607"/>
                  <a:gd name="T9" fmla="*/ 112520701 h 637"/>
                  <a:gd name="T10" fmla="*/ 191233109 w 607"/>
                  <a:gd name="T11" fmla="*/ 92367883 h 637"/>
                  <a:gd name="T12" fmla="*/ 159670202 w 607"/>
                  <a:gd name="T13" fmla="*/ 83970315 h 637"/>
                  <a:gd name="T14" fmla="*/ 118824062 w 607"/>
                  <a:gd name="T15" fmla="*/ 107482173 h 637"/>
                  <a:gd name="T16" fmla="*/ 135534776 w 607"/>
                  <a:gd name="T17" fmla="*/ 120916953 h 637"/>
                  <a:gd name="T18" fmla="*/ 124394300 w 607"/>
                  <a:gd name="T19" fmla="*/ 204887288 h 637"/>
                  <a:gd name="T20" fmla="*/ 25992637 w 607"/>
                  <a:gd name="T21" fmla="*/ 288857583 h 637"/>
                  <a:gd name="T22" fmla="*/ 11139116 w 607"/>
                  <a:gd name="T23" fmla="*/ 350995630 h 637"/>
                  <a:gd name="T24" fmla="*/ 46416399 w 607"/>
                  <a:gd name="T25" fmla="*/ 387942248 h 637"/>
                  <a:gd name="T26" fmla="*/ 98401674 w 607"/>
                  <a:gd name="T27" fmla="*/ 419851634 h 637"/>
                  <a:gd name="T28" fmla="*/ 135534776 w 607"/>
                  <a:gd name="T29" fmla="*/ 419851634 h 637"/>
                  <a:gd name="T30" fmla="*/ 243218363 w 607"/>
                  <a:gd name="T31" fmla="*/ 424888866 h 637"/>
                  <a:gd name="T32" fmla="*/ 310057129 w 607"/>
                  <a:gd name="T33" fmla="*/ 471912542 h 637"/>
                  <a:gd name="T34" fmla="*/ 393606695 w 607"/>
                  <a:gd name="T35" fmla="*/ 523974747 h 637"/>
                  <a:gd name="T36" fmla="*/ 445591948 w 607"/>
                  <a:gd name="T37" fmla="*/ 579394675 h 637"/>
                  <a:gd name="T38" fmla="*/ 460445461 w 607"/>
                  <a:gd name="T39" fmla="*/ 663364969 h 637"/>
                  <a:gd name="T40" fmla="*/ 460445461 w 607"/>
                  <a:gd name="T41" fmla="*/ 681838440 h 637"/>
                  <a:gd name="T42" fmla="*/ 521713990 w 607"/>
                  <a:gd name="T43" fmla="*/ 733899349 h 637"/>
                  <a:gd name="T44" fmla="*/ 564415968 w 607"/>
                  <a:gd name="T45" fmla="*/ 775884496 h 637"/>
                  <a:gd name="T46" fmla="*/ 568129005 w 607"/>
                  <a:gd name="T47" fmla="*/ 878328100 h 637"/>
                  <a:gd name="T48" fmla="*/ 471584574 w 607"/>
                  <a:gd name="T49" fmla="*/ 962298394 h 637"/>
                  <a:gd name="T50" fmla="*/ 521713990 w 607"/>
                  <a:gd name="T51" fmla="*/ 985810232 h 637"/>
                  <a:gd name="T52" fmla="*/ 553276855 w 607"/>
                  <a:gd name="T53" fmla="*/ 995887289 h 637"/>
                  <a:gd name="T54" fmla="*/ 594122995 w 607"/>
                  <a:gd name="T55" fmla="*/ 1032833908 h 637"/>
                  <a:gd name="T56" fmla="*/ 590408594 w 607"/>
                  <a:gd name="T57" fmla="*/ 1066421507 h 637"/>
                  <a:gd name="T58" fmla="*/ 712947014 w 607"/>
                  <a:gd name="T59" fmla="*/ 916954228 h 637"/>
                  <a:gd name="T60" fmla="*/ 729656536 w 607"/>
                  <a:gd name="T61" fmla="*/ 864893319 h 637"/>
                  <a:gd name="T62" fmla="*/ 755649162 w 607"/>
                  <a:gd name="T63" fmla="*/ 804434863 h 637"/>
                  <a:gd name="T64" fmla="*/ 828058167 w 607"/>
                  <a:gd name="T65" fmla="*/ 765808735 h 637"/>
                  <a:gd name="T66" fmla="*/ 848480556 w 607"/>
                  <a:gd name="T67" fmla="*/ 747335425 h 637"/>
                  <a:gd name="T68" fmla="*/ 874474545 w 607"/>
                  <a:gd name="T69" fmla="*/ 747335425 h 637"/>
                  <a:gd name="T70" fmla="*/ 950596587 w 607"/>
                  <a:gd name="T71" fmla="*/ 700311749 h 637"/>
                  <a:gd name="T72" fmla="*/ 1023004229 w 607"/>
                  <a:gd name="T73" fmla="*/ 476951071 h 637"/>
                  <a:gd name="T74" fmla="*/ 1074990845 w 607"/>
                  <a:gd name="T75" fmla="*/ 270384273 h 637"/>
                  <a:gd name="T76" fmla="*/ 878187582 w 607"/>
                  <a:gd name="T77" fmla="*/ 199848760 h 637"/>
                  <a:gd name="T78" fmla="*/ 854050793 w 607"/>
                  <a:gd name="T79" fmla="*/ 191452508 h 637"/>
                  <a:gd name="T80" fmla="*/ 837341442 w 607"/>
                  <a:gd name="T81" fmla="*/ 172979198 h 637"/>
                  <a:gd name="T82" fmla="*/ 811348816 w 607"/>
                  <a:gd name="T83" fmla="*/ 162902101 h 637"/>
                  <a:gd name="T84" fmla="*/ 744510049 w 607"/>
                  <a:gd name="T85" fmla="*/ 162902101 h 637"/>
                  <a:gd name="T86" fmla="*/ 709233977 w 607"/>
                  <a:gd name="T87" fmla="*/ 199848760 h 637"/>
                  <a:gd name="T88" fmla="*/ 683241350 w 607"/>
                  <a:gd name="T89" fmla="*/ 186413979 h 637"/>
                  <a:gd name="T90" fmla="*/ 651678486 w 607"/>
                  <a:gd name="T91" fmla="*/ 186413979 h 637"/>
                  <a:gd name="T92" fmla="*/ 662817599 w 607"/>
                  <a:gd name="T93" fmla="*/ 181375450 h 637"/>
                  <a:gd name="T94" fmla="*/ 666530636 w 607"/>
                  <a:gd name="T95" fmla="*/ 167940629 h 637"/>
                  <a:gd name="T96" fmla="*/ 666530636 w 607"/>
                  <a:gd name="T97" fmla="*/ 157863572 h 637"/>
                  <a:gd name="T98" fmla="*/ 651678486 w 607"/>
                  <a:gd name="T99" fmla="*/ 144428791 h 637"/>
                  <a:gd name="T100" fmla="*/ 677671112 w 607"/>
                  <a:gd name="T101" fmla="*/ 89008864 h 637"/>
                  <a:gd name="T102" fmla="*/ 620115621 w 607"/>
                  <a:gd name="T103" fmla="*/ 70535534 h 637"/>
                  <a:gd name="T104" fmla="*/ 568129005 w 607"/>
                  <a:gd name="T105" fmla="*/ 78931786 h 637"/>
                  <a:gd name="T106" fmla="*/ 521713990 w 607"/>
                  <a:gd name="T107" fmla="*/ 83970315 h 637"/>
                  <a:gd name="T108" fmla="*/ 480867850 w 607"/>
                  <a:gd name="T109" fmla="*/ 83970315 h 637"/>
                  <a:gd name="T110" fmla="*/ 440021710 w 607"/>
                  <a:gd name="T111" fmla="*/ 102443644 h 637"/>
                  <a:gd name="T112" fmla="*/ 408458846 w 607"/>
                  <a:gd name="T113" fmla="*/ 70535534 h 637"/>
                  <a:gd name="T114" fmla="*/ 414029083 w 607"/>
                  <a:gd name="T115" fmla="*/ 26870867 h 637"/>
                  <a:gd name="T116" fmla="*/ 393606695 w 607"/>
                  <a:gd name="T117" fmla="*/ 0 h 63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07"/>
                  <a:gd name="T178" fmla="*/ 0 h 637"/>
                  <a:gd name="T179" fmla="*/ 607 w 607"/>
                  <a:gd name="T180" fmla="*/ 637 h 63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07" h="637">
                    <a:moveTo>
                      <a:pt x="206" y="0"/>
                    </a:moveTo>
                    <a:lnTo>
                      <a:pt x="206" y="5"/>
                    </a:lnTo>
                    <a:lnTo>
                      <a:pt x="201" y="11"/>
                    </a:lnTo>
                    <a:lnTo>
                      <a:pt x="195" y="11"/>
                    </a:lnTo>
                    <a:lnTo>
                      <a:pt x="192" y="14"/>
                    </a:lnTo>
                    <a:lnTo>
                      <a:pt x="189" y="14"/>
                    </a:lnTo>
                    <a:lnTo>
                      <a:pt x="189" y="16"/>
                    </a:lnTo>
                    <a:lnTo>
                      <a:pt x="170" y="19"/>
                    </a:lnTo>
                    <a:lnTo>
                      <a:pt x="162" y="19"/>
                    </a:lnTo>
                    <a:lnTo>
                      <a:pt x="142" y="14"/>
                    </a:lnTo>
                    <a:lnTo>
                      <a:pt x="142" y="16"/>
                    </a:lnTo>
                    <a:lnTo>
                      <a:pt x="142" y="19"/>
                    </a:lnTo>
                    <a:lnTo>
                      <a:pt x="150" y="22"/>
                    </a:lnTo>
                    <a:lnTo>
                      <a:pt x="150" y="25"/>
                    </a:lnTo>
                    <a:lnTo>
                      <a:pt x="150" y="33"/>
                    </a:lnTo>
                    <a:lnTo>
                      <a:pt x="150" y="44"/>
                    </a:lnTo>
                    <a:lnTo>
                      <a:pt x="156" y="44"/>
                    </a:lnTo>
                    <a:lnTo>
                      <a:pt x="164" y="44"/>
                    </a:lnTo>
                    <a:lnTo>
                      <a:pt x="164" y="47"/>
                    </a:lnTo>
                    <a:lnTo>
                      <a:pt x="162" y="47"/>
                    </a:lnTo>
                    <a:lnTo>
                      <a:pt x="159" y="47"/>
                    </a:lnTo>
                    <a:lnTo>
                      <a:pt x="159" y="50"/>
                    </a:lnTo>
                    <a:lnTo>
                      <a:pt x="156" y="50"/>
                    </a:lnTo>
                    <a:lnTo>
                      <a:pt x="153" y="50"/>
                    </a:lnTo>
                    <a:lnTo>
                      <a:pt x="150" y="53"/>
                    </a:lnTo>
                    <a:lnTo>
                      <a:pt x="150" y="55"/>
                    </a:lnTo>
                    <a:lnTo>
                      <a:pt x="150" y="58"/>
                    </a:lnTo>
                    <a:lnTo>
                      <a:pt x="148" y="58"/>
                    </a:lnTo>
                    <a:lnTo>
                      <a:pt x="145" y="61"/>
                    </a:lnTo>
                    <a:lnTo>
                      <a:pt x="142" y="61"/>
                    </a:lnTo>
                    <a:lnTo>
                      <a:pt x="131" y="64"/>
                    </a:lnTo>
                    <a:lnTo>
                      <a:pt x="128" y="67"/>
                    </a:lnTo>
                    <a:lnTo>
                      <a:pt x="117" y="69"/>
                    </a:lnTo>
                    <a:lnTo>
                      <a:pt x="112" y="64"/>
                    </a:lnTo>
                    <a:lnTo>
                      <a:pt x="109" y="61"/>
                    </a:lnTo>
                    <a:lnTo>
                      <a:pt x="106" y="64"/>
                    </a:lnTo>
                    <a:lnTo>
                      <a:pt x="103" y="55"/>
                    </a:lnTo>
                    <a:lnTo>
                      <a:pt x="100" y="50"/>
                    </a:lnTo>
                    <a:lnTo>
                      <a:pt x="98" y="50"/>
                    </a:lnTo>
                    <a:lnTo>
                      <a:pt x="92" y="53"/>
                    </a:lnTo>
                    <a:lnTo>
                      <a:pt x="89" y="50"/>
                    </a:lnTo>
                    <a:lnTo>
                      <a:pt x="86" y="50"/>
                    </a:lnTo>
                    <a:lnTo>
                      <a:pt x="86" y="53"/>
                    </a:lnTo>
                    <a:lnTo>
                      <a:pt x="86" y="55"/>
                    </a:lnTo>
                    <a:lnTo>
                      <a:pt x="64" y="55"/>
                    </a:lnTo>
                    <a:lnTo>
                      <a:pt x="61" y="53"/>
                    </a:lnTo>
                    <a:lnTo>
                      <a:pt x="61" y="64"/>
                    </a:lnTo>
                    <a:lnTo>
                      <a:pt x="64" y="64"/>
                    </a:lnTo>
                    <a:lnTo>
                      <a:pt x="67" y="64"/>
                    </a:lnTo>
                    <a:lnTo>
                      <a:pt x="70" y="64"/>
                    </a:lnTo>
                    <a:lnTo>
                      <a:pt x="73" y="67"/>
                    </a:lnTo>
                    <a:lnTo>
                      <a:pt x="73" y="72"/>
                    </a:lnTo>
                    <a:lnTo>
                      <a:pt x="70" y="72"/>
                    </a:lnTo>
                    <a:lnTo>
                      <a:pt x="67" y="69"/>
                    </a:lnTo>
                    <a:lnTo>
                      <a:pt x="59" y="72"/>
                    </a:lnTo>
                    <a:lnTo>
                      <a:pt x="59" y="83"/>
                    </a:lnTo>
                    <a:lnTo>
                      <a:pt x="67" y="92"/>
                    </a:lnTo>
                    <a:lnTo>
                      <a:pt x="70" y="100"/>
                    </a:lnTo>
                    <a:lnTo>
                      <a:pt x="67" y="122"/>
                    </a:lnTo>
                    <a:lnTo>
                      <a:pt x="64" y="122"/>
                    </a:lnTo>
                    <a:lnTo>
                      <a:pt x="64" y="133"/>
                    </a:lnTo>
                    <a:lnTo>
                      <a:pt x="61" y="136"/>
                    </a:lnTo>
                    <a:lnTo>
                      <a:pt x="61" y="145"/>
                    </a:lnTo>
                    <a:lnTo>
                      <a:pt x="59" y="147"/>
                    </a:lnTo>
                    <a:lnTo>
                      <a:pt x="53" y="147"/>
                    </a:lnTo>
                    <a:lnTo>
                      <a:pt x="25" y="158"/>
                    </a:lnTo>
                    <a:lnTo>
                      <a:pt x="14" y="172"/>
                    </a:lnTo>
                    <a:lnTo>
                      <a:pt x="11" y="175"/>
                    </a:lnTo>
                    <a:lnTo>
                      <a:pt x="11" y="184"/>
                    </a:lnTo>
                    <a:lnTo>
                      <a:pt x="6" y="184"/>
                    </a:lnTo>
                    <a:lnTo>
                      <a:pt x="0" y="197"/>
                    </a:lnTo>
                    <a:lnTo>
                      <a:pt x="3" y="206"/>
                    </a:lnTo>
                    <a:lnTo>
                      <a:pt x="6" y="209"/>
                    </a:lnTo>
                    <a:lnTo>
                      <a:pt x="11" y="220"/>
                    </a:lnTo>
                    <a:lnTo>
                      <a:pt x="14" y="220"/>
                    </a:lnTo>
                    <a:lnTo>
                      <a:pt x="14" y="222"/>
                    </a:lnTo>
                    <a:lnTo>
                      <a:pt x="14" y="225"/>
                    </a:lnTo>
                    <a:lnTo>
                      <a:pt x="22" y="228"/>
                    </a:lnTo>
                    <a:lnTo>
                      <a:pt x="25" y="228"/>
                    </a:lnTo>
                    <a:lnTo>
                      <a:pt x="25" y="231"/>
                    </a:lnTo>
                    <a:lnTo>
                      <a:pt x="25" y="234"/>
                    </a:lnTo>
                    <a:lnTo>
                      <a:pt x="28" y="234"/>
                    </a:lnTo>
                    <a:lnTo>
                      <a:pt x="31" y="236"/>
                    </a:lnTo>
                    <a:lnTo>
                      <a:pt x="36" y="236"/>
                    </a:lnTo>
                    <a:lnTo>
                      <a:pt x="53" y="225"/>
                    </a:lnTo>
                    <a:lnTo>
                      <a:pt x="53" y="250"/>
                    </a:lnTo>
                    <a:lnTo>
                      <a:pt x="56" y="253"/>
                    </a:lnTo>
                    <a:lnTo>
                      <a:pt x="59" y="253"/>
                    </a:lnTo>
                    <a:lnTo>
                      <a:pt x="61" y="250"/>
                    </a:lnTo>
                    <a:lnTo>
                      <a:pt x="64" y="250"/>
                    </a:lnTo>
                    <a:lnTo>
                      <a:pt x="67" y="250"/>
                    </a:lnTo>
                    <a:lnTo>
                      <a:pt x="73" y="250"/>
                    </a:lnTo>
                    <a:lnTo>
                      <a:pt x="84" y="253"/>
                    </a:lnTo>
                    <a:lnTo>
                      <a:pt x="98" y="248"/>
                    </a:lnTo>
                    <a:lnTo>
                      <a:pt x="112" y="234"/>
                    </a:lnTo>
                    <a:lnTo>
                      <a:pt x="131" y="231"/>
                    </a:lnTo>
                    <a:lnTo>
                      <a:pt x="134" y="234"/>
                    </a:lnTo>
                    <a:lnTo>
                      <a:pt x="134" y="250"/>
                    </a:lnTo>
                    <a:lnTo>
                      <a:pt x="131" y="253"/>
                    </a:lnTo>
                    <a:lnTo>
                      <a:pt x="131" y="256"/>
                    </a:lnTo>
                    <a:lnTo>
                      <a:pt x="134" y="261"/>
                    </a:lnTo>
                    <a:lnTo>
                      <a:pt x="137" y="267"/>
                    </a:lnTo>
                    <a:lnTo>
                      <a:pt x="145" y="273"/>
                    </a:lnTo>
                    <a:lnTo>
                      <a:pt x="164" y="275"/>
                    </a:lnTo>
                    <a:lnTo>
                      <a:pt x="164" y="278"/>
                    </a:lnTo>
                    <a:lnTo>
                      <a:pt x="167" y="278"/>
                    </a:lnTo>
                    <a:lnTo>
                      <a:pt x="167" y="281"/>
                    </a:lnTo>
                    <a:lnTo>
                      <a:pt x="181" y="287"/>
                    </a:lnTo>
                    <a:lnTo>
                      <a:pt x="187" y="289"/>
                    </a:lnTo>
                    <a:lnTo>
                      <a:pt x="198" y="289"/>
                    </a:lnTo>
                    <a:lnTo>
                      <a:pt x="206" y="295"/>
                    </a:lnTo>
                    <a:lnTo>
                      <a:pt x="209" y="303"/>
                    </a:lnTo>
                    <a:lnTo>
                      <a:pt x="209" y="306"/>
                    </a:lnTo>
                    <a:lnTo>
                      <a:pt x="209" y="309"/>
                    </a:lnTo>
                    <a:lnTo>
                      <a:pt x="212" y="312"/>
                    </a:lnTo>
                    <a:lnTo>
                      <a:pt x="209" y="317"/>
                    </a:lnTo>
                    <a:lnTo>
                      <a:pt x="209" y="320"/>
                    </a:lnTo>
                    <a:lnTo>
                      <a:pt x="215" y="334"/>
                    </a:lnTo>
                    <a:lnTo>
                      <a:pt x="240" y="337"/>
                    </a:lnTo>
                    <a:lnTo>
                      <a:pt x="242" y="339"/>
                    </a:lnTo>
                    <a:lnTo>
                      <a:pt x="240" y="345"/>
                    </a:lnTo>
                    <a:lnTo>
                      <a:pt x="242" y="351"/>
                    </a:lnTo>
                    <a:lnTo>
                      <a:pt x="245" y="353"/>
                    </a:lnTo>
                    <a:lnTo>
                      <a:pt x="248" y="353"/>
                    </a:lnTo>
                    <a:lnTo>
                      <a:pt x="251" y="365"/>
                    </a:lnTo>
                    <a:lnTo>
                      <a:pt x="251" y="381"/>
                    </a:lnTo>
                    <a:lnTo>
                      <a:pt x="248" y="390"/>
                    </a:lnTo>
                    <a:lnTo>
                      <a:pt x="248" y="392"/>
                    </a:lnTo>
                    <a:lnTo>
                      <a:pt x="248" y="395"/>
                    </a:lnTo>
                    <a:lnTo>
                      <a:pt x="248" y="398"/>
                    </a:lnTo>
                    <a:lnTo>
                      <a:pt x="245" y="398"/>
                    </a:lnTo>
                    <a:lnTo>
                      <a:pt x="245" y="401"/>
                    </a:lnTo>
                    <a:lnTo>
                      <a:pt x="248" y="403"/>
                    </a:lnTo>
                    <a:lnTo>
                      <a:pt x="248" y="406"/>
                    </a:lnTo>
                    <a:lnTo>
                      <a:pt x="248" y="429"/>
                    </a:lnTo>
                    <a:lnTo>
                      <a:pt x="248" y="431"/>
                    </a:lnTo>
                    <a:lnTo>
                      <a:pt x="256" y="434"/>
                    </a:lnTo>
                    <a:lnTo>
                      <a:pt x="270" y="434"/>
                    </a:lnTo>
                    <a:lnTo>
                      <a:pt x="273" y="431"/>
                    </a:lnTo>
                    <a:lnTo>
                      <a:pt x="276" y="434"/>
                    </a:lnTo>
                    <a:lnTo>
                      <a:pt x="281" y="437"/>
                    </a:lnTo>
                    <a:lnTo>
                      <a:pt x="284" y="437"/>
                    </a:lnTo>
                    <a:lnTo>
                      <a:pt x="284" y="459"/>
                    </a:lnTo>
                    <a:lnTo>
                      <a:pt x="287" y="459"/>
                    </a:lnTo>
                    <a:lnTo>
                      <a:pt x="290" y="462"/>
                    </a:lnTo>
                    <a:lnTo>
                      <a:pt x="292" y="462"/>
                    </a:lnTo>
                    <a:lnTo>
                      <a:pt x="295" y="462"/>
                    </a:lnTo>
                    <a:lnTo>
                      <a:pt x="301" y="462"/>
                    </a:lnTo>
                    <a:lnTo>
                      <a:pt x="304" y="462"/>
                    </a:lnTo>
                    <a:lnTo>
                      <a:pt x="304" y="465"/>
                    </a:lnTo>
                    <a:lnTo>
                      <a:pt x="301" y="490"/>
                    </a:lnTo>
                    <a:lnTo>
                      <a:pt x="309" y="490"/>
                    </a:lnTo>
                    <a:lnTo>
                      <a:pt x="312" y="493"/>
                    </a:lnTo>
                    <a:lnTo>
                      <a:pt x="315" y="504"/>
                    </a:lnTo>
                    <a:lnTo>
                      <a:pt x="315" y="515"/>
                    </a:lnTo>
                    <a:lnTo>
                      <a:pt x="312" y="518"/>
                    </a:lnTo>
                    <a:lnTo>
                      <a:pt x="306" y="523"/>
                    </a:lnTo>
                    <a:lnTo>
                      <a:pt x="298" y="523"/>
                    </a:lnTo>
                    <a:lnTo>
                      <a:pt x="281" y="540"/>
                    </a:lnTo>
                    <a:lnTo>
                      <a:pt x="281" y="543"/>
                    </a:lnTo>
                    <a:lnTo>
                      <a:pt x="273" y="551"/>
                    </a:lnTo>
                    <a:lnTo>
                      <a:pt x="273" y="554"/>
                    </a:lnTo>
                    <a:lnTo>
                      <a:pt x="259" y="568"/>
                    </a:lnTo>
                    <a:lnTo>
                      <a:pt x="254" y="573"/>
                    </a:lnTo>
                    <a:lnTo>
                      <a:pt x="259" y="573"/>
                    </a:lnTo>
                    <a:lnTo>
                      <a:pt x="262" y="571"/>
                    </a:lnTo>
                    <a:lnTo>
                      <a:pt x="265" y="571"/>
                    </a:lnTo>
                    <a:lnTo>
                      <a:pt x="276" y="579"/>
                    </a:lnTo>
                    <a:lnTo>
                      <a:pt x="279" y="587"/>
                    </a:lnTo>
                    <a:lnTo>
                      <a:pt x="281" y="587"/>
                    </a:lnTo>
                    <a:lnTo>
                      <a:pt x="284" y="584"/>
                    </a:lnTo>
                    <a:lnTo>
                      <a:pt x="287" y="584"/>
                    </a:lnTo>
                    <a:lnTo>
                      <a:pt x="290" y="587"/>
                    </a:lnTo>
                    <a:lnTo>
                      <a:pt x="292" y="590"/>
                    </a:lnTo>
                    <a:lnTo>
                      <a:pt x="292" y="593"/>
                    </a:lnTo>
                    <a:lnTo>
                      <a:pt x="295" y="593"/>
                    </a:lnTo>
                    <a:lnTo>
                      <a:pt x="298" y="593"/>
                    </a:lnTo>
                    <a:lnTo>
                      <a:pt x="301" y="596"/>
                    </a:lnTo>
                    <a:lnTo>
                      <a:pt x="304" y="598"/>
                    </a:lnTo>
                    <a:lnTo>
                      <a:pt x="304" y="601"/>
                    </a:lnTo>
                    <a:lnTo>
                      <a:pt x="312" y="604"/>
                    </a:lnTo>
                    <a:lnTo>
                      <a:pt x="315" y="607"/>
                    </a:lnTo>
                    <a:lnTo>
                      <a:pt x="315" y="612"/>
                    </a:lnTo>
                    <a:lnTo>
                      <a:pt x="320" y="615"/>
                    </a:lnTo>
                    <a:lnTo>
                      <a:pt x="323" y="618"/>
                    </a:lnTo>
                    <a:lnTo>
                      <a:pt x="323" y="621"/>
                    </a:lnTo>
                    <a:lnTo>
                      <a:pt x="320" y="621"/>
                    </a:lnTo>
                    <a:lnTo>
                      <a:pt x="320" y="623"/>
                    </a:lnTo>
                    <a:lnTo>
                      <a:pt x="318" y="626"/>
                    </a:lnTo>
                    <a:lnTo>
                      <a:pt x="318" y="635"/>
                    </a:lnTo>
                    <a:lnTo>
                      <a:pt x="318" y="637"/>
                    </a:lnTo>
                    <a:lnTo>
                      <a:pt x="318" y="635"/>
                    </a:lnTo>
                    <a:lnTo>
                      <a:pt x="320" y="635"/>
                    </a:lnTo>
                    <a:lnTo>
                      <a:pt x="326" y="629"/>
                    </a:lnTo>
                    <a:lnTo>
                      <a:pt x="331" y="621"/>
                    </a:lnTo>
                    <a:lnTo>
                      <a:pt x="337" y="610"/>
                    </a:lnTo>
                    <a:lnTo>
                      <a:pt x="354" y="598"/>
                    </a:lnTo>
                    <a:lnTo>
                      <a:pt x="384" y="546"/>
                    </a:lnTo>
                    <a:lnTo>
                      <a:pt x="387" y="546"/>
                    </a:lnTo>
                    <a:lnTo>
                      <a:pt x="390" y="540"/>
                    </a:lnTo>
                    <a:lnTo>
                      <a:pt x="393" y="537"/>
                    </a:lnTo>
                    <a:lnTo>
                      <a:pt x="393" y="520"/>
                    </a:lnTo>
                    <a:lnTo>
                      <a:pt x="395" y="520"/>
                    </a:lnTo>
                    <a:lnTo>
                      <a:pt x="395" y="518"/>
                    </a:lnTo>
                    <a:lnTo>
                      <a:pt x="393" y="515"/>
                    </a:lnTo>
                    <a:lnTo>
                      <a:pt x="393" y="509"/>
                    </a:lnTo>
                    <a:lnTo>
                      <a:pt x="393" y="504"/>
                    </a:lnTo>
                    <a:lnTo>
                      <a:pt x="393" y="501"/>
                    </a:lnTo>
                    <a:lnTo>
                      <a:pt x="393" y="495"/>
                    </a:lnTo>
                    <a:lnTo>
                      <a:pt x="407" y="479"/>
                    </a:lnTo>
                    <a:lnTo>
                      <a:pt x="429" y="462"/>
                    </a:lnTo>
                    <a:lnTo>
                      <a:pt x="432" y="462"/>
                    </a:lnTo>
                    <a:lnTo>
                      <a:pt x="434" y="459"/>
                    </a:lnTo>
                    <a:lnTo>
                      <a:pt x="443" y="459"/>
                    </a:lnTo>
                    <a:lnTo>
                      <a:pt x="446" y="456"/>
                    </a:lnTo>
                    <a:lnTo>
                      <a:pt x="448" y="454"/>
                    </a:lnTo>
                    <a:lnTo>
                      <a:pt x="454" y="451"/>
                    </a:lnTo>
                    <a:lnTo>
                      <a:pt x="457" y="451"/>
                    </a:lnTo>
                    <a:lnTo>
                      <a:pt x="457" y="448"/>
                    </a:lnTo>
                    <a:lnTo>
                      <a:pt x="454" y="448"/>
                    </a:lnTo>
                    <a:lnTo>
                      <a:pt x="457" y="445"/>
                    </a:lnTo>
                    <a:lnTo>
                      <a:pt x="460" y="445"/>
                    </a:lnTo>
                    <a:lnTo>
                      <a:pt x="460" y="448"/>
                    </a:lnTo>
                    <a:lnTo>
                      <a:pt x="468" y="445"/>
                    </a:lnTo>
                    <a:lnTo>
                      <a:pt x="471" y="445"/>
                    </a:lnTo>
                    <a:lnTo>
                      <a:pt x="476" y="445"/>
                    </a:lnTo>
                    <a:lnTo>
                      <a:pt x="479" y="445"/>
                    </a:lnTo>
                    <a:lnTo>
                      <a:pt x="496" y="445"/>
                    </a:lnTo>
                    <a:lnTo>
                      <a:pt x="496" y="437"/>
                    </a:lnTo>
                    <a:lnTo>
                      <a:pt x="507" y="431"/>
                    </a:lnTo>
                    <a:lnTo>
                      <a:pt x="510" y="429"/>
                    </a:lnTo>
                    <a:lnTo>
                      <a:pt x="512" y="417"/>
                    </a:lnTo>
                    <a:lnTo>
                      <a:pt x="532" y="387"/>
                    </a:lnTo>
                    <a:lnTo>
                      <a:pt x="532" y="367"/>
                    </a:lnTo>
                    <a:lnTo>
                      <a:pt x="537" y="359"/>
                    </a:lnTo>
                    <a:lnTo>
                      <a:pt x="543" y="287"/>
                    </a:lnTo>
                    <a:lnTo>
                      <a:pt x="546" y="284"/>
                    </a:lnTo>
                    <a:lnTo>
                      <a:pt x="549" y="284"/>
                    </a:lnTo>
                    <a:lnTo>
                      <a:pt x="551" y="284"/>
                    </a:lnTo>
                    <a:lnTo>
                      <a:pt x="604" y="217"/>
                    </a:lnTo>
                    <a:lnTo>
                      <a:pt x="607" y="184"/>
                    </a:lnTo>
                    <a:lnTo>
                      <a:pt x="604" y="170"/>
                    </a:lnTo>
                    <a:lnTo>
                      <a:pt x="599" y="161"/>
                    </a:lnTo>
                    <a:lnTo>
                      <a:pt x="596" y="161"/>
                    </a:lnTo>
                    <a:lnTo>
                      <a:pt x="579" y="161"/>
                    </a:lnTo>
                    <a:lnTo>
                      <a:pt x="579" y="158"/>
                    </a:lnTo>
                    <a:lnTo>
                      <a:pt x="576" y="158"/>
                    </a:lnTo>
                    <a:lnTo>
                      <a:pt x="574" y="158"/>
                    </a:lnTo>
                    <a:lnTo>
                      <a:pt x="529" y="125"/>
                    </a:lnTo>
                    <a:lnTo>
                      <a:pt x="501" y="125"/>
                    </a:lnTo>
                    <a:lnTo>
                      <a:pt x="479" y="119"/>
                    </a:lnTo>
                    <a:lnTo>
                      <a:pt x="476" y="119"/>
                    </a:lnTo>
                    <a:lnTo>
                      <a:pt x="473" y="119"/>
                    </a:lnTo>
                    <a:lnTo>
                      <a:pt x="473" y="117"/>
                    </a:lnTo>
                    <a:lnTo>
                      <a:pt x="462" y="122"/>
                    </a:lnTo>
                    <a:lnTo>
                      <a:pt x="460" y="122"/>
                    </a:lnTo>
                    <a:lnTo>
                      <a:pt x="460" y="119"/>
                    </a:lnTo>
                    <a:lnTo>
                      <a:pt x="462" y="117"/>
                    </a:lnTo>
                    <a:lnTo>
                      <a:pt x="460" y="114"/>
                    </a:lnTo>
                    <a:lnTo>
                      <a:pt x="457" y="114"/>
                    </a:lnTo>
                    <a:lnTo>
                      <a:pt x="457" y="108"/>
                    </a:lnTo>
                    <a:lnTo>
                      <a:pt x="451" y="103"/>
                    </a:lnTo>
                    <a:lnTo>
                      <a:pt x="448" y="106"/>
                    </a:lnTo>
                    <a:lnTo>
                      <a:pt x="446" y="108"/>
                    </a:lnTo>
                    <a:lnTo>
                      <a:pt x="446" y="103"/>
                    </a:lnTo>
                    <a:lnTo>
                      <a:pt x="443" y="100"/>
                    </a:lnTo>
                    <a:lnTo>
                      <a:pt x="440" y="100"/>
                    </a:lnTo>
                    <a:lnTo>
                      <a:pt x="437" y="97"/>
                    </a:lnTo>
                    <a:lnTo>
                      <a:pt x="434" y="97"/>
                    </a:lnTo>
                    <a:lnTo>
                      <a:pt x="432" y="97"/>
                    </a:lnTo>
                    <a:lnTo>
                      <a:pt x="426" y="97"/>
                    </a:lnTo>
                    <a:lnTo>
                      <a:pt x="415" y="89"/>
                    </a:lnTo>
                    <a:lnTo>
                      <a:pt x="407" y="92"/>
                    </a:lnTo>
                    <a:lnTo>
                      <a:pt x="404" y="92"/>
                    </a:lnTo>
                    <a:lnTo>
                      <a:pt x="401" y="97"/>
                    </a:lnTo>
                    <a:lnTo>
                      <a:pt x="395" y="103"/>
                    </a:lnTo>
                    <a:lnTo>
                      <a:pt x="390" y="106"/>
                    </a:lnTo>
                    <a:lnTo>
                      <a:pt x="387" y="114"/>
                    </a:lnTo>
                    <a:lnTo>
                      <a:pt x="384" y="114"/>
                    </a:lnTo>
                    <a:lnTo>
                      <a:pt x="384" y="117"/>
                    </a:lnTo>
                    <a:lnTo>
                      <a:pt x="384" y="119"/>
                    </a:lnTo>
                    <a:lnTo>
                      <a:pt x="382" y="119"/>
                    </a:lnTo>
                    <a:lnTo>
                      <a:pt x="382" y="114"/>
                    </a:lnTo>
                    <a:lnTo>
                      <a:pt x="384" y="108"/>
                    </a:lnTo>
                    <a:lnTo>
                      <a:pt x="382" y="108"/>
                    </a:lnTo>
                    <a:lnTo>
                      <a:pt x="379" y="108"/>
                    </a:lnTo>
                    <a:lnTo>
                      <a:pt x="379" y="111"/>
                    </a:lnTo>
                    <a:lnTo>
                      <a:pt x="368" y="108"/>
                    </a:lnTo>
                    <a:lnTo>
                      <a:pt x="368" y="111"/>
                    </a:lnTo>
                    <a:lnTo>
                      <a:pt x="365" y="111"/>
                    </a:lnTo>
                    <a:lnTo>
                      <a:pt x="365" y="108"/>
                    </a:lnTo>
                    <a:lnTo>
                      <a:pt x="362" y="108"/>
                    </a:lnTo>
                    <a:lnTo>
                      <a:pt x="359" y="111"/>
                    </a:lnTo>
                    <a:lnTo>
                      <a:pt x="357" y="111"/>
                    </a:lnTo>
                    <a:lnTo>
                      <a:pt x="354" y="108"/>
                    </a:lnTo>
                    <a:lnTo>
                      <a:pt x="351" y="108"/>
                    </a:lnTo>
                    <a:lnTo>
                      <a:pt x="351" y="111"/>
                    </a:lnTo>
                    <a:lnTo>
                      <a:pt x="351" y="114"/>
                    </a:lnTo>
                    <a:lnTo>
                      <a:pt x="348" y="114"/>
                    </a:lnTo>
                    <a:lnTo>
                      <a:pt x="348" y="111"/>
                    </a:lnTo>
                    <a:lnTo>
                      <a:pt x="348" y="108"/>
                    </a:lnTo>
                    <a:lnTo>
                      <a:pt x="351" y="108"/>
                    </a:lnTo>
                    <a:lnTo>
                      <a:pt x="354" y="108"/>
                    </a:lnTo>
                    <a:lnTo>
                      <a:pt x="357" y="108"/>
                    </a:lnTo>
                    <a:lnTo>
                      <a:pt x="359" y="108"/>
                    </a:lnTo>
                    <a:lnTo>
                      <a:pt x="362" y="108"/>
                    </a:lnTo>
                    <a:lnTo>
                      <a:pt x="362" y="100"/>
                    </a:lnTo>
                    <a:lnTo>
                      <a:pt x="359" y="100"/>
                    </a:lnTo>
                    <a:lnTo>
                      <a:pt x="359" y="97"/>
                    </a:lnTo>
                    <a:lnTo>
                      <a:pt x="362" y="94"/>
                    </a:lnTo>
                    <a:lnTo>
                      <a:pt x="359" y="94"/>
                    </a:lnTo>
                    <a:lnTo>
                      <a:pt x="357" y="94"/>
                    </a:lnTo>
                    <a:lnTo>
                      <a:pt x="357" y="97"/>
                    </a:lnTo>
                    <a:lnTo>
                      <a:pt x="351" y="100"/>
                    </a:lnTo>
                    <a:lnTo>
                      <a:pt x="351" y="97"/>
                    </a:lnTo>
                    <a:lnTo>
                      <a:pt x="351" y="92"/>
                    </a:lnTo>
                    <a:lnTo>
                      <a:pt x="351" y="89"/>
                    </a:lnTo>
                    <a:lnTo>
                      <a:pt x="351" y="86"/>
                    </a:lnTo>
                    <a:lnTo>
                      <a:pt x="368" y="69"/>
                    </a:lnTo>
                    <a:lnTo>
                      <a:pt x="370" y="67"/>
                    </a:lnTo>
                    <a:lnTo>
                      <a:pt x="373" y="55"/>
                    </a:lnTo>
                    <a:lnTo>
                      <a:pt x="370" y="55"/>
                    </a:lnTo>
                    <a:lnTo>
                      <a:pt x="365" y="53"/>
                    </a:lnTo>
                    <a:lnTo>
                      <a:pt x="357" y="22"/>
                    </a:lnTo>
                    <a:lnTo>
                      <a:pt x="354" y="16"/>
                    </a:lnTo>
                    <a:lnTo>
                      <a:pt x="351" y="14"/>
                    </a:lnTo>
                    <a:lnTo>
                      <a:pt x="348" y="16"/>
                    </a:lnTo>
                    <a:lnTo>
                      <a:pt x="337" y="33"/>
                    </a:lnTo>
                    <a:lnTo>
                      <a:pt x="334" y="42"/>
                    </a:lnTo>
                    <a:lnTo>
                      <a:pt x="326" y="47"/>
                    </a:lnTo>
                    <a:lnTo>
                      <a:pt x="323" y="50"/>
                    </a:lnTo>
                    <a:lnTo>
                      <a:pt x="320" y="50"/>
                    </a:lnTo>
                    <a:lnTo>
                      <a:pt x="320" y="47"/>
                    </a:lnTo>
                    <a:lnTo>
                      <a:pt x="315" y="47"/>
                    </a:lnTo>
                    <a:lnTo>
                      <a:pt x="312" y="50"/>
                    </a:lnTo>
                    <a:lnTo>
                      <a:pt x="309" y="50"/>
                    </a:lnTo>
                    <a:lnTo>
                      <a:pt x="306" y="47"/>
                    </a:lnTo>
                    <a:lnTo>
                      <a:pt x="304" y="44"/>
                    </a:lnTo>
                    <a:lnTo>
                      <a:pt x="295" y="42"/>
                    </a:lnTo>
                    <a:lnTo>
                      <a:pt x="290" y="44"/>
                    </a:lnTo>
                    <a:lnTo>
                      <a:pt x="287" y="44"/>
                    </a:lnTo>
                    <a:lnTo>
                      <a:pt x="284" y="42"/>
                    </a:lnTo>
                    <a:lnTo>
                      <a:pt x="281" y="42"/>
                    </a:lnTo>
                    <a:lnTo>
                      <a:pt x="281" y="44"/>
                    </a:lnTo>
                    <a:lnTo>
                      <a:pt x="281" y="50"/>
                    </a:lnTo>
                    <a:lnTo>
                      <a:pt x="281" y="53"/>
                    </a:lnTo>
                    <a:lnTo>
                      <a:pt x="276" y="53"/>
                    </a:lnTo>
                    <a:lnTo>
                      <a:pt x="273" y="50"/>
                    </a:lnTo>
                    <a:lnTo>
                      <a:pt x="265" y="50"/>
                    </a:lnTo>
                    <a:lnTo>
                      <a:pt x="262" y="50"/>
                    </a:lnTo>
                    <a:lnTo>
                      <a:pt x="259" y="50"/>
                    </a:lnTo>
                    <a:lnTo>
                      <a:pt x="256" y="50"/>
                    </a:lnTo>
                    <a:lnTo>
                      <a:pt x="254" y="55"/>
                    </a:lnTo>
                    <a:lnTo>
                      <a:pt x="251" y="55"/>
                    </a:lnTo>
                    <a:lnTo>
                      <a:pt x="248" y="55"/>
                    </a:lnTo>
                    <a:lnTo>
                      <a:pt x="242" y="55"/>
                    </a:lnTo>
                    <a:lnTo>
                      <a:pt x="242" y="58"/>
                    </a:lnTo>
                    <a:lnTo>
                      <a:pt x="240" y="61"/>
                    </a:lnTo>
                    <a:lnTo>
                      <a:pt x="237" y="61"/>
                    </a:lnTo>
                    <a:lnTo>
                      <a:pt x="234" y="61"/>
                    </a:lnTo>
                    <a:lnTo>
                      <a:pt x="228" y="58"/>
                    </a:lnTo>
                    <a:lnTo>
                      <a:pt x="226" y="55"/>
                    </a:lnTo>
                    <a:lnTo>
                      <a:pt x="223" y="53"/>
                    </a:lnTo>
                    <a:lnTo>
                      <a:pt x="223" y="44"/>
                    </a:lnTo>
                    <a:lnTo>
                      <a:pt x="220" y="42"/>
                    </a:lnTo>
                    <a:lnTo>
                      <a:pt x="217" y="42"/>
                    </a:lnTo>
                    <a:lnTo>
                      <a:pt x="217" y="33"/>
                    </a:lnTo>
                    <a:lnTo>
                      <a:pt x="220" y="28"/>
                    </a:lnTo>
                    <a:lnTo>
                      <a:pt x="220" y="25"/>
                    </a:lnTo>
                    <a:lnTo>
                      <a:pt x="223" y="19"/>
                    </a:lnTo>
                    <a:lnTo>
                      <a:pt x="223" y="16"/>
                    </a:lnTo>
                    <a:lnTo>
                      <a:pt x="223" y="11"/>
                    </a:lnTo>
                    <a:lnTo>
                      <a:pt x="220" y="11"/>
                    </a:lnTo>
                    <a:lnTo>
                      <a:pt x="217" y="11"/>
                    </a:lnTo>
                    <a:lnTo>
                      <a:pt x="215" y="11"/>
                    </a:lnTo>
                    <a:lnTo>
                      <a:pt x="217" y="5"/>
                    </a:lnTo>
                    <a:lnTo>
                      <a:pt x="217" y="3"/>
                    </a:lnTo>
                    <a:lnTo>
                      <a:pt x="215" y="0"/>
                    </a:lnTo>
                    <a:lnTo>
                      <a:pt x="212" y="0"/>
                    </a:lnTo>
                    <a:lnTo>
                      <a:pt x="209" y="0"/>
                    </a:lnTo>
                    <a:lnTo>
                      <a:pt x="20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19" name="Freeform 786"/>
              <p:cNvSpPr>
                <a:spLocks noChangeAspect="1"/>
              </p:cNvSpPr>
              <p:nvPr>
                <p:custDataLst>
                  <p:tags r:id="rId207"/>
                </p:custDataLst>
              </p:nvPr>
            </p:nvSpPr>
            <p:spPr bwMode="gray">
              <a:xfrm>
                <a:off x="3850952" y="3772665"/>
                <a:ext cx="27332" cy="11038"/>
              </a:xfrm>
              <a:custGeom>
                <a:avLst/>
                <a:gdLst>
                  <a:gd name="T0" fmla="*/ 37115026 w 22"/>
                  <a:gd name="T1" fmla="*/ 0 h 8"/>
                  <a:gd name="T2" fmla="*/ 37115026 w 22"/>
                  <a:gd name="T3" fmla="*/ 5788484 h 8"/>
                  <a:gd name="T4" fmla="*/ 37115026 w 22"/>
                  <a:gd name="T5" fmla="*/ 11578357 h 8"/>
                  <a:gd name="T6" fmla="*/ 33740579 w 22"/>
                  <a:gd name="T7" fmla="*/ 15437344 h 8"/>
                  <a:gd name="T8" fmla="*/ 5061671 w 22"/>
                  <a:gd name="T9" fmla="*/ 15437344 h 8"/>
                  <a:gd name="T10" fmla="*/ 5061671 w 22"/>
                  <a:gd name="T11" fmla="*/ 15437344 h 8"/>
                  <a:gd name="T12" fmla="*/ 5061671 w 22"/>
                  <a:gd name="T13" fmla="*/ 11578357 h 8"/>
                  <a:gd name="T14" fmla="*/ 0 w 22"/>
                  <a:gd name="T15" fmla="*/ 5788484 h 8"/>
                  <a:gd name="T16" fmla="*/ 0 w 22"/>
                  <a:gd name="T17" fmla="*/ 5788484 h 8"/>
                  <a:gd name="T18" fmla="*/ 5061671 w 22"/>
                  <a:gd name="T19" fmla="*/ 0 h 8"/>
                  <a:gd name="T20" fmla="*/ 33740579 w 22"/>
                  <a:gd name="T21" fmla="*/ 0 h 8"/>
                  <a:gd name="T22" fmla="*/ 37115026 w 22"/>
                  <a:gd name="T23" fmla="*/ 0 h 8"/>
                  <a:gd name="T24" fmla="*/ 37115026 w 22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2"/>
                  <a:gd name="T40" fmla="*/ 0 h 8"/>
                  <a:gd name="T41" fmla="*/ 22 w 22"/>
                  <a:gd name="T42" fmla="*/ 8 h 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2" h="8">
                    <a:moveTo>
                      <a:pt x="22" y="0"/>
                    </a:moveTo>
                    <a:lnTo>
                      <a:pt x="22" y="3"/>
                    </a:lnTo>
                    <a:lnTo>
                      <a:pt x="22" y="6"/>
                    </a:lnTo>
                    <a:lnTo>
                      <a:pt x="20" y="8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2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0" name="Freeform 787"/>
              <p:cNvSpPr>
                <a:spLocks noChangeAspect="1"/>
              </p:cNvSpPr>
              <p:nvPr>
                <p:custDataLst>
                  <p:tags r:id="rId208"/>
                </p:custDataLst>
              </p:nvPr>
            </p:nvSpPr>
            <p:spPr bwMode="gray">
              <a:xfrm>
                <a:off x="3980021" y="3881462"/>
                <a:ext cx="0" cy="7884"/>
              </a:xfrm>
              <a:custGeom>
                <a:avLst/>
                <a:gdLst>
                  <a:gd name="T0" fmla="*/ 0 h 5"/>
                  <a:gd name="T1" fmla="*/ 0 h 5"/>
                  <a:gd name="T2" fmla="*/ 12599192 h 5"/>
                  <a:gd name="T3" fmla="*/ 5039995 h 5"/>
                  <a:gd name="T4" fmla="*/ 0 h 5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h 5"/>
                  <a:gd name="T11" fmla="*/ 5 h 5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T10" r="0" b="T11"/>
                <a:pathLst>
                  <a:path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1" name="Freeform 788"/>
              <p:cNvSpPr>
                <a:spLocks noChangeAspect="1"/>
              </p:cNvSpPr>
              <p:nvPr>
                <p:custDataLst>
                  <p:tags r:id="rId209"/>
                </p:custDataLst>
              </p:nvPr>
            </p:nvSpPr>
            <p:spPr bwMode="gray">
              <a:xfrm>
                <a:off x="3980021" y="3881462"/>
                <a:ext cx="0" cy="7884"/>
              </a:xfrm>
              <a:custGeom>
                <a:avLst/>
                <a:gdLst>
                  <a:gd name="T0" fmla="*/ 0 h 5"/>
                  <a:gd name="T1" fmla="*/ 0 h 5"/>
                  <a:gd name="T2" fmla="*/ 12599192 h 5"/>
                  <a:gd name="T3" fmla="*/ 5039995 h 5"/>
                  <a:gd name="T4" fmla="*/ 0 h 5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h 5"/>
                  <a:gd name="T11" fmla="*/ 5 h 5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T10" r="0" b="T11"/>
                <a:pathLst>
                  <a:path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2" name="Freeform 789"/>
              <p:cNvSpPr>
                <a:spLocks noChangeAspect="1"/>
              </p:cNvSpPr>
              <p:nvPr>
                <p:custDataLst>
                  <p:tags r:id="rId210"/>
                </p:custDataLst>
              </p:nvPr>
            </p:nvSpPr>
            <p:spPr bwMode="gray">
              <a:xfrm>
                <a:off x="3960281" y="3816815"/>
                <a:ext cx="13665" cy="11038"/>
              </a:xfrm>
              <a:custGeom>
                <a:avLst/>
                <a:gdLst>
                  <a:gd name="T0" fmla="*/ 13496020 w 11"/>
                  <a:gd name="T1" fmla="*/ 0 h 8"/>
                  <a:gd name="T2" fmla="*/ 8434525 w 11"/>
                  <a:gd name="T3" fmla="*/ 0 h 8"/>
                  <a:gd name="T4" fmla="*/ 8434525 w 11"/>
                  <a:gd name="T5" fmla="*/ 3858989 h 8"/>
                  <a:gd name="T6" fmla="*/ 3374330 w 11"/>
                  <a:gd name="T7" fmla="*/ 3858989 h 8"/>
                  <a:gd name="T8" fmla="*/ 0 w 11"/>
                  <a:gd name="T9" fmla="*/ 9648860 h 8"/>
                  <a:gd name="T10" fmla="*/ 3374330 w 11"/>
                  <a:gd name="T11" fmla="*/ 15437344 h 8"/>
                  <a:gd name="T12" fmla="*/ 3374330 w 11"/>
                  <a:gd name="T13" fmla="*/ 15437344 h 8"/>
                  <a:gd name="T14" fmla="*/ 8434525 w 11"/>
                  <a:gd name="T15" fmla="*/ 9648860 h 8"/>
                  <a:gd name="T16" fmla="*/ 8434525 w 11"/>
                  <a:gd name="T17" fmla="*/ 3858989 h 8"/>
                  <a:gd name="T18" fmla="*/ 13496020 w 11"/>
                  <a:gd name="T19" fmla="*/ 3858989 h 8"/>
                  <a:gd name="T20" fmla="*/ 18556214 w 11"/>
                  <a:gd name="T21" fmla="*/ 3858989 h 8"/>
                  <a:gd name="T22" fmla="*/ 13496020 w 11"/>
                  <a:gd name="T23" fmla="*/ 3858989 h 8"/>
                  <a:gd name="T24" fmla="*/ 13496020 w 11"/>
                  <a:gd name="T25" fmla="*/ 0 h 8"/>
                  <a:gd name="T26" fmla="*/ 13496020 w 11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8"/>
                  <a:gd name="T44" fmla="*/ 11 w 11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8">
                    <a:moveTo>
                      <a:pt x="8" y="0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3" name="Freeform 790"/>
              <p:cNvSpPr>
                <a:spLocks noChangeAspect="1"/>
              </p:cNvSpPr>
              <p:nvPr>
                <p:custDataLst>
                  <p:tags r:id="rId211"/>
                </p:custDataLst>
              </p:nvPr>
            </p:nvSpPr>
            <p:spPr bwMode="gray">
              <a:xfrm>
                <a:off x="3960281" y="3816815"/>
                <a:ext cx="13665" cy="11038"/>
              </a:xfrm>
              <a:custGeom>
                <a:avLst/>
                <a:gdLst>
                  <a:gd name="T0" fmla="*/ 13496020 w 11"/>
                  <a:gd name="T1" fmla="*/ 0 h 8"/>
                  <a:gd name="T2" fmla="*/ 8434525 w 11"/>
                  <a:gd name="T3" fmla="*/ 0 h 8"/>
                  <a:gd name="T4" fmla="*/ 8434525 w 11"/>
                  <a:gd name="T5" fmla="*/ 3858989 h 8"/>
                  <a:gd name="T6" fmla="*/ 3374330 w 11"/>
                  <a:gd name="T7" fmla="*/ 3858989 h 8"/>
                  <a:gd name="T8" fmla="*/ 0 w 11"/>
                  <a:gd name="T9" fmla="*/ 9648860 h 8"/>
                  <a:gd name="T10" fmla="*/ 3374330 w 11"/>
                  <a:gd name="T11" fmla="*/ 15437344 h 8"/>
                  <a:gd name="T12" fmla="*/ 3374330 w 11"/>
                  <a:gd name="T13" fmla="*/ 15437344 h 8"/>
                  <a:gd name="T14" fmla="*/ 8434525 w 11"/>
                  <a:gd name="T15" fmla="*/ 9648860 h 8"/>
                  <a:gd name="T16" fmla="*/ 8434525 w 11"/>
                  <a:gd name="T17" fmla="*/ 3858989 h 8"/>
                  <a:gd name="T18" fmla="*/ 13496020 w 11"/>
                  <a:gd name="T19" fmla="*/ 3858989 h 8"/>
                  <a:gd name="T20" fmla="*/ 18556214 w 11"/>
                  <a:gd name="T21" fmla="*/ 3858989 h 8"/>
                  <a:gd name="T22" fmla="*/ 13496020 w 11"/>
                  <a:gd name="T23" fmla="*/ 3858989 h 8"/>
                  <a:gd name="T24" fmla="*/ 13496020 w 11"/>
                  <a:gd name="T25" fmla="*/ 0 h 8"/>
                  <a:gd name="T26" fmla="*/ 13496020 w 11"/>
                  <a:gd name="T27" fmla="*/ 0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8"/>
                  <a:gd name="T44" fmla="*/ 11 w 11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8">
                    <a:moveTo>
                      <a:pt x="8" y="0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4" name="Freeform 860"/>
              <p:cNvSpPr>
                <a:spLocks noChangeAspect="1"/>
              </p:cNvSpPr>
              <p:nvPr>
                <p:custDataLst>
                  <p:tags r:id="rId212"/>
                </p:custDataLst>
              </p:nvPr>
            </p:nvSpPr>
            <p:spPr bwMode="gray">
              <a:xfrm>
                <a:off x="3775030" y="2525465"/>
                <a:ext cx="10628" cy="7884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3858642 w 8"/>
                  <a:gd name="T5" fmla="*/ 0 h 6"/>
                  <a:gd name="T6" fmla="*/ 9646603 w 8"/>
                  <a:gd name="T7" fmla="*/ 0 h 6"/>
                  <a:gd name="T8" fmla="*/ 15434566 w 8"/>
                  <a:gd name="T9" fmla="*/ 5250325 h 6"/>
                  <a:gd name="T10" fmla="*/ 15434566 w 8"/>
                  <a:gd name="T11" fmla="*/ 10499327 h 6"/>
                  <a:gd name="T12" fmla="*/ 9646603 w 8"/>
                  <a:gd name="T13" fmla="*/ 10499327 h 6"/>
                  <a:gd name="T14" fmla="*/ 3858642 w 8"/>
                  <a:gd name="T15" fmla="*/ 10499327 h 6"/>
                  <a:gd name="T16" fmla="*/ 0 w 8"/>
                  <a:gd name="T17" fmla="*/ 5250325 h 6"/>
                  <a:gd name="T18" fmla="*/ 0 w 8"/>
                  <a:gd name="T19" fmla="*/ 0 h 6"/>
                  <a:gd name="T20" fmla="*/ 0 w 8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6"/>
                  <a:gd name="T35" fmla="*/ 8 w 8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5" name="Freeform 861"/>
              <p:cNvSpPr>
                <a:spLocks noChangeAspect="1"/>
              </p:cNvSpPr>
              <p:nvPr>
                <p:custDataLst>
                  <p:tags r:id="rId213"/>
                </p:custDataLst>
              </p:nvPr>
            </p:nvSpPr>
            <p:spPr bwMode="gray">
              <a:xfrm>
                <a:off x="3775030" y="2525465"/>
                <a:ext cx="10628" cy="7884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3858642 w 8"/>
                  <a:gd name="T5" fmla="*/ 0 h 6"/>
                  <a:gd name="T6" fmla="*/ 9646603 w 8"/>
                  <a:gd name="T7" fmla="*/ 0 h 6"/>
                  <a:gd name="T8" fmla="*/ 15434566 w 8"/>
                  <a:gd name="T9" fmla="*/ 5250325 h 6"/>
                  <a:gd name="T10" fmla="*/ 15434566 w 8"/>
                  <a:gd name="T11" fmla="*/ 10499327 h 6"/>
                  <a:gd name="T12" fmla="*/ 9646603 w 8"/>
                  <a:gd name="T13" fmla="*/ 10499327 h 6"/>
                  <a:gd name="T14" fmla="*/ 3858642 w 8"/>
                  <a:gd name="T15" fmla="*/ 10499327 h 6"/>
                  <a:gd name="T16" fmla="*/ 0 w 8"/>
                  <a:gd name="T17" fmla="*/ 5250325 h 6"/>
                  <a:gd name="T18" fmla="*/ 0 w 8"/>
                  <a:gd name="T19" fmla="*/ 0 h 6"/>
                  <a:gd name="T20" fmla="*/ 0 w 8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6"/>
                  <a:gd name="T35" fmla="*/ 8 w 8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6" name="Freeform 879"/>
              <p:cNvSpPr>
                <a:spLocks noChangeAspect="1"/>
              </p:cNvSpPr>
              <p:nvPr>
                <p:custDataLst>
                  <p:tags r:id="rId214"/>
                </p:custDataLst>
              </p:nvPr>
            </p:nvSpPr>
            <p:spPr bwMode="gray">
              <a:xfrm>
                <a:off x="2513192" y="2855005"/>
                <a:ext cx="28851" cy="36266"/>
              </a:xfrm>
              <a:custGeom>
                <a:avLst/>
                <a:gdLst>
                  <a:gd name="T0" fmla="*/ 31956327 w 22"/>
                  <a:gd name="T1" fmla="*/ 5101388 h 28"/>
                  <a:gd name="T2" fmla="*/ 35715732 w 22"/>
                  <a:gd name="T3" fmla="*/ 5101388 h 28"/>
                  <a:gd name="T4" fmla="*/ 35715732 w 22"/>
                  <a:gd name="T5" fmla="*/ 0 h 28"/>
                  <a:gd name="T6" fmla="*/ 41354840 w 22"/>
                  <a:gd name="T7" fmla="*/ 5101388 h 28"/>
                  <a:gd name="T8" fmla="*/ 41354840 w 22"/>
                  <a:gd name="T9" fmla="*/ 10202775 h 28"/>
                  <a:gd name="T10" fmla="*/ 31956327 w 22"/>
                  <a:gd name="T11" fmla="*/ 42512867 h 28"/>
                  <a:gd name="T12" fmla="*/ 31956327 w 22"/>
                  <a:gd name="T13" fmla="*/ 42512867 h 28"/>
                  <a:gd name="T14" fmla="*/ 26317219 w 22"/>
                  <a:gd name="T15" fmla="*/ 39111943 h 28"/>
                  <a:gd name="T16" fmla="*/ 26317219 w 22"/>
                  <a:gd name="T17" fmla="*/ 42512867 h 28"/>
                  <a:gd name="T18" fmla="*/ 20678106 w 22"/>
                  <a:gd name="T19" fmla="*/ 47614263 h 28"/>
                  <a:gd name="T20" fmla="*/ 20678106 w 22"/>
                  <a:gd name="T21" fmla="*/ 42512867 h 28"/>
                  <a:gd name="T22" fmla="*/ 15037627 w 22"/>
                  <a:gd name="T23" fmla="*/ 42512867 h 28"/>
                  <a:gd name="T24" fmla="*/ 15037627 w 22"/>
                  <a:gd name="T25" fmla="*/ 39111943 h 28"/>
                  <a:gd name="T26" fmla="*/ 15037627 w 22"/>
                  <a:gd name="T27" fmla="*/ 39111943 h 28"/>
                  <a:gd name="T28" fmla="*/ 20678106 w 22"/>
                  <a:gd name="T29" fmla="*/ 39111943 h 28"/>
                  <a:gd name="T30" fmla="*/ 20678106 w 22"/>
                  <a:gd name="T31" fmla="*/ 34010556 h 28"/>
                  <a:gd name="T32" fmla="*/ 9398516 w 22"/>
                  <a:gd name="T33" fmla="*/ 28909170 h 28"/>
                  <a:gd name="T34" fmla="*/ 9398516 w 22"/>
                  <a:gd name="T35" fmla="*/ 23807784 h 28"/>
                  <a:gd name="T36" fmla="*/ 5639111 w 22"/>
                  <a:gd name="T37" fmla="*/ 15304164 h 28"/>
                  <a:gd name="T38" fmla="*/ 0 w 22"/>
                  <a:gd name="T39" fmla="*/ 10202775 h 28"/>
                  <a:gd name="T40" fmla="*/ 0 w 22"/>
                  <a:gd name="T41" fmla="*/ 0 h 28"/>
                  <a:gd name="T42" fmla="*/ 15037627 w 22"/>
                  <a:gd name="T43" fmla="*/ 0 h 28"/>
                  <a:gd name="T44" fmla="*/ 15037627 w 22"/>
                  <a:gd name="T45" fmla="*/ 0 h 28"/>
                  <a:gd name="T46" fmla="*/ 15037627 w 22"/>
                  <a:gd name="T47" fmla="*/ 10202775 h 28"/>
                  <a:gd name="T48" fmla="*/ 15037627 w 22"/>
                  <a:gd name="T49" fmla="*/ 10202775 h 28"/>
                  <a:gd name="T50" fmla="*/ 20678106 w 22"/>
                  <a:gd name="T51" fmla="*/ 5101388 h 28"/>
                  <a:gd name="T52" fmla="*/ 20678106 w 22"/>
                  <a:gd name="T53" fmla="*/ 5101388 h 28"/>
                  <a:gd name="T54" fmla="*/ 26317219 w 22"/>
                  <a:gd name="T55" fmla="*/ 10202775 h 28"/>
                  <a:gd name="T56" fmla="*/ 26317219 w 22"/>
                  <a:gd name="T57" fmla="*/ 15304164 h 28"/>
                  <a:gd name="T58" fmla="*/ 20678106 w 22"/>
                  <a:gd name="T59" fmla="*/ 18705088 h 28"/>
                  <a:gd name="T60" fmla="*/ 15037627 w 22"/>
                  <a:gd name="T61" fmla="*/ 23807784 h 28"/>
                  <a:gd name="T62" fmla="*/ 20678106 w 22"/>
                  <a:gd name="T63" fmla="*/ 23807784 h 28"/>
                  <a:gd name="T64" fmla="*/ 20678106 w 22"/>
                  <a:gd name="T65" fmla="*/ 23807784 h 28"/>
                  <a:gd name="T66" fmla="*/ 20678106 w 22"/>
                  <a:gd name="T67" fmla="*/ 23807784 h 28"/>
                  <a:gd name="T68" fmla="*/ 26317219 w 22"/>
                  <a:gd name="T69" fmla="*/ 23807784 h 28"/>
                  <a:gd name="T70" fmla="*/ 31956327 w 22"/>
                  <a:gd name="T71" fmla="*/ 15304164 h 28"/>
                  <a:gd name="T72" fmla="*/ 31956327 w 22"/>
                  <a:gd name="T73" fmla="*/ 10202775 h 28"/>
                  <a:gd name="T74" fmla="*/ 31956327 w 22"/>
                  <a:gd name="T75" fmla="*/ 5101388 h 2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2"/>
                  <a:gd name="T115" fmla="*/ 0 h 28"/>
                  <a:gd name="T116" fmla="*/ 22 w 22"/>
                  <a:gd name="T117" fmla="*/ 28 h 2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2" h="28">
                    <a:moveTo>
                      <a:pt x="17" y="3"/>
                    </a:moveTo>
                    <a:lnTo>
                      <a:pt x="19" y="3"/>
                    </a:lnTo>
                    <a:lnTo>
                      <a:pt x="19" y="0"/>
                    </a:lnTo>
                    <a:lnTo>
                      <a:pt x="22" y="3"/>
                    </a:lnTo>
                    <a:lnTo>
                      <a:pt x="22" y="6"/>
                    </a:lnTo>
                    <a:lnTo>
                      <a:pt x="17" y="25"/>
                    </a:lnTo>
                    <a:lnTo>
                      <a:pt x="14" y="23"/>
                    </a:lnTo>
                    <a:lnTo>
                      <a:pt x="14" y="25"/>
                    </a:lnTo>
                    <a:lnTo>
                      <a:pt x="11" y="28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11" y="23"/>
                    </a:lnTo>
                    <a:lnTo>
                      <a:pt x="11" y="20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11" y="11"/>
                    </a:lnTo>
                    <a:lnTo>
                      <a:pt x="8" y="14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7" y="9"/>
                    </a:lnTo>
                    <a:lnTo>
                      <a:pt x="17" y="6"/>
                    </a:lnTo>
                    <a:lnTo>
                      <a:pt x="17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7" name="Freeform 880"/>
              <p:cNvSpPr>
                <a:spLocks noChangeAspect="1"/>
              </p:cNvSpPr>
              <p:nvPr>
                <p:custDataLst>
                  <p:tags r:id="rId215"/>
                </p:custDataLst>
              </p:nvPr>
            </p:nvSpPr>
            <p:spPr bwMode="gray">
              <a:xfrm>
                <a:off x="2526858" y="2888116"/>
                <a:ext cx="25813" cy="34688"/>
              </a:xfrm>
              <a:custGeom>
                <a:avLst/>
                <a:gdLst>
                  <a:gd name="T0" fmla="*/ 12104380 w 19"/>
                  <a:gd name="T1" fmla="*/ 21781978 h 28"/>
                  <a:gd name="T2" fmla="*/ 6052190 w 19"/>
                  <a:gd name="T3" fmla="*/ 17114498 h 28"/>
                  <a:gd name="T4" fmla="*/ 12104380 w 19"/>
                  <a:gd name="T5" fmla="*/ 14002431 h 28"/>
                  <a:gd name="T6" fmla="*/ 6052190 w 19"/>
                  <a:gd name="T7" fmla="*/ 14002431 h 28"/>
                  <a:gd name="T8" fmla="*/ 6052190 w 19"/>
                  <a:gd name="T9" fmla="*/ 14002431 h 28"/>
                  <a:gd name="T10" fmla="*/ 6052190 w 19"/>
                  <a:gd name="T11" fmla="*/ 14002431 h 28"/>
                  <a:gd name="T12" fmla="*/ 6052190 w 19"/>
                  <a:gd name="T13" fmla="*/ 9334953 h 28"/>
                  <a:gd name="T14" fmla="*/ 0 w 19"/>
                  <a:gd name="T15" fmla="*/ 9334953 h 28"/>
                  <a:gd name="T16" fmla="*/ 16139645 w 19"/>
                  <a:gd name="T17" fmla="*/ 0 h 28"/>
                  <a:gd name="T18" fmla="*/ 16139645 w 19"/>
                  <a:gd name="T19" fmla="*/ 0 h 28"/>
                  <a:gd name="T20" fmla="*/ 22191833 w 19"/>
                  <a:gd name="T21" fmla="*/ 4667477 h 28"/>
                  <a:gd name="T22" fmla="*/ 16139645 w 19"/>
                  <a:gd name="T23" fmla="*/ 4667477 h 28"/>
                  <a:gd name="T24" fmla="*/ 16139645 w 19"/>
                  <a:gd name="T25" fmla="*/ 9334953 h 28"/>
                  <a:gd name="T26" fmla="*/ 22191833 w 19"/>
                  <a:gd name="T27" fmla="*/ 9334953 h 28"/>
                  <a:gd name="T28" fmla="*/ 22191833 w 19"/>
                  <a:gd name="T29" fmla="*/ 14002431 h 28"/>
                  <a:gd name="T30" fmla="*/ 22191833 w 19"/>
                  <a:gd name="T31" fmla="*/ 14002431 h 28"/>
                  <a:gd name="T32" fmla="*/ 16139645 w 19"/>
                  <a:gd name="T33" fmla="*/ 14002431 h 28"/>
                  <a:gd name="T34" fmla="*/ 16139645 w 19"/>
                  <a:gd name="T35" fmla="*/ 14002431 h 28"/>
                  <a:gd name="T36" fmla="*/ 16139645 w 19"/>
                  <a:gd name="T37" fmla="*/ 17114498 h 28"/>
                  <a:gd name="T38" fmla="*/ 16139645 w 19"/>
                  <a:gd name="T39" fmla="*/ 17114498 h 28"/>
                  <a:gd name="T40" fmla="*/ 16139645 w 19"/>
                  <a:gd name="T41" fmla="*/ 26448206 h 28"/>
                  <a:gd name="T42" fmla="*/ 28244026 w 19"/>
                  <a:gd name="T43" fmla="*/ 26448206 h 28"/>
                  <a:gd name="T44" fmla="*/ 28244026 w 19"/>
                  <a:gd name="T45" fmla="*/ 31115682 h 28"/>
                  <a:gd name="T46" fmla="*/ 28244026 w 19"/>
                  <a:gd name="T47" fmla="*/ 31115682 h 28"/>
                  <a:gd name="T48" fmla="*/ 38331478 w 19"/>
                  <a:gd name="T49" fmla="*/ 43562709 h 28"/>
                  <a:gd name="T50" fmla="*/ 38331478 w 19"/>
                  <a:gd name="T51" fmla="*/ 43562709 h 28"/>
                  <a:gd name="T52" fmla="*/ 34296213 w 19"/>
                  <a:gd name="T53" fmla="*/ 43562709 h 28"/>
                  <a:gd name="T54" fmla="*/ 22191833 w 19"/>
                  <a:gd name="T55" fmla="*/ 35783157 h 28"/>
                  <a:gd name="T56" fmla="*/ 22191833 w 19"/>
                  <a:gd name="T57" fmla="*/ 31115682 h 28"/>
                  <a:gd name="T58" fmla="*/ 22191833 w 19"/>
                  <a:gd name="T59" fmla="*/ 31115682 h 28"/>
                  <a:gd name="T60" fmla="*/ 22191833 w 19"/>
                  <a:gd name="T61" fmla="*/ 31115682 h 28"/>
                  <a:gd name="T62" fmla="*/ 16139645 w 19"/>
                  <a:gd name="T63" fmla="*/ 31115682 h 28"/>
                  <a:gd name="T64" fmla="*/ 12104380 w 19"/>
                  <a:gd name="T65" fmla="*/ 21781978 h 28"/>
                  <a:gd name="T66" fmla="*/ 12104380 w 19"/>
                  <a:gd name="T67" fmla="*/ 21781978 h 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9"/>
                  <a:gd name="T103" fmla="*/ 0 h 28"/>
                  <a:gd name="T104" fmla="*/ 19 w 19"/>
                  <a:gd name="T105" fmla="*/ 28 h 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9" h="28">
                    <a:moveTo>
                      <a:pt x="6" y="14"/>
                    </a:moveTo>
                    <a:lnTo>
                      <a:pt x="3" y="11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4" y="20"/>
                    </a:lnTo>
                    <a:lnTo>
                      <a:pt x="19" y="28"/>
                    </a:lnTo>
                    <a:lnTo>
                      <a:pt x="17" y="28"/>
                    </a:lnTo>
                    <a:lnTo>
                      <a:pt x="11" y="23"/>
                    </a:lnTo>
                    <a:lnTo>
                      <a:pt x="11" y="20"/>
                    </a:lnTo>
                    <a:lnTo>
                      <a:pt x="8" y="2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8" name="Freeform 881"/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 bwMode="gray">
              <a:xfrm>
                <a:off x="2526858" y="2888116"/>
                <a:ext cx="25813" cy="34688"/>
              </a:xfrm>
              <a:custGeom>
                <a:avLst/>
                <a:gdLst>
                  <a:gd name="T0" fmla="*/ 12104380 w 19"/>
                  <a:gd name="T1" fmla="*/ 21781978 h 28"/>
                  <a:gd name="T2" fmla="*/ 6052190 w 19"/>
                  <a:gd name="T3" fmla="*/ 17114498 h 28"/>
                  <a:gd name="T4" fmla="*/ 12104380 w 19"/>
                  <a:gd name="T5" fmla="*/ 14002431 h 28"/>
                  <a:gd name="T6" fmla="*/ 6052190 w 19"/>
                  <a:gd name="T7" fmla="*/ 14002431 h 28"/>
                  <a:gd name="T8" fmla="*/ 6052190 w 19"/>
                  <a:gd name="T9" fmla="*/ 14002431 h 28"/>
                  <a:gd name="T10" fmla="*/ 6052190 w 19"/>
                  <a:gd name="T11" fmla="*/ 14002431 h 28"/>
                  <a:gd name="T12" fmla="*/ 6052190 w 19"/>
                  <a:gd name="T13" fmla="*/ 9334953 h 28"/>
                  <a:gd name="T14" fmla="*/ 0 w 19"/>
                  <a:gd name="T15" fmla="*/ 9334953 h 28"/>
                  <a:gd name="T16" fmla="*/ 16139645 w 19"/>
                  <a:gd name="T17" fmla="*/ 0 h 28"/>
                  <a:gd name="T18" fmla="*/ 16139645 w 19"/>
                  <a:gd name="T19" fmla="*/ 0 h 28"/>
                  <a:gd name="T20" fmla="*/ 22191833 w 19"/>
                  <a:gd name="T21" fmla="*/ 4667477 h 28"/>
                  <a:gd name="T22" fmla="*/ 16139645 w 19"/>
                  <a:gd name="T23" fmla="*/ 4667477 h 28"/>
                  <a:gd name="T24" fmla="*/ 16139645 w 19"/>
                  <a:gd name="T25" fmla="*/ 9334953 h 28"/>
                  <a:gd name="T26" fmla="*/ 22191833 w 19"/>
                  <a:gd name="T27" fmla="*/ 9334953 h 28"/>
                  <a:gd name="T28" fmla="*/ 22191833 w 19"/>
                  <a:gd name="T29" fmla="*/ 14002431 h 28"/>
                  <a:gd name="T30" fmla="*/ 22191833 w 19"/>
                  <a:gd name="T31" fmla="*/ 14002431 h 28"/>
                  <a:gd name="T32" fmla="*/ 16139645 w 19"/>
                  <a:gd name="T33" fmla="*/ 14002431 h 28"/>
                  <a:gd name="T34" fmla="*/ 16139645 w 19"/>
                  <a:gd name="T35" fmla="*/ 14002431 h 28"/>
                  <a:gd name="T36" fmla="*/ 16139645 w 19"/>
                  <a:gd name="T37" fmla="*/ 17114498 h 28"/>
                  <a:gd name="T38" fmla="*/ 16139645 w 19"/>
                  <a:gd name="T39" fmla="*/ 17114498 h 28"/>
                  <a:gd name="T40" fmla="*/ 16139645 w 19"/>
                  <a:gd name="T41" fmla="*/ 26448206 h 28"/>
                  <a:gd name="T42" fmla="*/ 28244026 w 19"/>
                  <a:gd name="T43" fmla="*/ 26448206 h 28"/>
                  <a:gd name="T44" fmla="*/ 28244026 w 19"/>
                  <a:gd name="T45" fmla="*/ 31115682 h 28"/>
                  <a:gd name="T46" fmla="*/ 28244026 w 19"/>
                  <a:gd name="T47" fmla="*/ 31115682 h 28"/>
                  <a:gd name="T48" fmla="*/ 38331478 w 19"/>
                  <a:gd name="T49" fmla="*/ 43562709 h 28"/>
                  <a:gd name="T50" fmla="*/ 38331478 w 19"/>
                  <a:gd name="T51" fmla="*/ 43562709 h 28"/>
                  <a:gd name="T52" fmla="*/ 34296213 w 19"/>
                  <a:gd name="T53" fmla="*/ 43562709 h 28"/>
                  <a:gd name="T54" fmla="*/ 22191833 w 19"/>
                  <a:gd name="T55" fmla="*/ 35783157 h 28"/>
                  <a:gd name="T56" fmla="*/ 22191833 w 19"/>
                  <a:gd name="T57" fmla="*/ 31115682 h 28"/>
                  <a:gd name="T58" fmla="*/ 22191833 w 19"/>
                  <a:gd name="T59" fmla="*/ 31115682 h 28"/>
                  <a:gd name="T60" fmla="*/ 22191833 w 19"/>
                  <a:gd name="T61" fmla="*/ 31115682 h 28"/>
                  <a:gd name="T62" fmla="*/ 16139645 w 19"/>
                  <a:gd name="T63" fmla="*/ 31115682 h 28"/>
                  <a:gd name="T64" fmla="*/ 12104380 w 19"/>
                  <a:gd name="T65" fmla="*/ 21781978 h 28"/>
                  <a:gd name="T66" fmla="*/ 12104380 w 19"/>
                  <a:gd name="T67" fmla="*/ 21781978 h 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9"/>
                  <a:gd name="T103" fmla="*/ 0 h 28"/>
                  <a:gd name="T104" fmla="*/ 19 w 19"/>
                  <a:gd name="T105" fmla="*/ 28 h 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9" h="28">
                    <a:moveTo>
                      <a:pt x="6" y="14"/>
                    </a:moveTo>
                    <a:lnTo>
                      <a:pt x="3" y="11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1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4" y="20"/>
                    </a:lnTo>
                    <a:lnTo>
                      <a:pt x="19" y="28"/>
                    </a:lnTo>
                    <a:lnTo>
                      <a:pt x="17" y="28"/>
                    </a:lnTo>
                    <a:lnTo>
                      <a:pt x="11" y="23"/>
                    </a:lnTo>
                    <a:lnTo>
                      <a:pt x="11" y="20"/>
                    </a:lnTo>
                    <a:lnTo>
                      <a:pt x="8" y="20"/>
                    </a:lnTo>
                    <a:lnTo>
                      <a:pt x="6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9" name="Freeform 882"/>
              <p:cNvSpPr>
                <a:spLocks noChangeAspect="1"/>
              </p:cNvSpPr>
              <p:nvPr>
                <p:custDataLst>
                  <p:tags r:id="rId217"/>
                </p:custDataLst>
              </p:nvPr>
            </p:nvSpPr>
            <p:spPr bwMode="gray">
              <a:xfrm>
                <a:off x="2563301" y="2859733"/>
                <a:ext cx="6074" cy="6307"/>
              </a:xfrm>
              <a:custGeom>
                <a:avLst/>
                <a:gdLst>
                  <a:gd name="T0" fmla="*/ 0 w 5"/>
                  <a:gd name="T1" fmla="*/ 3360208 h 6"/>
                  <a:gd name="T2" fmla="*/ 0 w 5"/>
                  <a:gd name="T3" fmla="*/ 3360208 h 6"/>
                  <a:gd name="T4" fmla="*/ 4838699 w 5"/>
                  <a:gd name="T5" fmla="*/ 0 h 6"/>
                  <a:gd name="T6" fmla="*/ 8064499 w 5"/>
                  <a:gd name="T7" fmla="*/ 3360208 h 6"/>
                  <a:gd name="T8" fmla="*/ 8064499 w 5"/>
                  <a:gd name="T9" fmla="*/ 3360208 h 6"/>
                  <a:gd name="T10" fmla="*/ 4838699 w 5"/>
                  <a:gd name="T11" fmla="*/ 6720417 h 6"/>
                  <a:gd name="T12" fmla="*/ 0 w 5"/>
                  <a:gd name="T13" fmla="*/ 3360208 h 6"/>
                  <a:gd name="T14" fmla="*/ 0 w 5"/>
                  <a:gd name="T15" fmla="*/ 3360208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6"/>
                  <a:gd name="T26" fmla="*/ 5 w 5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6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3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0" name="Freeform 883"/>
              <p:cNvSpPr>
                <a:spLocks noChangeAspect="1"/>
              </p:cNvSpPr>
              <p:nvPr>
                <p:custDataLst>
                  <p:tags r:id="rId218"/>
                </p:custDataLst>
              </p:nvPr>
            </p:nvSpPr>
            <p:spPr bwMode="gray">
              <a:xfrm>
                <a:off x="2563301" y="2859733"/>
                <a:ext cx="6074" cy="6307"/>
              </a:xfrm>
              <a:custGeom>
                <a:avLst/>
                <a:gdLst>
                  <a:gd name="T0" fmla="*/ 0 w 5"/>
                  <a:gd name="T1" fmla="*/ 3360208 h 6"/>
                  <a:gd name="T2" fmla="*/ 0 w 5"/>
                  <a:gd name="T3" fmla="*/ 3360208 h 6"/>
                  <a:gd name="T4" fmla="*/ 4838699 w 5"/>
                  <a:gd name="T5" fmla="*/ 0 h 6"/>
                  <a:gd name="T6" fmla="*/ 8064499 w 5"/>
                  <a:gd name="T7" fmla="*/ 3360208 h 6"/>
                  <a:gd name="T8" fmla="*/ 8064499 w 5"/>
                  <a:gd name="T9" fmla="*/ 3360208 h 6"/>
                  <a:gd name="T10" fmla="*/ 4838699 w 5"/>
                  <a:gd name="T11" fmla="*/ 6720417 h 6"/>
                  <a:gd name="T12" fmla="*/ 0 w 5"/>
                  <a:gd name="T13" fmla="*/ 3360208 h 6"/>
                  <a:gd name="T14" fmla="*/ 0 w 5"/>
                  <a:gd name="T15" fmla="*/ 3360208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6"/>
                  <a:gd name="T26" fmla="*/ 5 w 5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6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3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1" name="Freeform 884"/>
              <p:cNvSpPr>
                <a:spLocks noChangeAspect="1"/>
              </p:cNvSpPr>
              <p:nvPr>
                <p:custDataLst>
                  <p:tags r:id="rId219"/>
                </p:custDataLst>
              </p:nvPr>
            </p:nvSpPr>
            <p:spPr bwMode="gray">
              <a:xfrm>
                <a:off x="2567856" y="2872347"/>
                <a:ext cx="13667" cy="15767"/>
              </a:xfrm>
              <a:custGeom>
                <a:avLst/>
                <a:gdLst>
                  <a:gd name="T0" fmla="*/ 0 w 11"/>
                  <a:gd name="T1" fmla="*/ 0 h 11"/>
                  <a:gd name="T2" fmla="*/ 3374566 w 11"/>
                  <a:gd name="T3" fmla="*/ 6248978 h 11"/>
                  <a:gd name="T4" fmla="*/ 13496965 w 11"/>
                  <a:gd name="T5" fmla="*/ 12496513 h 11"/>
                  <a:gd name="T6" fmla="*/ 13496965 w 11"/>
                  <a:gd name="T7" fmla="*/ 22910509 h 11"/>
                  <a:gd name="T8" fmla="*/ 18558812 w 11"/>
                  <a:gd name="T9" fmla="*/ 22910509 h 11"/>
                  <a:gd name="T10" fmla="*/ 13496965 w 11"/>
                  <a:gd name="T11" fmla="*/ 22910509 h 11"/>
                  <a:gd name="T12" fmla="*/ 8436414 w 11"/>
                  <a:gd name="T13" fmla="*/ 18745488 h 11"/>
                  <a:gd name="T14" fmla="*/ 3374566 w 11"/>
                  <a:gd name="T15" fmla="*/ 12496513 h 11"/>
                  <a:gd name="T16" fmla="*/ 3374566 w 11"/>
                  <a:gd name="T17" fmla="*/ 12496513 h 11"/>
                  <a:gd name="T18" fmla="*/ 0 w 11"/>
                  <a:gd name="T19" fmla="*/ 6248978 h 11"/>
                  <a:gd name="T20" fmla="*/ 0 w 11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11"/>
                  <a:gd name="T35" fmla="*/ 11 w 11"/>
                  <a:gd name="T36" fmla="*/ 11 h 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11">
                    <a:moveTo>
                      <a:pt x="0" y="0"/>
                    </a:moveTo>
                    <a:lnTo>
                      <a:pt x="2" y="3"/>
                    </a:lnTo>
                    <a:lnTo>
                      <a:pt x="8" y="6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8" y="11"/>
                    </a:lnTo>
                    <a:lnTo>
                      <a:pt x="5" y="9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2" name="Freeform 885"/>
              <p:cNvSpPr>
                <a:spLocks noChangeAspect="1"/>
              </p:cNvSpPr>
              <p:nvPr>
                <p:custDataLst>
                  <p:tags r:id="rId220"/>
                </p:custDataLst>
              </p:nvPr>
            </p:nvSpPr>
            <p:spPr bwMode="gray">
              <a:xfrm>
                <a:off x="2567856" y="2872347"/>
                <a:ext cx="13667" cy="15767"/>
              </a:xfrm>
              <a:custGeom>
                <a:avLst/>
                <a:gdLst>
                  <a:gd name="T0" fmla="*/ 0 w 11"/>
                  <a:gd name="T1" fmla="*/ 0 h 11"/>
                  <a:gd name="T2" fmla="*/ 3374566 w 11"/>
                  <a:gd name="T3" fmla="*/ 6248978 h 11"/>
                  <a:gd name="T4" fmla="*/ 13496965 w 11"/>
                  <a:gd name="T5" fmla="*/ 12496513 h 11"/>
                  <a:gd name="T6" fmla="*/ 13496965 w 11"/>
                  <a:gd name="T7" fmla="*/ 22910509 h 11"/>
                  <a:gd name="T8" fmla="*/ 18558812 w 11"/>
                  <a:gd name="T9" fmla="*/ 22910509 h 11"/>
                  <a:gd name="T10" fmla="*/ 13496965 w 11"/>
                  <a:gd name="T11" fmla="*/ 22910509 h 11"/>
                  <a:gd name="T12" fmla="*/ 8436414 w 11"/>
                  <a:gd name="T13" fmla="*/ 18745488 h 11"/>
                  <a:gd name="T14" fmla="*/ 3374566 w 11"/>
                  <a:gd name="T15" fmla="*/ 12496513 h 11"/>
                  <a:gd name="T16" fmla="*/ 3374566 w 11"/>
                  <a:gd name="T17" fmla="*/ 12496513 h 11"/>
                  <a:gd name="T18" fmla="*/ 0 w 11"/>
                  <a:gd name="T19" fmla="*/ 6248978 h 11"/>
                  <a:gd name="T20" fmla="*/ 0 w 11"/>
                  <a:gd name="T21" fmla="*/ 0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11"/>
                  <a:gd name="T35" fmla="*/ 11 w 11"/>
                  <a:gd name="T36" fmla="*/ 11 h 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11">
                    <a:moveTo>
                      <a:pt x="0" y="0"/>
                    </a:moveTo>
                    <a:lnTo>
                      <a:pt x="2" y="3"/>
                    </a:lnTo>
                    <a:lnTo>
                      <a:pt x="8" y="6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8" y="11"/>
                    </a:lnTo>
                    <a:lnTo>
                      <a:pt x="5" y="9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3" name="Freeform 886"/>
              <p:cNvSpPr>
                <a:spLocks noChangeAspect="1"/>
              </p:cNvSpPr>
              <p:nvPr>
                <p:custDataLst>
                  <p:tags r:id="rId221"/>
                </p:custDataLst>
              </p:nvPr>
            </p:nvSpPr>
            <p:spPr bwMode="gray">
              <a:xfrm>
                <a:off x="2569375" y="2866040"/>
                <a:ext cx="15185" cy="22075"/>
              </a:xfrm>
              <a:custGeom>
                <a:avLst/>
                <a:gdLst>
                  <a:gd name="T0" fmla="*/ 18745488 w 11"/>
                  <a:gd name="T1" fmla="*/ 9647037 h 16"/>
                  <a:gd name="T2" fmla="*/ 18745488 w 11"/>
                  <a:gd name="T3" fmla="*/ 9647037 h 16"/>
                  <a:gd name="T4" fmla="*/ 18745488 w 11"/>
                  <a:gd name="T5" fmla="*/ 15436650 h 16"/>
                  <a:gd name="T6" fmla="*/ 22910509 w 11"/>
                  <a:gd name="T7" fmla="*/ 21224870 h 16"/>
                  <a:gd name="T8" fmla="*/ 22910509 w 11"/>
                  <a:gd name="T9" fmla="*/ 30871910 h 16"/>
                  <a:gd name="T10" fmla="*/ 22910509 w 11"/>
                  <a:gd name="T11" fmla="*/ 30871910 h 16"/>
                  <a:gd name="T12" fmla="*/ 6248978 w 11"/>
                  <a:gd name="T13" fmla="*/ 9647037 h 16"/>
                  <a:gd name="T14" fmla="*/ 6248978 w 11"/>
                  <a:gd name="T15" fmla="*/ 3858815 h 16"/>
                  <a:gd name="T16" fmla="*/ 6248978 w 11"/>
                  <a:gd name="T17" fmla="*/ 3858815 h 16"/>
                  <a:gd name="T18" fmla="*/ 0 w 11"/>
                  <a:gd name="T19" fmla="*/ 0 h 16"/>
                  <a:gd name="T20" fmla="*/ 0 w 11"/>
                  <a:gd name="T21" fmla="*/ 0 h 16"/>
                  <a:gd name="T22" fmla="*/ 6248978 w 11"/>
                  <a:gd name="T23" fmla="*/ 0 h 16"/>
                  <a:gd name="T24" fmla="*/ 12496513 w 11"/>
                  <a:gd name="T25" fmla="*/ 3858815 h 16"/>
                  <a:gd name="T26" fmla="*/ 18745488 w 11"/>
                  <a:gd name="T27" fmla="*/ 9647037 h 1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16"/>
                  <a:gd name="T44" fmla="*/ 11 w 11"/>
                  <a:gd name="T45" fmla="*/ 16 h 1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16">
                    <a:moveTo>
                      <a:pt x="9" y="5"/>
                    </a:moveTo>
                    <a:lnTo>
                      <a:pt x="9" y="5"/>
                    </a:lnTo>
                    <a:lnTo>
                      <a:pt x="9" y="8"/>
                    </a:lnTo>
                    <a:lnTo>
                      <a:pt x="11" y="11"/>
                    </a:lnTo>
                    <a:lnTo>
                      <a:pt x="11" y="1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9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4" name="Freeform 887"/>
              <p:cNvSpPr>
                <a:spLocks noChangeAspect="1"/>
              </p:cNvSpPr>
              <p:nvPr>
                <p:custDataLst>
                  <p:tags r:id="rId222"/>
                </p:custDataLst>
              </p:nvPr>
            </p:nvSpPr>
            <p:spPr bwMode="gray">
              <a:xfrm>
                <a:off x="2569375" y="2866040"/>
                <a:ext cx="15185" cy="22075"/>
              </a:xfrm>
              <a:custGeom>
                <a:avLst/>
                <a:gdLst>
                  <a:gd name="T0" fmla="*/ 18745488 w 11"/>
                  <a:gd name="T1" fmla="*/ 9647037 h 16"/>
                  <a:gd name="T2" fmla="*/ 18745488 w 11"/>
                  <a:gd name="T3" fmla="*/ 9647037 h 16"/>
                  <a:gd name="T4" fmla="*/ 18745488 w 11"/>
                  <a:gd name="T5" fmla="*/ 15436650 h 16"/>
                  <a:gd name="T6" fmla="*/ 22910509 w 11"/>
                  <a:gd name="T7" fmla="*/ 21224870 h 16"/>
                  <a:gd name="T8" fmla="*/ 22910509 w 11"/>
                  <a:gd name="T9" fmla="*/ 30871910 h 16"/>
                  <a:gd name="T10" fmla="*/ 22910509 w 11"/>
                  <a:gd name="T11" fmla="*/ 30871910 h 16"/>
                  <a:gd name="T12" fmla="*/ 6248978 w 11"/>
                  <a:gd name="T13" fmla="*/ 9647037 h 16"/>
                  <a:gd name="T14" fmla="*/ 6248978 w 11"/>
                  <a:gd name="T15" fmla="*/ 3858815 h 16"/>
                  <a:gd name="T16" fmla="*/ 6248978 w 11"/>
                  <a:gd name="T17" fmla="*/ 3858815 h 16"/>
                  <a:gd name="T18" fmla="*/ 0 w 11"/>
                  <a:gd name="T19" fmla="*/ 0 h 16"/>
                  <a:gd name="T20" fmla="*/ 0 w 11"/>
                  <a:gd name="T21" fmla="*/ 0 h 16"/>
                  <a:gd name="T22" fmla="*/ 6248978 w 11"/>
                  <a:gd name="T23" fmla="*/ 0 h 16"/>
                  <a:gd name="T24" fmla="*/ 12496513 w 11"/>
                  <a:gd name="T25" fmla="*/ 3858815 h 16"/>
                  <a:gd name="T26" fmla="*/ 18745488 w 11"/>
                  <a:gd name="T27" fmla="*/ 9647037 h 1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16"/>
                  <a:gd name="T44" fmla="*/ 11 w 11"/>
                  <a:gd name="T45" fmla="*/ 16 h 1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16">
                    <a:moveTo>
                      <a:pt x="9" y="5"/>
                    </a:moveTo>
                    <a:lnTo>
                      <a:pt x="9" y="5"/>
                    </a:lnTo>
                    <a:lnTo>
                      <a:pt x="9" y="8"/>
                    </a:lnTo>
                    <a:lnTo>
                      <a:pt x="11" y="11"/>
                    </a:lnTo>
                    <a:lnTo>
                      <a:pt x="11" y="16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9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5" name="Freeform 888"/>
              <p:cNvSpPr>
                <a:spLocks noChangeAspect="1"/>
              </p:cNvSpPr>
              <p:nvPr>
                <p:custDataLst>
                  <p:tags r:id="rId223"/>
                </p:custDataLst>
              </p:nvPr>
            </p:nvSpPr>
            <p:spPr bwMode="gray">
              <a:xfrm>
                <a:off x="2592151" y="2900730"/>
                <a:ext cx="4557" cy="9460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7562057 w 3"/>
                  <a:gd name="T5" fmla="*/ 15120939 h 6"/>
                  <a:gd name="T6" fmla="*/ 7562057 w 3"/>
                  <a:gd name="T7" fmla="*/ 15120939 h 6"/>
                  <a:gd name="T8" fmla="*/ 7562057 w 3"/>
                  <a:gd name="T9" fmla="*/ 15120939 h 6"/>
                  <a:gd name="T10" fmla="*/ 0 w 3"/>
                  <a:gd name="T11" fmla="*/ 0 h 6"/>
                  <a:gd name="T12" fmla="*/ 0 w 3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6" name="Freeform 889"/>
              <p:cNvSpPr>
                <a:spLocks noChangeAspect="1"/>
              </p:cNvSpPr>
              <p:nvPr>
                <p:custDataLst>
                  <p:tags r:id="rId224"/>
                </p:custDataLst>
              </p:nvPr>
            </p:nvSpPr>
            <p:spPr bwMode="gray">
              <a:xfrm>
                <a:off x="2592151" y="2900730"/>
                <a:ext cx="4557" cy="9460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0 h 6"/>
                  <a:gd name="T4" fmla="*/ 7562057 w 3"/>
                  <a:gd name="T5" fmla="*/ 15120939 h 6"/>
                  <a:gd name="T6" fmla="*/ 7562057 w 3"/>
                  <a:gd name="T7" fmla="*/ 15120939 h 6"/>
                  <a:gd name="T8" fmla="*/ 7562057 w 3"/>
                  <a:gd name="T9" fmla="*/ 15120939 h 6"/>
                  <a:gd name="T10" fmla="*/ 0 w 3"/>
                  <a:gd name="T11" fmla="*/ 0 h 6"/>
                  <a:gd name="T12" fmla="*/ 0 w 3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0" y="0"/>
                    </a:moveTo>
                    <a:lnTo>
                      <a:pt x="0" y="0"/>
                    </a:lnTo>
                    <a:lnTo>
                      <a:pt x="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7" name="Freeform 890"/>
              <p:cNvSpPr>
                <a:spLocks noChangeAspect="1"/>
              </p:cNvSpPr>
              <p:nvPr>
                <p:custDataLst>
                  <p:tags r:id="rId225"/>
                </p:custDataLst>
              </p:nvPr>
            </p:nvSpPr>
            <p:spPr bwMode="gray">
              <a:xfrm>
                <a:off x="2610372" y="2962221"/>
                <a:ext cx="100218" cy="78837"/>
              </a:xfrm>
              <a:custGeom>
                <a:avLst/>
                <a:gdLst>
                  <a:gd name="T0" fmla="*/ 25261522 w 78"/>
                  <a:gd name="T1" fmla="*/ 23704502 h 61"/>
                  <a:gd name="T2" fmla="*/ 25261522 w 78"/>
                  <a:gd name="T3" fmla="*/ 23704502 h 61"/>
                  <a:gd name="T4" fmla="*/ 10826748 w 78"/>
                  <a:gd name="T5" fmla="*/ 8465800 h 61"/>
                  <a:gd name="T6" fmla="*/ 5413374 w 78"/>
                  <a:gd name="T7" fmla="*/ 13545801 h 61"/>
                  <a:gd name="T8" fmla="*/ 0 w 78"/>
                  <a:gd name="T9" fmla="*/ 8465800 h 61"/>
                  <a:gd name="T10" fmla="*/ 0 w 78"/>
                  <a:gd name="T11" fmla="*/ 5080000 h 61"/>
                  <a:gd name="T12" fmla="*/ 10826748 w 78"/>
                  <a:gd name="T13" fmla="*/ 0 h 61"/>
                  <a:gd name="T14" fmla="*/ 30674895 w 78"/>
                  <a:gd name="T15" fmla="*/ 8465800 h 61"/>
                  <a:gd name="T16" fmla="*/ 81196584 w 78"/>
                  <a:gd name="T17" fmla="*/ 28784501 h 61"/>
                  <a:gd name="T18" fmla="*/ 81196584 w 78"/>
                  <a:gd name="T19" fmla="*/ 32170299 h 61"/>
                  <a:gd name="T20" fmla="*/ 95631371 w 78"/>
                  <a:gd name="T21" fmla="*/ 50796104 h 61"/>
                  <a:gd name="T22" fmla="*/ 95631371 w 78"/>
                  <a:gd name="T23" fmla="*/ 55876103 h 61"/>
                  <a:gd name="T24" fmla="*/ 110066136 w 78"/>
                  <a:gd name="T25" fmla="*/ 66034799 h 61"/>
                  <a:gd name="T26" fmla="*/ 115479509 w 78"/>
                  <a:gd name="T27" fmla="*/ 66034799 h 61"/>
                  <a:gd name="T28" fmla="*/ 126306255 w 78"/>
                  <a:gd name="T29" fmla="*/ 74500596 h 61"/>
                  <a:gd name="T30" fmla="*/ 135327648 w 78"/>
                  <a:gd name="T31" fmla="*/ 94819310 h 61"/>
                  <a:gd name="T32" fmla="*/ 140741021 w 78"/>
                  <a:gd name="T33" fmla="*/ 98205108 h 61"/>
                  <a:gd name="T34" fmla="*/ 135327648 w 78"/>
                  <a:gd name="T35" fmla="*/ 103285107 h 61"/>
                  <a:gd name="T36" fmla="*/ 115479509 w 78"/>
                  <a:gd name="T37" fmla="*/ 94819310 h 61"/>
                  <a:gd name="T38" fmla="*/ 104654107 w 78"/>
                  <a:gd name="T39" fmla="*/ 94819310 h 61"/>
                  <a:gd name="T40" fmla="*/ 101044744 w 78"/>
                  <a:gd name="T41" fmla="*/ 89739311 h 61"/>
                  <a:gd name="T42" fmla="*/ 101044744 w 78"/>
                  <a:gd name="T43" fmla="*/ 84659292 h 61"/>
                  <a:gd name="T44" fmla="*/ 95631371 w 78"/>
                  <a:gd name="T45" fmla="*/ 89739311 h 61"/>
                  <a:gd name="T46" fmla="*/ 90217998 w 78"/>
                  <a:gd name="T47" fmla="*/ 84659292 h 61"/>
                  <a:gd name="T48" fmla="*/ 95631371 w 78"/>
                  <a:gd name="T49" fmla="*/ 79580595 h 61"/>
                  <a:gd name="T50" fmla="*/ 95631371 w 78"/>
                  <a:gd name="T51" fmla="*/ 79580595 h 61"/>
                  <a:gd name="T52" fmla="*/ 90217998 w 78"/>
                  <a:gd name="T53" fmla="*/ 79580595 h 61"/>
                  <a:gd name="T54" fmla="*/ 81196584 w 78"/>
                  <a:gd name="T55" fmla="*/ 79580595 h 61"/>
                  <a:gd name="T56" fmla="*/ 81196584 w 78"/>
                  <a:gd name="T57" fmla="*/ 74500596 h 61"/>
                  <a:gd name="T58" fmla="*/ 75783212 w 78"/>
                  <a:gd name="T59" fmla="*/ 66034799 h 61"/>
                  <a:gd name="T60" fmla="*/ 64957809 w 78"/>
                  <a:gd name="T61" fmla="*/ 66034799 h 61"/>
                  <a:gd name="T62" fmla="*/ 55935073 w 78"/>
                  <a:gd name="T63" fmla="*/ 60954800 h 61"/>
                  <a:gd name="T64" fmla="*/ 55935073 w 78"/>
                  <a:gd name="T65" fmla="*/ 50796104 h 61"/>
                  <a:gd name="T66" fmla="*/ 64957809 w 78"/>
                  <a:gd name="T67" fmla="*/ 50796104 h 61"/>
                  <a:gd name="T68" fmla="*/ 55935073 w 78"/>
                  <a:gd name="T69" fmla="*/ 50796104 h 61"/>
                  <a:gd name="T70" fmla="*/ 55935073 w 78"/>
                  <a:gd name="T71" fmla="*/ 47409004 h 61"/>
                  <a:gd name="T72" fmla="*/ 50523044 w 78"/>
                  <a:gd name="T73" fmla="*/ 42330297 h 61"/>
                  <a:gd name="T74" fmla="*/ 39696287 w 78"/>
                  <a:gd name="T75" fmla="*/ 42330297 h 61"/>
                  <a:gd name="T76" fmla="*/ 34282914 w 78"/>
                  <a:gd name="T77" fmla="*/ 42330297 h 61"/>
                  <a:gd name="T78" fmla="*/ 34282914 w 78"/>
                  <a:gd name="T79" fmla="*/ 37250298 h 61"/>
                  <a:gd name="T80" fmla="*/ 34282914 w 78"/>
                  <a:gd name="T81" fmla="*/ 32170299 h 61"/>
                  <a:gd name="T82" fmla="*/ 30674895 w 78"/>
                  <a:gd name="T83" fmla="*/ 37250298 h 61"/>
                  <a:gd name="T84" fmla="*/ 19848144 w 78"/>
                  <a:gd name="T85" fmla="*/ 32170299 h 61"/>
                  <a:gd name="T86" fmla="*/ 14434771 w 78"/>
                  <a:gd name="T87" fmla="*/ 32170299 h 61"/>
                  <a:gd name="T88" fmla="*/ 14434771 w 78"/>
                  <a:gd name="T89" fmla="*/ 32170299 h 61"/>
                  <a:gd name="T90" fmla="*/ 14434771 w 78"/>
                  <a:gd name="T91" fmla="*/ 23704502 h 61"/>
                  <a:gd name="T92" fmla="*/ 10826748 w 78"/>
                  <a:gd name="T93" fmla="*/ 18625800 h 61"/>
                  <a:gd name="T94" fmla="*/ 19848144 w 78"/>
                  <a:gd name="T95" fmla="*/ 18625800 h 6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8"/>
                  <a:gd name="T145" fmla="*/ 0 h 61"/>
                  <a:gd name="T146" fmla="*/ 78 w 78"/>
                  <a:gd name="T147" fmla="*/ 61 h 6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8" h="61">
                    <a:moveTo>
                      <a:pt x="14" y="14"/>
                    </a:moveTo>
                    <a:lnTo>
                      <a:pt x="14" y="14"/>
                    </a:lnTo>
                    <a:lnTo>
                      <a:pt x="14" y="8"/>
                    </a:lnTo>
                    <a:lnTo>
                      <a:pt x="6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4" y="3"/>
                    </a:lnTo>
                    <a:lnTo>
                      <a:pt x="17" y="5"/>
                    </a:lnTo>
                    <a:lnTo>
                      <a:pt x="42" y="14"/>
                    </a:lnTo>
                    <a:lnTo>
                      <a:pt x="45" y="17"/>
                    </a:lnTo>
                    <a:lnTo>
                      <a:pt x="45" y="19"/>
                    </a:lnTo>
                    <a:lnTo>
                      <a:pt x="53" y="28"/>
                    </a:lnTo>
                    <a:lnTo>
                      <a:pt x="53" y="30"/>
                    </a:lnTo>
                    <a:lnTo>
                      <a:pt x="53" y="33"/>
                    </a:lnTo>
                    <a:lnTo>
                      <a:pt x="56" y="33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7" y="39"/>
                    </a:lnTo>
                    <a:lnTo>
                      <a:pt x="70" y="44"/>
                    </a:lnTo>
                    <a:lnTo>
                      <a:pt x="75" y="56"/>
                    </a:lnTo>
                    <a:lnTo>
                      <a:pt x="78" y="58"/>
                    </a:lnTo>
                    <a:lnTo>
                      <a:pt x="78" y="61"/>
                    </a:lnTo>
                    <a:lnTo>
                      <a:pt x="75" y="61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1" y="56"/>
                    </a:lnTo>
                    <a:lnTo>
                      <a:pt x="58" y="56"/>
                    </a:lnTo>
                    <a:lnTo>
                      <a:pt x="56" y="56"/>
                    </a:lnTo>
                    <a:lnTo>
                      <a:pt x="56" y="53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3"/>
                    </a:lnTo>
                    <a:lnTo>
                      <a:pt x="53" y="53"/>
                    </a:lnTo>
                    <a:lnTo>
                      <a:pt x="50" y="50"/>
                    </a:lnTo>
                    <a:lnTo>
                      <a:pt x="50" y="47"/>
                    </a:lnTo>
                    <a:lnTo>
                      <a:pt x="53" y="47"/>
                    </a:lnTo>
                    <a:lnTo>
                      <a:pt x="50" y="44"/>
                    </a:lnTo>
                    <a:lnTo>
                      <a:pt x="50" y="47"/>
                    </a:lnTo>
                    <a:lnTo>
                      <a:pt x="47" y="47"/>
                    </a:lnTo>
                    <a:lnTo>
                      <a:pt x="45" y="47"/>
                    </a:lnTo>
                    <a:lnTo>
                      <a:pt x="42" y="44"/>
                    </a:lnTo>
                    <a:lnTo>
                      <a:pt x="45" y="44"/>
                    </a:lnTo>
                    <a:lnTo>
                      <a:pt x="45" y="42"/>
                    </a:lnTo>
                    <a:lnTo>
                      <a:pt x="42" y="39"/>
                    </a:lnTo>
                    <a:lnTo>
                      <a:pt x="36" y="39"/>
                    </a:lnTo>
                    <a:lnTo>
                      <a:pt x="33" y="36"/>
                    </a:lnTo>
                    <a:lnTo>
                      <a:pt x="31" y="36"/>
                    </a:lnTo>
                    <a:lnTo>
                      <a:pt x="28" y="33"/>
                    </a:lnTo>
                    <a:lnTo>
                      <a:pt x="31" y="30"/>
                    </a:lnTo>
                    <a:lnTo>
                      <a:pt x="33" y="33"/>
                    </a:lnTo>
                    <a:lnTo>
                      <a:pt x="36" y="30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31" y="28"/>
                    </a:lnTo>
                    <a:lnTo>
                      <a:pt x="28" y="28"/>
                    </a:lnTo>
                    <a:lnTo>
                      <a:pt x="28" y="25"/>
                    </a:lnTo>
                    <a:lnTo>
                      <a:pt x="25" y="25"/>
                    </a:lnTo>
                    <a:lnTo>
                      <a:pt x="22" y="25"/>
                    </a:lnTo>
                    <a:lnTo>
                      <a:pt x="19" y="25"/>
                    </a:lnTo>
                    <a:lnTo>
                      <a:pt x="19" y="22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8" name="Freeform 891"/>
              <p:cNvSpPr>
                <a:spLocks noChangeAspect="1"/>
              </p:cNvSpPr>
              <p:nvPr>
                <p:custDataLst>
                  <p:tags r:id="rId226"/>
                </p:custDataLst>
              </p:nvPr>
            </p:nvSpPr>
            <p:spPr bwMode="gray">
              <a:xfrm>
                <a:off x="2610372" y="2962221"/>
                <a:ext cx="100218" cy="78837"/>
              </a:xfrm>
              <a:custGeom>
                <a:avLst/>
                <a:gdLst>
                  <a:gd name="T0" fmla="*/ 25261522 w 78"/>
                  <a:gd name="T1" fmla="*/ 23704502 h 61"/>
                  <a:gd name="T2" fmla="*/ 25261522 w 78"/>
                  <a:gd name="T3" fmla="*/ 23704502 h 61"/>
                  <a:gd name="T4" fmla="*/ 10826748 w 78"/>
                  <a:gd name="T5" fmla="*/ 8465800 h 61"/>
                  <a:gd name="T6" fmla="*/ 5413374 w 78"/>
                  <a:gd name="T7" fmla="*/ 13545801 h 61"/>
                  <a:gd name="T8" fmla="*/ 0 w 78"/>
                  <a:gd name="T9" fmla="*/ 8465800 h 61"/>
                  <a:gd name="T10" fmla="*/ 0 w 78"/>
                  <a:gd name="T11" fmla="*/ 5080000 h 61"/>
                  <a:gd name="T12" fmla="*/ 10826748 w 78"/>
                  <a:gd name="T13" fmla="*/ 0 h 61"/>
                  <a:gd name="T14" fmla="*/ 30674895 w 78"/>
                  <a:gd name="T15" fmla="*/ 8465800 h 61"/>
                  <a:gd name="T16" fmla="*/ 81196584 w 78"/>
                  <a:gd name="T17" fmla="*/ 28784501 h 61"/>
                  <a:gd name="T18" fmla="*/ 81196584 w 78"/>
                  <a:gd name="T19" fmla="*/ 32170299 h 61"/>
                  <a:gd name="T20" fmla="*/ 95631371 w 78"/>
                  <a:gd name="T21" fmla="*/ 50796104 h 61"/>
                  <a:gd name="T22" fmla="*/ 95631371 w 78"/>
                  <a:gd name="T23" fmla="*/ 55876103 h 61"/>
                  <a:gd name="T24" fmla="*/ 110066136 w 78"/>
                  <a:gd name="T25" fmla="*/ 66034799 h 61"/>
                  <a:gd name="T26" fmla="*/ 115479509 w 78"/>
                  <a:gd name="T27" fmla="*/ 66034799 h 61"/>
                  <a:gd name="T28" fmla="*/ 126306255 w 78"/>
                  <a:gd name="T29" fmla="*/ 74500596 h 61"/>
                  <a:gd name="T30" fmla="*/ 135327648 w 78"/>
                  <a:gd name="T31" fmla="*/ 94819310 h 61"/>
                  <a:gd name="T32" fmla="*/ 140741021 w 78"/>
                  <a:gd name="T33" fmla="*/ 98205108 h 61"/>
                  <a:gd name="T34" fmla="*/ 135327648 w 78"/>
                  <a:gd name="T35" fmla="*/ 103285107 h 61"/>
                  <a:gd name="T36" fmla="*/ 115479509 w 78"/>
                  <a:gd name="T37" fmla="*/ 94819310 h 61"/>
                  <a:gd name="T38" fmla="*/ 104654107 w 78"/>
                  <a:gd name="T39" fmla="*/ 94819310 h 61"/>
                  <a:gd name="T40" fmla="*/ 101044744 w 78"/>
                  <a:gd name="T41" fmla="*/ 89739311 h 61"/>
                  <a:gd name="T42" fmla="*/ 101044744 w 78"/>
                  <a:gd name="T43" fmla="*/ 84659292 h 61"/>
                  <a:gd name="T44" fmla="*/ 95631371 w 78"/>
                  <a:gd name="T45" fmla="*/ 89739311 h 61"/>
                  <a:gd name="T46" fmla="*/ 90217998 w 78"/>
                  <a:gd name="T47" fmla="*/ 84659292 h 61"/>
                  <a:gd name="T48" fmla="*/ 95631371 w 78"/>
                  <a:gd name="T49" fmla="*/ 79580595 h 61"/>
                  <a:gd name="T50" fmla="*/ 95631371 w 78"/>
                  <a:gd name="T51" fmla="*/ 79580595 h 61"/>
                  <a:gd name="T52" fmla="*/ 90217998 w 78"/>
                  <a:gd name="T53" fmla="*/ 79580595 h 61"/>
                  <a:gd name="T54" fmla="*/ 81196584 w 78"/>
                  <a:gd name="T55" fmla="*/ 79580595 h 61"/>
                  <a:gd name="T56" fmla="*/ 81196584 w 78"/>
                  <a:gd name="T57" fmla="*/ 74500596 h 61"/>
                  <a:gd name="T58" fmla="*/ 75783212 w 78"/>
                  <a:gd name="T59" fmla="*/ 66034799 h 61"/>
                  <a:gd name="T60" fmla="*/ 64957809 w 78"/>
                  <a:gd name="T61" fmla="*/ 66034799 h 61"/>
                  <a:gd name="T62" fmla="*/ 55935073 w 78"/>
                  <a:gd name="T63" fmla="*/ 60954800 h 61"/>
                  <a:gd name="T64" fmla="*/ 55935073 w 78"/>
                  <a:gd name="T65" fmla="*/ 50796104 h 61"/>
                  <a:gd name="T66" fmla="*/ 64957809 w 78"/>
                  <a:gd name="T67" fmla="*/ 50796104 h 61"/>
                  <a:gd name="T68" fmla="*/ 55935073 w 78"/>
                  <a:gd name="T69" fmla="*/ 50796104 h 61"/>
                  <a:gd name="T70" fmla="*/ 55935073 w 78"/>
                  <a:gd name="T71" fmla="*/ 47409004 h 61"/>
                  <a:gd name="T72" fmla="*/ 50523044 w 78"/>
                  <a:gd name="T73" fmla="*/ 42330297 h 61"/>
                  <a:gd name="T74" fmla="*/ 39696287 w 78"/>
                  <a:gd name="T75" fmla="*/ 42330297 h 61"/>
                  <a:gd name="T76" fmla="*/ 34282914 w 78"/>
                  <a:gd name="T77" fmla="*/ 42330297 h 61"/>
                  <a:gd name="T78" fmla="*/ 34282914 w 78"/>
                  <a:gd name="T79" fmla="*/ 37250298 h 61"/>
                  <a:gd name="T80" fmla="*/ 34282914 w 78"/>
                  <a:gd name="T81" fmla="*/ 32170299 h 61"/>
                  <a:gd name="T82" fmla="*/ 30674895 w 78"/>
                  <a:gd name="T83" fmla="*/ 37250298 h 61"/>
                  <a:gd name="T84" fmla="*/ 19848144 w 78"/>
                  <a:gd name="T85" fmla="*/ 32170299 h 61"/>
                  <a:gd name="T86" fmla="*/ 14434771 w 78"/>
                  <a:gd name="T87" fmla="*/ 32170299 h 61"/>
                  <a:gd name="T88" fmla="*/ 14434771 w 78"/>
                  <a:gd name="T89" fmla="*/ 32170299 h 61"/>
                  <a:gd name="T90" fmla="*/ 14434771 w 78"/>
                  <a:gd name="T91" fmla="*/ 23704502 h 61"/>
                  <a:gd name="T92" fmla="*/ 10826748 w 78"/>
                  <a:gd name="T93" fmla="*/ 18625800 h 61"/>
                  <a:gd name="T94" fmla="*/ 19848144 w 78"/>
                  <a:gd name="T95" fmla="*/ 18625800 h 6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8"/>
                  <a:gd name="T145" fmla="*/ 0 h 61"/>
                  <a:gd name="T146" fmla="*/ 78 w 78"/>
                  <a:gd name="T147" fmla="*/ 61 h 6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8" h="61">
                    <a:moveTo>
                      <a:pt x="14" y="14"/>
                    </a:moveTo>
                    <a:lnTo>
                      <a:pt x="14" y="14"/>
                    </a:lnTo>
                    <a:lnTo>
                      <a:pt x="14" y="8"/>
                    </a:lnTo>
                    <a:lnTo>
                      <a:pt x="6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14" y="3"/>
                    </a:lnTo>
                    <a:lnTo>
                      <a:pt x="17" y="5"/>
                    </a:lnTo>
                    <a:lnTo>
                      <a:pt x="42" y="14"/>
                    </a:lnTo>
                    <a:lnTo>
                      <a:pt x="45" y="17"/>
                    </a:lnTo>
                    <a:lnTo>
                      <a:pt x="45" y="19"/>
                    </a:lnTo>
                    <a:lnTo>
                      <a:pt x="53" y="28"/>
                    </a:lnTo>
                    <a:lnTo>
                      <a:pt x="53" y="30"/>
                    </a:lnTo>
                    <a:lnTo>
                      <a:pt x="53" y="33"/>
                    </a:lnTo>
                    <a:lnTo>
                      <a:pt x="56" y="33"/>
                    </a:lnTo>
                    <a:lnTo>
                      <a:pt x="61" y="39"/>
                    </a:lnTo>
                    <a:lnTo>
                      <a:pt x="64" y="39"/>
                    </a:lnTo>
                    <a:lnTo>
                      <a:pt x="67" y="39"/>
                    </a:lnTo>
                    <a:lnTo>
                      <a:pt x="70" y="44"/>
                    </a:lnTo>
                    <a:lnTo>
                      <a:pt x="75" y="56"/>
                    </a:lnTo>
                    <a:lnTo>
                      <a:pt x="78" y="58"/>
                    </a:lnTo>
                    <a:lnTo>
                      <a:pt x="78" y="61"/>
                    </a:lnTo>
                    <a:lnTo>
                      <a:pt x="75" y="61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1" y="56"/>
                    </a:lnTo>
                    <a:lnTo>
                      <a:pt x="58" y="56"/>
                    </a:lnTo>
                    <a:lnTo>
                      <a:pt x="56" y="56"/>
                    </a:lnTo>
                    <a:lnTo>
                      <a:pt x="56" y="53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3"/>
                    </a:lnTo>
                    <a:lnTo>
                      <a:pt x="53" y="53"/>
                    </a:lnTo>
                    <a:lnTo>
                      <a:pt x="50" y="50"/>
                    </a:lnTo>
                    <a:lnTo>
                      <a:pt x="50" y="47"/>
                    </a:lnTo>
                    <a:lnTo>
                      <a:pt x="53" y="47"/>
                    </a:lnTo>
                    <a:lnTo>
                      <a:pt x="50" y="44"/>
                    </a:lnTo>
                    <a:lnTo>
                      <a:pt x="50" y="47"/>
                    </a:lnTo>
                    <a:lnTo>
                      <a:pt x="47" y="47"/>
                    </a:lnTo>
                    <a:lnTo>
                      <a:pt x="45" y="47"/>
                    </a:lnTo>
                    <a:lnTo>
                      <a:pt x="42" y="44"/>
                    </a:lnTo>
                    <a:lnTo>
                      <a:pt x="45" y="44"/>
                    </a:lnTo>
                    <a:lnTo>
                      <a:pt x="45" y="42"/>
                    </a:lnTo>
                    <a:lnTo>
                      <a:pt x="42" y="39"/>
                    </a:lnTo>
                    <a:lnTo>
                      <a:pt x="36" y="39"/>
                    </a:lnTo>
                    <a:lnTo>
                      <a:pt x="33" y="36"/>
                    </a:lnTo>
                    <a:lnTo>
                      <a:pt x="31" y="36"/>
                    </a:lnTo>
                    <a:lnTo>
                      <a:pt x="28" y="33"/>
                    </a:lnTo>
                    <a:lnTo>
                      <a:pt x="31" y="30"/>
                    </a:lnTo>
                    <a:lnTo>
                      <a:pt x="33" y="33"/>
                    </a:lnTo>
                    <a:lnTo>
                      <a:pt x="36" y="30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31" y="28"/>
                    </a:lnTo>
                    <a:lnTo>
                      <a:pt x="28" y="28"/>
                    </a:lnTo>
                    <a:lnTo>
                      <a:pt x="28" y="25"/>
                    </a:lnTo>
                    <a:lnTo>
                      <a:pt x="25" y="25"/>
                    </a:lnTo>
                    <a:lnTo>
                      <a:pt x="22" y="25"/>
                    </a:lnTo>
                    <a:lnTo>
                      <a:pt x="19" y="25"/>
                    </a:lnTo>
                    <a:lnTo>
                      <a:pt x="19" y="22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4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9" name="Freeform 892"/>
              <p:cNvSpPr>
                <a:spLocks noChangeAspect="1"/>
              </p:cNvSpPr>
              <p:nvPr>
                <p:custDataLst>
                  <p:tags r:id="rId227"/>
                </p:custDataLst>
              </p:nvPr>
            </p:nvSpPr>
            <p:spPr bwMode="gray">
              <a:xfrm>
                <a:off x="3908654" y="2990602"/>
                <a:ext cx="54664" cy="29959"/>
              </a:xfrm>
              <a:custGeom>
                <a:avLst/>
                <a:gdLst>
                  <a:gd name="T0" fmla="*/ 15543406 w 41"/>
                  <a:gd name="T1" fmla="*/ 5639111 h 22"/>
                  <a:gd name="T2" fmla="*/ 54402620 w 41"/>
                  <a:gd name="T3" fmla="*/ 15037627 h 22"/>
                  <a:gd name="T4" fmla="*/ 64118116 w 41"/>
                  <a:gd name="T5" fmla="*/ 26317219 h 22"/>
                  <a:gd name="T6" fmla="*/ 69946020 w 41"/>
                  <a:gd name="T7" fmla="*/ 26317219 h 22"/>
                  <a:gd name="T8" fmla="*/ 75775318 w 41"/>
                  <a:gd name="T9" fmla="*/ 26317219 h 22"/>
                  <a:gd name="T10" fmla="*/ 75775318 w 41"/>
                  <a:gd name="T11" fmla="*/ 26317219 h 22"/>
                  <a:gd name="T12" fmla="*/ 75775318 w 41"/>
                  <a:gd name="T13" fmla="*/ 31956327 h 22"/>
                  <a:gd name="T14" fmla="*/ 75775318 w 41"/>
                  <a:gd name="T15" fmla="*/ 31956327 h 22"/>
                  <a:gd name="T16" fmla="*/ 79661517 w 41"/>
                  <a:gd name="T17" fmla="*/ 37595435 h 22"/>
                  <a:gd name="T18" fmla="*/ 79661517 w 41"/>
                  <a:gd name="T19" fmla="*/ 37595435 h 22"/>
                  <a:gd name="T20" fmla="*/ 75775318 w 41"/>
                  <a:gd name="T21" fmla="*/ 41354840 h 22"/>
                  <a:gd name="T22" fmla="*/ 48574716 w 41"/>
                  <a:gd name="T23" fmla="*/ 37595435 h 22"/>
                  <a:gd name="T24" fmla="*/ 31086812 w 41"/>
                  <a:gd name="T25" fmla="*/ 31956327 h 22"/>
                  <a:gd name="T26" fmla="*/ 27202007 w 41"/>
                  <a:gd name="T27" fmla="*/ 26317219 h 22"/>
                  <a:gd name="T28" fmla="*/ 21372704 w 41"/>
                  <a:gd name="T29" fmla="*/ 20678106 h 22"/>
                  <a:gd name="T30" fmla="*/ 0 w 41"/>
                  <a:gd name="T31" fmla="*/ 5639111 h 22"/>
                  <a:gd name="T32" fmla="*/ 0 w 41"/>
                  <a:gd name="T33" fmla="*/ 5639111 h 22"/>
                  <a:gd name="T34" fmla="*/ 3886200 w 41"/>
                  <a:gd name="T35" fmla="*/ 0 h 22"/>
                  <a:gd name="T36" fmla="*/ 15543406 w 41"/>
                  <a:gd name="T37" fmla="*/ 5639111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1"/>
                  <a:gd name="T58" fmla="*/ 0 h 22"/>
                  <a:gd name="T59" fmla="*/ 41 w 41"/>
                  <a:gd name="T60" fmla="*/ 22 h 2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1" h="22">
                    <a:moveTo>
                      <a:pt x="8" y="3"/>
                    </a:moveTo>
                    <a:lnTo>
                      <a:pt x="28" y="8"/>
                    </a:lnTo>
                    <a:lnTo>
                      <a:pt x="33" y="14"/>
                    </a:lnTo>
                    <a:lnTo>
                      <a:pt x="36" y="14"/>
                    </a:lnTo>
                    <a:lnTo>
                      <a:pt x="39" y="14"/>
                    </a:lnTo>
                    <a:lnTo>
                      <a:pt x="39" y="17"/>
                    </a:lnTo>
                    <a:lnTo>
                      <a:pt x="41" y="20"/>
                    </a:lnTo>
                    <a:lnTo>
                      <a:pt x="39" y="22"/>
                    </a:lnTo>
                    <a:lnTo>
                      <a:pt x="25" y="20"/>
                    </a:lnTo>
                    <a:lnTo>
                      <a:pt x="16" y="17"/>
                    </a:lnTo>
                    <a:lnTo>
                      <a:pt x="14" y="14"/>
                    </a:lnTo>
                    <a:lnTo>
                      <a:pt x="11" y="11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0" name="Freeform 893"/>
              <p:cNvSpPr>
                <a:spLocks noChangeAspect="1"/>
              </p:cNvSpPr>
              <p:nvPr>
                <p:custDataLst>
                  <p:tags r:id="rId228"/>
                </p:custDataLst>
              </p:nvPr>
            </p:nvSpPr>
            <p:spPr bwMode="gray">
              <a:xfrm>
                <a:off x="3908654" y="2990602"/>
                <a:ext cx="54664" cy="29959"/>
              </a:xfrm>
              <a:custGeom>
                <a:avLst/>
                <a:gdLst>
                  <a:gd name="T0" fmla="*/ 15543406 w 41"/>
                  <a:gd name="T1" fmla="*/ 5639111 h 22"/>
                  <a:gd name="T2" fmla="*/ 54402620 w 41"/>
                  <a:gd name="T3" fmla="*/ 15037627 h 22"/>
                  <a:gd name="T4" fmla="*/ 64118116 w 41"/>
                  <a:gd name="T5" fmla="*/ 26317219 h 22"/>
                  <a:gd name="T6" fmla="*/ 69946020 w 41"/>
                  <a:gd name="T7" fmla="*/ 26317219 h 22"/>
                  <a:gd name="T8" fmla="*/ 75775318 w 41"/>
                  <a:gd name="T9" fmla="*/ 26317219 h 22"/>
                  <a:gd name="T10" fmla="*/ 75775318 w 41"/>
                  <a:gd name="T11" fmla="*/ 26317219 h 22"/>
                  <a:gd name="T12" fmla="*/ 75775318 w 41"/>
                  <a:gd name="T13" fmla="*/ 31956327 h 22"/>
                  <a:gd name="T14" fmla="*/ 75775318 w 41"/>
                  <a:gd name="T15" fmla="*/ 31956327 h 22"/>
                  <a:gd name="T16" fmla="*/ 79661517 w 41"/>
                  <a:gd name="T17" fmla="*/ 37595435 h 22"/>
                  <a:gd name="T18" fmla="*/ 79661517 w 41"/>
                  <a:gd name="T19" fmla="*/ 37595435 h 22"/>
                  <a:gd name="T20" fmla="*/ 75775318 w 41"/>
                  <a:gd name="T21" fmla="*/ 41354840 h 22"/>
                  <a:gd name="T22" fmla="*/ 48574716 w 41"/>
                  <a:gd name="T23" fmla="*/ 37595435 h 22"/>
                  <a:gd name="T24" fmla="*/ 31086812 w 41"/>
                  <a:gd name="T25" fmla="*/ 31956327 h 22"/>
                  <a:gd name="T26" fmla="*/ 27202007 w 41"/>
                  <a:gd name="T27" fmla="*/ 26317219 h 22"/>
                  <a:gd name="T28" fmla="*/ 21372704 w 41"/>
                  <a:gd name="T29" fmla="*/ 20678106 h 22"/>
                  <a:gd name="T30" fmla="*/ 0 w 41"/>
                  <a:gd name="T31" fmla="*/ 5639111 h 22"/>
                  <a:gd name="T32" fmla="*/ 0 w 41"/>
                  <a:gd name="T33" fmla="*/ 5639111 h 22"/>
                  <a:gd name="T34" fmla="*/ 3886200 w 41"/>
                  <a:gd name="T35" fmla="*/ 0 h 22"/>
                  <a:gd name="T36" fmla="*/ 15543406 w 41"/>
                  <a:gd name="T37" fmla="*/ 5639111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1"/>
                  <a:gd name="T58" fmla="*/ 0 h 22"/>
                  <a:gd name="T59" fmla="*/ 41 w 41"/>
                  <a:gd name="T60" fmla="*/ 22 h 2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1" h="22">
                    <a:moveTo>
                      <a:pt x="8" y="3"/>
                    </a:moveTo>
                    <a:lnTo>
                      <a:pt x="28" y="8"/>
                    </a:lnTo>
                    <a:lnTo>
                      <a:pt x="33" y="14"/>
                    </a:lnTo>
                    <a:lnTo>
                      <a:pt x="36" y="14"/>
                    </a:lnTo>
                    <a:lnTo>
                      <a:pt x="39" y="14"/>
                    </a:lnTo>
                    <a:lnTo>
                      <a:pt x="39" y="17"/>
                    </a:lnTo>
                    <a:lnTo>
                      <a:pt x="41" y="20"/>
                    </a:lnTo>
                    <a:lnTo>
                      <a:pt x="39" y="22"/>
                    </a:lnTo>
                    <a:lnTo>
                      <a:pt x="25" y="20"/>
                    </a:lnTo>
                    <a:lnTo>
                      <a:pt x="16" y="17"/>
                    </a:lnTo>
                    <a:lnTo>
                      <a:pt x="14" y="14"/>
                    </a:lnTo>
                    <a:lnTo>
                      <a:pt x="11" y="11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8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1" name="Freeform 894"/>
              <p:cNvSpPr>
                <a:spLocks noChangeAspect="1"/>
              </p:cNvSpPr>
              <p:nvPr>
                <p:custDataLst>
                  <p:tags r:id="rId229"/>
                </p:custDataLst>
              </p:nvPr>
            </p:nvSpPr>
            <p:spPr bwMode="gray">
              <a:xfrm>
                <a:off x="4071128" y="3078900"/>
                <a:ext cx="6074" cy="9460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4252912 h 8"/>
                  <a:gd name="T4" fmla="*/ 0 w 3"/>
                  <a:gd name="T5" fmla="*/ 11340702 h 8"/>
                  <a:gd name="T6" fmla="*/ 13440833 w 3"/>
                  <a:gd name="T7" fmla="*/ 11340702 h 8"/>
                  <a:gd name="T8" fmla="*/ 13440833 w 3"/>
                  <a:gd name="T9" fmla="*/ 4252912 h 8"/>
                  <a:gd name="T10" fmla="*/ 0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0" y="0"/>
                    </a:moveTo>
                    <a:lnTo>
                      <a:pt x="0" y="3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2" name="Freeform 895"/>
              <p:cNvSpPr>
                <a:spLocks noChangeAspect="1"/>
              </p:cNvSpPr>
              <p:nvPr>
                <p:custDataLst>
                  <p:tags r:id="rId230"/>
                </p:custDataLst>
              </p:nvPr>
            </p:nvSpPr>
            <p:spPr bwMode="gray">
              <a:xfrm>
                <a:off x="4071128" y="3078900"/>
                <a:ext cx="6074" cy="9460"/>
              </a:xfrm>
              <a:custGeom>
                <a:avLst/>
                <a:gdLst>
                  <a:gd name="T0" fmla="*/ 0 w 3"/>
                  <a:gd name="T1" fmla="*/ 0 h 8"/>
                  <a:gd name="T2" fmla="*/ 0 w 3"/>
                  <a:gd name="T3" fmla="*/ 4252912 h 8"/>
                  <a:gd name="T4" fmla="*/ 0 w 3"/>
                  <a:gd name="T5" fmla="*/ 11340702 h 8"/>
                  <a:gd name="T6" fmla="*/ 13440833 w 3"/>
                  <a:gd name="T7" fmla="*/ 11340702 h 8"/>
                  <a:gd name="T8" fmla="*/ 13440833 w 3"/>
                  <a:gd name="T9" fmla="*/ 4252912 h 8"/>
                  <a:gd name="T10" fmla="*/ 0 w 3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8"/>
                  <a:gd name="T20" fmla="*/ 3 w 3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8">
                    <a:moveTo>
                      <a:pt x="0" y="0"/>
                    </a:moveTo>
                    <a:lnTo>
                      <a:pt x="0" y="3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3" name="Freeform 896"/>
              <p:cNvSpPr>
                <a:spLocks noChangeAspect="1"/>
              </p:cNvSpPr>
              <p:nvPr>
                <p:custDataLst>
                  <p:tags r:id="rId231"/>
                </p:custDataLst>
              </p:nvPr>
            </p:nvSpPr>
            <p:spPr bwMode="gray">
              <a:xfrm>
                <a:off x="3858545" y="3146700"/>
                <a:ext cx="455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4838699 h 5"/>
                  <a:gd name="T4" fmla="*/ 0 w 3"/>
                  <a:gd name="T5" fmla="*/ 8064499 h 5"/>
                  <a:gd name="T6" fmla="*/ 0 w 3"/>
                  <a:gd name="T7" fmla="*/ 4838699 h 5"/>
                  <a:gd name="T8" fmla="*/ 7562057 w 3"/>
                  <a:gd name="T9" fmla="*/ 4838699 h 5"/>
                  <a:gd name="T10" fmla="*/ 7562057 w 3"/>
                  <a:gd name="T11" fmla="*/ 0 h 5"/>
                  <a:gd name="T12" fmla="*/ 0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4" name="Freeform 897"/>
              <p:cNvSpPr>
                <a:spLocks noChangeAspect="1"/>
              </p:cNvSpPr>
              <p:nvPr>
                <p:custDataLst>
                  <p:tags r:id="rId232"/>
                </p:custDataLst>
              </p:nvPr>
            </p:nvSpPr>
            <p:spPr bwMode="gray">
              <a:xfrm>
                <a:off x="3858545" y="3146700"/>
                <a:ext cx="4557" cy="6307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4838699 h 5"/>
                  <a:gd name="T4" fmla="*/ 0 w 3"/>
                  <a:gd name="T5" fmla="*/ 8064499 h 5"/>
                  <a:gd name="T6" fmla="*/ 0 w 3"/>
                  <a:gd name="T7" fmla="*/ 4838699 h 5"/>
                  <a:gd name="T8" fmla="*/ 7562057 w 3"/>
                  <a:gd name="T9" fmla="*/ 4838699 h 5"/>
                  <a:gd name="T10" fmla="*/ 7562057 w 3"/>
                  <a:gd name="T11" fmla="*/ 0 h 5"/>
                  <a:gd name="T12" fmla="*/ 0 w 3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5"/>
                  <a:gd name="T23" fmla="*/ 3 w 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5" name="Freeform 898"/>
              <p:cNvSpPr>
                <a:spLocks noChangeAspect="1"/>
              </p:cNvSpPr>
              <p:nvPr>
                <p:custDataLst>
                  <p:tags r:id="rId233"/>
                </p:custDataLst>
              </p:nvPr>
            </p:nvSpPr>
            <p:spPr bwMode="gray">
              <a:xfrm>
                <a:off x="4011909" y="2941723"/>
                <a:ext cx="132105" cy="154521"/>
              </a:xfrm>
              <a:custGeom>
                <a:avLst/>
                <a:gdLst>
                  <a:gd name="T0" fmla="*/ 73718285 w 103"/>
                  <a:gd name="T1" fmla="*/ 13446867 h 120"/>
                  <a:gd name="T2" fmla="*/ 70122010 w 103"/>
                  <a:gd name="T3" fmla="*/ 23530723 h 120"/>
                  <a:gd name="T4" fmla="*/ 64727599 w 103"/>
                  <a:gd name="T5" fmla="*/ 33615870 h 120"/>
                  <a:gd name="T6" fmla="*/ 59333187 w 103"/>
                  <a:gd name="T7" fmla="*/ 42019510 h 120"/>
                  <a:gd name="T8" fmla="*/ 53940116 w 103"/>
                  <a:gd name="T9" fmla="*/ 57147889 h 120"/>
                  <a:gd name="T10" fmla="*/ 44949430 w 103"/>
                  <a:gd name="T11" fmla="*/ 75636677 h 120"/>
                  <a:gd name="T12" fmla="*/ 44949430 w 103"/>
                  <a:gd name="T13" fmla="*/ 84040317 h 120"/>
                  <a:gd name="T14" fmla="*/ 34161937 w 103"/>
                  <a:gd name="T15" fmla="*/ 94125484 h 120"/>
                  <a:gd name="T16" fmla="*/ 39556348 w 103"/>
                  <a:gd name="T17" fmla="*/ 99167410 h 120"/>
                  <a:gd name="T18" fmla="*/ 28767525 w 103"/>
                  <a:gd name="T19" fmla="*/ 102529125 h 120"/>
                  <a:gd name="T20" fmla="*/ 14383762 w 103"/>
                  <a:gd name="T21" fmla="*/ 122698122 h 120"/>
                  <a:gd name="T22" fmla="*/ 19778174 w 103"/>
                  <a:gd name="T23" fmla="*/ 126059838 h 120"/>
                  <a:gd name="T24" fmla="*/ 3596276 w 103"/>
                  <a:gd name="T25" fmla="*/ 149591847 h 120"/>
                  <a:gd name="T26" fmla="*/ 8989348 w 103"/>
                  <a:gd name="T27" fmla="*/ 164718919 h 120"/>
                  <a:gd name="T28" fmla="*/ 59333187 w 103"/>
                  <a:gd name="T29" fmla="*/ 164718919 h 120"/>
                  <a:gd name="T30" fmla="*/ 98889545 w 103"/>
                  <a:gd name="T31" fmla="*/ 154633772 h 120"/>
                  <a:gd name="T32" fmla="*/ 89900200 w 103"/>
                  <a:gd name="T33" fmla="*/ 168080635 h 120"/>
                  <a:gd name="T34" fmla="*/ 109677028 w 103"/>
                  <a:gd name="T35" fmla="*/ 168080635 h 120"/>
                  <a:gd name="T36" fmla="*/ 124062126 w 103"/>
                  <a:gd name="T37" fmla="*/ 159676994 h 120"/>
                  <a:gd name="T38" fmla="*/ 109677028 w 103"/>
                  <a:gd name="T39" fmla="*/ 178165822 h 120"/>
                  <a:gd name="T40" fmla="*/ 104283957 w 103"/>
                  <a:gd name="T41" fmla="*/ 191611388 h 120"/>
                  <a:gd name="T42" fmla="*/ 134849609 w 103"/>
                  <a:gd name="T43" fmla="*/ 168080635 h 120"/>
                  <a:gd name="T44" fmla="*/ 149233366 w 103"/>
                  <a:gd name="T45" fmla="*/ 149591847 h 120"/>
                  <a:gd name="T46" fmla="*/ 149233366 w 103"/>
                  <a:gd name="T47" fmla="*/ 191611388 h 120"/>
                  <a:gd name="T48" fmla="*/ 165415260 w 103"/>
                  <a:gd name="T49" fmla="*/ 186569463 h 120"/>
                  <a:gd name="T50" fmla="*/ 169011535 w 103"/>
                  <a:gd name="T51" fmla="*/ 196654610 h 120"/>
                  <a:gd name="T52" fmla="*/ 185193471 w 103"/>
                  <a:gd name="T53" fmla="*/ 159676994 h 120"/>
                  <a:gd name="T54" fmla="*/ 174405947 w 103"/>
                  <a:gd name="T55" fmla="*/ 164718919 h 120"/>
                  <a:gd name="T56" fmla="*/ 179799059 w 103"/>
                  <a:gd name="T57" fmla="*/ 141188206 h 120"/>
                  <a:gd name="T58" fmla="*/ 165415260 w 103"/>
                  <a:gd name="T59" fmla="*/ 159676994 h 120"/>
                  <a:gd name="T60" fmla="*/ 154627778 w 103"/>
                  <a:gd name="T61" fmla="*/ 154633772 h 120"/>
                  <a:gd name="T62" fmla="*/ 160022189 w 103"/>
                  <a:gd name="T63" fmla="*/ 141188206 h 120"/>
                  <a:gd name="T64" fmla="*/ 169011535 w 103"/>
                  <a:gd name="T65" fmla="*/ 131103060 h 120"/>
                  <a:gd name="T66" fmla="*/ 174405947 w 103"/>
                  <a:gd name="T67" fmla="*/ 122698122 h 120"/>
                  <a:gd name="T68" fmla="*/ 149233366 w 103"/>
                  <a:gd name="T69" fmla="*/ 131103060 h 120"/>
                  <a:gd name="T70" fmla="*/ 154627778 w 103"/>
                  <a:gd name="T71" fmla="*/ 112614272 h 120"/>
                  <a:gd name="T72" fmla="*/ 160022189 w 103"/>
                  <a:gd name="T73" fmla="*/ 102529125 h 120"/>
                  <a:gd name="T74" fmla="*/ 149233366 w 103"/>
                  <a:gd name="T75" fmla="*/ 89082263 h 120"/>
                  <a:gd name="T76" fmla="*/ 118667714 w 103"/>
                  <a:gd name="T77" fmla="*/ 94125484 h 120"/>
                  <a:gd name="T78" fmla="*/ 118667714 w 103"/>
                  <a:gd name="T79" fmla="*/ 84040317 h 120"/>
                  <a:gd name="T80" fmla="*/ 109677028 w 103"/>
                  <a:gd name="T81" fmla="*/ 89082263 h 120"/>
                  <a:gd name="T82" fmla="*/ 95293271 w 103"/>
                  <a:gd name="T83" fmla="*/ 78998392 h 120"/>
                  <a:gd name="T84" fmla="*/ 95293271 w 103"/>
                  <a:gd name="T85" fmla="*/ 65551530 h 120"/>
                  <a:gd name="T86" fmla="*/ 73718285 w 103"/>
                  <a:gd name="T87" fmla="*/ 78998392 h 120"/>
                  <a:gd name="T88" fmla="*/ 73718285 w 103"/>
                  <a:gd name="T89" fmla="*/ 65551530 h 120"/>
                  <a:gd name="T90" fmla="*/ 89900200 w 103"/>
                  <a:gd name="T91" fmla="*/ 33615870 h 120"/>
                  <a:gd name="T92" fmla="*/ 95293271 w 103"/>
                  <a:gd name="T93" fmla="*/ 13446867 h 120"/>
                  <a:gd name="T94" fmla="*/ 109677028 w 103"/>
                  <a:gd name="T95" fmla="*/ 5041926 h 120"/>
                  <a:gd name="T96" fmla="*/ 98889545 w 103"/>
                  <a:gd name="T97" fmla="*/ 0 h 12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3"/>
                  <a:gd name="T148" fmla="*/ 0 h 120"/>
                  <a:gd name="T149" fmla="*/ 103 w 103"/>
                  <a:gd name="T150" fmla="*/ 120 h 12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3" h="120">
                    <a:moveTo>
                      <a:pt x="50" y="3"/>
                    </a:moveTo>
                    <a:lnTo>
                      <a:pt x="41" y="6"/>
                    </a:lnTo>
                    <a:lnTo>
                      <a:pt x="41" y="8"/>
                    </a:lnTo>
                    <a:lnTo>
                      <a:pt x="41" y="11"/>
                    </a:lnTo>
                    <a:lnTo>
                      <a:pt x="39" y="11"/>
                    </a:lnTo>
                    <a:lnTo>
                      <a:pt x="39" y="14"/>
                    </a:lnTo>
                    <a:lnTo>
                      <a:pt x="36" y="20"/>
                    </a:lnTo>
                    <a:lnTo>
                      <a:pt x="33" y="22"/>
                    </a:lnTo>
                    <a:lnTo>
                      <a:pt x="30" y="22"/>
                    </a:lnTo>
                    <a:lnTo>
                      <a:pt x="33" y="25"/>
                    </a:lnTo>
                    <a:lnTo>
                      <a:pt x="33" y="28"/>
                    </a:lnTo>
                    <a:lnTo>
                      <a:pt x="30" y="34"/>
                    </a:lnTo>
                    <a:lnTo>
                      <a:pt x="33" y="36"/>
                    </a:lnTo>
                    <a:lnTo>
                      <a:pt x="28" y="36"/>
                    </a:lnTo>
                    <a:lnTo>
                      <a:pt x="25" y="45"/>
                    </a:lnTo>
                    <a:lnTo>
                      <a:pt x="25" y="50"/>
                    </a:lnTo>
                    <a:lnTo>
                      <a:pt x="22" y="50"/>
                    </a:lnTo>
                    <a:lnTo>
                      <a:pt x="19" y="53"/>
                    </a:lnTo>
                    <a:lnTo>
                      <a:pt x="19" y="56"/>
                    </a:lnTo>
                    <a:lnTo>
                      <a:pt x="19" y="59"/>
                    </a:lnTo>
                    <a:lnTo>
                      <a:pt x="22" y="59"/>
                    </a:lnTo>
                    <a:lnTo>
                      <a:pt x="19" y="61"/>
                    </a:lnTo>
                    <a:lnTo>
                      <a:pt x="22" y="61"/>
                    </a:lnTo>
                    <a:lnTo>
                      <a:pt x="16" y="61"/>
                    </a:lnTo>
                    <a:lnTo>
                      <a:pt x="11" y="73"/>
                    </a:lnTo>
                    <a:lnTo>
                      <a:pt x="8" y="73"/>
                    </a:lnTo>
                    <a:lnTo>
                      <a:pt x="2" y="75"/>
                    </a:lnTo>
                    <a:lnTo>
                      <a:pt x="11" y="75"/>
                    </a:lnTo>
                    <a:lnTo>
                      <a:pt x="14" y="75"/>
                    </a:lnTo>
                    <a:lnTo>
                      <a:pt x="14" y="78"/>
                    </a:lnTo>
                    <a:lnTo>
                      <a:pt x="2" y="89"/>
                    </a:lnTo>
                    <a:lnTo>
                      <a:pt x="0" y="95"/>
                    </a:lnTo>
                    <a:lnTo>
                      <a:pt x="2" y="98"/>
                    </a:lnTo>
                    <a:lnTo>
                      <a:pt x="5" y="98"/>
                    </a:lnTo>
                    <a:lnTo>
                      <a:pt x="19" y="95"/>
                    </a:lnTo>
                    <a:lnTo>
                      <a:pt x="30" y="95"/>
                    </a:lnTo>
                    <a:lnTo>
                      <a:pt x="33" y="98"/>
                    </a:lnTo>
                    <a:lnTo>
                      <a:pt x="50" y="95"/>
                    </a:lnTo>
                    <a:lnTo>
                      <a:pt x="53" y="92"/>
                    </a:lnTo>
                    <a:lnTo>
                      <a:pt x="55" y="92"/>
                    </a:lnTo>
                    <a:lnTo>
                      <a:pt x="55" y="95"/>
                    </a:lnTo>
                    <a:lnTo>
                      <a:pt x="53" y="98"/>
                    </a:lnTo>
                    <a:lnTo>
                      <a:pt x="50" y="100"/>
                    </a:lnTo>
                    <a:lnTo>
                      <a:pt x="55" y="98"/>
                    </a:lnTo>
                    <a:lnTo>
                      <a:pt x="55" y="100"/>
                    </a:lnTo>
                    <a:lnTo>
                      <a:pt x="61" y="100"/>
                    </a:lnTo>
                    <a:lnTo>
                      <a:pt x="64" y="95"/>
                    </a:lnTo>
                    <a:lnTo>
                      <a:pt x="66" y="95"/>
                    </a:lnTo>
                    <a:lnTo>
                      <a:pt x="69" y="95"/>
                    </a:lnTo>
                    <a:lnTo>
                      <a:pt x="72" y="98"/>
                    </a:lnTo>
                    <a:lnTo>
                      <a:pt x="64" y="103"/>
                    </a:lnTo>
                    <a:lnTo>
                      <a:pt x="61" y="106"/>
                    </a:lnTo>
                    <a:lnTo>
                      <a:pt x="55" y="109"/>
                    </a:lnTo>
                    <a:lnTo>
                      <a:pt x="55" y="111"/>
                    </a:lnTo>
                    <a:lnTo>
                      <a:pt x="58" y="114"/>
                    </a:lnTo>
                    <a:lnTo>
                      <a:pt x="64" y="111"/>
                    </a:lnTo>
                    <a:lnTo>
                      <a:pt x="72" y="103"/>
                    </a:lnTo>
                    <a:lnTo>
                      <a:pt x="75" y="100"/>
                    </a:lnTo>
                    <a:lnTo>
                      <a:pt x="78" y="100"/>
                    </a:lnTo>
                    <a:lnTo>
                      <a:pt x="80" y="89"/>
                    </a:lnTo>
                    <a:lnTo>
                      <a:pt x="83" y="89"/>
                    </a:lnTo>
                    <a:lnTo>
                      <a:pt x="86" y="103"/>
                    </a:lnTo>
                    <a:lnTo>
                      <a:pt x="83" y="114"/>
                    </a:lnTo>
                    <a:lnTo>
                      <a:pt x="89" y="106"/>
                    </a:lnTo>
                    <a:lnTo>
                      <a:pt x="92" y="109"/>
                    </a:lnTo>
                    <a:lnTo>
                      <a:pt x="92" y="111"/>
                    </a:lnTo>
                    <a:lnTo>
                      <a:pt x="92" y="117"/>
                    </a:lnTo>
                    <a:lnTo>
                      <a:pt x="92" y="120"/>
                    </a:lnTo>
                    <a:lnTo>
                      <a:pt x="94" y="117"/>
                    </a:lnTo>
                    <a:lnTo>
                      <a:pt x="97" y="117"/>
                    </a:lnTo>
                    <a:lnTo>
                      <a:pt x="103" y="100"/>
                    </a:lnTo>
                    <a:lnTo>
                      <a:pt x="103" y="95"/>
                    </a:lnTo>
                    <a:lnTo>
                      <a:pt x="103" y="92"/>
                    </a:lnTo>
                    <a:lnTo>
                      <a:pt x="100" y="100"/>
                    </a:lnTo>
                    <a:lnTo>
                      <a:pt x="97" y="98"/>
                    </a:lnTo>
                    <a:lnTo>
                      <a:pt x="97" y="95"/>
                    </a:lnTo>
                    <a:lnTo>
                      <a:pt x="100" y="86"/>
                    </a:lnTo>
                    <a:lnTo>
                      <a:pt x="100" y="84"/>
                    </a:lnTo>
                    <a:lnTo>
                      <a:pt x="94" y="86"/>
                    </a:lnTo>
                    <a:lnTo>
                      <a:pt x="92" y="95"/>
                    </a:lnTo>
                    <a:lnTo>
                      <a:pt x="89" y="95"/>
                    </a:lnTo>
                    <a:lnTo>
                      <a:pt x="86" y="92"/>
                    </a:lnTo>
                    <a:lnTo>
                      <a:pt x="89" y="86"/>
                    </a:lnTo>
                    <a:lnTo>
                      <a:pt x="89" y="84"/>
                    </a:lnTo>
                    <a:lnTo>
                      <a:pt x="86" y="81"/>
                    </a:lnTo>
                    <a:lnTo>
                      <a:pt x="92" y="81"/>
                    </a:lnTo>
                    <a:lnTo>
                      <a:pt x="94" y="78"/>
                    </a:lnTo>
                    <a:lnTo>
                      <a:pt x="97" y="75"/>
                    </a:lnTo>
                    <a:lnTo>
                      <a:pt x="97" y="73"/>
                    </a:lnTo>
                    <a:lnTo>
                      <a:pt x="89" y="75"/>
                    </a:lnTo>
                    <a:lnTo>
                      <a:pt x="83" y="78"/>
                    </a:lnTo>
                    <a:lnTo>
                      <a:pt x="83" y="75"/>
                    </a:lnTo>
                    <a:lnTo>
                      <a:pt x="89" y="70"/>
                    </a:lnTo>
                    <a:lnTo>
                      <a:pt x="86" y="67"/>
                    </a:lnTo>
                    <a:lnTo>
                      <a:pt x="83" y="67"/>
                    </a:lnTo>
                    <a:lnTo>
                      <a:pt x="86" y="64"/>
                    </a:lnTo>
                    <a:lnTo>
                      <a:pt x="89" y="61"/>
                    </a:lnTo>
                    <a:lnTo>
                      <a:pt x="92" y="56"/>
                    </a:lnTo>
                    <a:lnTo>
                      <a:pt x="83" y="53"/>
                    </a:lnTo>
                    <a:lnTo>
                      <a:pt x="80" y="53"/>
                    </a:lnTo>
                    <a:lnTo>
                      <a:pt x="78" y="53"/>
                    </a:lnTo>
                    <a:lnTo>
                      <a:pt x="66" y="56"/>
                    </a:lnTo>
                    <a:lnTo>
                      <a:pt x="64" y="59"/>
                    </a:lnTo>
                    <a:lnTo>
                      <a:pt x="66" y="53"/>
                    </a:lnTo>
                    <a:lnTo>
                      <a:pt x="66" y="50"/>
                    </a:lnTo>
                    <a:lnTo>
                      <a:pt x="64" y="53"/>
                    </a:lnTo>
                    <a:lnTo>
                      <a:pt x="61" y="53"/>
                    </a:lnTo>
                    <a:lnTo>
                      <a:pt x="55" y="53"/>
                    </a:lnTo>
                    <a:lnTo>
                      <a:pt x="55" y="47"/>
                    </a:lnTo>
                    <a:lnTo>
                      <a:pt x="53" y="47"/>
                    </a:lnTo>
                    <a:lnTo>
                      <a:pt x="61" y="42"/>
                    </a:lnTo>
                    <a:lnTo>
                      <a:pt x="58" y="42"/>
                    </a:lnTo>
                    <a:lnTo>
                      <a:pt x="53" y="39"/>
                    </a:lnTo>
                    <a:lnTo>
                      <a:pt x="53" y="36"/>
                    </a:lnTo>
                    <a:lnTo>
                      <a:pt x="50" y="36"/>
                    </a:lnTo>
                    <a:lnTo>
                      <a:pt x="41" y="47"/>
                    </a:lnTo>
                    <a:lnTo>
                      <a:pt x="39" y="45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50" y="25"/>
                    </a:lnTo>
                    <a:lnTo>
                      <a:pt x="50" y="17"/>
                    </a:lnTo>
                    <a:lnTo>
                      <a:pt x="50" y="20"/>
                    </a:lnTo>
                    <a:lnTo>
                      <a:pt x="55" y="17"/>
                    </a:lnTo>
                    <a:lnTo>
                      <a:pt x="55" y="11"/>
                    </a:lnTo>
                    <a:lnTo>
                      <a:pt x="53" y="8"/>
                    </a:lnTo>
                    <a:lnTo>
                      <a:pt x="55" y="6"/>
                    </a:lnTo>
                    <a:lnTo>
                      <a:pt x="58" y="6"/>
                    </a:lnTo>
                    <a:lnTo>
                      <a:pt x="61" y="3"/>
                    </a:lnTo>
                    <a:lnTo>
                      <a:pt x="61" y="0"/>
                    </a:lnTo>
                    <a:lnTo>
                      <a:pt x="58" y="0"/>
                    </a:lnTo>
                    <a:lnTo>
                      <a:pt x="55" y="0"/>
                    </a:lnTo>
                    <a:lnTo>
                      <a:pt x="53" y="0"/>
                    </a:lnTo>
                    <a:lnTo>
                      <a:pt x="5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6" name="Freeform 900"/>
              <p:cNvSpPr>
                <a:spLocks noChangeAspect="1"/>
              </p:cNvSpPr>
              <p:nvPr>
                <p:custDataLst>
                  <p:tags r:id="rId234"/>
                </p:custDataLst>
              </p:nvPr>
            </p:nvSpPr>
            <p:spPr bwMode="gray">
              <a:xfrm>
                <a:off x="2467638" y="2173850"/>
                <a:ext cx="30369" cy="42572"/>
              </a:xfrm>
              <a:custGeom>
                <a:avLst/>
                <a:gdLst>
                  <a:gd name="T0" fmla="*/ 5716381 w 23"/>
                  <a:gd name="T1" fmla="*/ 27018816 h 34"/>
                  <a:gd name="T2" fmla="*/ 11434143 w 23"/>
                  <a:gd name="T3" fmla="*/ 27018816 h 34"/>
                  <a:gd name="T4" fmla="*/ 11434143 w 23"/>
                  <a:gd name="T5" fmla="*/ 27018816 h 34"/>
                  <a:gd name="T6" fmla="*/ 5716381 w 23"/>
                  <a:gd name="T7" fmla="*/ 22249679 h 34"/>
                  <a:gd name="T8" fmla="*/ 11434143 w 23"/>
                  <a:gd name="T9" fmla="*/ 22249679 h 34"/>
                  <a:gd name="T10" fmla="*/ 17150521 w 23"/>
                  <a:gd name="T11" fmla="*/ 22249679 h 34"/>
                  <a:gd name="T12" fmla="*/ 17150521 w 23"/>
                  <a:gd name="T13" fmla="*/ 22249679 h 34"/>
                  <a:gd name="T14" fmla="*/ 22866905 w 23"/>
                  <a:gd name="T15" fmla="*/ 22249679 h 34"/>
                  <a:gd name="T16" fmla="*/ 22866905 w 23"/>
                  <a:gd name="T17" fmla="*/ 22249679 h 34"/>
                  <a:gd name="T18" fmla="*/ 22866905 w 23"/>
                  <a:gd name="T19" fmla="*/ 17481798 h 34"/>
                  <a:gd name="T20" fmla="*/ 22866905 w 23"/>
                  <a:gd name="T21" fmla="*/ 17481798 h 34"/>
                  <a:gd name="T22" fmla="*/ 22866905 w 23"/>
                  <a:gd name="T23" fmla="*/ 17481798 h 34"/>
                  <a:gd name="T24" fmla="*/ 22866905 w 23"/>
                  <a:gd name="T25" fmla="*/ 14303634 h 34"/>
                  <a:gd name="T26" fmla="*/ 26678285 w 23"/>
                  <a:gd name="T27" fmla="*/ 9535755 h 34"/>
                  <a:gd name="T28" fmla="*/ 22866905 w 23"/>
                  <a:gd name="T29" fmla="*/ 4767878 h 34"/>
                  <a:gd name="T30" fmla="*/ 22866905 w 23"/>
                  <a:gd name="T31" fmla="*/ 0 h 34"/>
                  <a:gd name="T32" fmla="*/ 22866905 w 23"/>
                  <a:gd name="T33" fmla="*/ 0 h 34"/>
                  <a:gd name="T34" fmla="*/ 22866905 w 23"/>
                  <a:gd name="T35" fmla="*/ 4767878 h 34"/>
                  <a:gd name="T36" fmla="*/ 26678285 w 23"/>
                  <a:gd name="T37" fmla="*/ 9535755 h 34"/>
                  <a:gd name="T38" fmla="*/ 26678285 w 23"/>
                  <a:gd name="T39" fmla="*/ 14303634 h 34"/>
                  <a:gd name="T40" fmla="*/ 32394663 w 23"/>
                  <a:gd name="T41" fmla="*/ 14303634 h 34"/>
                  <a:gd name="T42" fmla="*/ 32394663 w 23"/>
                  <a:gd name="T43" fmla="*/ 17481798 h 34"/>
                  <a:gd name="T44" fmla="*/ 38112422 w 23"/>
                  <a:gd name="T45" fmla="*/ 14303634 h 34"/>
                  <a:gd name="T46" fmla="*/ 43828801 w 23"/>
                  <a:gd name="T47" fmla="*/ 14303634 h 34"/>
                  <a:gd name="T48" fmla="*/ 43828801 w 23"/>
                  <a:gd name="T49" fmla="*/ 17481798 h 34"/>
                  <a:gd name="T50" fmla="*/ 43828801 w 23"/>
                  <a:gd name="T51" fmla="*/ 22249679 h 34"/>
                  <a:gd name="T52" fmla="*/ 17150521 w 23"/>
                  <a:gd name="T53" fmla="*/ 49268495 h 34"/>
                  <a:gd name="T54" fmla="*/ 11434143 w 23"/>
                  <a:gd name="T55" fmla="*/ 49268495 h 34"/>
                  <a:gd name="T56" fmla="*/ 11434143 w 23"/>
                  <a:gd name="T57" fmla="*/ 49268495 h 34"/>
                  <a:gd name="T58" fmla="*/ 11434143 w 23"/>
                  <a:gd name="T59" fmla="*/ 54036371 h 34"/>
                  <a:gd name="T60" fmla="*/ 5716381 w 23"/>
                  <a:gd name="T61" fmla="*/ 49268495 h 34"/>
                  <a:gd name="T62" fmla="*/ 5716381 w 23"/>
                  <a:gd name="T63" fmla="*/ 44500618 h 34"/>
                  <a:gd name="T64" fmla="*/ 11434143 w 23"/>
                  <a:gd name="T65" fmla="*/ 49268495 h 34"/>
                  <a:gd name="T66" fmla="*/ 17150521 w 23"/>
                  <a:gd name="T67" fmla="*/ 44500618 h 34"/>
                  <a:gd name="T68" fmla="*/ 17150521 w 23"/>
                  <a:gd name="T69" fmla="*/ 39732732 h 34"/>
                  <a:gd name="T70" fmla="*/ 11434143 w 23"/>
                  <a:gd name="T71" fmla="*/ 44500618 h 34"/>
                  <a:gd name="T72" fmla="*/ 5716381 w 23"/>
                  <a:gd name="T73" fmla="*/ 39732732 h 34"/>
                  <a:gd name="T74" fmla="*/ 0 w 23"/>
                  <a:gd name="T75" fmla="*/ 27018816 h 34"/>
                  <a:gd name="T76" fmla="*/ 0 w 23"/>
                  <a:gd name="T77" fmla="*/ 27018816 h 34"/>
                  <a:gd name="T78" fmla="*/ 0 w 23"/>
                  <a:gd name="T79" fmla="*/ 22249679 h 34"/>
                  <a:gd name="T80" fmla="*/ 0 w 23"/>
                  <a:gd name="T81" fmla="*/ 22249679 h 34"/>
                  <a:gd name="T82" fmla="*/ 0 w 23"/>
                  <a:gd name="T83" fmla="*/ 22249679 h 34"/>
                  <a:gd name="T84" fmla="*/ 5716381 w 23"/>
                  <a:gd name="T85" fmla="*/ 27018816 h 3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3"/>
                  <a:gd name="T130" fmla="*/ 0 h 34"/>
                  <a:gd name="T131" fmla="*/ 23 w 23"/>
                  <a:gd name="T132" fmla="*/ 34 h 3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3" h="34">
                    <a:moveTo>
                      <a:pt x="3" y="17"/>
                    </a:moveTo>
                    <a:lnTo>
                      <a:pt x="6" y="17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12" y="14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6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20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3" y="14"/>
                    </a:lnTo>
                    <a:lnTo>
                      <a:pt x="9" y="31"/>
                    </a:lnTo>
                    <a:lnTo>
                      <a:pt x="6" y="31"/>
                    </a:lnTo>
                    <a:lnTo>
                      <a:pt x="6" y="34"/>
                    </a:lnTo>
                    <a:lnTo>
                      <a:pt x="3" y="31"/>
                    </a:lnTo>
                    <a:lnTo>
                      <a:pt x="3" y="28"/>
                    </a:lnTo>
                    <a:lnTo>
                      <a:pt x="6" y="31"/>
                    </a:lnTo>
                    <a:lnTo>
                      <a:pt x="9" y="28"/>
                    </a:lnTo>
                    <a:lnTo>
                      <a:pt x="9" y="25"/>
                    </a:lnTo>
                    <a:lnTo>
                      <a:pt x="6" y="28"/>
                    </a:lnTo>
                    <a:lnTo>
                      <a:pt x="3" y="25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7" name="Freeform 901"/>
              <p:cNvSpPr>
                <a:spLocks noChangeAspect="1"/>
              </p:cNvSpPr>
              <p:nvPr>
                <p:custDataLst>
                  <p:tags r:id="rId235"/>
                </p:custDataLst>
              </p:nvPr>
            </p:nvSpPr>
            <p:spPr bwMode="gray">
              <a:xfrm>
                <a:off x="2467638" y="2173850"/>
                <a:ext cx="30369" cy="42572"/>
              </a:xfrm>
              <a:custGeom>
                <a:avLst/>
                <a:gdLst>
                  <a:gd name="T0" fmla="*/ 5716381 w 23"/>
                  <a:gd name="T1" fmla="*/ 27018816 h 34"/>
                  <a:gd name="T2" fmla="*/ 11434143 w 23"/>
                  <a:gd name="T3" fmla="*/ 27018816 h 34"/>
                  <a:gd name="T4" fmla="*/ 11434143 w 23"/>
                  <a:gd name="T5" fmla="*/ 27018816 h 34"/>
                  <a:gd name="T6" fmla="*/ 5716381 w 23"/>
                  <a:gd name="T7" fmla="*/ 22249679 h 34"/>
                  <a:gd name="T8" fmla="*/ 11434143 w 23"/>
                  <a:gd name="T9" fmla="*/ 22249679 h 34"/>
                  <a:gd name="T10" fmla="*/ 17150521 w 23"/>
                  <a:gd name="T11" fmla="*/ 22249679 h 34"/>
                  <a:gd name="T12" fmla="*/ 17150521 w 23"/>
                  <a:gd name="T13" fmla="*/ 22249679 h 34"/>
                  <a:gd name="T14" fmla="*/ 22866905 w 23"/>
                  <a:gd name="T15" fmla="*/ 22249679 h 34"/>
                  <a:gd name="T16" fmla="*/ 22866905 w 23"/>
                  <a:gd name="T17" fmla="*/ 22249679 h 34"/>
                  <a:gd name="T18" fmla="*/ 22866905 w 23"/>
                  <a:gd name="T19" fmla="*/ 17481798 h 34"/>
                  <a:gd name="T20" fmla="*/ 22866905 w 23"/>
                  <a:gd name="T21" fmla="*/ 17481798 h 34"/>
                  <a:gd name="T22" fmla="*/ 22866905 w 23"/>
                  <a:gd name="T23" fmla="*/ 17481798 h 34"/>
                  <a:gd name="T24" fmla="*/ 22866905 w 23"/>
                  <a:gd name="T25" fmla="*/ 14303634 h 34"/>
                  <a:gd name="T26" fmla="*/ 26678285 w 23"/>
                  <a:gd name="T27" fmla="*/ 9535755 h 34"/>
                  <a:gd name="T28" fmla="*/ 22866905 w 23"/>
                  <a:gd name="T29" fmla="*/ 4767878 h 34"/>
                  <a:gd name="T30" fmla="*/ 22866905 w 23"/>
                  <a:gd name="T31" fmla="*/ 0 h 34"/>
                  <a:gd name="T32" fmla="*/ 22866905 w 23"/>
                  <a:gd name="T33" fmla="*/ 0 h 34"/>
                  <a:gd name="T34" fmla="*/ 22866905 w 23"/>
                  <a:gd name="T35" fmla="*/ 4767878 h 34"/>
                  <a:gd name="T36" fmla="*/ 26678285 w 23"/>
                  <a:gd name="T37" fmla="*/ 9535755 h 34"/>
                  <a:gd name="T38" fmla="*/ 26678285 w 23"/>
                  <a:gd name="T39" fmla="*/ 14303634 h 34"/>
                  <a:gd name="T40" fmla="*/ 32394663 w 23"/>
                  <a:gd name="T41" fmla="*/ 14303634 h 34"/>
                  <a:gd name="T42" fmla="*/ 32394663 w 23"/>
                  <a:gd name="T43" fmla="*/ 17481798 h 34"/>
                  <a:gd name="T44" fmla="*/ 38112422 w 23"/>
                  <a:gd name="T45" fmla="*/ 14303634 h 34"/>
                  <a:gd name="T46" fmla="*/ 43828801 w 23"/>
                  <a:gd name="T47" fmla="*/ 14303634 h 34"/>
                  <a:gd name="T48" fmla="*/ 43828801 w 23"/>
                  <a:gd name="T49" fmla="*/ 17481798 h 34"/>
                  <a:gd name="T50" fmla="*/ 43828801 w 23"/>
                  <a:gd name="T51" fmla="*/ 22249679 h 34"/>
                  <a:gd name="T52" fmla="*/ 17150521 w 23"/>
                  <a:gd name="T53" fmla="*/ 49268495 h 34"/>
                  <a:gd name="T54" fmla="*/ 11434143 w 23"/>
                  <a:gd name="T55" fmla="*/ 49268495 h 34"/>
                  <a:gd name="T56" fmla="*/ 11434143 w 23"/>
                  <a:gd name="T57" fmla="*/ 49268495 h 34"/>
                  <a:gd name="T58" fmla="*/ 11434143 w 23"/>
                  <a:gd name="T59" fmla="*/ 54036371 h 34"/>
                  <a:gd name="T60" fmla="*/ 5716381 w 23"/>
                  <a:gd name="T61" fmla="*/ 49268495 h 34"/>
                  <a:gd name="T62" fmla="*/ 5716381 w 23"/>
                  <a:gd name="T63" fmla="*/ 44500618 h 34"/>
                  <a:gd name="T64" fmla="*/ 11434143 w 23"/>
                  <a:gd name="T65" fmla="*/ 49268495 h 34"/>
                  <a:gd name="T66" fmla="*/ 17150521 w 23"/>
                  <a:gd name="T67" fmla="*/ 44500618 h 34"/>
                  <a:gd name="T68" fmla="*/ 17150521 w 23"/>
                  <a:gd name="T69" fmla="*/ 39732732 h 34"/>
                  <a:gd name="T70" fmla="*/ 11434143 w 23"/>
                  <a:gd name="T71" fmla="*/ 44500618 h 34"/>
                  <a:gd name="T72" fmla="*/ 5716381 w 23"/>
                  <a:gd name="T73" fmla="*/ 39732732 h 34"/>
                  <a:gd name="T74" fmla="*/ 0 w 23"/>
                  <a:gd name="T75" fmla="*/ 27018816 h 34"/>
                  <a:gd name="T76" fmla="*/ 0 w 23"/>
                  <a:gd name="T77" fmla="*/ 27018816 h 34"/>
                  <a:gd name="T78" fmla="*/ 0 w 23"/>
                  <a:gd name="T79" fmla="*/ 22249679 h 34"/>
                  <a:gd name="T80" fmla="*/ 0 w 23"/>
                  <a:gd name="T81" fmla="*/ 22249679 h 34"/>
                  <a:gd name="T82" fmla="*/ 0 w 23"/>
                  <a:gd name="T83" fmla="*/ 22249679 h 34"/>
                  <a:gd name="T84" fmla="*/ 5716381 w 23"/>
                  <a:gd name="T85" fmla="*/ 27018816 h 3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3"/>
                  <a:gd name="T130" fmla="*/ 0 h 34"/>
                  <a:gd name="T131" fmla="*/ 23 w 23"/>
                  <a:gd name="T132" fmla="*/ 34 h 3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3" h="34">
                    <a:moveTo>
                      <a:pt x="3" y="17"/>
                    </a:moveTo>
                    <a:lnTo>
                      <a:pt x="6" y="17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12" y="14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4" y="6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20" y="9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3" y="14"/>
                    </a:lnTo>
                    <a:lnTo>
                      <a:pt x="9" y="31"/>
                    </a:lnTo>
                    <a:lnTo>
                      <a:pt x="6" y="31"/>
                    </a:lnTo>
                    <a:lnTo>
                      <a:pt x="6" y="34"/>
                    </a:lnTo>
                    <a:lnTo>
                      <a:pt x="3" y="31"/>
                    </a:lnTo>
                    <a:lnTo>
                      <a:pt x="3" y="28"/>
                    </a:lnTo>
                    <a:lnTo>
                      <a:pt x="6" y="31"/>
                    </a:lnTo>
                    <a:lnTo>
                      <a:pt x="9" y="28"/>
                    </a:lnTo>
                    <a:lnTo>
                      <a:pt x="9" y="25"/>
                    </a:lnTo>
                    <a:lnTo>
                      <a:pt x="6" y="28"/>
                    </a:lnTo>
                    <a:lnTo>
                      <a:pt x="3" y="25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8" name="Freeform 902"/>
              <p:cNvSpPr>
                <a:spLocks noChangeAspect="1"/>
              </p:cNvSpPr>
              <p:nvPr>
                <p:custDataLst>
                  <p:tags r:id="rId236"/>
                </p:custDataLst>
              </p:nvPr>
            </p:nvSpPr>
            <p:spPr bwMode="gray">
              <a:xfrm>
                <a:off x="2455490" y="2202232"/>
                <a:ext cx="21259" cy="17345"/>
              </a:xfrm>
              <a:custGeom>
                <a:avLst/>
                <a:gdLst>
                  <a:gd name="T0" fmla="*/ 0 w 17"/>
                  <a:gd name="T1" fmla="*/ 0 h 14"/>
                  <a:gd name="T2" fmla="*/ 0 w 17"/>
                  <a:gd name="T3" fmla="*/ 0 h 14"/>
                  <a:gd name="T4" fmla="*/ 0 w 17"/>
                  <a:gd name="T5" fmla="*/ 9335221 h 14"/>
                  <a:gd name="T6" fmla="*/ 5127437 w 17"/>
                  <a:gd name="T7" fmla="*/ 9335221 h 14"/>
                  <a:gd name="T8" fmla="*/ 5127437 w 17"/>
                  <a:gd name="T9" fmla="*/ 14002832 h 14"/>
                  <a:gd name="T10" fmla="*/ 10254874 w 17"/>
                  <a:gd name="T11" fmla="*/ 18670441 h 14"/>
                  <a:gd name="T12" fmla="*/ 15382313 w 17"/>
                  <a:gd name="T13" fmla="*/ 21782602 h 14"/>
                  <a:gd name="T14" fmla="*/ 18801039 w 17"/>
                  <a:gd name="T15" fmla="*/ 21782602 h 14"/>
                  <a:gd name="T16" fmla="*/ 18801039 w 17"/>
                  <a:gd name="T17" fmla="*/ 21782602 h 14"/>
                  <a:gd name="T18" fmla="*/ 23928480 w 17"/>
                  <a:gd name="T19" fmla="*/ 21782602 h 14"/>
                  <a:gd name="T20" fmla="*/ 23928480 w 17"/>
                  <a:gd name="T21" fmla="*/ 21782602 h 14"/>
                  <a:gd name="T22" fmla="*/ 29055916 w 17"/>
                  <a:gd name="T23" fmla="*/ 21782602 h 14"/>
                  <a:gd name="T24" fmla="*/ 23928480 w 17"/>
                  <a:gd name="T25" fmla="*/ 18670441 h 14"/>
                  <a:gd name="T26" fmla="*/ 15382313 w 17"/>
                  <a:gd name="T27" fmla="*/ 9335221 h 14"/>
                  <a:gd name="T28" fmla="*/ 15382313 w 17"/>
                  <a:gd name="T29" fmla="*/ 9335221 h 14"/>
                  <a:gd name="T30" fmla="*/ 10254874 w 17"/>
                  <a:gd name="T31" fmla="*/ 4667610 h 14"/>
                  <a:gd name="T32" fmla="*/ 10254874 w 17"/>
                  <a:gd name="T33" fmla="*/ 0 h 14"/>
                  <a:gd name="T34" fmla="*/ 5127437 w 17"/>
                  <a:gd name="T35" fmla="*/ 0 h 14"/>
                  <a:gd name="T36" fmla="*/ 5127437 w 17"/>
                  <a:gd name="T37" fmla="*/ 0 h 14"/>
                  <a:gd name="T38" fmla="*/ 0 w 17"/>
                  <a:gd name="T39" fmla="*/ 0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7"/>
                  <a:gd name="T61" fmla="*/ 0 h 14"/>
                  <a:gd name="T62" fmla="*/ 17 w 17"/>
                  <a:gd name="T63" fmla="*/ 14 h 1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7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6" y="12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14" y="12"/>
                    </a:lnTo>
                    <a:lnTo>
                      <a:pt x="9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9" name="Freeform 903"/>
              <p:cNvSpPr>
                <a:spLocks noChangeAspect="1"/>
              </p:cNvSpPr>
              <p:nvPr>
                <p:custDataLst>
                  <p:tags r:id="rId237"/>
                </p:custDataLst>
              </p:nvPr>
            </p:nvSpPr>
            <p:spPr bwMode="gray">
              <a:xfrm>
                <a:off x="2455490" y="2202232"/>
                <a:ext cx="21259" cy="17345"/>
              </a:xfrm>
              <a:custGeom>
                <a:avLst/>
                <a:gdLst>
                  <a:gd name="T0" fmla="*/ 0 w 17"/>
                  <a:gd name="T1" fmla="*/ 0 h 14"/>
                  <a:gd name="T2" fmla="*/ 0 w 17"/>
                  <a:gd name="T3" fmla="*/ 0 h 14"/>
                  <a:gd name="T4" fmla="*/ 0 w 17"/>
                  <a:gd name="T5" fmla="*/ 9335221 h 14"/>
                  <a:gd name="T6" fmla="*/ 5127437 w 17"/>
                  <a:gd name="T7" fmla="*/ 9335221 h 14"/>
                  <a:gd name="T8" fmla="*/ 5127437 w 17"/>
                  <a:gd name="T9" fmla="*/ 14002832 h 14"/>
                  <a:gd name="T10" fmla="*/ 10254874 w 17"/>
                  <a:gd name="T11" fmla="*/ 18670441 h 14"/>
                  <a:gd name="T12" fmla="*/ 15382313 w 17"/>
                  <a:gd name="T13" fmla="*/ 21782602 h 14"/>
                  <a:gd name="T14" fmla="*/ 18801039 w 17"/>
                  <a:gd name="T15" fmla="*/ 21782602 h 14"/>
                  <a:gd name="T16" fmla="*/ 18801039 w 17"/>
                  <a:gd name="T17" fmla="*/ 21782602 h 14"/>
                  <a:gd name="T18" fmla="*/ 23928480 w 17"/>
                  <a:gd name="T19" fmla="*/ 21782602 h 14"/>
                  <a:gd name="T20" fmla="*/ 23928480 w 17"/>
                  <a:gd name="T21" fmla="*/ 21782602 h 14"/>
                  <a:gd name="T22" fmla="*/ 29055916 w 17"/>
                  <a:gd name="T23" fmla="*/ 21782602 h 14"/>
                  <a:gd name="T24" fmla="*/ 23928480 w 17"/>
                  <a:gd name="T25" fmla="*/ 18670441 h 14"/>
                  <a:gd name="T26" fmla="*/ 15382313 w 17"/>
                  <a:gd name="T27" fmla="*/ 9335221 h 14"/>
                  <a:gd name="T28" fmla="*/ 15382313 w 17"/>
                  <a:gd name="T29" fmla="*/ 9335221 h 14"/>
                  <a:gd name="T30" fmla="*/ 10254874 w 17"/>
                  <a:gd name="T31" fmla="*/ 4667610 h 14"/>
                  <a:gd name="T32" fmla="*/ 10254874 w 17"/>
                  <a:gd name="T33" fmla="*/ 0 h 14"/>
                  <a:gd name="T34" fmla="*/ 5127437 w 17"/>
                  <a:gd name="T35" fmla="*/ 0 h 14"/>
                  <a:gd name="T36" fmla="*/ 5127437 w 17"/>
                  <a:gd name="T37" fmla="*/ 0 h 14"/>
                  <a:gd name="T38" fmla="*/ 0 w 17"/>
                  <a:gd name="T39" fmla="*/ 0 h 1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7"/>
                  <a:gd name="T61" fmla="*/ 0 h 14"/>
                  <a:gd name="T62" fmla="*/ 17 w 17"/>
                  <a:gd name="T63" fmla="*/ 14 h 1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7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6" y="12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14" y="12"/>
                    </a:lnTo>
                    <a:lnTo>
                      <a:pt x="9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0" name="Freeform 904"/>
              <p:cNvSpPr>
                <a:spLocks noChangeAspect="1"/>
              </p:cNvSpPr>
              <p:nvPr>
                <p:custDataLst>
                  <p:tags r:id="rId238"/>
                </p:custDataLst>
              </p:nvPr>
            </p:nvSpPr>
            <p:spPr bwMode="gray">
              <a:xfrm>
                <a:off x="3193460" y="2165968"/>
                <a:ext cx="88071" cy="83567"/>
              </a:xfrm>
              <a:custGeom>
                <a:avLst/>
                <a:gdLst>
                  <a:gd name="T0" fmla="*/ 73654491 w 67"/>
                  <a:gd name="T1" fmla="*/ 19011014 h 64"/>
                  <a:gd name="T2" fmla="*/ 64211998 w 67"/>
                  <a:gd name="T3" fmla="*/ 13826074 h 64"/>
                  <a:gd name="T4" fmla="*/ 64211998 w 67"/>
                  <a:gd name="T5" fmla="*/ 8641131 h 64"/>
                  <a:gd name="T6" fmla="*/ 58545952 w 67"/>
                  <a:gd name="T7" fmla="*/ 3456190 h 64"/>
                  <a:gd name="T8" fmla="*/ 47213861 w 67"/>
                  <a:gd name="T9" fmla="*/ 0 h 64"/>
                  <a:gd name="T10" fmla="*/ 41549179 w 67"/>
                  <a:gd name="T11" fmla="*/ 8641131 h 64"/>
                  <a:gd name="T12" fmla="*/ 41549179 w 67"/>
                  <a:gd name="T13" fmla="*/ 24195959 h 64"/>
                  <a:gd name="T14" fmla="*/ 37771357 w 67"/>
                  <a:gd name="T15" fmla="*/ 24195959 h 64"/>
                  <a:gd name="T16" fmla="*/ 32105312 w 67"/>
                  <a:gd name="T17" fmla="*/ 27652148 h 64"/>
                  <a:gd name="T18" fmla="*/ 32105312 w 67"/>
                  <a:gd name="T19" fmla="*/ 38022028 h 64"/>
                  <a:gd name="T20" fmla="*/ 26440640 w 67"/>
                  <a:gd name="T21" fmla="*/ 46663167 h 64"/>
                  <a:gd name="T22" fmla="*/ 26440640 w 67"/>
                  <a:gd name="T23" fmla="*/ 51848107 h 64"/>
                  <a:gd name="T24" fmla="*/ 5666048 w 67"/>
                  <a:gd name="T25" fmla="*/ 57033048 h 64"/>
                  <a:gd name="T26" fmla="*/ 0 w 67"/>
                  <a:gd name="T27" fmla="*/ 67402928 h 64"/>
                  <a:gd name="T28" fmla="*/ 5666048 w 67"/>
                  <a:gd name="T29" fmla="*/ 81228997 h 64"/>
                  <a:gd name="T30" fmla="*/ 11332096 w 67"/>
                  <a:gd name="T31" fmla="*/ 76044057 h 64"/>
                  <a:gd name="T32" fmla="*/ 20774590 w 67"/>
                  <a:gd name="T33" fmla="*/ 76044057 h 64"/>
                  <a:gd name="T34" fmla="*/ 26440640 w 67"/>
                  <a:gd name="T35" fmla="*/ 81228997 h 64"/>
                  <a:gd name="T36" fmla="*/ 32105312 w 67"/>
                  <a:gd name="T37" fmla="*/ 86413957 h 64"/>
                  <a:gd name="T38" fmla="*/ 37771357 w 67"/>
                  <a:gd name="T39" fmla="*/ 81228997 h 64"/>
                  <a:gd name="T40" fmla="*/ 41549179 w 67"/>
                  <a:gd name="T41" fmla="*/ 86413957 h 64"/>
                  <a:gd name="T42" fmla="*/ 52879907 w 67"/>
                  <a:gd name="T43" fmla="*/ 86413957 h 64"/>
                  <a:gd name="T44" fmla="*/ 64211998 w 67"/>
                  <a:gd name="T45" fmla="*/ 100240026 h 64"/>
                  <a:gd name="T46" fmla="*/ 73654491 w 67"/>
                  <a:gd name="T47" fmla="*/ 100240026 h 64"/>
                  <a:gd name="T48" fmla="*/ 73654491 w 67"/>
                  <a:gd name="T49" fmla="*/ 100240026 h 64"/>
                  <a:gd name="T50" fmla="*/ 94429097 w 67"/>
                  <a:gd name="T51" fmla="*/ 105424966 h 64"/>
                  <a:gd name="T52" fmla="*/ 105759813 w 67"/>
                  <a:gd name="T53" fmla="*/ 95055086 h 64"/>
                  <a:gd name="T54" fmla="*/ 115202307 w 67"/>
                  <a:gd name="T55" fmla="*/ 86413957 h 64"/>
                  <a:gd name="T56" fmla="*/ 120868352 w 67"/>
                  <a:gd name="T57" fmla="*/ 91598898 h 64"/>
                  <a:gd name="T58" fmla="*/ 126534398 w 67"/>
                  <a:gd name="T59" fmla="*/ 81228997 h 64"/>
                  <a:gd name="T60" fmla="*/ 120868352 w 67"/>
                  <a:gd name="T61" fmla="*/ 81228997 h 64"/>
                  <a:gd name="T62" fmla="*/ 111425859 w 67"/>
                  <a:gd name="T63" fmla="*/ 70859116 h 64"/>
                  <a:gd name="T64" fmla="*/ 105759813 w 67"/>
                  <a:gd name="T65" fmla="*/ 51848107 h 64"/>
                  <a:gd name="T66" fmla="*/ 94429097 w 67"/>
                  <a:gd name="T67" fmla="*/ 43206979 h 64"/>
                  <a:gd name="T68" fmla="*/ 79320536 w 67"/>
                  <a:gd name="T69" fmla="*/ 27652148 h 6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67"/>
                  <a:gd name="T106" fmla="*/ 0 h 64"/>
                  <a:gd name="T107" fmla="*/ 67 w 67"/>
                  <a:gd name="T108" fmla="*/ 64 h 6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67" h="64">
                    <a:moveTo>
                      <a:pt x="42" y="16"/>
                    </a:moveTo>
                    <a:lnTo>
                      <a:pt x="39" y="11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6" y="5"/>
                    </a:lnTo>
                    <a:lnTo>
                      <a:pt x="34" y="5"/>
                    </a:lnTo>
                    <a:lnTo>
                      <a:pt x="31" y="5"/>
                    </a:lnTo>
                    <a:lnTo>
                      <a:pt x="31" y="2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2" y="5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0" y="14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7" y="22"/>
                    </a:lnTo>
                    <a:lnTo>
                      <a:pt x="17" y="25"/>
                    </a:lnTo>
                    <a:lnTo>
                      <a:pt x="14" y="27"/>
                    </a:lnTo>
                    <a:lnTo>
                      <a:pt x="14" y="30"/>
                    </a:lnTo>
                    <a:lnTo>
                      <a:pt x="9" y="33"/>
                    </a:lnTo>
                    <a:lnTo>
                      <a:pt x="3" y="33"/>
                    </a:lnTo>
                    <a:lnTo>
                      <a:pt x="3" y="36"/>
                    </a:lnTo>
                    <a:lnTo>
                      <a:pt x="0" y="39"/>
                    </a:lnTo>
                    <a:lnTo>
                      <a:pt x="0" y="44"/>
                    </a:lnTo>
                    <a:lnTo>
                      <a:pt x="3" y="47"/>
                    </a:lnTo>
                    <a:lnTo>
                      <a:pt x="6" y="47"/>
                    </a:lnTo>
                    <a:lnTo>
                      <a:pt x="6" y="44"/>
                    </a:lnTo>
                    <a:lnTo>
                      <a:pt x="9" y="44"/>
                    </a:lnTo>
                    <a:lnTo>
                      <a:pt x="11" y="44"/>
                    </a:lnTo>
                    <a:lnTo>
                      <a:pt x="14" y="44"/>
                    </a:lnTo>
                    <a:lnTo>
                      <a:pt x="14" y="47"/>
                    </a:lnTo>
                    <a:lnTo>
                      <a:pt x="17" y="47"/>
                    </a:lnTo>
                    <a:lnTo>
                      <a:pt x="17" y="50"/>
                    </a:lnTo>
                    <a:lnTo>
                      <a:pt x="20" y="50"/>
                    </a:lnTo>
                    <a:lnTo>
                      <a:pt x="20" y="47"/>
                    </a:lnTo>
                    <a:lnTo>
                      <a:pt x="22" y="50"/>
                    </a:lnTo>
                    <a:lnTo>
                      <a:pt x="22" y="53"/>
                    </a:lnTo>
                    <a:lnTo>
                      <a:pt x="28" y="50"/>
                    </a:lnTo>
                    <a:lnTo>
                      <a:pt x="31" y="55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9" y="58"/>
                    </a:lnTo>
                    <a:lnTo>
                      <a:pt x="48" y="64"/>
                    </a:lnTo>
                    <a:lnTo>
                      <a:pt x="50" y="61"/>
                    </a:lnTo>
                    <a:lnTo>
                      <a:pt x="53" y="55"/>
                    </a:lnTo>
                    <a:lnTo>
                      <a:pt x="56" y="55"/>
                    </a:lnTo>
                    <a:lnTo>
                      <a:pt x="61" y="50"/>
                    </a:lnTo>
                    <a:lnTo>
                      <a:pt x="61" y="53"/>
                    </a:lnTo>
                    <a:lnTo>
                      <a:pt x="64" y="53"/>
                    </a:lnTo>
                    <a:lnTo>
                      <a:pt x="67" y="50"/>
                    </a:lnTo>
                    <a:lnTo>
                      <a:pt x="67" y="47"/>
                    </a:lnTo>
                    <a:lnTo>
                      <a:pt x="64" y="47"/>
                    </a:lnTo>
                    <a:lnTo>
                      <a:pt x="59" y="44"/>
                    </a:lnTo>
                    <a:lnTo>
                      <a:pt x="59" y="41"/>
                    </a:lnTo>
                    <a:lnTo>
                      <a:pt x="59" y="39"/>
                    </a:lnTo>
                    <a:lnTo>
                      <a:pt x="56" y="30"/>
                    </a:lnTo>
                    <a:lnTo>
                      <a:pt x="53" y="27"/>
                    </a:lnTo>
                    <a:lnTo>
                      <a:pt x="50" y="25"/>
                    </a:lnTo>
                    <a:lnTo>
                      <a:pt x="42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1" name="Freeform 905"/>
              <p:cNvSpPr>
                <a:spLocks noChangeAspect="1"/>
              </p:cNvSpPr>
              <p:nvPr>
                <p:custDataLst>
                  <p:tags r:id="rId239"/>
                </p:custDataLst>
              </p:nvPr>
            </p:nvSpPr>
            <p:spPr bwMode="gray">
              <a:xfrm>
                <a:off x="3550298" y="2891269"/>
                <a:ext cx="25813" cy="18921"/>
              </a:xfrm>
              <a:custGeom>
                <a:avLst/>
                <a:gdLst>
                  <a:gd name="T0" fmla="*/ 0 w 20"/>
                  <a:gd name="T1" fmla="*/ 0 h 14"/>
                  <a:gd name="T2" fmla="*/ 14566233 w 20"/>
                  <a:gd name="T3" fmla="*/ 0 h 14"/>
                  <a:gd name="T4" fmla="*/ 20028400 w 20"/>
                  <a:gd name="T5" fmla="*/ 0 h 14"/>
                  <a:gd name="T6" fmla="*/ 25490572 w 20"/>
                  <a:gd name="T7" fmla="*/ 0 h 14"/>
                  <a:gd name="T8" fmla="*/ 30952738 w 20"/>
                  <a:gd name="T9" fmla="*/ 5554436 h 14"/>
                  <a:gd name="T10" fmla="*/ 36414905 w 20"/>
                  <a:gd name="T11" fmla="*/ 11108871 h 14"/>
                  <a:gd name="T12" fmla="*/ 36414905 w 20"/>
                  <a:gd name="T13" fmla="*/ 14812737 h 14"/>
                  <a:gd name="T14" fmla="*/ 36414905 w 20"/>
                  <a:gd name="T15" fmla="*/ 20367171 h 14"/>
                  <a:gd name="T16" fmla="*/ 36414905 w 20"/>
                  <a:gd name="T17" fmla="*/ 25921611 h 14"/>
                  <a:gd name="T18" fmla="*/ 30952738 w 20"/>
                  <a:gd name="T19" fmla="*/ 20367171 h 14"/>
                  <a:gd name="T20" fmla="*/ 25490572 w 20"/>
                  <a:gd name="T21" fmla="*/ 20367171 h 14"/>
                  <a:gd name="T22" fmla="*/ 14566233 w 20"/>
                  <a:gd name="T23" fmla="*/ 11108871 h 14"/>
                  <a:gd name="T24" fmla="*/ 5462168 w 20"/>
                  <a:gd name="T25" fmla="*/ 11108871 h 14"/>
                  <a:gd name="T26" fmla="*/ 0 w 20"/>
                  <a:gd name="T27" fmla="*/ 5554436 h 14"/>
                  <a:gd name="T28" fmla="*/ 0 w 20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"/>
                  <a:gd name="T46" fmla="*/ 0 h 14"/>
                  <a:gd name="T47" fmla="*/ 20 w 20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" h="14">
                    <a:moveTo>
                      <a:pt x="0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2" name="Freeform 906"/>
              <p:cNvSpPr>
                <a:spLocks noChangeAspect="1"/>
              </p:cNvSpPr>
              <p:nvPr>
                <p:custDataLst>
                  <p:tags r:id="rId240"/>
                </p:custDataLst>
              </p:nvPr>
            </p:nvSpPr>
            <p:spPr bwMode="gray">
              <a:xfrm>
                <a:off x="3550298" y="2891269"/>
                <a:ext cx="25813" cy="18921"/>
              </a:xfrm>
              <a:custGeom>
                <a:avLst/>
                <a:gdLst>
                  <a:gd name="T0" fmla="*/ 0 w 20"/>
                  <a:gd name="T1" fmla="*/ 0 h 14"/>
                  <a:gd name="T2" fmla="*/ 14566233 w 20"/>
                  <a:gd name="T3" fmla="*/ 0 h 14"/>
                  <a:gd name="T4" fmla="*/ 20028400 w 20"/>
                  <a:gd name="T5" fmla="*/ 0 h 14"/>
                  <a:gd name="T6" fmla="*/ 25490572 w 20"/>
                  <a:gd name="T7" fmla="*/ 0 h 14"/>
                  <a:gd name="T8" fmla="*/ 30952738 w 20"/>
                  <a:gd name="T9" fmla="*/ 5554436 h 14"/>
                  <a:gd name="T10" fmla="*/ 36414905 w 20"/>
                  <a:gd name="T11" fmla="*/ 11108871 h 14"/>
                  <a:gd name="T12" fmla="*/ 36414905 w 20"/>
                  <a:gd name="T13" fmla="*/ 14812737 h 14"/>
                  <a:gd name="T14" fmla="*/ 36414905 w 20"/>
                  <a:gd name="T15" fmla="*/ 20367171 h 14"/>
                  <a:gd name="T16" fmla="*/ 36414905 w 20"/>
                  <a:gd name="T17" fmla="*/ 25921611 h 14"/>
                  <a:gd name="T18" fmla="*/ 30952738 w 20"/>
                  <a:gd name="T19" fmla="*/ 20367171 h 14"/>
                  <a:gd name="T20" fmla="*/ 25490572 w 20"/>
                  <a:gd name="T21" fmla="*/ 20367171 h 14"/>
                  <a:gd name="T22" fmla="*/ 14566233 w 20"/>
                  <a:gd name="T23" fmla="*/ 11108871 h 14"/>
                  <a:gd name="T24" fmla="*/ 5462168 w 20"/>
                  <a:gd name="T25" fmla="*/ 11108871 h 14"/>
                  <a:gd name="T26" fmla="*/ 0 w 20"/>
                  <a:gd name="T27" fmla="*/ 5554436 h 14"/>
                  <a:gd name="T28" fmla="*/ 0 w 20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"/>
                  <a:gd name="T46" fmla="*/ 0 h 14"/>
                  <a:gd name="T47" fmla="*/ 20 w 20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" h="14">
                    <a:moveTo>
                      <a:pt x="0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3" name="Freeform 907"/>
              <p:cNvSpPr>
                <a:spLocks noChangeAspect="1"/>
              </p:cNvSpPr>
              <p:nvPr>
                <p:custDataLst>
                  <p:tags r:id="rId241"/>
                </p:custDataLst>
              </p:nvPr>
            </p:nvSpPr>
            <p:spPr bwMode="gray">
              <a:xfrm>
                <a:off x="2657446" y="1853776"/>
                <a:ext cx="214102" cy="241240"/>
              </a:xfrm>
              <a:custGeom>
                <a:avLst/>
                <a:gdLst>
                  <a:gd name="T0" fmla="*/ 57748581 w 164"/>
                  <a:gd name="T1" fmla="*/ 65795100 h 187"/>
                  <a:gd name="T2" fmla="*/ 46570384 w 164"/>
                  <a:gd name="T3" fmla="*/ 99535620 h 187"/>
                  <a:gd name="T4" fmla="*/ 40982639 w 164"/>
                  <a:gd name="T5" fmla="*/ 107970421 h 187"/>
                  <a:gd name="T6" fmla="*/ 37256574 w 164"/>
                  <a:gd name="T7" fmla="*/ 128214461 h 187"/>
                  <a:gd name="T8" fmla="*/ 31668840 w 164"/>
                  <a:gd name="T9" fmla="*/ 136650560 h 187"/>
                  <a:gd name="T10" fmla="*/ 37256574 w 164"/>
                  <a:gd name="T11" fmla="*/ 141710921 h 187"/>
                  <a:gd name="T12" fmla="*/ 40982639 w 164"/>
                  <a:gd name="T13" fmla="*/ 151832941 h 187"/>
                  <a:gd name="T14" fmla="*/ 20490637 w 164"/>
                  <a:gd name="T15" fmla="*/ 155207381 h 187"/>
                  <a:gd name="T16" fmla="*/ 26079741 w 164"/>
                  <a:gd name="T17" fmla="*/ 165329401 h 187"/>
                  <a:gd name="T18" fmla="*/ 26079741 w 164"/>
                  <a:gd name="T19" fmla="*/ 183887561 h 187"/>
                  <a:gd name="T20" fmla="*/ 26079741 w 164"/>
                  <a:gd name="T21" fmla="*/ 188947921 h 187"/>
                  <a:gd name="T22" fmla="*/ 20490637 w 164"/>
                  <a:gd name="T23" fmla="*/ 197384021 h 187"/>
                  <a:gd name="T24" fmla="*/ 16765936 w 164"/>
                  <a:gd name="T25" fmla="*/ 207506041 h 187"/>
                  <a:gd name="T26" fmla="*/ 16765936 w 164"/>
                  <a:gd name="T27" fmla="*/ 215940841 h 187"/>
                  <a:gd name="T28" fmla="*/ 11176835 w 164"/>
                  <a:gd name="T29" fmla="*/ 226062861 h 187"/>
                  <a:gd name="T30" fmla="*/ 5589100 w 164"/>
                  <a:gd name="T31" fmla="*/ 231124521 h 187"/>
                  <a:gd name="T32" fmla="*/ 0 w 164"/>
                  <a:gd name="T33" fmla="*/ 239559321 h 187"/>
                  <a:gd name="T34" fmla="*/ 26079741 w 164"/>
                  <a:gd name="T35" fmla="*/ 239559321 h 187"/>
                  <a:gd name="T36" fmla="*/ 20490637 w 164"/>
                  <a:gd name="T37" fmla="*/ 244620981 h 187"/>
                  <a:gd name="T38" fmla="*/ 37256574 w 164"/>
                  <a:gd name="T39" fmla="*/ 249681341 h 187"/>
                  <a:gd name="T40" fmla="*/ 52159482 w 164"/>
                  <a:gd name="T41" fmla="*/ 259804660 h 187"/>
                  <a:gd name="T42" fmla="*/ 67062380 w 164"/>
                  <a:gd name="T43" fmla="*/ 281735921 h 187"/>
                  <a:gd name="T44" fmla="*/ 87553012 w 164"/>
                  <a:gd name="T45" fmla="*/ 310414761 h 187"/>
                  <a:gd name="T46" fmla="*/ 119221863 w 164"/>
                  <a:gd name="T47" fmla="*/ 281735921 h 187"/>
                  <a:gd name="T48" fmla="*/ 130398695 w 164"/>
                  <a:gd name="T49" fmla="*/ 281735921 h 187"/>
                  <a:gd name="T50" fmla="*/ 135987794 w 164"/>
                  <a:gd name="T51" fmla="*/ 286796281 h 187"/>
                  <a:gd name="T52" fmla="*/ 145301593 w 164"/>
                  <a:gd name="T53" fmla="*/ 281735921 h 187"/>
                  <a:gd name="T54" fmla="*/ 156478426 w 164"/>
                  <a:gd name="T55" fmla="*/ 278361481 h 187"/>
                  <a:gd name="T56" fmla="*/ 160204491 w 164"/>
                  <a:gd name="T57" fmla="*/ 259804660 h 187"/>
                  <a:gd name="T58" fmla="*/ 156478426 w 164"/>
                  <a:gd name="T59" fmla="*/ 239559321 h 187"/>
                  <a:gd name="T60" fmla="*/ 165793590 w 164"/>
                  <a:gd name="T61" fmla="*/ 215940841 h 187"/>
                  <a:gd name="T62" fmla="*/ 182558199 w 164"/>
                  <a:gd name="T63" fmla="*/ 212566401 h 187"/>
                  <a:gd name="T64" fmla="*/ 305506085 w 164"/>
                  <a:gd name="T65" fmla="*/ 107970421 h 187"/>
                  <a:gd name="T66" fmla="*/ 296192285 w 164"/>
                  <a:gd name="T67" fmla="*/ 86039160 h 187"/>
                  <a:gd name="T68" fmla="*/ 255209657 w 164"/>
                  <a:gd name="T69" fmla="*/ 42176610 h 187"/>
                  <a:gd name="T70" fmla="*/ 203050196 w 164"/>
                  <a:gd name="T71" fmla="*/ 38802170 h 187"/>
                  <a:gd name="T72" fmla="*/ 203050196 w 164"/>
                  <a:gd name="T73" fmla="*/ 52298640 h 187"/>
                  <a:gd name="T74" fmla="*/ 197461097 w 164"/>
                  <a:gd name="T75" fmla="*/ 52298640 h 187"/>
                  <a:gd name="T76" fmla="*/ 191873363 w 164"/>
                  <a:gd name="T77" fmla="*/ 38802170 h 187"/>
                  <a:gd name="T78" fmla="*/ 182558199 w 164"/>
                  <a:gd name="T79" fmla="*/ 42176610 h 187"/>
                  <a:gd name="T80" fmla="*/ 182558199 w 164"/>
                  <a:gd name="T81" fmla="*/ 38802170 h 187"/>
                  <a:gd name="T82" fmla="*/ 130398695 w 164"/>
                  <a:gd name="T83" fmla="*/ 0 h 187"/>
                  <a:gd name="T84" fmla="*/ 113632764 w 164"/>
                  <a:gd name="T85" fmla="*/ 5061661 h 187"/>
                  <a:gd name="T86" fmla="*/ 83828311 w 164"/>
                  <a:gd name="T87" fmla="*/ 10122023 h 187"/>
                  <a:gd name="T88" fmla="*/ 78239213 w 164"/>
                  <a:gd name="T89" fmla="*/ 15183685 h 187"/>
                  <a:gd name="T90" fmla="*/ 72651479 w 164"/>
                  <a:gd name="T91" fmla="*/ 15183685 h 187"/>
                  <a:gd name="T92" fmla="*/ 63336315 w 164"/>
                  <a:gd name="T93" fmla="*/ 10122023 h 187"/>
                  <a:gd name="T94" fmla="*/ 52159482 w 164"/>
                  <a:gd name="T95" fmla="*/ 15183685 h 187"/>
                  <a:gd name="T96" fmla="*/ 40982639 w 164"/>
                  <a:gd name="T97" fmla="*/ 20244045 h 187"/>
                  <a:gd name="T98" fmla="*/ 46570384 w 164"/>
                  <a:gd name="T99" fmla="*/ 38802170 h 18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4"/>
                  <a:gd name="T151" fmla="*/ 0 h 187"/>
                  <a:gd name="T152" fmla="*/ 164 w 164"/>
                  <a:gd name="T153" fmla="*/ 187 h 18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4" h="187">
                    <a:moveTo>
                      <a:pt x="28" y="34"/>
                    </a:moveTo>
                    <a:lnTo>
                      <a:pt x="28" y="37"/>
                    </a:lnTo>
                    <a:lnTo>
                      <a:pt x="31" y="39"/>
                    </a:lnTo>
                    <a:lnTo>
                      <a:pt x="34" y="42"/>
                    </a:lnTo>
                    <a:lnTo>
                      <a:pt x="28" y="56"/>
                    </a:lnTo>
                    <a:lnTo>
                      <a:pt x="25" y="59"/>
                    </a:lnTo>
                    <a:lnTo>
                      <a:pt x="25" y="62"/>
                    </a:lnTo>
                    <a:lnTo>
                      <a:pt x="22" y="64"/>
                    </a:lnTo>
                    <a:lnTo>
                      <a:pt x="22" y="70"/>
                    </a:lnTo>
                    <a:lnTo>
                      <a:pt x="22" y="73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17" y="81"/>
                    </a:lnTo>
                    <a:lnTo>
                      <a:pt x="17" y="87"/>
                    </a:lnTo>
                    <a:lnTo>
                      <a:pt x="20" y="84"/>
                    </a:lnTo>
                    <a:lnTo>
                      <a:pt x="20" y="87"/>
                    </a:lnTo>
                    <a:lnTo>
                      <a:pt x="22" y="90"/>
                    </a:lnTo>
                    <a:lnTo>
                      <a:pt x="20" y="92"/>
                    </a:lnTo>
                    <a:lnTo>
                      <a:pt x="14" y="95"/>
                    </a:lnTo>
                    <a:lnTo>
                      <a:pt x="11" y="92"/>
                    </a:lnTo>
                    <a:lnTo>
                      <a:pt x="11" y="95"/>
                    </a:lnTo>
                    <a:lnTo>
                      <a:pt x="14" y="98"/>
                    </a:lnTo>
                    <a:lnTo>
                      <a:pt x="14" y="103"/>
                    </a:lnTo>
                    <a:lnTo>
                      <a:pt x="14" y="109"/>
                    </a:lnTo>
                    <a:lnTo>
                      <a:pt x="14" y="112"/>
                    </a:lnTo>
                    <a:lnTo>
                      <a:pt x="11" y="115"/>
                    </a:lnTo>
                    <a:lnTo>
                      <a:pt x="14" y="115"/>
                    </a:lnTo>
                    <a:lnTo>
                      <a:pt x="11" y="117"/>
                    </a:lnTo>
                    <a:lnTo>
                      <a:pt x="9" y="117"/>
                    </a:lnTo>
                    <a:lnTo>
                      <a:pt x="9" y="120"/>
                    </a:lnTo>
                    <a:lnTo>
                      <a:pt x="9" y="123"/>
                    </a:lnTo>
                    <a:lnTo>
                      <a:pt x="6" y="123"/>
                    </a:lnTo>
                    <a:lnTo>
                      <a:pt x="6" y="126"/>
                    </a:lnTo>
                    <a:lnTo>
                      <a:pt x="9" y="128"/>
                    </a:lnTo>
                    <a:lnTo>
                      <a:pt x="3" y="128"/>
                    </a:lnTo>
                    <a:lnTo>
                      <a:pt x="6" y="131"/>
                    </a:lnTo>
                    <a:lnTo>
                      <a:pt x="6" y="134"/>
                    </a:lnTo>
                    <a:lnTo>
                      <a:pt x="3" y="131"/>
                    </a:lnTo>
                    <a:lnTo>
                      <a:pt x="3" y="134"/>
                    </a:lnTo>
                    <a:lnTo>
                      <a:pt x="3" y="137"/>
                    </a:lnTo>
                    <a:lnTo>
                      <a:pt x="6" y="137"/>
                    </a:lnTo>
                    <a:lnTo>
                      <a:pt x="3" y="142"/>
                    </a:lnTo>
                    <a:lnTo>
                      <a:pt x="0" y="142"/>
                    </a:lnTo>
                    <a:lnTo>
                      <a:pt x="0" y="145"/>
                    </a:lnTo>
                    <a:lnTo>
                      <a:pt x="9" y="142"/>
                    </a:lnTo>
                    <a:lnTo>
                      <a:pt x="14" y="142"/>
                    </a:lnTo>
                    <a:lnTo>
                      <a:pt x="14" y="145"/>
                    </a:lnTo>
                    <a:lnTo>
                      <a:pt x="11" y="145"/>
                    </a:lnTo>
                    <a:lnTo>
                      <a:pt x="17" y="148"/>
                    </a:lnTo>
                    <a:lnTo>
                      <a:pt x="20" y="151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2" y="151"/>
                    </a:lnTo>
                    <a:lnTo>
                      <a:pt x="28" y="154"/>
                    </a:lnTo>
                    <a:lnTo>
                      <a:pt x="34" y="159"/>
                    </a:lnTo>
                    <a:lnTo>
                      <a:pt x="34" y="165"/>
                    </a:lnTo>
                    <a:lnTo>
                      <a:pt x="36" y="167"/>
                    </a:lnTo>
                    <a:lnTo>
                      <a:pt x="39" y="181"/>
                    </a:lnTo>
                    <a:lnTo>
                      <a:pt x="42" y="187"/>
                    </a:lnTo>
                    <a:lnTo>
                      <a:pt x="47" y="184"/>
                    </a:lnTo>
                    <a:lnTo>
                      <a:pt x="50" y="179"/>
                    </a:lnTo>
                    <a:lnTo>
                      <a:pt x="56" y="179"/>
                    </a:lnTo>
                    <a:lnTo>
                      <a:pt x="64" y="167"/>
                    </a:lnTo>
                    <a:lnTo>
                      <a:pt x="67" y="165"/>
                    </a:lnTo>
                    <a:lnTo>
                      <a:pt x="67" y="167"/>
                    </a:lnTo>
                    <a:lnTo>
                      <a:pt x="70" y="167"/>
                    </a:lnTo>
                    <a:lnTo>
                      <a:pt x="67" y="170"/>
                    </a:lnTo>
                    <a:lnTo>
                      <a:pt x="73" y="170"/>
                    </a:lnTo>
                    <a:lnTo>
                      <a:pt x="75" y="167"/>
                    </a:lnTo>
                    <a:lnTo>
                      <a:pt x="75" y="165"/>
                    </a:lnTo>
                    <a:lnTo>
                      <a:pt x="78" y="167"/>
                    </a:lnTo>
                    <a:lnTo>
                      <a:pt x="81" y="167"/>
                    </a:lnTo>
                    <a:lnTo>
                      <a:pt x="84" y="165"/>
                    </a:lnTo>
                    <a:lnTo>
                      <a:pt x="84" y="159"/>
                    </a:lnTo>
                    <a:lnTo>
                      <a:pt x="86" y="156"/>
                    </a:lnTo>
                    <a:lnTo>
                      <a:pt x="86" y="154"/>
                    </a:lnTo>
                    <a:lnTo>
                      <a:pt x="86" y="145"/>
                    </a:lnTo>
                    <a:lnTo>
                      <a:pt x="84" y="142"/>
                    </a:lnTo>
                    <a:lnTo>
                      <a:pt x="89" y="134"/>
                    </a:lnTo>
                    <a:lnTo>
                      <a:pt x="89" y="128"/>
                    </a:lnTo>
                    <a:lnTo>
                      <a:pt x="95" y="128"/>
                    </a:lnTo>
                    <a:lnTo>
                      <a:pt x="98" y="126"/>
                    </a:lnTo>
                    <a:lnTo>
                      <a:pt x="103" y="123"/>
                    </a:lnTo>
                    <a:lnTo>
                      <a:pt x="106" y="109"/>
                    </a:lnTo>
                    <a:lnTo>
                      <a:pt x="164" y="64"/>
                    </a:lnTo>
                    <a:lnTo>
                      <a:pt x="164" y="59"/>
                    </a:lnTo>
                    <a:lnTo>
                      <a:pt x="164" y="56"/>
                    </a:lnTo>
                    <a:lnTo>
                      <a:pt x="159" y="51"/>
                    </a:lnTo>
                    <a:lnTo>
                      <a:pt x="139" y="28"/>
                    </a:lnTo>
                    <a:lnTo>
                      <a:pt x="137" y="25"/>
                    </a:lnTo>
                    <a:lnTo>
                      <a:pt x="131" y="20"/>
                    </a:lnTo>
                    <a:lnTo>
                      <a:pt x="120" y="17"/>
                    </a:lnTo>
                    <a:lnTo>
                      <a:pt x="109" y="23"/>
                    </a:lnTo>
                    <a:lnTo>
                      <a:pt x="109" y="25"/>
                    </a:lnTo>
                    <a:lnTo>
                      <a:pt x="112" y="28"/>
                    </a:lnTo>
                    <a:lnTo>
                      <a:pt x="109" y="31"/>
                    </a:lnTo>
                    <a:lnTo>
                      <a:pt x="109" y="34"/>
                    </a:lnTo>
                    <a:lnTo>
                      <a:pt x="106" y="34"/>
                    </a:lnTo>
                    <a:lnTo>
                      <a:pt x="106" y="31"/>
                    </a:lnTo>
                    <a:lnTo>
                      <a:pt x="106" y="28"/>
                    </a:lnTo>
                    <a:lnTo>
                      <a:pt x="106" y="23"/>
                    </a:lnTo>
                    <a:lnTo>
                      <a:pt x="103" y="23"/>
                    </a:lnTo>
                    <a:lnTo>
                      <a:pt x="100" y="23"/>
                    </a:lnTo>
                    <a:lnTo>
                      <a:pt x="100" y="25"/>
                    </a:lnTo>
                    <a:lnTo>
                      <a:pt x="98" y="25"/>
                    </a:lnTo>
                    <a:lnTo>
                      <a:pt x="98" y="31"/>
                    </a:lnTo>
                    <a:lnTo>
                      <a:pt x="95" y="25"/>
                    </a:lnTo>
                    <a:lnTo>
                      <a:pt x="98" y="23"/>
                    </a:lnTo>
                    <a:lnTo>
                      <a:pt x="81" y="6"/>
                    </a:lnTo>
                    <a:lnTo>
                      <a:pt x="78" y="3"/>
                    </a:lnTo>
                    <a:lnTo>
                      <a:pt x="70" y="0"/>
                    </a:lnTo>
                    <a:lnTo>
                      <a:pt x="67" y="0"/>
                    </a:lnTo>
                    <a:lnTo>
                      <a:pt x="64" y="3"/>
                    </a:lnTo>
                    <a:lnTo>
                      <a:pt x="61" y="3"/>
                    </a:lnTo>
                    <a:lnTo>
                      <a:pt x="56" y="6"/>
                    </a:lnTo>
                    <a:lnTo>
                      <a:pt x="45" y="6"/>
                    </a:lnTo>
                    <a:lnTo>
                      <a:pt x="45" y="14"/>
                    </a:lnTo>
                    <a:lnTo>
                      <a:pt x="45" y="12"/>
                    </a:lnTo>
                    <a:lnTo>
                      <a:pt x="42" y="9"/>
                    </a:lnTo>
                    <a:lnTo>
                      <a:pt x="42" y="6"/>
                    </a:lnTo>
                    <a:lnTo>
                      <a:pt x="39" y="9"/>
                    </a:lnTo>
                    <a:lnTo>
                      <a:pt x="39" y="6"/>
                    </a:lnTo>
                    <a:lnTo>
                      <a:pt x="34" y="6"/>
                    </a:lnTo>
                    <a:lnTo>
                      <a:pt x="34" y="9"/>
                    </a:lnTo>
                    <a:lnTo>
                      <a:pt x="31" y="6"/>
                    </a:lnTo>
                    <a:lnTo>
                      <a:pt x="28" y="9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8" y="20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8" y="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4" name="Freeform 908"/>
              <p:cNvSpPr>
                <a:spLocks noChangeAspect="1"/>
              </p:cNvSpPr>
              <p:nvPr>
                <p:custDataLst>
                  <p:tags r:id="rId242"/>
                </p:custDataLst>
              </p:nvPr>
            </p:nvSpPr>
            <p:spPr bwMode="gray">
              <a:xfrm>
                <a:off x="2798662" y="1943648"/>
                <a:ext cx="370503" cy="301158"/>
              </a:xfrm>
              <a:custGeom>
                <a:avLst/>
                <a:gdLst>
                  <a:gd name="T0" fmla="*/ 72549008 w 284"/>
                  <a:gd name="T1" fmla="*/ 317340910 h 234"/>
                  <a:gd name="T2" fmla="*/ 186024843 w 284"/>
                  <a:gd name="T3" fmla="*/ 261931988 h 234"/>
                  <a:gd name="T4" fmla="*/ 197185701 w 284"/>
                  <a:gd name="T5" fmla="*/ 243461916 h 234"/>
                  <a:gd name="T6" fmla="*/ 154399869 w 284"/>
                  <a:gd name="T7" fmla="*/ 228350509 h 234"/>
                  <a:gd name="T8" fmla="*/ 81850860 w 284"/>
                  <a:gd name="T9" fmla="*/ 228350509 h 234"/>
                  <a:gd name="T10" fmla="*/ 26043831 w 284"/>
                  <a:gd name="T11" fmla="*/ 209881732 h 234"/>
                  <a:gd name="T12" fmla="*/ 98592850 w 284"/>
                  <a:gd name="T13" fmla="*/ 172942883 h 234"/>
                  <a:gd name="T14" fmla="*/ 66969261 w 284"/>
                  <a:gd name="T15" fmla="*/ 162868140 h 234"/>
                  <a:gd name="T16" fmla="*/ 40925430 w 284"/>
                  <a:gd name="T17" fmla="*/ 162868140 h 234"/>
                  <a:gd name="T18" fmla="*/ 20462715 w 284"/>
                  <a:gd name="T19" fmla="*/ 172942883 h 234"/>
                  <a:gd name="T20" fmla="*/ 20462715 w 284"/>
                  <a:gd name="T21" fmla="*/ 154472770 h 234"/>
                  <a:gd name="T22" fmla="*/ 14881604 w 284"/>
                  <a:gd name="T23" fmla="*/ 102422514 h 234"/>
                  <a:gd name="T24" fmla="*/ 14881604 w 284"/>
                  <a:gd name="T25" fmla="*/ 78915718 h 234"/>
                  <a:gd name="T26" fmla="*/ 133937159 w 284"/>
                  <a:gd name="T27" fmla="*/ 5036705 h 234"/>
                  <a:gd name="T28" fmla="*/ 133937159 w 284"/>
                  <a:gd name="T29" fmla="*/ 55408942 h 234"/>
                  <a:gd name="T30" fmla="*/ 139518270 w 284"/>
                  <a:gd name="T31" fmla="*/ 60445646 h 234"/>
                  <a:gd name="T32" fmla="*/ 154399869 w 284"/>
                  <a:gd name="T33" fmla="*/ 41976859 h 234"/>
                  <a:gd name="T34" fmla="*/ 206487552 w 284"/>
                  <a:gd name="T35" fmla="*/ 52050276 h 234"/>
                  <a:gd name="T36" fmla="*/ 212068663 w 284"/>
                  <a:gd name="T37" fmla="*/ 88989145 h 234"/>
                  <a:gd name="T38" fmla="*/ 232531373 w 284"/>
                  <a:gd name="T39" fmla="*/ 78915718 h 234"/>
                  <a:gd name="T40" fmla="*/ 252994083 w 284"/>
                  <a:gd name="T41" fmla="*/ 70520348 h 234"/>
                  <a:gd name="T42" fmla="*/ 252994083 w 284"/>
                  <a:gd name="T43" fmla="*/ 60445646 h 234"/>
                  <a:gd name="T44" fmla="*/ 247412972 w 284"/>
                  <a:gd name="T45" fmla="*/ 33581489 h 234"/>
                  <a:gd name="T46" fmla="*/ 279036540 w 284"/>
                  <a:gd name="T47" fmla="*/ 55408942 h 234"/>
                  <a:gd name="T48" fmla="*/ 293919502 w 284"/>
                  <a:gd name="T49" fmla="*/ 65483645 h 234"/>
                  <a:gd name="T50" fmla="*/ 310661471 w 284"/>
                  <a:gd name="T51" fmla="*/ 141040697 h 234"/>
                  <a:gd name="T52" fmla="*/ 331124181 w 284"/>
                  <a:gd name="T53" fmla="*/ 130965994 h 234"/>
                  <a:gd name="T54" fmla="*/ 325543070 w 284"/>
                  <a:gd name="T55" fmla="*/ 88989145 h 234"/>
                  <a:gd name="T56" fmla="*/ 316241218 w 284"/>
                  <a:gd name="T57" fmla="*/ 23506786 h 234"/>
                  <a:gd name="T58" fmla="*/ 316241218 w 284"/>
                  <a:gd name="T59" fmla="*/ 5036705 h 234"/>
                  <a:gd name="T60" fmla="*/ 351586891 w 284"/>
                  <a:gd name="T61" fmla="*/ 18470078 h 234"/>
                  <a:gd name="T62" fmla="*/ 362747834 w 284"/>
                  <a:gd name="T63" fmla="*/ 13432078 h 234"/>
                  <a:gd name="T64" fmla="*/ 392512395 w 284"/>
                  <a:gd name="T65" fmla="*/ 47013572 h 234"/>
                  <a:gd name="T66" fmla="*/ 409254364 w 284"/>
                  <a:gd name="T67" fmla="*/ 130965994 h 234"/>
                  <a:gd name="T68" fmla="*/ 418554852 w 284"/>
                  <a:gd name="T69" fmla="*/ 172942883 h 234"/>
                  <a:gd name="T70" fmla="*/ 450179784 w 284"/>
                  <a:gd name="T71" fmla="*/ 228350509 h 234"/>
                  <a:gd name="T72" fmla="*/ 470642493 w 284"/>
                  <a:gd name="T73" fmla="*/ 228350509 h 234"/>
                  <a:gd name="T74" fmla="*/ 507847172 w 284"/>
                  <a:gd name="T75" fmla="*/ 266968692 h 234"/>
                  <a:gd name="T76" fmla="*/ 522728771 w 284"/>
                  <a:gd name="T77" fmla="*/ 285438764 h 234"/>
                  <a:gd name="T78" fmla="*/ 507847172 w 284"/>
                  <a:gd name="T79" fmla="*/ 303908837 h 234"/>
                  <a:gd name="T80" fmla="*/ 491105203 w 284"/>
                  <a:gd name="T81" fmla="*/ 285438764 h 234"/>
                  <a:gd name="T82" fmla="*/ 476223604 w 284"/>
                  <a:gd name="T83" fmla="*/ 303908837 h 234"/>
                  <a:gd name="T84" fmla="*/ 461340642 w 284"/>
                  <a:gd name="T85" fmla="*/ 313982244 h 234"/>
                  <a:gd name="T86" fmla="*/ 491105203 w 284"/>
                  <a:gd name="T87" fmla="*/ 322377613 h 234"/>
                  <a:gd name="T88" fmla="*/ 485524092 w 284"/>
                  <a:gd name="T89" fmla="*/ 335809687 h 234"/>
                  <a:gd name="T90" fmla="*/ 507847172 w 284"/>
                  <a:gd name="T91" fmla="*/ 350921174 h 234"/>
                  <a:gd name="T92" fmla="*/ 481803351 w 284"/>
                  <a:gd name="T93" fmla="*/ 359316544 h 234"/>
                  <a:gd name="T94" fmla="*/ 461340642 w 284"/>
                  <a:gd name="T95" fmla="*/ 369391247 h 234"/>
                  <a:gd name="T96" fmla="*/ 418554852 w 284"/>
                  <a:gd name="T97" fmla="*/ 364354543 h 234"/>
                  <a:gd name="T98" fmla="*/ 388791655 w 284"/>
                  <a:gd name="T99" fmla="*/ 340847767 h 234"/>
                  <a:gd name="T100" fmla="*/ 357166638 w 284"/>
                  <a:gd name="T101" fmla="*/ 317340910 h 234"/>
                  <a:gd name="T102" fmla="*/ 299499249 w 284"/>
                  <a:gd name="T103" fmla="*/ 359316544 h 234"/>
                  <a:gd name="T104" fmla="*/ 243692231 w 284"/>
                  <a:gd name="T105" fmla="*/ 382823320 h 234"/>
                  <a:gd name="T106" fmla="*/ 226950262 w 284"/>
                  <a:gd name="T107" fmla="*/ 387861319 h 234"/>
                  <a:gd name="T108" fmla="*/ 154399869 w 284"/>
                  <a:gd name="T109" fmla="*/ 364354543 h 234"/>
                  <a:gd name="T110" fmla="*/ 145099381 w 284"/>
                  <a:gd name="T111" fmla="*/ 335809687 h 23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4"/>
                  <a:gd name="T169" fmla="*/ 0 h 234"/>
                  <a:gd name="T170" fmla="*/ 284 w 284"/>
                  <a:gd name="T171" fmla="*/ 234 h 23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4" h="234">
                    <a:moveTo>
                      <a:pt x="64" y="200"/>
                    </a:moveTo>
                    <a:lnTo>
                      <a:pt x="64" y="200"/>
                    </a:lnTo>
                    <a:lnTo>
                      <a:pt x="58" y="200"/>
                    </a:lnTo>
                    <a:lnTo>
                      <a:pt x="55" y="200"/>
                    </a:lnTo>
                    <a:lnTo>
                      <a:pt x="50" y="198"/>
                    </a:lnTo>
                    <a:lnTo>
                      <a:pt x="39" y="192"/>
                    </a:lnTo>
                    <a:lnTo>
                      <a:pt x="39" y="189"/>
                    </a:lnTo>
                    <a:lnTo>
                      <a:pt x="36" y="187"/>
                    </a:lnTo>
                    <a:lnTo>
                      <a:pt x="33" y="187"/>
                    </a:lnTo>
                    <a:lnTo>
                      <a:pt x="33" y="181"/>
                    </a:lnTo>
                    <a:lnTo>
                      <a:pt x="28" y="178"/>
                    </a:lnTo>
                    <a:lnTo>
                      <a:pt x="25" y="167"/>
                    </a:lnTo>
                    <a:lnTo>
                      <a:pt x="75" y="150"/>
                    </a:lnTo>
                    <a:lnTo>
                      <a:pt x="100" y="156"/>
                    </a:lnTo>
                    <a:lnTo>
                      <a:pt x="103" y="153"/>
                    </a:lnTo>
                    <a:lnTo>
                      <a:pt x="103" y="150"/>
                    </a:lnTo>
                    <a:lnTo>
                      <a:pt x="106" y="150"/>
                    </a:lnTo>
                    <a:lnTo>
                      <a:pt x="108" y="150"/>
                    </a:lnTo>
                    <a:lnTo>
                      <a:pt x="108" y="148"/>
                    </a:lnTo>
                    <a:lnTo>
                      <a:pt x="106" y="145"/>
                    </a:lnTo>
                    <a:lnTo>
                      <a:pt x="103" y="145"/>
                    </a:lnTo>
                    <a:lnTo>
                      <a:pt x="97" y="145"/>
                    </a:lnTo>
                    <a:lnTo>
                      <a:pt x="97" y="142"/>
                    </a:lnTo>
                    <a:lnTo>
                      <a:pt x="94" y="142"/>
                    </a:lnTo>
                    <a:lnTo>
                      <a:pt x="89" y="139"/>
                    </a:lnTo>
                    <a:lnTo>
                      <a:pt x="89" y="136"/>
                    </a:lnTo>
                    <a:lnTo>
                      <a:pt x="83" y="136"/>
                    </a:lnTo>
                    <a:lnTo>
                      <a:pt x="80" y="136"/>
                    </a:lnTo>
                    <a:lnTo>
                      <a:pt x="55" y="142"/>
                    </a:lnTo>
                    <a:lnTo>
                      <a:pt x="53" y="142"/>
                    </a:lnTo>
                    <a:lnTo>
                      <a:pt x="47" y="142"/>
                    </a:lnTo>
                    <a:lnTo>
                      <a:pt x="44" y="139"/>
                    </a:lnTo>
                    <a:lnTo>
                      <a:pt x="44" y="136"/>
                    </a:lnTo>
                    <a:lnTo>
                      <a:pt x="33" y="139"/>
                    </a:lnTo>
                    <a:lnTo>
                      <a:pt x="28" y="136"/>
                    </a:lnTo>
                    <a:lnTo>
                      <a:pt x="22" y="136"/>
                    </a:lnTo>
                    <a:lnTo>
                      <a:pt x="22" y="134"/>
                    </a:lnTo>
                    <a:lnTo>
                      <a:pt x="19" y="134"/>
                    </a:lnTo>
                    <a:lnTo>
                      <a:pt x="14" y="125"/>
                    </a:lnTo>
                    <a:lnTo>
                      <a:pt x="11" y="120"/>
                    </a:lnTo>
                    <a:lnTo>
                      <a:pt x="16" y="114"/>
                    </a:lnTo>
                    <a:lnTo>
                      <a:pt x="44" y="103"/>
                    </a:lnTo>
                    <a:lnTo>
                      <a:pt x="47" y="103"/>
                    </a:lnTo>
                    <a:lnTo>
                      <a:pt x="50" y="103"/>
                    </a:lnTo>
                    <a:lnTo>
                      <a:pt x="53" y="103"/>
                    </a:lnTo>
                    <a:lnTo>
                      <a:pt x="50" y="100"/>
                    </a:lnTo>
                    <a:lnTo>
                      <a:pt x="47" y="100"/>
                    </a:lnTo>
                    <a:lnTo>
                      <a:pt x="50" y="97"/>
                    </a:lnTo>
                    <a:lnTo>
                      <a:pt x="53" y="97"/>
                    </a:lnTo>
                    <a:lnTo>
                      <a:pt x="53" y="95"/>
                    </a:lnTo>
                    <a:lnTo>
                      <a:pt x="55" y="95"/>
                    </a:lnTo>
                    <a:lnTo>
                      <a:pt x="36" y="97"/>
                    </a:lnTo>
                    <a:lnTo>
                      <a:pt x="33" y="100"/>
                    </a:lnTo>
                    <a:lnTo>
                      <a:pt x="30" y="100"/>
                    </a:lnTo>
                    <a:lnTo>
                      <a:pt x="28" y="100"/>
                    </a:lnTo>
                    <a:lnTo>
                      <a:pt x="25" y="100"/>
                    </a:lnTo>
                    <a:lnTo>
                      <a:pt x="25" y="97"/>
                    </a:lnTo>
                    <a:lnTo>
                      <a:pt x="22" y="97"/>
                    </a:lnTo>
                    <a:lnTo>
                      <a:pt x="22" y="100"/>
                    </a:lnTo>
                    <a:lnTo>
                      <a:pt x="19" y="100"/>
                    </a:lnTo>
                    <a:lnTo>
                      <a:pt x="16" y="103"/>
                    </a:lnTo>
                    <a:lnTo>
                      <a:pt x="14" y="103"/>
                    </a:lnTo>
                    <a:lnTo>
                      <a:pt x="11" y="103"/>
                    </a:lnTo>
                    <a:lnTo>
                      <a:pt x="11" y="100"/>
                    </a:lnTo>
                    <a:lnTo>
                      <a:pt x="14" y="97"/>
                    </a:lnTo>
                    <a:lnTo>
                      <a:pt x="14" y="95"/>
                    </a:lnTo>
                    <a:lnTo>
                      <a:pt x="19" y="95"/>
                    </a:lnTo>
                    <a:lnTo>
                      <a:pt x="19" y="89"/>
                    </a:lnTo>
                    <a:lnTo>
                      <a:pt x="14" y="89"/>
                    </a:lnTo>
                    <a:lnTo>
                      <a:pt x="11" y="92"/>
                    </a:lnTo>
                    <a:lnTo>
                      <a:pt x="8" y="92"/>
                    </a:lnTo>
                    <a:lnTo>
                      <a:pt x="8" y="89"/>
                    </a:lnTo>
                    <a:lnTo>
                      <a:pt x="3" y="89"/>
                    </a:lnTo>
                    <a:lnTo>
                      <a:pt x="0" y="78"/>
                    </a:lnTo>
                    <a:lnTo>
                      <a:pt x="0" y="72"/>
                    </a:lnTo>
                    <a:lnTo>
                      <a:pt x="8" y="61"/>
                    </a:lnTo>
                    <a:lnTo>
                      <a:pt x="14" y="61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8" y="56"/>
                    </a:lnTo>
                    <a:lnTo>
                      <a:pt x="8" y="53"/>
                    </a:lnTo>
                    <a:lnTo>
                      <a:pt x="8" y="47"/>
                    </a:lnTo>
                    <a:lnTo>
                      <a:pt x="8" y="45"/>
                    </a:lnTo>
                    <a:lnTo>
                      <a:pt x="36" y="17"/>
                    </a:lnTo>
                    <a:lnTo>
                      <a:pt x="39" y="17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67" y="0"/>
                    </a:lnTo>
                    <a:lnTo>
                      <a:pt x="72" y="3"/>
                    </a:lnTo>
                    <a:lnTo>
                      <a:pt x="72" y="6"/>
                    </a:lnTo>
                    <a:lnTo>
                      <a:pt x="75" y="6"/>
                    </a:lnTo>
                    <a:lnTo>
                      <a:pt x="75" y="8"/>
                    </a:lnTo>
                    <a:lnTo>
                      <a:pt x="78" y="28"/>
                    </a:lnTo>
                    <a:lnTo>
                      <a:pt x="72" y="31"/>
                    </a:lnTo>
                    <a:lnTo>
                      <a:pt x="72" y="33"/>
                    </a:lnTo>
                    <a:lnTo>
                      <a:pt x="72" y="36"/>
                    </a:lnTo>
                    <a:lnTo>
                      <a:pt x="67" y="39"/>
                    </a:lnTo>
                    <a:lnTo>
                      <a:pt x="69" y="42"/>
                    </a:lnTo>
                    <a:lnTo>
                      <a:pt x="75" y="36"/>
                    </a:lnTo>
                    <a:lnTo>
                      <a:pt x="78" y="36"/>
                    </a:lnTo>
                    <a:lnTo>
                      <a:pt x="78" y="39"/>
                    </a:lnTo>
                    <a:lnTo>
                      <a:pt x="83" y="36"/>
                    </a:lnTo>
                    <a:lnTo>
                      <a:pt x="83" y="33"/>
                    </a:lnTo>
                    <a:lnTo>
                      <a:pt x="83" y="31"/>
                    </a:lnTo>
                    <a:lnTo>
                      <a:pt x="83" y="28"/>
                    </a:lnTo>
                    <a:lnTo>
                      <a:pt x="83" y="25"/>
                    </a:lnTo>
                    <a:lnTo>
                      <a:pt x="86" y="22"/>
                    </a:lnTo>
                    <a:lnTo>
                      <a:pt x="86" y="20"/>
                    </a:lnTo>
                    <a:lnTo>
                      <a:pt x="89" y="20"/>
                    </a:lnTo>
                    <a:lnTo>
                      <a:pt x="92" y="20"/>
                    </a:lnTo>
                    <a:lnTo>
                      <a:pt x="100" y="22"/>
                    </a:lnTo>
                    <a:lnTo>
                      <a:pt x="108" y="28"/>
                    </a:lnTo>
                    <a:lnTo>
                      <a:pt x="111" y="31"/>
                    </a:lnTo>
                    <a:lnTo>
                      <a:pt x="114" y="31"/>
                    </a:lnTo>
                    <a:lnTo>
                      <a:pt x="117" y="33"/>
                    </a:lnTo>
                    <a:lnTo>
                      <a:pt x="119" y="36"/>
                    </a:lnTo>
                    <a:lnTo>
                      <a:pt x="119" y="42"/>
                    </a:lnTo>
                    <a:lnTo>
                      <a:pt x="108" y="56"/>
                    </a:lnTo>
                    <a:lnTo>
                      <a:pt x="114" y="53"/>
                    </a:lnTo>
                    <a:lnTo>
                      <a:pt x="117" y="50"/>
                    </a:lnTo>
                    <a:lnTo>
                      <a:pt x="119" y="47"/>
                    </a:lnTo>
                    <a:lnTo>
                      <a:pt x="119" y="50"/>
                    </a:lnTo>
                    <a:lnTo>
                      <a:pt x="119" y="53"/>
                    </a:lnTo>
                    <a:lnTo>
                      <a:pt x="122" y="56"/>
                    </a:lnTo>
                    <a:lnTo>
                      <a:pt x="122" y="53"/>
                    </a:lnTo>
                    <a:lnTo>
                      <a:pt x="125" y="47"/>
                    </a:lnTo>
                    <a:lnTo>
                      <a:pt x="125" y="45"/>
                    </a:lnTo>
                    <a:lnTo>
                      <a:pt x="128" y="42"/>
                    </a:lnTo>
                    <a:lnTo>
                      <a:pt x="131" y="45"/>
                    </a:lnTo>
                    <a:lnTo>
                      <a:pt x="133" y="42"/>
                    </a:lnTo>
                    <a:lnTo>
                      <a:pt x="136" y="47"/>
                    </a:lnTo>
                    <a:lnTo>
                      <a:pt x="139" y="45"/>
                    </a:lnTo>
                    <a:lnTo>
                      <a:pt x="136" y="42"/>
                    </a:lnTo>
                    <a:lnTo>
                      <a:pt x="139" y="45"/>
                    </a:lnTo>
                    <a:lnTo>
                      <a:pt x="142" y="42"/>
                    </a:lnTo>
                    <a:lnTo>
                      <a:pt x="142" y="39"/>
                    </a:lnTo>
                    <a:lnTo>
                      <a:pt x="136" y="36"/>
                    </a:lnTo>
                    <a:lnTo>
                      <a:pt x="142" y="39"/>
                    </a:lnTo>
                    <a:lnTo>
                      <a:pt x="142" y="36"/>
                    </a:lnTo>
                    <a:lnTo>
                      <a:pt x="139" y="31"/>
                    </a:lnTo>
                    <a:lnTo>
                      <a:pt x="136" y="28"/>
                    </a:lnTo>
                    <a:lnTo>
                      <a:pt x="133" y="22"/>
                    </a:lnTo>
                    <a:lnTo>
                      <a:pt x="133" y="20"/>
                    </a:lnTo>
                    <a:lnTo>
                      <a:pt x="142" y="22"/>
                    </a:lnTo>
                    <a:lnTo>
                      <a:pt x="145" y="25"/>
                    </a:lnTo>
                    <a:lnTo>
                      <a:pt x="147" y="25"/>
                    </a:lnTo>
                    <a:lnTo>
                      <a:pt x="147" y="28"/>
                    </a:lnTo>
                    <a:lnTo>
                      <a:pt x="147" y="31"/>
                    </a:lnTo>
                    <a:lnTo>
                      <a:pt x="150" y="33"/>
                    </a:lnTo>
                    <a:lnTo>
                      <a:pt x="153" y="33"/>
                    </a:lnTo>
                    <a:lnTo>
                      <a:pt x="156" y="33"/>
                    </a:lnTo>
                    <a:lnTo>
                      <a:pt x="156" y="36"/>
                    </a:lnTo>
                    <a:lnTo>
                      <a:pt x="156" y="39"/>
                    </a:lnTo>
                    <a:lnTo>
                      <a:pt x="158" y="39"/>
                    </a:lnTo>
                    <a:lnTo>
                      <a:pt x="161" y="45"/>
                    </a:lnTo>
                    <a:lnTo>
                      <a:pt x="161" y="56"/>
                    </a:lnTo>
                    <a:lnTo>
                      <a:pt x="164" y="61"/>
                    </a:lnTo>
                    <a:lnTo>
                      <a:pt x="164" y="70"/>
                    </a:lnTo>
                    <a:lnTo>
                      <a:pt x="167" y="75"/>
                    </a:lnTo>
                    <a:lnTo>
                      <a:pt x="164" y="78"/>
                    </a:lnTo>
                    <a:lnTo>
                      <a:pt x="167" y="84"/>
                    </a:lnTo>
                    <a:lnTo>
                      <a:pt x="167" y="86"/>
                    </a:lnTo>
                    <a:lnTo>
                      <a:pt x="170" y="89"/>
                    </a:lnTo>
                    <a:lnTo>
                      <a:pt x="172" y="89"/>
                    </a:lnTo>
                    <a:lnTo>
                      <a:pt x="172" y="86"/>
                    </a:lnTo>
                    <a:lnTo>
                      <a:pt x="175" y="84"/>
                    </a:lnTo>
                    <a:lnTo>
                      <a:pt x="178" y="81"/>
                    </a:lnTo>
                    <a:lnTo>
                      <a:pt x="178" y="78"/>
                    </a:lnTo>
                    <a:lnTo>
                      <a:pt x="181" y="78"/>
                    </a:lnTo>
                    <a:lnTo>
                      <a:pt x="181" y="75"/>
                    </a:lnTo>
                    <a:lnTo>
                      <a:pt x="178" y="72"/>
                    </a:lnTo>
                    <a:lnTo>
                      <a:pt x="178" y="67"/>
                    </a:lnTo>
                    <a:lnTo>
                      <a:pt x="178" y="64"/>
                    </a:lnTo>
                    <a:lnTo>
                      <a:pt x="175" y="64"/>
                    </a:lnTo>
                    <a:lnTo>
                      <a:pt x="175" y="53"/>
                    </a:lnTo>
                    <a:lnTo>
                      <a:pt x="175" y="47"/>
                    </a:lnTo>
                    <a:lnTo>
                      <a:pt x="172" y="47"/>
                    </a:lnTo>
                    <a:lnTo>
                      <a:pt x="170" y="20"/>
                    </a:lnTo>
                    <a:lnTo>
                      <a:pt x="170" y="14"/>
                    </a:lnTo>
                    <a:lnTo>
                      <a:pt x="167" y="11"/>
                    </a:lnTo>
                    <a:lnTo>
                      <a:pt x="170" y="11"/>
                    </a:lnTo>
                    <a:lnTo>
                      <a:pt x="172" y="11"/>
                    </a:lnTo>
                    <a:lnTo>
                      <a:pt x="172" y="8"/>
                    </a:lnTo>
                    <a:lnTo>
                      <a:pt x="170" y="6"/>
                    </a:lnTo>
                    <a:lnTo>
                      <a:pt x="170" y="3"/>
                    </a:lnTo>
                    <a:lnTo>
                      <a:pt x="170" y="0"/>
                    </a:lnTo>
                    <a:lnTo>
                      <a:pt x="172" y="0"/>
                    </a:lnTo>
                    <a:lnTo>
                      <a:pt x="178" y="3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9" y="11"/>
                    </a:lnTo>
                    <a:lnTo>
                      <a:pt x="189" y="8"/>
                    </a:lnTo>
                    <a:lnTo>
                      <a:pt x="186" y="8"/>
                    </a:lnTo>
                    <a:lnTo>
                      <a:pt x="186" y="6"/>
                    </a:lnTo>
                    <a:lnTo>
                      <a:pt x="189" y="6"/>
                    </a:lnTo>
                    <a:lnTo>
                      <a:pt x="192" y="6"/>
                    </a:lnTo>
                    <a:lnTo>
                      <a:pt x="192" y="8"/>
                    </a:lnTo>
                    <a:lnTo>
                      <a:pt x="195" y="8"/>
                    </a:lnTo>
                    <a:lnTo>
                      <a:pt x="195" y="14"/>
                    </a:lnTo>
                    <a:lnTo>
                      <a:pt x="197" y="17"/>
                    </a:lnTo>
                    <a:lnTo>
                      <a:pt x="203" y="20"/>
                    </a:lnTo>
                    <a:lnTo>
                      <a:pt x="203" y="22"/>
                    </a:lnTo>
                    <a:lnTo>
                      <a:pt x="209" y="25"/>
                    </a:lnTo>
                    <a:lnTo>
                      <a:pt x="209" y="28"/>
                    </a:lnTo>
                    <a:lnTo>
                      <a:pt x="211" y="28"/>
                    </a:lnTo>
                    <a:lnTo>
                      <a:pt x="211" y="31"/>
                    </a:lnTo>
                    <a:lnTo>
                      <a:pt x="214" y="31"/>
                    </a:lnTo>
                    <a:lnTo>
                      <a:pt x="211" y="36"/>
                    </a:lnTo>
                    <a:lnTo>
                      <a:pt x="217" y="70"/>
                    </a:lnTo>
                    <a:lnTo>
                      <a:pt x="220" y="72"/>
                    </a:lnTo>
                    <a:lnTo>
                      <a:pt x="220" y="78"/>
                    </a:lnTo>
                    <a:lnTo>
                      <a:pt x="225" y="89"/>
                    </a:lnTo>
                    <a:lnTo>
                      <a:pt x="228" y="92"/>
                    </a:lnTo>
                    <a:lnTo>
                      <a:pt x="228" y="95"/>
                    </a:lnTo>
                    <a:lnTo>
                      <a:pt x="228" y="97"/>
                    </a:lnTo>
                    <a:lnTo>
                      <a:pt x="228" y="100"/>
                    </a:lnTo>
                    <a:lnTo>
                      <a:pt x="225" y="103"/>
                    </a:lnTo>
                    <a:lnTo>
                      <a:pt x="225" y="109"/>
                    </a:lnTo>
                    <a:lnTo>
                      <a:pt x="225" y="114"/>
                    </a:lnTo>
                    <a:lnTo>
                      <a:pt x="225" y="117"/>
                    </a:lnTo>
                    <a:lnTo>
                      <a:pt x="231" y="120"/>
                    </a:lnTo>
                    <a:lnTo>
                      <a:pt x="236" y="131"/>
                    </a:lnTo>
                    <a:lnTo>
                      <a:pt x="239" y="131"/>
                    </a:lnTo>
                    <a:lnTo>
                      <a:pt x="242" y="136"/>
                    </a:lnTo>
                    <a:lnTo>
                      <a:pt x="245" y="139"/>
                    </a:lnTo>
                    <a:lnTo>
                      <a:pt x="248" y="139"/>
                    </a:lnTo>
                    <a:lnTo>
                      <a:pt x="250" y="139"/>
                    </a:lnTo>
                    <a:lnTo>
                      <a:pt x="250" y="136"/>
                    </a:lnTo>
                    <a:lnTo>
                      <a:pt x="253" y="136"/>
                    </a:lnTo>
                    <a:lnTo>
                      <a:pt x="256" y="139"/>
                    </a:lnTo>
                    <a:lnTo>
                      <a:pt x="256" y="142"/>
                    </a:lnTo>
                    <a:lnTo>
                      <a:pt x="267" y="153"/>
                    </a:lnTo>
                    <a:lnTo>
                      <a:pt x="273" y="153"/>
                    </a:lnTo>
                    <a:lnTo>
                      <a:pt x="273" y="156"/>
                    </a:lnTo>
                    <a:lnTo>
                      <a:pt x="273" y="159"/>
                    </a:lnTo>
                    <a:lnTo>
                      <a:pt x="275" y="162"/>
                    </a:lnTo>
                    <a:lnTo>
                      <a:pt x="278" y="159"/>
                    </a:lnTo>
                    <a:lnTo>
                      <a:pt x="278" y="162"/>
                    </a:lnTo>
                    <a:lnTo>
                      <a:pt x="281" y="159"/>
                    </a:lnTo>
                    <a:lnTo>
                      <a:pt x="284" y="167"/>
                    </a:lnTo>
                    <a:lnTo>
                      <a:pt x="281" y="170"/>
                    </a:lnTo>
                    <a:lnTo>
                      <a:pt x="284" y="178"/>
                    </a:lnTo>
                    <a:lnTo>
                      <a:pt x="281" y="181"/>
                    </a:lnTo>
                    <a:lnTo>
                      <a:pt x="278" y="181"/>
                    </a:lnTo>
                    <a:lnTo>
                      <a:pt x="275" y="181"/>
                    </a:lnTo>
                    <a:lnTo>
                      <a:pt x="275" y="175"/>
                    </a:lnTo>
                    <a:lnTo>
                      <a:pt x="275" y="170"/>
                    </a:lnTo>
                    <a:lnTo>
                      <a:pt x="273" y="181"/>
                    </a:lnTo>
                    <a:lnTo>
                      <a:pt x="270" y="184"/>
                    </a:lnTo>
                    <a:lnTo>
                      <a:pt x="270" y="181"/>
                    </a:lnTo>
                    <a:lnTo>
                      <a:pt x="267" y="178"/>
                    </a:lnTo>
                    <a:lnTo>
                      <a:pt x="267" y="181"/>
                    </a:lnTo>
                    <a:lnTo>
                      <a:pt x="267" y="178"/>
                    </a:lnTo>
                    <a:lnTo>
                      <a:pt x="264" y="175"/>
                    </a:lnTo>
                    <a:lnTo>
                      <a:pt x="264" y="170"/>
                    </a:lnTo>
                    <a:lnTo>
                      <a:pt x="264" y="173"/>
                    </a:lnTo>
                    <a:lnTo>
                      <a:pt x="261" y="173"/>
                    </a:lnTo>
                    <a:lnTo>
                      <a:pt x="259" y="175"/>
                    </a:lnTo>
                    <a:lnTo>
                      <a:pt x="256" y="178"/>
                    </a:lnTo>
                    <a:lnTo>
                      <a:pt x="256" y="181"/>
                    </a:lnTo>
                    <a:lnTo>
                      <a:pt x="256" y="187"/>
                    </a:lnTo>
                    <a:lnTo>
                      <a:pt x="253" y="187"/>
                    </a:lnTo>
                    <a:lnTo>
                      <a:pt x="250" y="187"/>
                    </a:lnTo>
                    <a:lnTo>
                      <a:pt x="248" y="187"/>
                    </a:lnTo>
                    <a:lnTo>
                      <a:pt x="250" y="192"/>
                    </a:lnTo>
                    <a:lnTo>
                      <a:pt x="248" y="200"/>
                    </a:lnTo>
                    <a:lnTo>
                      <a:pt x="253" y="195"/>
                    </a:lnTo>
                    <a:lnTo>
                      <a:pt x="256" y="192"/>
                    </a:lnTo>
                    <a:lnTo>
                      <a:pt x="256" y="189"/>
                    </a:lnTo>
                    <a:lnTo>
                      <a:pt x="264" y="189"/>
                    </a:lnTo>
                    <a:lnTo>
                      <a:pt x="264" y="192"/>
                    </a:lnTo>
                    <a:lnTo>
                      <a:pt x="267" y="192"/>
                    </a:lnTo>
                    <a:lnTo>
                      <a:pt x="264" y="192"/>
                    </a:lnTo>
                    <a:lnTo>
                      <a:pt x="264" y="195"/>
                    </a:lnTo>
                    <a:lnTo>
                      <a:pt x="264" y="198"/>
                    </a:lnTo>
                    <a:lnTo>
                      <a:pt x="261" y="198"/>
                    </a:lnTo>
                    <a:lnTo>
                      <a:pt x="261" y="200"/>
                    </a:lnTo>
                    <a:lnTo>
                      <a:pt x="261" y="203"/>
                    </a:lnTo>
                    <a:lnTo>
                      <a:pt x="264" y="203"/>
                    </a:lnTo>
                    <a:lnTo>
                      <a:pt x="264" y="200"/>
                    </a:lnTo>
                    <a:lnTo>
                      <a:pt x="270" y="200"/>
                    </a:lnTo>
                    <a:lnTo>
                      <a:pt x="273" y="203"/>
                    </a:lnTo>
                    <a:lnTo>
                      <a:pt x="273" y="206"/>
                    </a:lnTo>
                    <a:lnTo>
                      <a:pt x="273" y="209"/>
                    </a:lnTo>
                    <a:lnTo>
                      <a:pt x="270" y="209"/>
                    </a:lnTo>
                    <a:lnTo>
                      <a:pt x="270" y="206"/>
                    </a:lnTo>
                    <a:lnTo>
                      <a:pt x="270" y="209"/>
                    </a:lnTo>
                    <a:lnTo>
                      <a:pt x="267" y="212"/>
                    </a:lnTo>
                    <a:lnTo>
                      <a:pt x="264" y="212"/>
                    </a:lnTo>
                    <a:lnTo>
                      <a:pt x="259" y="214"/>
                    </a:lnTo>
                    <a:lnTo>
                      <a:pt x="259" y="217"/>
                    </a:lnTo>
                    <a:lnTo>
                      <a:pt x="256" y="217"/>
                    </a:lnTo>
                    <a:lnTo>
                      <a:pt x="253" y="217"/>
                    </a:lnTo>
                    <a:lnTo>
                      <a:pt x="253" y="220"/>
                    </a:lnTo>
                    <a:lnTo>
                      <a:pt x="250" y="220"/>
                    </a:lnTo>
                    <a:lnTo>
                      <a:pt x="248" y="220"/>
                    </a:lnTo>
                    <a:lnTo>
                      <a:pt x="245" y="220"/>
                    </a:lnTo>
                    <a:lnTo>
                      <a:pt x="236" y="220"/>
                    </a:lnTo>
                    <a:lnTo>
                      <a:pt x="236" y="217"/>
                    </a:lnTo>
                    <a:lnTo>
                      <a:pt x="231" y="214"/>
                    </a:lnTo>
                    <a:lnTo>
                      <a:pt x="228" y="214"/>
                    </a:lnTo>
                    <a:lnTo>
                      <a:pt x="225" y="214"/>
                    </a:lnTo>
                    <a:lnTo>
                      <a:pt x="225" y="217"/>
                    </a:lnTo>
                    <a:lnTo>
                      <a:pt x="214" y="214"/>
                    </a:lnTo>
                    <a:lnTo>
                      <a:pt x="214" y="212"/>
                    </a:lnTo>
                    <a:lnTo>
                      <a:pt x="220" y="206"/>
                    </a:lnTo>
                    <a:lnTo>
                      <a:pt x="217" y="206"/>
                    </a:lnTo>
                    <a:lnTo>
                      <a:pt x="214" y="206"/>
                    </a:lnTo>
                    <a:lnTo>
                      <a:pt x="211" y="206"/>
                    </a:lnTo>
                    <a:lnTo>
                      <a:pt x="209" y="203"/>
                    </a:lnTo>
                    <a:lnTo>
                      <a:pt x="206" y="203"/>
                    </a:lnTo>
                    <a:lnTo>
                      <a:pt x="203" y="203"/>
                    </a:lnTo>
                    <a:lnTo>
                      <a:pt x="197" y="203"/>
                    </a:lnTo>
                    <a:lnTo>
                      <a:pt x="197" y="200"/>
                    </a:lnTo>
                    <a:lnTo>
                      <a:pt x="197" y="198"/>
                    </a:lnTo>
                    <a:lnTo>
                      <a:pt x="197" y="189"/>
                    </a:lnTo>
                    <a:lnTo>
                      <a:pt x="192" y="189"/>
                    </a:lnTo>
                    <a:lnTo>
                      <a:pt x="192" y="192"/>
                    </a:lnTo>
                    <a:lnTo>
                      <a:pt x="186" y="195"/>
                    </a:lnTo>
                    <a:lnTo>
                      <a:pt x="189" y="200"/>
                    </a:lnTo>
                    <a:lnTo>
                      <a:pt x="189" y="203"/>
                    </a:lnTo>
                    <a:lnTo>
                      <a:pt x="186" y="206"/>
                    </a:lnTo>
                    <a:lnTo>
                      <a:pt x="181" y="212"/>
                    </a:lnTo>
                    <a:lnTo>
                      <a:pt x="161" y="214"/>
                    </a:lnTo>
                    <a:lnTo>
                      <a:pt x="164" y="214"/>
                    </a:lnTo>
                    <a:lnTo>
                      <a:pt x="161" y="220"/>
                    </a:lnTo>
                    <a:lnTo>
                      <a:pt x="147" y="228"/>
                    </a:lnTo>
                    <a:lnTo>
                      <a:pt x="142" y="228"/>
                    </a:lnTo>
                    <a:lnTo>
                      <a:pt x="139" y="226"/>
                    </a:lnTo>
                    <a:lnTo>
                      <a:pt x="136" y="228"/>
                    </a:lnTo>
                    <a:lnTo>
                      <a:pt x="131" y="228"/>
                    </a:lnTo>
                    <a:lnTo>
                      <a:pt x="128" y="228"/>
                    </a:lnTo>
                    <a:lnTo>
                      <a:pt x="125" y="228"/>
                    </a:lnTo>
                    <a:lnTo>
                      <a:pt x="119" y="228"/>
                    </a:lnTo>
                    <a:lnTo>
                      <a:pt x="119" y="231"/>
                    </a:lnTo>
                    <a:lnTo>
                      <a:pt x="122" y="231"/>
                    </a:lnTo>
                    <a:lnTo>
                      <a:pt x="111" y="234"/>
                    </a:lnTo>
                    <a:lnTo>
                      <a:pt x="108" y="231"/>
                    </a:lnTo>
                    <a:lnTo>
                      <a:pt x="89" y="234"/>
                    </a:lnTo>
                    <a:lnTo>
                      <a:pt x="92" y="234"/>
                    </a:lnTo>
                    <a:lnTo>
                      <a:pt x="94" y="231"/>
                    </a:lnTo>
                    <a:lnTo>
                      <a:pt x="89" y="228"/>
                    </a:lnTo>
                    <a:lnTo>
                      <a:pt x="83" y="217"/>
                    </a:lnTo>
                    <a:lnTo>
                      <a:pt x="83" y="212"/>
                    </a:lnTo>
                    <a:lnTo>
                      <a:pt x="83" y="209"/>
                    </a:lnTo>
                    <a:lnTo>
                      <a:pt x="83" y="206"/>
                    </a:lnTo>
                    <a:lnTo>
                      <a:pt x="80" y="206"/>
                    </a:lnTo>
                    <a:lnTo>
                      <a:pt x="80" y="203"/>
                    </a:lnTo>
                    <a:lnTo>
                      <a:pt x="78" y="200"/>
                    </a:lnTo>
                    <a:lnTo>
                      <a:pt x="72" y="198"/>
                    </a:lnTo>
                    <a:lnTo>
                      <a:pt x="64" y="20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5" name="Freeform 909"/>
              <p:cNvSpPr>
                <a:spLocks noChangeAspect="1"/>
              </p:cNvSpPr>
              <p:nvPr>
                <p:custDataLst>
                  <p:tags r:id="rId243"/>
                </p:custDataLst>
              </p:nvPr>
            </p:nvSpPr>
            <p:spPr bwMode="gray">
              <a:xfrm>
                <a:off x="3041614" y="1915265"/>
                <a:ext cx="50110" cy="61493"/>
              </a:xfrm>
              <a:custGeom>
                <a:avLst/>
                <a:gdLst>
                  <a:gd name="T0" fmla="*/ 61350375 w 39"/>
                  <a:gd name="T1" fmla="*/ 67676177 h 47"/>
                  <a:gd name="T2" fmla="*/ 61350375 w 39"/>
                  <a:gd name="T3" fmla="*/ 62470217 h 47"/>
                  <a:gd name="T4" fmla="*/ 64958429 w 39"/>
                  <a:gd name="T5" fmla="*/ 48587220 h 47"/>
                  <a:gd name="T6" fmla="*/ 70371854 w 39"/>
                  <a:gd name="T7" fmla="*/ 19087645 h 47"/>
                  <a:gd name="T8" fmla="*/ 70371854 w 39"/>
                  <a:gd name="T9" fmla="*/ 13881686 h 47"/>
                  <a:gd name="T10" fmla="*/ 64958429 w 39"/>
                  <a:gd name="T11" fmla="*/ 13881686 h 47"/>
                  <a:gd name="T12" fmla="*/ 61350375 w 39"/>
                  <a:gd name="T13" fmla="*/ 8675724 h 47"/>
                  <a:gd name="T14" fmla="*/ 50523526 w 39"/>
                  <a:gd name="T15" fmla="*/ 5205961 h 47"/>
                  <a:gd name="T16" fmla="*/ 45110101 w 39"/>
                  <a:gd name="T17" fmla="*/ 0 h 47"/>
                  <a:gd name="T18" fmla="*/ 36088612 w 39"/>
                  <a:gd name="T19" fmla="*/ 5205961 h 47"/>
                  <a:gd name="T20" fmla="*/ 19848333 w 39"/>
                  <a:gd name="T21" fmla="*/ 5205961 h 47"/>
                  <a:gd name="T22" fmla="*/ 10826852 w 39"/>
                  <a:gd name="T23" fmla="*/ 8675724 h 47"/>
                  <a:gd name="T24" fmla="*/ 0 w 39"/>
                  <a:gd name="T25" fmla="*/ 24293610 h 47"/>
                  <a:gd name="T26" fmla="*/ 0 w 39"/>
                  <a:gd name="T27" fmla="*/ 27764689 h 47"/>
                  <a:gd name="T28" fmla="*/ 16240279 w 39"/>
                  <a:gd name="T29" fmla="*/ 38176608 h 47"/>
                  <a:gd name="T30" fmla="*/ 36088612 w 39"/>
                  <a:gd name="T31" fmla="*/ 67676177 h 47"/>
                  <a:gd name="T32" fmla="*/ 36088612 w 39"/>
                  <a:gd name="T33" fmla="*/ 72882136 h 47"/>
                  <a:gd name="T34" fmla="*/ 50523526 w 39"/>
                  <a:gd name="T35" fmla="*/ 81557857 h 47"/>
                  <a:gd name="T36" fmla="*/ 50523526 w 39"/>
                  <a:gd name="T37" fmla="*/ 81557857 h 47"/>
                  <a:gd name="T38" fmla="*/ 50523526 w 39"/>
                  <a:gd name="T39" fmla="*/ 81557857 h 47"/>
                  <a:gd name="T40" fmla="*/ 50523526 w 39"/>
                  <a:gd name="T41" fmla="*/ 76351898 h 47"/>
                  <a:gd name="T42" fmla="*/ 61350375 w 39"/>
                  <a:gd name="T43" fmla="*/ 67676177 h 47"/>
                  <a:gd name="T44" fmla="*/ 61350375 w 39"/>
                  <a:gd name="T45" fmla="*/ 67676177 h 4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9"/>
                  <a:gd name="T70" fmla="*/ 0 h 47"/>
                  <a:gd name="T71" fmla="*/ 39 w 39"/>
                  <a:gd name="T72" fmla="*/ 47 h 4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9" h="47">
                    <a:moveTo>
                      <a:pt x="34" y="39"/>
                    </a:moveTo>
                    <a:lnTo>
                      <a:pt x="34" y="36"/>
                    </a:lnTo>
                    <a:lnTo>
                      <a:pt x="36" y="28"/>
                    </a:lnTo>
                    <a:lnTo>
                      <a:pt x="39" y="11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4" y="5"/>
                    </a:lnTo>
                    <a:lnTo>
                      <a:pt x="28" y="3"/>
                    </a:lnTo>
                    <a:lnTo>
                      <a:pt x="25" y="0"/>
                    </a:lnTo>
                    <a:lnTo>
                      <a:pt x="20" y="3"/>
                    </a:lnTo>
                    <a:lnTo>
                      <a:pt x="11" y="3"/>
                    </a:lnTo>
                    <a:lnTo>
                      <a:pt x="6" y="5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9" y="22"/>
                    </a:lnTo>
                    <a:lnTo>
                      <a:pt x="20" y="39"/>
                    </a:lnTo>
                    <a:lnTo>
                      <a:pt x="20" y="42"/>
                    </a:lnTo>
                    <a:lnTo>
                      <a:pt x="28" y="47"/>
                    </a:lnTo>
                    <a:lnTo>
                      <a:pt x="28" y="44"/>
                    </a:lnTo>
                    <a:lnTo>
                      <a:pt x="34" y="3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6" name="Freeform 910"/>
              <p:cNvSpPr>
                <a:spLocks noChangeAspect="1"/>
              </p:cNvSpPr>
              <p:nvPr>
                <p:custDataLst>
                  <p:tags r:id="rId244"/>
                </p:custDataLst>
              </p:nvPr>
            </p:nvSpPr>
            <p:spPr bwMode="gray">
              <a:xfrm>
                <a:off x="3041614" y="1915265"/>
                <a:ext cx="50110" cy="61493"/>
              </a:xfrm>
              <a:custGeom>
                <a:avLst/>
                <a:gdLst>
                  <a:gd name="T0" fmla="*/ 61350375 w 39"/>
                  <a:gd name="T1" fmla="*/ 67676177 h 47"/>
                  <a:gd name="T2" fmla="*/ 61350375 w 39"/>
                  <a:gd name="T3" fmla="*/ 62470217 h 47"/>
                  <a:gd name="T4" fmla="*/ 64958429 w 39"/>
                  <a:gd name="T5" fmla="*/ 48587220 h 47"/>
                  <a:gd name="T6" fmla="*/ 70371854 w 39"/>
                  <a:gd name="T7" fmla="*/ 19087645 h 47"/>
                  <a:gd name="T8" fmla="*/ 70371854 w 39"/>
                  <a:gd name="T9" fmla="*/ 13881686 h 47"/>
                  <a:gd name="T10" fmla="*/ 64958429 w 39"/>
                  <a:gd name="T11" fmla="*/ 13881686 h 47"/>
                  <a:gd name="T12" fmla="*/ 61350375 w 39"/>
                  <a:gd name="T13" fmla="*/ 8675724 h 47"/>
                  <a:gd name="T14" fmla="*/ 50523526 w 39"/>
                  <a:gd name="T15" fmla="*/ 5205961 h 47"/>
                  <a:gd name="T16" fmla="*/ 45110101 w 39"/>
                  <a:gd name="T17" fmla="*/ 0 h 47"/>
                  <a:gd name="T18" fmla="*/ 36088612 w 39"/>
                  <a:gd name="T19" fmla="*/ 5205961 h 47"/>
                  <a:gd name="T20" fmla="*/ 19848333 w 39"/>
                  <a:gd name="T21" fmla="*/ 5205961 h 47"/>
                  <a:gd name="T22" fmla="*/ 10826852 w 39"/>
                  <a:gd name="T23" fmla="*/ 8675724 h 47"/>
                  <a:gd name="T24" fmla="*/ 0 w 39"/>
                  <a:gd name="T25" fmla="*/ 24293610 h 47"/>
                  <a:gd name="T26" fmla="*/ 0 w 39"/>
                  <a:gd name="T27" fmla="*/ 27764689 h 47"/>
                  <a:gd name="T28" fmla="*/ 16240279 w 39"/>
                  <a:gd name="T29" fmla="*/ 38176608 h 47"/>
                  <a:gd name="T30" fmla="*/ 36088612 w 39"/>
                  <a:gd name="T31" fmla="*/ 67676177 h 47"/>
                  <a:gd name="T32" fmla="*/ 36088612 w 39"/>
                  <a:gd name="T33" fmla="*/ 72882136 h 47"/>
                  <a:gd name="T34" fmla="*/ 50523526 w 39"/>
                  <a:gd name="T35" fmla="*/ 81557857 h 47"/>
                  <a:gd name="T36" fmla="*/ 50523526 w 39"/>
                  <a:gd name="T37" fmla="*/ 81557857 h 47"/>
                  <a:gd name="T38" fmla="*/ 50523526 w 39"/>
                  <a:gd name="T39" fmla="*/ 81557857 h 47"/>
                  <a:gd name="T40" fmla="*/ 50523526 w 39"/>
                  <a:gd name="T41" fmla="*/ 76351898 h 47"/>
                  <a:gd name="T42" fmla="*/ 61350375 w 39"/>
                  <a:gd name="T43" fmla="*/ 67676177 h 47"/>
                  <a:gd name="T44" fmla="*/ 61350375 w 39"/>
                  <a:gd name="T45" fmla="*/ 67676177 h 4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9"/>
                  <a:gd name="T70" fmla="*/ 0 h 47"/>
                  <a:gd name="T71" fmla="*/ 39 w 39"/>
                  <a:gd name="T72" fmla="*/ 47 h 4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9" h="47">
                    <a:moveTo>
                      <a:pt x="34" y="39"/>
                    </a:moveTo>
                    <a:lnTo>
                      <a:pt x="34" y="36"/>
                    </a:lnTo>
                    <a:lnTo>
                      <a:pt x="36" y="28"/>
                    </a:lnTo>
                    <a:lnTo>
                      <a:pt x="39" y="11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4" y="5"/>
                    </a:lnTo>
                    <a:lnTo>
                      <a:pt x="28" y="3"/>
                    </a:lnTo>
                    <a:lnTo>
                      <a:pt x="25" y="0"/>
                    </a:lnTo>
                    <a:lnTo>
                      <a:pt x="20" y="3"/>
                    </a:lnTo>
                    <a:lnTo>
                      <a:pt x="11" y="3"/>
                    </a:lnTo>
                    <a:lnTo>
                      <a:pt x="6" y="5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9" y="22"/>
                    </a:lnTo>
                    <a:lnTo>
                      <a:pt x="20" y="39"/>
                    </a:lnTo>
                    <a:lnTo>
                      <a:pt x="20" y="42"/>
                    </a:lnTo>
                    <a:lnTo>
                      <a:pt x="28" y="47"/>
                    </a:lnTo>
                    <a:lnTo>
                      <a:pt x="28" y="44"/>
                    </a:lnTo>
                    <a:lnTo>
                      <a:pt x="34" y="3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7" name="Freeform 911"/>
              <p:cNvSpPr>
                <a:spLocks noChangeAspect="1"/>
              </p:cNvSpPr>
              <p:nvPr>
                <p:custDataLst>
                  <p:tags r:id="rId245"/>
                </p:custDataLst>
              </p:nvPr>
            </p:nvSpPr>
            <p:spPr bwMode="gray">
              <a:xfrm>
                <a:off x="3135758" y="1907383"/>
                <a:ext cx="122996" cy="178171"/>
              </a:xfrm>
              <a:custGeom>
                <a:avLst/>
                <a:gdLst>
                  <a:gd name="T0" fmla="*/ 67366432 w 94"/>
                  <a:gd name="T1" fmla="*/ 171450727 h 137"/>
                  <a:gd name="T2" fmla="*/ 56139609 w 94"/>
                  <a:gd name="T3" fmla="*/ 162878127 h 137"/>
                  <a:gd name="T4" fmla="*/ 41168677 w 94"/>
                  <a:gd name="T5" fmla="*/ 152591531 h 137"/>
                  <a:gd name="T6" fmla="*/ 26197755 w 94"/>
                  <a:gd name="T7" fmla="*/ 147448233 h 137"/>
                  <a:gd name="T8" fmla="*/ 0 w 94"/>
                  <a:gd name="T9" fmla="*/ 120016437 h 137"/>
                  <a:gd name="T10" fmla="*/ 14970927 w 94"/>
                  <a:gd name="T11" fmla="*/ 85726018 h 137"/>
                  <a:gd name="T12" fmla="*/ 20585022 w 94"/>
                  <a:gd name="T13" fmla="*/ 96012634 h 137"/>
                  <a:gd name="T14" fmla="*/ 29940486 w 94"/>
                  <a:gd name="T15" fmla="*/ 101155932 h 137"/>
                  <a:gd name="T16" fmla="*/ 35554581 w 94"/>
                  <a:gd name="T17" fmla="*/ 120016437 h 137"/>
                  <a:gd name="T18" fmla="*/ 52396878 w 94"/>
                  <a:gd name="T19" fmla="*/ 114871830 h 137"/>
                  <a:gd name="T20" fmla="*/ 67366432 w 94"/>
                  <a:gd name="T21" fmla="*/ 104585234 h 137"/>
                  <a:gd name="T22" fmla="*/ 61753704 w 94"/>
                  <a:gd name="T23" fmla="*/ 96012634 h 137"/>
                  <a:gd name="T24" fmla="*/ 67366432 w 94"/>
                  <a:gd name="T25" fmla="*/ 90869336 h 137"/>
                  <a:gd name="T26" fmla="*/ 61753704 w 94"/>
                  <a:gd name="T27" fmla="*/ 82296716 h 137"/>
                  <a:gd name="T28" fmla="*/ 56139609 w 94"/>
                  <a:gd name="T29" fmla="*/ 66865513 h 137"/>
                  <a:gd name="T30" fmla="*/ 72980527 w 94"/>
                  <a:gd name="T31" fmla="*/ 72010120 h 137"/>
                  <a:gd name="T32" fmla="*/ 56139609 w 94"/>
                  <a:gd name="T33" fmla="*/ 61722215 h 137"/>
                  <a:gd name="T34" fmla="*/ 35554581 w 94"/>
                  <a:gd name="T35" fmla="*/ 53149615 h 137"/>
                  <a:gd name="T36" fmla="*/ 29940486 w 94"/>
                  <a:gd name="T37" fmla="*/ 37719711 h 137"/>
                  <a:gd name="T38" fmla="*/ 46782783 w 94"/>
                  <a:gd name="T39" fmla="*/ 42863009 h 137"/>
                  <a:gd name="T40" fmla="*/ 52396878 w 94"/>
                  <a:gd name="T41" fmla="*/ 37719711 h 137"/>
                  <a:gd name="T42" fmla="*/ 41168677 w 94"/>
                  <a:gd name="T43" fmla="*/ 29147111 h 137"/>
                  <a:gd name="T44" fmla="*/ 41168677 w 94"/>
                  <a:gd name="T45" fmla="*/ 15431208 h 137"/>
                  <a:gd name="T46" fmla="*/ 61753704 w 94"/>
                  <a:gd name="T47" fmla="*/ 15431208 h 137"/>
                  <a:gd name="T48" fmla="*/ 67366432 w 94"/>
                  <a:gd name="T49" fmla="*/ 10286599 h 137"/>
                  <a:gd name="T50" fmla="*/ 61753704 w 94"/>
                  <a:gd name="T51" fmla="*/ 0 h 137"/>
                  <a:gd name="T52" fmla="*/ 76723258 w 94"/>
                  <a:gd name="T53" fmla="*/ 10286599 h 137"/>
                  <a:gd name="T54" fmla="*/ 99179661 w 94"/>
                  <a:gd name="T55" fmla="*/ 15431208 h 137"/>
                  <a:gd name="T56" fmla="*/ 129120136 w 94"/>
                  <a:gd name="T57" fmla="*/ 0 h 137"/>
                  <a:gd name="T58" fmla="*/ 149705153 w 94"/>
                  <a:gd name="T59" fmla="*/ 10286599 h 137"/>
                  <a:gd name="T60" fmla="*/ 149705153 w 94"/>
                  <a:gd name="T61" fmla="*/ 29147111 h 137"/>
                  <a:gd name="T62" fmla="*/ 140348327 w 94"/>
                  <a:gd name="T63" fmla="*/ 34290409 h 137"/>
                  <a:gd name="T64" fmla="*/ 145962423 w 94"/>
                  <a:gd name="T65" fmla="*/ 53149615 h 137"/>
                  <a:gd name="T66" fmla="*/ 129120136 w 94"/>
                  <a:gd name="T67" fmla="*/ 72010120 h 137"/>
                  <a:gd name="T68" fmla="*/ 119763310 w 94"/>
                  <a:gd name="T69" fmla="*/ 82296716 h 137"/>
                  <a:gd name="T70" fmla="*/ 134734232 w 94"/>
                  <a:gd name="T71" fmla="*/ 82296716 h 137"/>
                  <a:gd name="T72" fmla="*/ 145962423 w 94"/>
                  <a:gd name="T73" fmla="*/ 96012634 h 137"/>
                  <a:gd name="T74" fmla="*/ 149705153 w 94"/>
                  <a:gd name="T75" fmla="*/ 104585234 h 137"/>
                  <a:gd name="T76" fmla="*/ 155317881 w 94"/>
                  <a:gd name="T77" fmla="*/ 114871830 h 137"/>
                  <a:gd name="T78" fmla="*/ 166546072 w 94"/>
                  <a:gd name="T79" fmla="*/ 114871830 h 137"/>
                  <a:gd name="T80" fmla="*/ 172160167 w 94"/>
                  <a:gd name="T81" fmla="*/ 114871830 h 137"/>
                  <a:gd name="T82" fmla="*/ 175902898 w 94"/>
                  <a:gd name="T83" fmla="*/ 133732335 h 137"/>
                  <a:gd name="T84" fmla="*/ 166546072 w 94"/>
                  <a:gd name="T85" fmla="*/ 144018931 h 137"/>
                  <a:gd name="T86" fmla="*/ 172160167 w 94"/>
                  <a:gd name="T87" fmla="*/ 168022734 h 137"/>
                  <a:gd name="T88" fmla="*/ 172160167 w 94"/>
                  <a:gd name="T89" fmla="*/ 171450727 h 137"/>
                  <a:gd name="T90" fmla="*/ 166546072 w 94"/>
                  <a:gd name="T91" fmla="*/ 186881971 h 137"/>
                  <a:gd name="T92" fmla="*/ 149705153 w 94"/>
                  <a:gd name="T93" fmla="*/ 205741166 h 137"/>
                  <a:gd name="T94" fmla="*/ 123506041 w 94"/>
                  <a:gd name="T95" fmla="*/ 205741166 h 137"/>
                  <a:gd name="T96" fmla="*/ 129120136 w 94"/>
                  <a:gd name="T97" fmla="*/ 219457064 h 137"/>
                  <a:gd name="T98" fmla="*/ 119763310 w 94"/>
                  <a:gd name="T99" fmla="*/ 234888267 h 137"/>
                  <a:gd name="T100" fmla="*/ 102922392 w 94"/>
                  <a:gd name="T101" fmla="*/ 224601672 h 137"/>
                  <a:gd name="T102" fmla="*/ 93565566 w 94"/>
                  <a:gd name="T103" fmla="*/ 210884464 h 137"/>
                  <a:gd name="T104" fmla="*/ 82337353 w 94"/>
                  <a:gd name="T105" fmla="*/ 192025269 h 13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4"/>
                  <a:gd name="T160" fmla="*/ 0 h 137"/>
                  <a:gd name="T161" fmla="*/ 94 w 94"/>
                  <a:gd name="T162" fmla="*/ 137 h 13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4" h="137">
                    <a:moveTo>
                      <a:pt x="39" y="106"/>
                    </a:moveTo>
                    <a:lnTo>
                      <a:pt x="36" y="106"/>
                    </a:lnTo>
                    <a:lnTo>
                      <a:pt x="36" y="100"/>
                    </a:lnTo>
                    <a:lnTo>
                      <a:pt x="33" y="98"/>
                    </a:lnTo>
                    <a:lnTo>
                      <a:pt x="33" y="95"/>
                    </a:lnTo>
                    <a:lnTo>
                      <a:pt x="30" y="95"/>
                    </a:lnTo>
                    <a:lnTo>
                      <a:pt x="28" y="98"/>
                    </a:lnTo>
                    <a:lnTo>
                      <a:pt x="25" y="89"/>
                    </a:lnTo>
                    <a:lnTo>
                      <a:pt x="22" y="89"/>
                    </a:lnTo>
                    <a:lnTo>
                      <a:pt x="22" y="92"/>
                    </a:lnTo>
                    <a:lnTo>
                      <a:pt x="16" y="92"/>
                    </a:lnTo>
                    <a:lnTo>
                      <a:pt x="14" y="86"/>
                    </a:lnTo>
                    <a:lnTo>
                      <a:pt x="11" y="84"/>
                    </a:lnTo>
                    <a:lnTo>
                      <a:pt x="11" y="81"/>
                    </a:lnTo>
                    <a:lnTo>
                      <a:pt x="0" y="70"/>
                    </a:lnTo>
                    <a:lnTo>
                      <a:pt x="0" y="53"/>
                    </a:lnTo>
                    <a:lnTo>
                      <a:pt x="2" y="50"/>
                    </a:lnTo>
                    <a:lnTo>
                      <a:pt x="8" y="50"/>
                    </a:lnTo>
                    <a:lnTo>
                      <a:pt x="11" y="53"/>
                    </a:lnTo>
                    <a:lnTo>
                      <a:pt x="11" y="56"/>
                    </a:lnTo>
                    <a:lnTo>
                      <a:pt x="14" y="59"/>
                    </a:lnTo>
                    <a:lnTo>
                      <a:pt x="16" y="59"/>
                    </a:lnTo>
                    <a:lnTo>
                      <a:pt x="16" y="61"/>
                    </a:lnTo>
                    <a:lnTo>
                      <a:pt x="16" y="64"/>
                    </a:lnTo>
                    <a:lnTo>
                      <a:pt x="19" y="70"/>
                    </a:lnTo>
                    <a:lnTo>
                      <a:pt x="25" y="70"/>
                    </a:lnTo>
                    <a:lnTo>
                      <a:pt x="28" y="67"/>
                    </a:lnTo>
                    <a:lnTo>
                      <a:pt x="30" y="67"/>
                    </a:lnTo>
                    <a:lnTo>
                      <a:pt x="36" y="61"/>
                    </a:lnTo>
                    <a:lnTo>
                      <a:pt x="33" y="59"/>
                    </a:lnTo>
                    <a:lnTo>
                      <a:pt x="33" y="56"/>
                    </a:lnTo>
                    <a:lnTo>
                      <a:pt x="36" y="59"/>
                    </a:lnTo>
                    <a:lnTo>
                      <a:pt x="36" y="56"/>
                    </a:lnTo>
                    <a:lnTo>
                      <a:pt x="36" y="53"/>
                    </a:lnTo>
                    <a:lnTo>
                      <a:pt x="36" y="50"/>
                    </a:lnTo>
                    <a:lnTo>
                      <a:pt x="33" y="50"/>
                    </a:lnTo>
                    <a:lnTo>
                      <a:pt x="33" y="48"/>
                    </a:lnTo>
                    <a:lnTo>
                      <a:pt x="30" y="48"/>
                    </a:lnTo>
                    <a:lnTo>
                      <a:pt x="30" y="39"/>
                    </a:lnTo>
                    <a:lnTo>
                      <a:pt x="33" y="39"/>
                    </a:lnTo>
                    <a:lnTo>
                      <a:pt x="39" y="42"/>
                    </a:lnTo>
                    <a:lnTo>
                      <a:pt x="33" y="31"/>
                    </a:lnTo>
                    <a:lnTo>
                      <a:pt x="33" y="34"/>
                    </a:lnTo>
                    <a:lnTo>
                      <a:pt x="30" y="36"/>
                    </a:lnTo>
                    <a:lnTo>
                      <a:pt x="25" y="36"/>
                    </a:lnTo>
                    <a:lnTo>
                      <a:pt x="22" y="34"/>
                    </a:lnTo>
                    <a:lnTo>
                      <a:pt x="19" y="31"/>
                    </a:lnTo>
                    <a:lnTo>
                      <a:pt x="16" y="28"/>
                    </a:lnTo>
                    <a:lnTo>
                      <a:pt x="16" y="25"/>
                    </a:lnTo>
                    <a:lnTo>
                      <a:pt x="16" y="22"/>
                    </a:lnTo>
                    <a:lnTo>
                      <a:pt x="22" y="22"/>
                    </a:lnTo>
                    <a:lnTo>
                      <a:pt x="25" y="22"/>
                    </a:lnTo>
                    <a:lnTo>
                      <a:pt x="25" y="25"/>
                    </a:lnTo>
                    <a:lnTo>
                      <a:pt x="28" y="28"/>
                    </a:lnTo>
                    <a:lnTo>
                      <a:pt x="28" y="25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5" y="20"/>
                    </a:lnTo>
                    <a:lnTo>
                      <a:pt x="22" y="17"/>
                    </a:lnTo>
                    <a:lnTo>
                      <a:pt x="19" y="17"/>
                    </a:lnTo>
                    <a:lnTo>
                      <a:pt x="19" y="11"/>
                    </a:lnTo>
                    <a:lnTo>
                      <a:pt x="22" y="9"/>
                    </a:lnTo>
                    <a:lnTo>
                      <a:pt x="28" y="6"/>
                    </a:lnTo>
                    <a:lnTo>
                      <a:pt x="33" y="9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6"/>
                    </a:lnTo>
                    <a:lnTo>
                      <a:pt x="33" y="6"/>
                    </a:lnTo>
                    <a:lnTo>
                      <a:pt x="30" y="3"/>
                    </a:lnTo>
                    <a:lnTo>
                      <a:pt x="33" y="0"/>
                    </a:lnTo>
                    <a:lnTo>
                      <a:pt x="36" y="0"/>
                    </a:lnTo>
                    <a:lnTo>
                      <a:pt x="39" y="0"/>
                    </a:lnTo>
                    <a:lnTo>
                      <a:pt x="41" y="6"/>
                    </a:lnTo>
                    <a:lnTo>
                      <a:pt x="44" y="6"/>
                    </a:lnTo>
                    <a:lnTo>
                      <a:pt x="50" y="9"/>
                    </a:lnTo>
                    <a:lnTo>
                      <a:pt x="53" y="9"/>
                    </a:lnTo>
                    <a:lnTo>
                      <a:pt x="55" y="9"/>
                    </a:lnTo>
                    <a:lnTo>
                      <a:pt x="61" y="9"/>
                    </a:lnTo>
                    <a:lnTo>
                      <a:pt x="69" y="0"/>
                    </a:lnTo>
                    <a:lnTo>
                      <a:pt x="78" y="0"/>
                    </a:lnTo>
                    <a:lnTo>
                      <a:pt x="80" y="6"/>
                    </a:lnTo>
                    <a:lnTo>
                      <a:pt x="83" y="9"/>
                    </a:lnTo>
                    <a:lnTo>
                      <a:pt x="83" y="14"/>
                    </a:lnTo>
                    <a:lnTo>
                      <a:pt x="80" y="17"/>
                    </a:lnTo>
                    <a:lnTo>
                      <a:pt x="75" y="20"/>
                    </a:lnTo>
                    <a:lnTo>
                      <a:pt x="80" y="22"/>
                    </a:lnTo>
                    <a:lnTo>
                      <a:pt x="80" y="31"/>
                    </a:lnTo>
                    <a:lnTo>
                      <a:pt x="78" y="31"/>
                    </a:lnTo>
                    <a:lnTo>
                      <a:pt x="75" y="31"/>
                    </a:lnTo>
                    <a:lnTo>
                      <a:pt x="72" y="36"/>
                    </a:lnTo>
                    <a:lnTo>
                      <a:pt x="69" y="42"/>
                    </a:lnTo>
                    <a:lnTo>
                      <a:pt x="66" y="42"/>
                    </a:lnTo>
                    <a:lnTo>
                      <a:pt x="64" y="45"/>
                    </a:lnTo>
                    <a:lnTo>
                      <a:pt x="64" y="48"/>
                    </a:lnTo>
                    <a:lnTo>
                      <a:pt x="61" y="56"/>
                    </a:lnTo>
                    <a:lnTo>
                      <a:pt x="69" y="48"/>
                    </a:lnTo>
                    <a:lnTo>
                      <a:pt x="72" y="48"/>
                    </a:lnTo>
                    <a:lnTo>
                      <a:pt x="75" y="48"/>
                    </a:lnTo>
                    <a:lnTo>
                      <a:pt x="78" y="53"/>
                    </a:lnTo>
                    <a:lnTo>
                      <a:pt x="78" y="56"/>
                    </a:lnTo>
                    <a:lnTo>
                      <a:pt x="80" y="56"/>
                    </a:lnTo>
                    <a:lnTo>
                      <a:pt x="80" y="61"/>
                    </a:lnTo>
                    <a:lnTo>
                      <a:pt x="83" y="61"/>
                    </a:lnTo>
                    <a:lnTo>
                      <a:pt x="83" y="64"/>
                    </a:lnTo>
                    <a:lnTo>
                      <a:pt x="83" y="67"/>
                    </a:lnTo>
                    <a:lnTo>
                      <a:pt x="83" y="70"/>
                    </a:lnTo>
                    <a:lnTo>
                      <a:pt x="86" y="67"/>
                    </a:lnTo>
                    <a:lnTo>
                      <a:pt x="89" y="67"/>
                    </a:lnTo>
                    <a:lnTo>
                      <a:pt x="89" y="61"/>
                    </a:lnTo>
                    <a:lnTo>
                      <a:pt x="92" y="64"/>
                    </a:lnTo>
                    <a:lnTo>
                      <a:pt x="92" y="67"/>
                    </a:lnTo>
                    <a:lnTo>
                      <a:pt x="92" y="70"/>
                    </a:lnTo>
                    <a:lnTo>
                      <a:pt x="94" y="78"/>
                    </a:lnTo>
                    <a:lnTo>
                      <a:pt x="94" y="81"/>
                    </a:lnTo>
                    <a:lnTo>
                      <a:pt x="89" y="84"/>
                    </a:lnTo>
                    <a:lnTo>
                      <a:pt x="92" y="92"/>
                    </a:lnTo>
                    <a:lnTo>
                      <a:pt x="92" y="95"/>
                    </a:lnTo>
                    <a:lnTo>
                      <a:pt x="92" y="98"/>
                    </a:lnTo>
                    <a:lnTo>
                      <a:pt x="89" y="100"/>
                    </a:lnTo>
                    <a:lnTo>
                      <a:pt x="92" y="100"/>
                    </a:lnTo>
                    <a:lnTo>
                      <a:pt x="92" y="109"/>
                    </a:lnTo>
                    <a:lnTo>
                      <a:pt x="89" y="109"/>
                    </a:lnTo>
                    <a:lnTo>
                      <a:pt x="86" y="112"/>
                    </a:lnTo>
                    <a:lnTo>
                      <a:pt x="86" y="117"/>
                    </a:lnTo>
                    <a:lnTo>
                      <a:pt x="80" y="120"/>
                    </a:lnTo>
                    <a:lnTo>
                      <a:pt x="75" y="120"/>
                    </a:lnTo>
                    <a:lnTo>
                      <a:pt x="69" y="120"/>
                    </a:lnTo>
                    <a:lnTo>
                      <a:pt x="66" y="120"/>
                    </a:lnTo>
                    <a:lnTo>
                      <a:pt x="69" y="125"/>
                    </a:lnTo>
                    <a:lnTo>
                      <a:pt x="69" y="128"/>
                    </a:lnTo>
                    <a:lnTo>
                      <a:pt x="66" y="131"/>
                    </a:lnTo>
                    <a:lnTo>
                      <a:pt x="64" y="134"/>
                    </a:lnTo>
                    <a:lnTo>
                      <a:pt x="64" y="137"/>
                    </a:lnTo>
                    <a:lnTo>
                      <a:pt x="61" y="137"/>
                    </a:lnTo>
                    <a:lnTo>
                      <a:pt x="58" y="131"/>
                    </a:lnTo>
                    <a:lnTo>
                      <a:pt x="55" y="131"/>
                    </a:lnTo>
                    <a:lnTo>
                      <a:pt x="55" y="134"/>
                    </a:lnTo>
                    <a:lnTo>
                      <a:pt x="53" y="134"/>
                    </a:lnTo>
                    <a:lnTo>
                      <a:pt x="50" y="123"/>
                    </a:lnTo>
                    <a:lnTo>
                      <a:pt x="47" y="120"/>
                    </a:lnTo>
                    <a:lnTo>
                      <a:pt x="47" y="114"/>
                    </a:lnTo>
                    <a:lnTo>
                      <a:pt x="44" y="112"/>
                    </a:lnTo>
                    <a:lnTo>
                      <a:pt x="41" y="109"/>
                    </a:lnTo>
                    <a:lnTo>
                      <a:pt x="39" y="10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8" name="Freeform 912"/>
              <p:cNvSpPr>
                <a:spLocks noChangeAspect="1"/>
              </p:cNvSpPr>
              <p:nvPr>
                <p:custDataLst>
                  <p:tags r:id="rId246"/>
                </p:custDataLst>
              </p:nvPr>
            </p:nvSpPr>
            <p:spPr bwMode="gray">
              <a:xfrm>
                <a:off x="3240533" y="1957838"/>
                <a:ext cx="16702" cy="18921"/>
              </a:xfrm>
              <a:custGeom>
                <a:avLst/>
                <a:gdLst>
                  <a:gd name="T0" fmla="*/ 19058317 w 12"/>
                  <a:gd name="T1" fmla="*/ 16663308 h 14"/>
                  <a:gd name="T2" fmla="*/ 25410124 w 12"/>
                  <a:gd name="T3" fmla="*/ 11108871 h 14"/>
                  <a:gd name="T4" fmla="*/ 19058317 w 12"/>
                  <a:gd name="T5" fmla="*/ 5554436 h 14"/>
                  <a:gd name="T6" fmla="*/ 12705062 w 12"/>
                  <a:gd name="T7" fmla="*/ 0 h 14"/>
                  <a:gd name="T8" fmla="*/ 0 w 12"/>
                  <a:gd name="T9" fmla="*/ 11108871 h 14"/>
                  <a:gd name="T10" fmla="*/ 6353258 w 12"/>
                  <a:gd name="T11" fmla="*/ 25921611 h 14"/>
                  <a:gd name="T12" fmla="*/ 12705062 w 12"/>
                  <a:gd name="T13" fmla="*/ 25921611 h 14"/>
                  <a:gd name="T14" fmla="*/ 19058317 w 12"/>
                  <a:gd name="T15" fmla="*/ 20367171 h 14"/>
                  <a:gd name="T16" fmla="*/ 19058317 w 12"/>
                  <a:gd name="T17" fmla="*/ 20367171 h 14"/>
                  <a:gd name="T18" fmla="*/ 19058317 w 12"/>
                  <a:gd name="T19" fmla="*/ 16663308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"/>
                  <a:gd name="T31" fmla="*/ 0 h 14"/>
                  <a:gd name="T32" fmla="*/ 12 w 12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" h="14">
                    <a:moveTo>
                      <a:pt x="9" y="9"/>
                    </a:moveTo>
                    <a:lnTo>
                      <a:pt x="12" y="6"/>
                    </a:lnTo>
                    <a:lnTo>
                      <a:pt x="9" y="3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1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9" name="Freeform 913"/>
              <p:cNvSpPr>
                <a:spLocks noChangeAspect="1"/>
              </p:cNvSpPr>
              <p:nvPr>
                <p:custDataLst>
                  <p:tags r:id="rId247"/>
                </p:custDataLst>
              </p:nvPr>
            </p:nvSpPr>
            <p:spPr bwMode="gray">
              <a:xfrm>
                <a:off x="3240533" y="1957838"/>
                <a:ext cx="16702" cy="18921"/>
              </a:xfrm>
              <a:custGeom>
                <a:avLst/>
                <a:gdLst>
                  <a:gd name="T0" fmla="*/ 19058317 w 12"/>
                  <a:gd name="T1" fmla="*/ 16663308 h 14"/>
                  <a:gd name="T2" fmla="*/ 25410124 w 12"/>
                  <a:gd name="T3" fmla="*/ 11108871 h 14"/>
                  <a:gd name="T4" fmla="*/ 19058317 w 12"/>
                  <a:gd name="T5" fmla="*/ 5554436 h 14"/>
                  <a:gd name="T6" fmla="*/ 12705062 w 12"/>
                  <a:gd name="T7" fmla="*/ 0 h 14"/>
                  <a:gd name="T8" fmla="*/ 0 w 12"/>
                  <a:gd name="T9" fmla="*/ 11108871 h 14"/>
                  <a:gd name="T10" fmla="*/ 6353258 w 12"/>
                  <a:gd name="T11" fmla="*/ 25921611 h 14"/>
                  <a:gd name="T12" fmla="*/ 12705062 w 12"/>
                  <a:gd name="T13" fmla="*/ 25921611 h 14"/>
                  <a:gd name="T14" fmla="*/ 19058317 w 12"/>
                  <a:gd name="T15" fmla="*/ 20367171 h 14"/>
                  <a:gd name="T16" fmla="*/ 19058317 w 12"/>
                  <a:gd name="T17" fmla="*/ 20367171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"/>
                  <a:gd name="T28" fmla="*/ 0 h 14"/>
                  <a:gd name="T29" fmla="*/ 12 w 12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" h="14">
                    <a:moveTo>
                      <a:pt x="9" y="9"/>
                    </a:moveTo>
                    <a:lnTo>
                      <a:pt x="12" y="6"/>
                    </a:lnTo>
                    <a:lnTo>
                      <a:pt x="9" y="3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0" name="Freeform 914"/>
              <p:cNvSpPr>
                <a:spLocks noChangeAspect="1"/>
              </p:cNvSpPr>
              <p:nvPr>
                <p:custDataLst>
                  <p:tags r:id="rId248"/>
                </p:custDataLst>
              </p:nvPr>
            </p:nvSpPr>
            <p:spPr bwMode="gray">
              <a:xfrm>
                <a:off x="3198016" y="1894768"/>
                <a:ext cx="33406" cy="20498"/>
              </a:xfrm>
              <a:custGeom>
                <a:avLst/>
                <a:gdLst>
                  <a:gd name="T0" fmla="*/ 21467698 w 25"/>
                  <a:gd name="T1" fmla="*/ 20630931 h 17"/>
                  <a:gd name="T2" fmla="*/ 33177354 w 25"/>
                  <a:gd name="T3" fmla="*/ 20630931 h 17"/>
                  <a:gd name="T4" fmla="*/ 42935396 w 25"/>
                  <a:gd name="T5" fmla="*/ 8842346 h 17"/>
                  <a:gd name="T6" fmla="*/ 48790232 w 25"/>
                  <a:gd name="T7" fmla="*/ 4421173 h 17"/>
                  <a:gd name="T8" fmla="*/ 48790232 w 25"/>
                  <a:gd name="T9" fmla="*/ 0 h 17"/>
                  <a:gd name="T10" fmla="*/ 37080571 w 25"/>
                  <a:gd name="T11" fmla="*/ 0 h 17"/>
                  <a:gd name="T12" fmla="*/ 21467698 w 25"/>
                  <a:gd name="T13" fmla="*/ 4421173 h 17"/>
                  <a:gd name="T14" fmla="*/ 15612873 w 25"/>
                  <a:gd name="T15" fmla="*/ 8842346 h 17"/>
                  <a:gd name="T16" fmla="*/ 11709656 w 25"/>
                  <a:gd name="T17" fmla="*/ 11789796 h 17"/>
                  <a:gd name="T18" fmla="*/ 11709656 w 25"/>
                  <a:gd name="T19" fmla="*/ 11789796 h 17"/>
                  <a:gd name="T20" fmla="*/ 0 w 25"/>
                  <a:gd name="T21" fmla="*/ 16209754 h 17"/>
                  <a:gd name="T22" fmla="*/ 0 w 25"/>
                  <a:gd name="T23" fmla="*/ 20630931 h 17"/>
                  <a:gd name="T24" fmla="*/ 11709656 w 25"/>
                  <a:gd name="T25" fmla="*/ 20630931 h 17"/>
                  <a:gd name="T26" fmla="*/ 11709656 w 25"/>
                  <a:gd name="T27" fmla="*/ 20630931 h 17"/>
                  <a:gd name="T28" fmla="*/ 11709656 w 25"/>
                  <a:gd name="T29" fmla="*/ 20630931 h 17"/>
                  <a:gd name="T30" fmla="*/ 15612873 w 25"/>
                  <a:gd name="T31" fmla="*/ 25052102 h 17"/>
                  <a:gd name="T32" fmla="*/ 15612873 w 25"/>
                  <a:gd name="T33" fmla="*/ 20630931 h 17"/>
                  <a:gd name="T34" fmla="*/ 21467698 w 25"/>
                  <a:gd name="T35" fmla="*/ 20630931 h 17"/>
                  <a:gd name="T36" fmla="*/ 21467698 w 25"/>
                  <a:gd name="T37" fmla="*/ 20630931 h 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5"/>
                  <a:gd name="T58" fmla="*/ 0 h 17"/>
                  <a:gd name="T59" fmla="*/ 25 w 25"/>
                  <a:gd name="T60" fmla="*/ 17 h 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5" h="17">
                    <a:moveTo>
                      <a:pt x="11" y="14"/>
                    </a:moveTo>
                    <a:lnTo>
                      <a:pt x="17" y="14"/>
                    </a:lnTo>
                    <a:lnTo>
                      <a:pt x="22" y="6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1" y="3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6" y="14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11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1" name="Freeform 915"/>
              <p:cNvSpPr>
                <a:spLocks noChangeAspect="1"/>
              </p:cNvSpPr>
              <p:nvPr>
                <p:custDataLst>
                  <p:tags r:id="rId249"/>
                </p:custDataLst>
              </p:nvPr>
            </p:nvSpPr>
            <p:spPr bwMode="gray">
              <a:xfrm>
                <a:off x="3198016" y="1894768"/>
                <a:ext cx="33406" cy="20498"/>
              </a:xfrm>
              <a:custGeom>
                <a:avLst/>
                <a:gdLst>
                  <a:gd name="T0" fmla="*/ 21467698 w 25"/>
                  <a:gd name="T1" fmla="*/ 20630931 h 17"/>
                  <a:gd name="T2" fmla="*/ 33177354 w 25"/>
                  <a:gd name="T3" fmla="*/ 20630931 h 17"/>
                  <a:gd name="T4" fmla="*/ 42935396 w 25"/>
                  <a:gd name="T5" fmla="*/ 8842346 h 17"/>
                  <a:gd name="T6" fmla="*/ 48790232 w 25"/>
                  <a:gd name="T7" fmla="*/ 4421173 h 17"/>
                  <a:gd name="T8" fmla="*/ 48790232 w 25"/>
                  <a:gd name="T9" fmla="*/ 0 h 17"/>
                  <a:gd name="T10" fmla="*/ 37080571 w 25"/>
                  <a:gd name="T11" fmla="*/ 0 h 17"/>
                  <a:gd name="T12" fmla="*/ 21467698 w 25"/>
                  <a:gd name="T13" fmla="*/ 4421173 h 17"/>
                  <a:gd name="T14" fmla="*/ 15612873 w 25"/>
                  <a:gd name="T15" fmla="*/ 8842346 h 17"/>
                  <a:gd name="T16" fmla="*/ 11709656 w 25"/>
                  <a:gd name="T17" fmla="*/ 11789796 h 17"/>
                  <a:gd name="T18" fmla="*/ 11709656 w 25"/>
                  <a:gd name="T19" fmla="*/ 11789796 h 17"/>
                  <a:gd name="T20" fmla="*/ 0 w 25"/>
                  <a:gd name="T21" fmla="*/ 16209754 h 17"/>
                  <a:gd name="T22" fmla="*/ 0 w 25"/>
                  <a:gd name="T23" fmla="*/ 20630931 h 17"/>
                  <a:gd name="T24" fmla="*/ 11709656 w 25"/>
                  <a:gd name="T25" fmla="*/ 20630931 h 17"/>
                  <a:gd name="T26" fmla="*/ 11709656 w 25"/>
                  <a:gd name="T27" fmla="*/ 20630931 h 17"/>
                  <a:gd name="T28" fmla="*/ 11709656 w 25"/>
                  <a:gd name="T29" fmla="*/ 20630931 h 17"/>
                  <a:gd name="T30" fmla="*/ 15612873 w 25"/>
                  <a:gd name="T31" fmla="*/ 25052102 h 17"/>
                  <a:gd name="T32" fmla="*/ 15612873 w 25"/>
                  <a:gd name="T33" fmla="*/ 20630931 h 17"/>
                  <a:gd name="T34" fmla="*/ 21467698 w 25"/>
                  <a:gd name="T35" fmla="*/ 20630931 h 17"/>
                  <a:gd name="T36" fmla="*/ 21467698 w 25"/>
                  <a:gd name="T37" fmla="*/ 20630931 h 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5"/>
                  <a:gd name="T58" fmla="*/ 0 h 17"/>
                  <a:gd name="T59" fmla="*/ 25 w 25"/>
                  <a:gd name="T60" fmla="*/ 17 h 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5" h="17">
                    <a:moveTo>
                      <a:pt x="11" y="14"/>
                    </a:moveTo>
                    <a:lnTo>
                      <a:pt x="17" y="14"/>
                    </a:lnTo>
                    <a:lnTo>
                      <a:pt x="22" y="6"/>
                    </a:lnTo>
                    <a:lnTo>
                      <a:pt x="25" y="3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1" y="3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6" y="14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11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2" name="Freeform 916"/>
              <p:cNvSpPr>
                <a:spLocks noChangeAspect="1"/>
              </p:cNvSpPr>
              <p:nvPr>
                <p:custDataLst>
                  <p:tags r:id="rId250"/>
                </p:custDataLst>
              </p:nvPr>
            </p:nvSpPr>
            <p:spPr bwMode="gray">
              <a:xfrm>
                <a:off x="3245088" y="1765477"/>
                <a:ext cx="21259" cy="23651"/>
              </a:xfrm>
              <a:custGeom>
                <a:avLst/>
                <a:gdLst>
                  <a:gd name="T0" fmla="*/ 18801039 w 17"/>
                  <a:gd name="T1" fmla="*/ 7852946 h 19"/>
                  <a:gd name="T2" fmla="*/ 18801039 w 17"/>
                  <a:gd name="T3" fmla="*/ 7852946 h 19"/>
                  <a:gd name="T4" fmla="*/ 15382313 w 17"/>
                  <a:gd name="T5" fmla="*/ 17277484 h 19"/>
                  <a:gd name="T6" fmla="*/ 15382313 w 17"/>
                  <a:gd name="T7" fmla="*/ 21989756 h 19"/>
                  <a:gd name="T8" fmla="*/ 10254874 w 17"/>
                  <a:gd name="T9" fmla="*/ 21989756 h 19"/>
                  <a:gd name="T10" fmla="*/ 10254874 w 17"/>
                  <a:gd name="T11" fmla="*/ 25130433 h 19"/>
                  <a:gd name="T12" fmla="*/ 10254874 w 17"/>
                  <a:gd name="T13" fmla="*/ 29842700 h 19"/>
                  <a:gd name="T14" fmla="*/ 10254874 w 17"/>
                  <a:gd name="T15" fmla="*/ 29842700 h 19"/>
                  <a:gd name="T16" fmla="*/ 5127437 w 17"/>
                  <a:gd name="T17" fmla="*/ 29842700 h 19"/>
                  <a:gd name="T18" fmla="*/ 0 w 17"/>
                  <a:gd name="T19" fmla="*/ 29842700 h 19"/>
                  <a:gd name="T20" fmla="*/ 0 w 17"/>
                  <a:gd name="T21" fmla="*/ 25130433 h 19"/>
                  <a:gd name="T22" fmla="*/ 0 w 17"/>
                  <a:gd name="T23" fmla="*/ 21989756 h 19"/>
                  <a:gd name="T24" fmla="*/ 0 w 17"/>
                  <a:gd name="T25" fmla="*/ 17277484 h 19"/>
                  <a:gd name="T26" fmla="*/ 5127437 w 17"/>
                  <a:gd name="T27" fmla="*/ 12565216 h 19"/>
                  <a:gd name="T28" fmla="*/ 10254874 w 17"/>
                  <a:gd name="T29" fmla="*/ 12565216 h 19"/>
                  <a:gd name="T30" fmla="*/ 10254874 w 17"/>
                  <a:gd name="T31" fmla="*/ 7852946 h 19"/>
                  <a:gd name="T32" fmla="*/ 15382313 w 17"/>
                  <a:gd name="T33" fmla="*/ 7852946 h 19"/>
                  <a:gd name="T34" fmla="*/ 18801039 w 17"/>
                  <a:gd name="T35" fmla="*/ 0 h 19"/>
                  <a:gd name="T36" fmla="*/ 29055916 w 17"/>
                  <a:gd name="T37" fmla="*/ 7852946 h 19"/>
                  <a:gd name="T38" fmla="*/ 29055916 w 17"/>
                  <a:gd name="T39" fmla="*/ 17277484 h 19"/>
                  <a:gd name="T40" fmla="*/ 23928480 w 17"/>
                  <a:gd name="T41" fmla="*/ 21989756 h 19"/>
                  <a:gd name="T42" fmla="*/ 23928480 w 17"/>
                  <a:gd name="T43" fmla="*/ 17277484 h 19"/>
                  <a:gd name="T44" fmla="*/ 18801039 w 17"/>
                  <a:gd name="T45" fmla="*/ 17277484 h 19"/>
                  <a:gd name="T46" fmla="*/ 18801039 w 17"/>
                  <a:gd name="T47" fmla="*/ 7852946 h 1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"/>
                  <a:gd name="T73" fmla="*/ 0 h 19"/>
                  <a:gd name="T74" fmla="*/ 17 w 17"/>
                  <a:gd name="T75" fmla="*/ 19 h 1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" h="19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6" y="19"/>
                    </a:lnTo>
                    <a:lnTo>
                      <a:pt x="3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1" y="0"/>
                    </a:lnTo>
                    <a:lnTo>
                      <a:pt x="17" y="5"/>
                    </a:lnTo>
                    <a:lnTo>
                      <a:pt x="17" y="11"/>
                    </a:lnTo>
                    <a:lnTo>
                      <a:pt x="14" y="14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11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3" name="Freeform 917"/>
              <p:cNvSpPr>
                <a:spLocks noChangeAspect="1"/>
              </p:cNvSpPr>
              <p:nvPr>
                <p:custDataLst>
                  <p:tags r:id="rId251"/>
                </p:custDataLst>
              </p:nvPr>
            </p:nvSpPr>
            <p:spPr bwMode="gray">
              <a:xfrm>
                <a:off x="3245088" y="1765477"/>
                <a:ext cx="21259" cy="23651"/>
              </a:xfrm>
              <a:custGeom>
                <a:avLst/>
                <a:gdLst>
                  <a:gd name="T0" fmla="*/ 18801039 w 17"/>
                  <a:gd name="T1" fmla="*/ 7852946 h 19"/>
                  <a:gd name="T2" fmla="*/ 18801039 w 17"/>
                  <a:gd name="T3" fmla="*/ 7852946 h 19"/>
                  <a:gd name="T4" fmla="*/ 15382313 w 17"/>
                  <a:gd name="T5" fmla="*/ 17277484 h 19"/>
                  <a:gd name="T6" fmla="*/ 15382313 w 17"/>
                  <a:gd name="T7" fmla="*/ 21989756 h 19"/>
                  <a:gd name="T8" fmla="*/ 10254874 w 17"/>
                  <a:gd name="T9" fmla="*/ 21989756 h 19"/>
                  <a:gd name="T10" fmla="*/ 10254874 w 17"/>
                  <a:gd name="T11" fmla="*/ 25130433 h 19"/>
                  <a:gd name="T12" fmla="*/ 10254874 w 17"/>
                  <a:gd name="T13" fmla="*/ 29842700 h 19"/>
                  <a:gd name="T14" fmla="*/ 10254874 w 17"/>
                  <a:gd name="T15" fmla="*/ 29842700 h 19"/>
                  <a:gd name="T16" fmla="*/ 5127437 w 17"/>
                  <a:gd name="T17" fmla="*/ 29842700 h 19"/>
                  <a:gd name="T18" fmla="*/ 0 w 17"/>
                  <a:gd name="T19" fmla="*/ 29842700 h 19"/>
                  <a:gd name="T20" fmla="*/ 0 w 17"/>
                  <a:gd name="T21" fmla="*/ 25130433 h 19"/>
                  <a:gd name="T22" fmla="*/ 0 w 17"/>
                  <a:gd name="T23" fmla="*/ 21989756 h 19"/>
                  <a:gd name="T24" fmla="*/ 0 w 17"/>
                  <a:gd name="T25" fmla="*/ 17277484 h 19"/>
                  <a:gd name="T26" fmla="*/ 5127437 w 17"/>
                  <a:gd name="T27" fmla="*/ 12565216 h 19"/>
                  <a:gd name="T28" fmla="*/ 10254874 w 17"/>
                  <a:gd name="T29" fmla="*/ 12565216 h 19"/>
                  <a:gd name="T30" fmla="*/ 10254874 w 17"/>
                  <a:gd name="T31" fmla="*/ 7852946 h 19"/>
                  <a:gd name="T32" fmla="*/ 15382313 w 17"/>
                  <a:gd name="T33" fmla="*/ 7852946 h 19"/>
                  <a:gd name="T34" fmla="*/ 18801039 w 17"/>
                  <a:gd name="T35" fmla="*/ 0 h 19"/>
                  <a:gd name="T36" fmla="*/ 29055916 w 17"/>
                  <a:gd name="T37" fmla="*/ 7852946 h 19"/>
                  <a:gd name="T38" fmla="*/ 29055916 w 17"/>
                  <a:gd name="T39" fmla="*/ 17277484 h 19"/>
                  <a:gd name="T40" fmla="*/ 23928480 w 17"/>
                  <a:gd name="T41" fmla="*/ 21989756 h 19"/>
                  <a:gd name="T42" fmla="*/ 23928480 w 17"/>
                  <a:gd name="T43" fmla="*/ 17277484 h 19"/>
                  <a:gd name="T44" fmla="*/ 18801039 w 17"/>
                  <a:gd name="T45" fmla="*/ 17277484 h 19"/>
                  <a:gd name="T46" fmla="*/ 18801039 w 17"/>
                  <a:gd name="T47" fmla="*/ 7852946 h 1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"/>
                  <a:gd name="T73" fmla="*/ 0 h 19"/>
                  <a:gd name="T74" fmla="*/ 17 w 17"/>
                  <a:gd name="T75" fmla="*/ 19 h 1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" h="19">
                    <a:moveTo>
                      <a:pt x="11" y="5"/>
                    </a:moveTo>
                    <a:lnTo>
                      <a:pt x="11" y="5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6" y="19"/>
                    </a:lnTo>
                    <a:lnTo>
                      <a:pt x="3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1" y="0"/>
                    </a:lnTo>
                    <a:lnTo>
                      <a:pt x="17" y="5"/>
                    </a:lnTo>
                    <a:lnTo>
                      <a:pt x="17" y="11"/>
                    </a:lnTo>
                    <a:lnTo>
                      <a:pt x="14" y="14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11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4" name="Freeform 918"/>
              <p:cNvSpPr>
                <a:spLocks noChangeAspect="1"/>
              </p:cNvSpPr>
              <p:nvPr>
                <p:custDataLst>
                  <p:tags r:id="rId252"/>
                </p:custDataLst>
              </p:nvPr>
            </p:nvSpPr>
            <p:spPr bwMode="gray">
              <a:xfrm>
                <a:off x="3128167" y="1686638"/>
                <a:ext cx="109330" cy="135599"/>
              </a:xfrm>
              <a:custGeom>
                <a:avLst/>
                <a:gdLst>
                  <a:gd name="T0" fmla="*/ 149975195 w 84"/>
                  <a:gd name="T1" fmla="*/ 87911713 h 105"/>
                  <a:gd name="T2" fmla="*/ 149975195 w 84"/>
                  <a:gd name="T3" fmla="*/ 98056168 h 105"/>
                  <a:gd name="T4" fmla="*/ 138866328 w 84"/>
                  <a:gd name="T5" fmla="*/ 116652168 h 105"/>
                  <a:gd name="T6" fmla="*/ 138866328 w 84"/>
                  <a:gd name="T7" fmla="*/ 126796622 h 105"/>
                  <a:gd name="T8" fmla="*/ 133310533 w 84"/>
                  <a:gd name="T9" fmla="*/ 126796622 h 105"/>
                  <a:gd name="T10" fmla="*/ 133310533 w 84"/>
                  <a:gd name="T11" fmla="*/ 135249468 h 105"/>
                  <a:gd name="T12" fmla="*/ 129608031 w 84"/>
                  <a:gd name="T13" fmla="*/ 145392622 h 105"/>
                  <a:gd name="T14" fmla="*/ 138866328 w 84"/>
                  <a:gd name="T15" fmla="*/ 163989922 h 105"/>
                  <a:gd name="T16" fmla="*/ 129608031 w 84"/>
                  <a:gd name="T17" fmla="*/ 158917695 h 105"/>
                  <a:gd name="T18" fmla="*/ 133310533 w 84"/>
                  <a:gd name="T19" fmla="*/ 174134418 h 105"/>
                  <a:gd name="T20" fmla="*/ 109240867 w 84"/>
                  <a:gd name="T21" fmla="*/ 177515036 h 105"/>
                  <a:gd name="T22" fmla="*/ 103686433 w 84"/>
                  <a:gd name="T23" fmla="*/ 177515036 h 105"/>
                  <a:gd name="T24" fmla="*/ 92577566 w 84"/>
                  <a:gd name="T25" fmla="*/ 177515036 h 105"/>
                  <a:gd name="T26" fmla="*/ 72210381 w 84"/>
                  <a:gd name="T27" fmla="*/ 177515036 h 105"/>
                  <a:gd name="T28" fmla="*/ 62952084 w 84"/>
                  <a:gd name="T29" fmla="*/ 153846768 h 105"/>
                  <a:gd name="T30" fmla="*/ 66655947 w 84"/>
                  <a:gd name="T31" fmla="*/ 150464850 h 105"/>
                  <a:gd name="T32" fmla="*/ 66655947 w 84"/>
                  <a:gd name="T33" fmla="*/ 135249468 h 105"/>
                  <a:gd name="T34" fmla="*/ 77764814 w 84"/>
                  <a:gd name="T35" fmla="*/ 130177240 h 105"/>
                  <a:gd name="T36" fmla="*/ 72210381 w 84"/>
                  <a:gd name="T37" fmla="*/ 126796622 h 105"/>
                  <a:gd name="T38" fmla="*/ 87023111 w 84"/>
                  <a:gd name="T39" fmla="*/ 111581241 h 105"/>
                  <a:gd name="T40" fmla="*/ 109240867 w 84"/>
                  <a:gd name="T41" fmla="*/ 103128395 h 105"/>
                  <a:gd name="T42" fmla="*/ 92577566 w 84"/>
                  <a:gd name="T43" fmla="*/ 103128395 h 105"/>
                  <a:gd name="T44" fmla="*/ 72210381 w 84"/>
                  <a:gd name="T45" fmla="*/ 108199322 h 105"/>
                  <a:gd name="T46" fmla="*/ 37030476 w 84"/>
                  <a:gd name="T47" fmla="*/ 116652168 h 105"/>
                  <a:gd name="T48" fmla="*/ 11108870 w 84"/>
                  <a:gd name="T49" fmla="*/ 126796622 h 105"/>
                  <a:gd name="T50" fmla="*/ 5554435 w 84"/>
                  <a:gd name="T51" fmla="*/ 108199322 h 105"/>
                  <a:gd name="T52" fmla="*/ 20367169 w 84"/>
                  <a:gd name="T53" fmla="*/ 103128395 h 105"/>
                  <a:gd name="T54" fmla="*/ 14812736 w 84"/>
                  <a:gd name="T55" fmla="*/ 87911713 h 105"/>
                  <a:gd name="T56" fmla="*/ 37030476 w 84"/>
                  <a:gd name="T57" fmla="*/ 98056168 h 105"/>
                  <a:gd name="T58" fmla="*/ 37030476 w 84"/>
                  <a:gd name="T59" fmla="*/ 79458847 h 105"/>
                  <a:gd name="T60" fmla="*/ 25921608 w 84"/>
                  <a:gd name="T61" fmla="*/ 69315693 h 105"/>
                  <a:gd name="T62" fmla="*/ 14812736 w 84"/>
                  <a:gd name="T63" fmla="*/ 50718393 h 105"/>
                  <a:gd name="T64" fmla="*/ 25921608 w 84"/>
                  <a:gd name="T65" fmla="*/ 21977928 h 105"/>
                  <a:gd name="T66" fmla="*/ 40734339 w 84"/>
                  <a:gd name="T67" fmla="*/ 27050156 h 105"/>
                  <a:gd name="T68" fmla="*/ 46288783 w 84"/>
                  <a:gd name="T69" fmla="*/ 42265537 h 105"/>
                  <a:gd name="T70" fmla="*/ 62952084 w 84"/>
                  <a:gd name="T71" fmla="*/ 60862848 h 105"/>
                  <a:gd name="T72" fmla="*/ 83319248 w 84"/>
                  <a:gd name="T73" fmla="*/ 79458847 h 105"/>
                  <a:gd name="T74" fmla="*/ 72210381 w 84"/>
                  <a:gd name="T75" fmla="*/ 55790620 h 105"/>
                  <a:gd name="T76" fmla="*/ 62952084 w 84"/>
                  <a:gd name="T77" fmla="*/ 45646166 h 105"/>
                  <a:gd name="T78" fmla="*/ 77764814 w 84"/>
                  <a:gd name="T79" fmla="*/ 37193310 h 105"/>
                  <a:gd name="T80" fmla="*/ 57397650 w 84"/>
                  <a:gd name="T81" fmla="*/ 27050156 h 105"/>
                  <a:gd name="T82" fmla="*/ 57397650 w 84"/>
                  <a:gd name="T83" fmla="*/ 8452848 h 105"/>
                  <a:gd name="T84" fmla="*/ 92577566 w 84"/>
                  <a:gd name="T85" fmla="*/ 8452848 h 105"/>
                  <a:gd name="T86" fmla="*/ 109240867 w 84"/>
                  <a:gd name="T87" fmla="*/ 18597305 h 105"/>
                  <a:gd name="T88" fmla="*/ 112944730 w 84"/>
                  <a:gd name="T89" fmla="*/ 3380619 h 105"/>
                  <a:gd name="T90" fmla="*/ 124053597 w 84"/>
                  <a:gd name="T91" fmla="*/ 0 h 105"/>
                  <a:gd name="T92" fmla="*/ 129608031 w 84"/>
                  <a:gd name="T93" fmla="*/ 8452848 h 105"/>
                  <a:gd name="T94" fmla="*/ 149975195 w 84"/>
                  <a:gd name="T95" fmla="*/ 50718393 h 1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4"/>
                  <a:gd name="T145" fmla="*/ 0 h 105"/>
                  <a:gd name="T146" fmla="*/ 84 w 84"/>
                  <a:gd name="T147" fmla="*/ 105 h 1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4" h="105">
                    <a:moveTo>
                      <a:pt x="81" y="44"/>
                    </a:moveTo>
                    <a:lnTo>
                      <a:pt x="81" y="44"/>
                    </a:lnTo>
                    <a:lnTo>
                      <a:pt x="81" y="52"/>
                    </a:lnTo>
                    <a:lnTo>
                      <a:pt x="75" y="55"/>
                    </a:lnTo>
                    <a:lnTo>
                      <a:pt x="75" y="58"/>
                    </a:lnTo>
                    <a:lnTo>
                      <a:pt x="81" y="58"/>
                    </a:lnTo>
                    <a:lnTo>
                      <a:pt x="84" y="80"/>
                    </a:lnTo>
                    <a:lnTo>
                      <a:pt x="78" y="69"/>
                    </a:lnTo>
                    <a:lnTo>
                      <a:pt x="78" y="66"/>
                    </a:lnTo>
                    <a:lnTo>
                      <a:pt x="75" y="69"/>
                    </a:lnTo>
                    <a:lnTo>
                      <a:pt x="75" y="66"/>
                    </a:lnTo>
                    <a:lnTo>
                      <a:pt x="72" y="69"/>
                    </a:lnTo>
                    <a:lnTo>
                      <a:pt x="75" y="72"/>
                    </a:lnTo>
                    <a:lnTo>
                      <a:pt x="75" y="75"/>
                    </a:lnTo>
                    <a:lnTo>
                      <a:pt x="75" y="72"/>
                    </a:lnTo>
                    <a:lnTo>
                      <a:pt x="72" y="75"/>
                    </a:lnTo>
                    <a:lnTo>
                      <a:pt x="75" y="77"/>
                    </a:lnTo>
                    <a:lnTo>
                      <a:pt x="72" y="77"/>
                    </a:lnTo>
                    <a:lnTo>
                      <a:pt x="72" y="80"/>
                    </a:lnTo>
                    <a:lnTo>
                      <a:pt x="72" y="83"/>
                    </a:lnTo>
                    <a:lnTo>
                      <a:pt x="72" y="80"/>
                    </a:lnTo>
                    <a:lnTo>
                      <a:pt x="70" y="83"/>
                    </a:lnTo>
                    <a:lnTo>
                      <a:pt x="70" y="86"/>
                    </a:lnTo>
                    <a:lnTo>
                      <a:pt x="72" y="86"/>
                    </a:lnTo>
                    <a:lnTo>
                      <a:pt x="78" y="97"/>
                    </a:lnTo>
                    <a:lnTo>
                      <a:pt x="75" y="97"/>
                    </a:lnTo>
                    <a:lnTo>
                      <a:pt x="72" y="94"/>
                    </a:lnTo>
                    <a:lnTo>
                      <a:pt x="72" y="91"/>
                    </a:lnTo>
                    <a:lnTo>
                      <a:pt x="70" y="94"/>
                    </a:lnTo>
                    <a:lnTo>
                      <a:pt x="70" y="97"/>
                    </a:lnTo>
                    <a:lnTo>
                      <a:pt x="72" y="100"/>
                    </a:lnTo>
                    <a:lnTo>
                      <a:pt x="72" y="103"/>
                    </a:lnTo>
                    <a:lnTo>
                      <a:pt x="64" y="105"/>
                    </a:lnTo>
                    <a:lnTo>
                      <a:pt x="64" y="103"/>
                    </a:lnTo>
                    <a:lnTo>
                      <a:pt x="61" y="105"/>
                    </a:lnTo>
                    <a:lnTo>
                      <a:pt x="59" y="105"/>
                    </a:lnTo>
                    <a:lnTo>
                      <a:pt x="59" y="103"/>
                    </a:lnTo>
                    <a:lnTo>
                      <a:pt x="59" y="100"/>
                    </a:lnTo>
                    <a:lnTo>
                      <a:pt x="59" y="103"/>
                    </a:lnTo>
                    <a:lnTo>
                      <a:pt x="56" y="105"/>
                    </a:lnTo>
                    <a:lnTo>
                      <a:pt x="53" y="105"/>
                    </a:lnTo>
                    <a:lnTo>
                      <a:pt x="53" y="100"/>
                    </a:lnTo>
                    <a:lnTo>
                      <a:pt x="53" y="103"/>
                    </a:lnTo>
                    <a:lnTo>
                      <a:pt x="50" y="105"/>
                    </a:lnTo>
                    <a:lnTo>
                      <a:pt x="50" y="103"/>
                    </a:lnTo>
                    <a:lnTo>
                      <a:pt x="50" y="100"/>
                    </a:lnTo>
                    <a:lnTo>
                      <a:pt x="47" y="105"/>
                    </a:lnTo>
                    <a:lnTo>
                      <a:pt x="39" y="105"/>
                    </a:lnTo>
                    <a:lnTo>
                      <a:pt x="36" y="105"/>
                    </a:lnTo>
                    <a:lnTo>
                      <a:pt x="34" y="103"/>
                    </a:lnTo>
                    <a:lnTo>
                      <a:pt x="34" y="94"/>
                    </a:lnTo>
                    <a:lnTo>
                      <a:pt x="34" y="91"/>
                    </a:lnTo>
                    <a:lnTo>
                      <a:pt x="39" y="91"/>
                    </a:lnTo>
                    <a:lnTo>
                      <a:pt x="42" y="91"/>
                    </a:lnTo>
                    <a:lnTo>
                      <a:pt x="36" y="89"/>
                    </a:lnTo>
                    <a:lnTo>
                      <a:pt x="39" y="86"/>
                    </a:lnTo>
                    <a:lnTo>
                      <a:pt x="34" y="86"/>
                    </a:lnTo>
                    <a:lnTo>
                      <a:pt x="34" y="83"/>
                    </a:lnTo>
                    <a:lnTo>
                      <a:pt x="36" y="80"/>
                    </a:lnTo>
                    <a:lnTo>
                      <a:pt x="31" y="77"/>
                    </a:lnTo>
                    <a:lnTo>
                      <a:pt x="36" y="77"/>
                    </a:lnTo>
                    <a:lnTo>
                      <a:pt x="39" y="77"/>
                    </a:lnTo>
                    <a:lnTo>
                      <a:pt x="42" y="77"/>
                    </a:lnTo>
                    <a:lnTo>
                      <a:pt x="39" y="75"/>
                    </a:lnTo>
                    <a:lnTo>
                      <a:pt x="45" y="75"/>
                    </a:lnTo>
                    <a:lnTo>
                      <a:pt x="45" y="72"/>
                    </a:lnTo>
                    <a:lnTo>
                      <a:pt x="39" y="75"/>
                    </a:lnTo>
                    <a:lnTo>
                      <a:pt x="45" y="72"/>
                    </a:lnTo>
                    <a:lnTo>
                      <a:pt x="42" y="69"/>
                    </a:lnTo>
                    <a:lnTo>
                      <a:pt x="45" y="69"/>
                    </a:lnTo>
                    <a:lnTo>
                      <a:pt x="47" y="66"/>
                    </a:lnTo>
                    <a:lnTo>
                      <a:pt x="45" y="64"/>
                    </a:lnTo>
                    <a:lnTo>
                      <a:pt x="47" y="64"/>
                    </a:lnTo>
                    <a:lnTo>
                      <a:pt x="59" y="61"/>
                    </a:lnTo>
                    <a:lnTo>
                      <a:pt x="59" y="58"/>
                    </a:lnTo>
                    <a:lnTo>
                      <a:pt x="50" y="61"/>
                    </a:lnTo>
                    <a:lnTo>
                      <a:pt x="47" y="58"/>
                    </a:lnTo>
                    <a:lnTo>
                      <a:pt x="45" y="61"/>
                    </a:lnTo>
                    <a:lnTo>
                      <a:pt x="42" y="61"/>
                    </a:lnTo>
                    <a:lnTo>
                      <a:pt x="39" y="64"/>
                    </a:lnTo>
                    <a:lnTo>
                      <a:pt x="36" y="64"/>
                    </a:lnTo>
                    <a:lnTo>
                      <a:pt x="25" y="66"/>
                    </a:lnTo>
                    <a:lnTo>
                      <a:pt x="20" y="66"/>
                    </a:lnTo>
                    <a:lnTo>
                      <a:pt x="20" y="69"/>
                    </a:lnTo>
                    <a:lnTo>
                      <a:pt x="17" y="66"/>
                    </a:lnTo>
                    <a:lnTo>
                      <a:pt x="14" y="69"/>
                    </a:lnTo>
                    <a:lnTo>
                      <a:pt x="6" y="72"/>
                    </a:lnTo>
                    <a:lnTo>
                      <a:pt x="6" y="75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3" y="66"/>
                    </a:lnTo>
                    <a:lnTo>
                      <a:pt x="3" y="64"/>
                    </a:lnTo>
                    <a:lnTo>
                      <a:pt x="3" y="61"/>
                    </a:lnTo>
                    <a:lnTo>
                      <a:pt x="6" y="61"/>
                    </a:lnTo>
                    <a:lnTo>
                      <a:pt x="11" y="64"/>
                    </a:lnTo>
                    <a:lnTo>
                      <a:pt x="11" y="61"/>
                    </a:lnTo>
                    <a:lnTo>
                      <a:pt x="8" y="61"/>
                    </a:lnTo>
                    <a:lnTo>
                      <a:pt x="8" y="58"/>
                    </a:lnTo>
                    <a:lnTo>
                      <a:pt x="8" y="52"/>
                    </a:lnTo>
                    <a:lnTo>
                      <a:pt x="11" y="50"/>
                    </a:lnTo>
                    <a:lnTo>
                      <a:pt x="14" y="50"/>
                    </a:lnTo>
                    <a:lnTo>
                      <a:pt x="20" y="55"/>
                    </a:lnTo>
                    <a:lnTo>
                      <a:pt x="20" y="58"/>
                    </a:lnTo>
                    <a:lnTo>
                      <a:pt x="22" y="58"/>
                    </a:lnTo>
                    <a:lnTo>
                      <a:pt x="22" y="52"/>
                    </a:lnTo>
                    <a:lnTo>
                      <a:pt x="17" y="50"/>
                    </a:lnTo>
                    <a:lnTo>
                      <a:pt x="20" y="47"/>
                    </a:lnTo>
                    <a:lnTo>
                      <a:pt x="22" y="44"/>
                    </a:lnTo>
                    <a:lnTo>
                      <a:pt x="22" y="41"/>
                    </a:lnTo>
                    <a:lnTo>
                      <a:pt x="14" y="44"/>
                    </a:lnTo>
                    <a:lnTo>
                      <a:pt x="14" y="41"/>
                    </a:lnTo>
                    <a:lnTo>
                      <a:pt x="11" y="39"/>
                    </a:lnTo>
                    <a:lnTo>
                      <a:pt x="11" y="33"/>
                    </a:lnTo>
                    <a:lnTo>
                      <a:pt x="14" y="30"/>
                    </a:lnTo>
                    <a:lnTo>
                      <a:pt x="8" y="30"/>
                    </a:lnTo>
                    <a:lnTo>
                      <a:pt x="8" y="22"/>
                    </a:lnTo>
                    <a:lnTo>
                      <a:pt x="11" y="16"/>
                    </a:lnTo>
                    <a:lnTo>
                      <a:pt x="14" y="13"/>
                    </a:lnTo>
                    <a:lnTo>
                      <a:pt x="20" y="16"/>
                    </a:lnTo>
                    <a:lnTo>
                      <a:pt x="22" y="13"/>
                    </a:lnTo>
                    <a:lnTo>
                      <a:pt x="22" y="16"/>
                    </a:lnTo>
                    <a:lnTo>
                      <a:pt x="22" y="19"/>
                    </a:lnTo>
                    <a:lnTo>
                      <a:pt x="28" y="22"/>
                    </a:lnTo>
                    <a:lnTo>
                      <a:pt x="25" y="25"/>
                    </a:lnTo>
                    <a:lnTo>
                      <a:pt x="31" y="33"/>
                    </a:lnTo>
                    <a:lnTo>
                      <a:pt x="31" y="36"/>
                    </a:lnTo>
                    <a:lnTo>
                      <a:pt x="34" y="36"/>
                    </a:lnTo>
                    <a:lnTo>
                      <a:pt x="36" y="36"/>
                    </a:lnTo>
                    <a:lnTo>
                      <a:pt x="34" y="39"/>
                    </a:lnTo>
                    <a:lnTo>
                      <a:pt x="42" y="44"/>
                    </a:lnTo>
                    <a:lnTo>
                      <a:pt x="45" y="47"/>
                    </a:lnTo>
                    <a:lnTo>
                      <a:pt x="47" y="44"/>
                    </a:lnTo>
                    <a:lnTo>
                      <a:pt x="45" y="44"/>
                    </a:lnTo>
                    <a:lnTo>
                      <a:pt x="39" y="33"/>
                    </a:lnTo>
                    <a:lnTo>
                      <a:pt x="45" y="30"/>
                    </a:lnTo>
                    <a:lnTo>
                      <a:pt x="42" y="27"/>
                    </a:lnTo>
                    <a:lnTo>
                      <a:pt x="36" y="30"/>
                    </a:lnTo>
                    <a:lnTo>
                      <a:pt x="34" y="27"/>
                    </a:lnTo>
                    <a:lnTo>
                      <a:pt x="36" y="25"/>
                    </a:lnTo>
                    <a:lnTo>
                      <a:pt x="39" y="25"/>
                    </a:lnTo>
                    <a:lnTo>
                      <a:pt x="39" y="22"/>
                    </a:lnTo>
                    <a:lnTo>
                      <a:pt x="42" y="22"/>
                    </a:lnTo>
                    <a:lnTo>
                      <a:pt x="39" y="22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1" y="16"/>
                    </a:lnTo>
                    <a:lnTo>
                      <a:pt x="28" y="11"/>
                    </a:lnTo>
                    <a:lnTo>
                      <a:pt x="31" y="8"/>
                    </a:lnTo>
                    <a:lnTo>
                      <a:pt x="31" y="5"/>
                    </a:lnTo>
                    <a:lnTo>
                      <a:pt x="36" y="0"/>
                    </a:lnTo>
                    <a:lnTo>
                      <a:pt x="42" y="2"/>
                    </a:lnTo>
                    <a:lnTo>
                      <a:pt x="47" y="0"/>
                    </a:lnTo>
                    <a:lnTo>
                      <a:pt x="50" y="5"/>
                    </a:lnTo>
                    <a:lnTo>
                      <a:pt x="59" y="8"/>
                    </a:lnTo>
                    <a:lnTo>
                      <a:pt x="56" y="11"/>
                    </a:lnTo>
                    <a:lnTo>
                      <a:pt x="59" y="13"/>
                    </a:lnTo>
                    <a:lnTo>
                      <a:pt x="59" y="11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59" y="5"/>
                    </a:lnTo>
                    <a:lnTo>
                      <a:pt x="61" y="2"/>
                    </a:lnTo>
                    <a:lnTo>
                      <a:pt x="64" y="2"/>
                    </a:lnTo>
                    <a:lnTo>
                      <a:pt x="67" y="0"/>
                    </a:lnTo>
                    <a:lnTo>
                      <a:pt x="61" y="0"/>
                    </a:lnTo>
                    <a:lnTo>
                      <a:pt x="67" y="0"/>
                    </a:lnTo>
                    <a:lnTo>
                      <a:pt x="70" y="2"/>
                    </a:lnTo>
                    <a:lnTo>
                      <a:pt x="72" y="5"/>
                    </a:lnTo>
                    <a:lnTo>
                      <a:pt x="70" y="5"/>
                    </a:lnTo>
                    <a:lnTo>
                      <a:pt x="75" y="8"/>
                    </a:lnTo>
                    <a:lnTo>
                      <a:pt x="78" y="13"/>
                    </a:lnTo>
                    <a:lnTo>
                      <a:pt x="78" y="25"/>
                    </a:lnTo>
                    <a:lnTo>
                      <a:pt x="81" y="30"/>
                    </a:lnTo>
                    <a:lnTo>
                      <a:pt x="81" y="33"/>
                    </a:lnTo>
                    <a:lnTo>
                      <a:pt x="78" y="41"/>
                    </a:lnTo>
                    <a:lnTo>
                      <a:pt x="81" y="4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5" name="Freeform 926"/>
              <p:cNvSpPr>
                <a:spLocks noChangeAspect="1"/>
              </p:cNvSpPr>
              <p:nvPr>
                <p:custDataLst>
                  <p:tags r:id="rId253"/>
                </p:custDataLst>
              </p:nvPr>
            </p:nvSpPr>
            <p:spPr bwMode="gray">
              <a:xfrm>
                <a:off x="3085650" y="1789128"/>
                <a:ext cx="24295" cy="29959"/>
              </a:xfrm>
              <a:custGeom>
                <a:avLst/>
                <a:gdLst>
                  <a:gd name="T0" fmla="*/ 25020337 w 19"/>
                  <a:gd name="T1" fmla="*/ 0 h 23"/>
                  <a:gd name="T2" fmla="*/ 25020337 w 19"/>
                  <a:gd name="T3" fmla="*/ 0 h 23"/>
                  <a:gd name="T4" fmla="*/ 28593715 w 19"/>
                  <a:gd name="T5" fmla="*/ 5159184 h 23"/>
                  <a:gd name="T6" fmla="*/ 28593715 w 19"/>
                  <a:gd name="T7" fmla="*/ 10319679 h 23"/>
                  <a:gd name="T8" fmla="*/ 33955786 w 19"/>
                  <a:gd name="T9" fmla="*/ 29237128 h 23"/>
                  <a:gd name="T10" fmla="*/ 28593715 w 19"/>
                  <a:gd name="T11" fmla="*/ 34397622 h 23"/>
                  <a:gd name="T12" fmla="*/ 19658260 w 19"/>
                  <a:gd name="T13" fmla="*/ 39556804 h 23"/>
                  <a:gd name="T14" fmla="*/ 3574716 w 19"/>
                  <a:gd name="T15" fmla="*/ 39556804 h 23"/>
                  <a:gd name="T16" fmla="*/ 0 w 19"/>
                  <a:gd name="T17" fmla="*/ 34397622 h 23"/>
                  <a:gd name="T18" fmla="*/ 0 w 19"/>
                  <a:gd name="T19" fmla="*/ 24077945 h 23"/>
                  <a:gd name="T20" fmla="*/ 8935452 w 19"/>
                  <a:gd name="T21" fmla="*/ 0 h 23"/>
                  <a:gd name="T22" fmla="*/ 25020337 w 19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9"/>
                  <a:gd name="T37" fmla="*/ 0 h 23"/>
                  <a:gd name="T38" fmla="*/ 19 w 19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9" h="23">
                    <a:moveTo>
                      <a:pt x="14" y="0"/>
                    </a:moveTo>
                    <a:lnTo>
                      <a:pt x="14" y="0"/>
                    </a:lnTo>
                    <a:lnTo>
                      <a:pt x="16" y="3"/>
                    </a:lnTo>
                    <a:lnTo>
                      <a:pt x="16" y="6"/>
                    </a:lnTo>
                    <a:lnTo>
                      <a:pt x="19" y="17"/>
                    </a:lnTo>
                    <a:lnTo>
                      <a:pt x="16" y="20"/>
                    </a:lnTo>
                    <a:lnTo>
                      <a:pt x="11" y="23"/>
                    </a:lnTo>
                    <a:lnTo>
                      <a:pt x="2" y="23"/>
                    </a:lnTo>
                    <a:lnTo>
                      <a:pt x="0" y="20"/>
                    </a:lnTo>
                    <a:lnTo>
                      <a:pt x="0" y="14"/>
                    </a:lnTo>
                    <a:lnTo>
                      <a:pt x="5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6" name="Freeform 927"/>
              <p:cNvSpPr>
                <a:spLocks noChangeAspect="1"/>
              </p:cNvSpPr>
              <p:nvPr>
                <p:custDataLst>
                  <p:tags r:id="rId254"/>
                </p:custDataLst>
              </p:nvPr>
            </p:nvSpPr>
            <p:spPr bwMode="gray">
              <a:xfrm>
                <a:off x="2824476" y="1670871"/>
                <a:ext cx="249026" cy="193939"/>
              </a:xfrm>
              <a:custGeom>
                <a:avLst/>
                <a:gdLst>
                  <a:gd name="T0" fmla="*/ 231677611 w 192"/>
                  <a:gd name="T1" fmla="*/ 38460143 h 151"/>
                  <a:gd name="T2" fmla="*/ 246387382 w 192"/>
                  <a:gd name="T3" fmla="*/ 0 h 151"/>
                  <a:gd name="T4" fmla="*/ 266613316 w 192"/>
                  <a:gd name="T5" fmla="*/ 15049397 h 151"/>
                  <a:gd name="T6" fmla="*/ 261097152 w 192"/>
                  <a:gd name="T7" fmla="*/ 33444110 h 151"/>
                  <a:gd name="T8" fmla="*/ 277644288 w 192"/>
                  <a:gd name="T9" fmla="*/ 56853567 h 151"/>
                  <a:gd name="T10" fmla="*/ 272128124 w 192"/>
                  <a:gd name="T11" fmla="*/ 70230949 h 151"/>
                  <a:gd name="T12" fmla="*/ 281321730 w 192"/>
                  <a:gd name="T13" fmla="*/ 85280361 h 151"/>
                  <a:gd name="T14" fmla="*/ 281321730 w 192"/>
                  <a:gd name="T15" fmla="*/ 112035124 h 151"/>
                  <a:gd name="T16" fmla="*/ 307063828 w 192"/>
                  <a:gd name="T17" fmla="*/ 103675069 h 151"/>
                  <a:gd name="T18" fmla="*/ 318096156 w 192"/>
                  <a:gd name="T19" fmla="*/ 112035124 h 151"/>
                  <a:gd name="T20" fmla="*/ 349354418 w 192"/>
                  <a:gd name="T21" fmla="*/ 103675069 h 151"/>
                  <a:gd name="T22" fmla="*/ 353031861 w 192"/>
                  <a:gd name="T23" fmla="*/ 140463190 h 151"/>
                  <a:gd name="T24" fmla="*/ 323612320 w 192"/>
                  <a:gd name="T25" fmla="*/ 195644767 h 151"/>
                  <a:gd name="T26" fmla="*/ 286837894 w 192"/>
                  <a:gd name="T27" fmla="*/ 192299452 h 151"/>
                  <a:gd name="T28" fmla="*/ 261097152 w 192"/>
                  <a:gd name="T29" fmla="*/ 200660800 h 151"/>
                  <a:gd name="T30" fmla="*/ 255580988 w 192"/>
                  <a:gd name="T31" fmla="*/ 187283419 h 151"/>
                  <a:gd name="T32" fmla="*/ 235355054 w 192"/>
                  <a:gd name="T33" fmla="*/ 205676833 h 151"/>
                  <a:gd name="T34" fmla="*/ 205935513 w 192"/>
                  <a:gd name="T35" fmla="*/ 219054214 h 151"/>
                  <a:gd name="T36" fmla="*/ 189387022 w 192"/>
                  <a:gd name="T37" fmla="*/ 234104900 h 151"/>
                  <a:gd name="T38" fmla="*/ 174677209 w 192"/>
                  <a:gd name="T39" fmla="*/ 242464955 h 151"/>
                  <a:gd name="T40" fmla="*/ 91934751 w 192"/>
                  <a:gd name="T41" fmla="*/ 229087574 h 151"/>
                  <a:gd name="T42" fmla="*/ 108483243 w 192"/>
                  <a:gd name="T43" fmla="*/ 214038181 h 151"/>
                  <a:gd name="T44" fmla="*/ 123193013 w 192"/>
                  <a:gd name="T45" fmla="*/ 210694159 h 151"/>
                  <a:gd name="T46" fmla="*/ 169161045 w 192"/>
                  <a:gd name="T47" fmla="*/ 192299452 h 151"/>
                  <a:gd name="T48" fmla="*/ 183870858 w 192"/>
                  <a:gd name="T49" fmla="*/ 187283419 h 151"/>
                  <a:gd name="T50" fmla="*/ 194903186 w 192"/>
                  <a:gd name="T51" fmla="*/ 168889964 h 151"/>
                  <a:gd name="T52" fmla="*/ 154451275 w 192"/>
                  <a:gd name="T53" fmla="*/ 182267386 h 151"/>
                  <a:gd name="T54" fmla="*/ 148935111 w 192"/>
                  <a:gd name="T55" fmla="*/ 168889964 h 151"/>
                  <a:gd name="T56" fmla="*/ 134225341 w 192"/>
                  <a:gd name="T57" fmla="*/ 187283419 h 151"/>
                  <a:gd name="T58" fmla="*/ 112160685 w 192"/>
                  <a:gd name="T59" fmla="*/ 192299452 h 151"/>
                  <a:gd name="T60" fmla="*/ 112160685 w 192"/>
                  <a:gd name="T61" fmla="*/ 177250060 h 151"/>
                  <a:gd name="T62" fmla="*/ 123193013 w 192"/>
                  <a:gd name="T63" fmla="*/ 148823246 h 151"/>
                  <a:gd name="T64" fmla="*/ 97450915 w 192"/>
                  <a:gd name="T65" fmla="*/ 172234026 h 151"/>
                  <a:gd name="T66" fmla="*/ 97450915 w 192"/>
                  <a:gd name="T67" fmla="*/ 177250060 h 151"/>
                  <a:gd name="T68" fmla="*/ 77226315 w 192"/>
                  <a:gd name="T69" fmla="*/ 195644767 h 151"/>
                  <a:gd name="T70" fmla="*/ 62516545 w 192"/>
                  <a:gd name="T71" fmla="*/ 182267386 h 151"/>
                  <a:gd name="T72" fmla="*/ 45968053 w 192"/>
                  <a:gd name="T73" fmla="*/ 182267386 h 151"/>
                  <a:gd name="T74" fmla="*/ 31258273 w 192"/>
                  <a:gd name="T75" fmla="*/ 182267386 h 151"/>
                  <a:gd name="T76" fmla="*/ 11032330 w 192"/>
                  <a:gd name="T77" fmla="*/ 153840572 h 151"/>
                  <a:gd name="T78" fmla="*/ 57000381 w 192"/>
                  <a:gd name="T79" fmla="*/ 135445864 h 151"/>
                  <a:gd name="T80" fmla="*/ 57000381 w 192"/>
                  <a:gd name="T81" fmla="*/ 130429831 h 151"/>
                  <a:gd name="T82" fmla="*/ 16548497 w 192"/>
                  <a:gd name="T83" fmla="*/ 127085809 h 151"/>
                  <a:gd name="T84" fmla="*/ 77226315 w 192"/>
                  <a:gd name="T85" fmla="*/ 107019091 h 151"/>
                  <a:gd name="T86" fmla="*/ 25742109 w 192"/>
                  <a:gd name="T87" fmla="*/ 98657742 h 151"/>
                  <a:gd name="T88" fmla="*/ 31258273 w 192"/>
                  <a:gd name="T89" fmla="*/ 85280361 h 151"/>
                  <a:gd name="T90" fmla="*/ 66193988 w 192"/>
                  <a:gd name="T91" fmla="*/ 70230949 h 151"/>
                  <a:gd name="T92" fmla="*/ 77226315 w 192"/>
                  <a:gd name="T93" fmla="*/ 65214916 h 151"/>
                  <a:gd name="T94" fmla="*/ 62516545 w 192"/>
                  <a:gd name="T95" fmla="*/ 41804165 h 151"/>
                  <a:gd name="T96" fmla="*/ 97450915 w 192"/>
                  <a:gd name="T97" fmla="*/ 38460143 h 151"/>
                  <a:gd name="T98" fmla="*/ 102967079 w 192"/>
                  <a:gd name="T99" fmla="*/ 70230949 h 151"/>
                  <a:gd name="T100" fmla="*/ 137902783 w 192"/>
                  <a:gd name="T101" fmla="*/ 70230949 h 151"/>
                  <a:gd name="T102" fmla="*/ 163644881 w 192"/>
                  <a:gd name="T103" fmla="*/ 93641709 h 151"/>
                  <a:gd name="T104" fmla="*/ 163644881 w 192"/>
                  <a:gd name="T105" fmla="*/ 112035124 h 151"/>
                  <a:gd name="T106" fmla="*/ 180193415 w 192"/>
                  <a:gd name="T107" fmla="*/ 117052450 h 151"/>
                  <a:gd name="T108" fmla="*/ 180193415 w 192"/>
                  <a:gd name="T109" fmla="*/ 135445864 h 151"/>
                  <a:gd name="T110" fmla="*/ 194903186 w 192"/>
                  <a:gd name="T111" fmla="*/ 135445864 h 151"/>
                  <a:gd name="T112" fmla="*/ 220645284 w 192"/>
                  <a:gd name="T113" fmla="*/ 140463190 h 151"/>
                  <a:gd name="T114" fmla="*/ 246387382 w 192"/>
                  <a:gd name="T115" fmla="*/ 107019091 h 151"/>
                  <a:gd name="T116" fmla="*/ 226161447 w 192"/>
                  <a:gd name="T117" fmla="*/ 107019091 h 151"/>
                  <a:gd name="T118" fmla="*/ 246387382 w 192"/>
                  <a:gd name="T119" fmla="*/ 88625676 h 151"/>
                  <a:gd name="T120" fmla="*/ 231677611 w 192"/>
                  <a:gd name="T121" fmla="*/ 65214916 h 151"/>
                  <a:gd name="T122" fmla="*/ 209612956 w 192"/>
                  <a:gd name="T123" fmla="*/ 41804165 h 15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92"/>
                  <a:gd name="T187" fmla="*/ 0 h 151"/>
                  <a:gd name="T188" fmla="*/ 192 w 192"/>
                  <a:gd name="T189" fmla="*/ 151 h 15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92" h="151">
                    <a:moveTo>
                      <a:pt x="120" y="23"/>
                    </a:moveTo>
                    <a:lnTo>
                      <a:pt x="120" y="23"/>
                    </a:lnTo>
                    <a:lnTo>
                      <a:pt x="126" y="23"/>
                    </a:lnTo>
                    <a:lnTo>
                      <a:pt x="126" y="20"/>
                    </a:lnTo>
                    <a:lnTo>
                      <a:pt x="126" y="17"/>
                    </a:lnTo>
                    <a:lnTo>
                      <a:pt x="131" y="3"/>
                    </a:lnTo>
                    <a:lnTo>
                      <a:pt x="134" y="0"/>
                    </a:lnTo>
                    <a:lnTo>
                      <a:pt x="137" y="0"/>
                    </a:lnTo>
                    <a:lnTo>
                      <a:pt x="139" y="0"/>
                    </a:lnTo>
                    <a:lnTo>
                      <a:pt x="145" y="6"/>
                    </a:lnTo>
                    <a:lnTo>
                      <a:pt x="145" y="9"/>
                    </a:lnTo>
                    <a:lnTo>
                      <a:pt x="142" y="14"/>
                    </a:lnTo>
                    <a:lnTo>
                      <a:pt x="142" y="17"/>
                    </a:lnTo>
                    <a:lnTo>
                      <a:pt x="145" y="20"/>
                    </a:lnTo>
                    <a:lnTo>
                      <a:pt x="142" y="20"/>
                    </a:lnTo>
                    <a:lnTo>
                      <a:pt x="145" y="25"/>
                    </a:lnTo>
                    <a:lnTo>
                      <a:pt x="145" y="28"/>
                    </a:lnTo>
                    <a:lnTo>
                      <a:pt x="148" y="28"/>
                    </a:lnTo>
                    <a:lnTo>
                      <a:pt x="151" y="34"/>
                    </a:lnTo>
                    <a:lnTo>
                      <a:pt x="151" y="37"/>
                    </a:lnTo>
                    <a:lnTo>
                      <a:pt x="151" y="39"/>
                    </a:lnTo>
                    <a:lnTo>
                      <a:pt x="148" y="42"/>
                    </a:lnTo>
                    <a:lnTo>
                      <a:pt x="148" y="48"/>
                    </a:lnTo>
                    <a:lnTo>
                      <a:pt x="145" y="51"/>
                    </a:lnTo>
                    <a:lnTo>
                      <a:pt x="148" y="51"/>
                    </a:lnTo>
                    <a:lnTo>
                      <a:pt x="153" y="51"/>
                    </a:lnTo>
                    <a:lnTo>
                      <a:pt x="159" y="56"/>
                    </a:lnTo>
                    <a:lnTo>
                      <a:pt x="156" y="62"/>
                    </a:lnTo>
                    <a:lnTo>
                      <a:pt x="153" y="67"/>
                    </a:lnTo>
                    <a:lnTo>
                      <a:pt x="156" y="62"/>
                    </a:lnTo>
                    <a:lnTo>
                      <a:pt x="162" y="62"/>
                    </a:lnTo>
                    <a:lnTo>
                      <a:pt x="167" y="62"/>
                    </a:lnTo>
                    <a:lnTo>
                      <a:pt x="170" y="76"/>
                    </a:lnTo>
                    <a:lnTo>
                      <a:pt x="173" y="67"/>
                    </a:lnTo>
                    <a:lnTo>
                      <a:pt x="170" y="59"/>
                    </a:lnTo>
                    <a:lnTo>
                      <a:pt x="173" y="53"/>
                    </a:lnTo>
                    <a:lnTo>
                      <a:pt x="181" y="53"/>
                    </a:lnTo>
                    <a:lnTo>
                      <a:pt x="190" y="62"/>
                    </a:lnTo>
                    <a:lnTo>
                      <a:pt x="192" y="70"/>
                    </a:lnTo>
                    <a:lnTo>
                      <a:pt x="192" y="73"/>
                    </a:lnTo>
                    <a:lnTo>
                      <a:pt x="192" y="76"/>
                    </a:lnTo>
                    <a:lnTo>
                      <a:pt x="192" y="84"/>
                    </a:lnTo>
                    <a:lnTo>
                      <a:pt x="190" y="87"/>
                    </a:lnTo>
                    <a:lnTo>
                      <a:pt x="181" y="115"/>
                    </a:lnTo>
                    <a:lnTo>
                      <a:pt x="178" y="115"/>
                    </a:lnTo>
                    <a:lnTo>
                      <a:pt x="176" y="117"/>
                    </a:lnTo>
                    <a:lnTo>
                      <a:pt x="173" y="120"/>
                    </a:lnTo>
                    <a:lnTo>
                      <a:pt x="165" y="123"/>
                    </a:lnTo>
                    <a:lnTo>
                      <a:pt x="162" y="120"/>
                    </a:lnTo>
                    <a:lnTo>
                      <a:pt x="156" y="115"/>
                    </a:lnTo>
                    <a:lnTo>
                      <a:pt x="156" y="112"/>
                    </a:lnTo>
                    <a:lnTo>
                      <a:pt x="151" y="120"/>
                    </a:lnTo>
                    <a:lnTo>
                      <a:pt x="145" y="120"/>
                    </a:lnTo>
                    <a:lnTo>
                      <a:pt x="142" y="120"/>
                    </a:lnTo>
                    <a:lnTo>
                      <a:pt x="145" y="117"/>
                    </a:lnTo>
                    <a:lnTo>
                      <a:pt x="142" y="112"/>
                    </a:lnTo>
                    <a:lnTo>
                      <a:pt x="142" y="109"/>
                    </a:lnTo>
                    <a:lnTo>
                      <a:pt x="139" y="112"/>
                    </a:lnTo>
                    <a:lnTo>
                      <a:pt x="139" y="115"/>
                    </a:lnTo>
                    <a:lnTo>
                      <a:pt x="137" y="117"/>
                    </a:lnTo>
                    <a:lnTo>
                      <a:pt x="131" y="120"/>
                    </a:lnTo>
                    <a:lnTo>
                      <a:pt x="128" y="123"/>
                    </a:lnTo>
                    <a:lnTo>
                      <a:pt x="123" y="126"/>
                    </a:lnTo>
                    <a:lnTo>
                      <a:pt x="120" y="126"/>
                    </a:lnTo>
                    <a:lnTo>
                      <a:pt x="112" y="128"/>
                    </a:lnTo>
                    <a:lnTo>
                      <a:pt x="112" y="131"/>
                    </a:lnTo>
                    <a:lnTo>
                      <a:pt x="112" y="134"/>
                    </a:lnTo>
                    <a:lnTo>
                      <a:pt x="109" y="137"/>
                    </a:lnTo>
                    <a:lnTo>
                      <a:pt x="103" y="140"/>
                    </a:lnTo>
                    <a:lnTo>
                      <a:pt x="100" y="140"/>
                    </a:lnTo>
                    <a:lnTo>
                      <a:pt x="100" y="142"/>
                    </a:lnTo>
                    <a:lnTo>
                      <a:pt x="95" y="142"/>
                    </a:lnTo>
                    <a:lnTo>
                      <a:pt x="95" y="145"/>
                    </a:lnTo>
                    <a:lnTo>
                      <a:pt x="81" y="151"/>
                    </a:lnTo>
                    <a:lnTo>
                      <a:pt x="67" y="151"/>
                    </a:lnTo>
                    <a:lnTo>
                      <a:pt x="53" y="140"/>
                    </a:lnTo>
                    <a:lnTo>
                      <a:pt x="50" y="137"/>
                    </a:lnTo>
                    <a:lnTo>
                      <a:pt x="50" y="134"/>
                    </a:lnTo>
                    <a:lnTo>
                      <a:pt x="53" y="131"/>
                    </a:lnTo>
                    <a:lnTo>
                      <a:pt x="56" y="128"/>
                    </a:lnTo>
                    <a:lnTo>
                      <a:pt x="59" y="128"/>
                    </a:lnTo>
                    <a:lnTo>
                      <a:pt x="61" y="126"/>
                    </a:lnTo>
                    <a:lnTo>
                      <a:pt x="64" y="126"/>
                    </a:lnTo>
                    <a:lnTo>
                      <a:pt x="67" y="126"/>
                    </a:lnTo>
                    <a:lnTo>
                      <a:pt x="70" y="126"/>
                    </a:lnTo>
                    <a:lnTo>
                      <a:pt x="70" y="123"/>
                    </a:lnTo>
                    <a:lnTo>
                      <a:pt x="73" y="117"/>
                    </a:lnTo>
                    <a:lnTo>
                      <a:pt x="92" y="115"/>
                    </a:lnTo>
                    <a:lnTo>
                      <a:pt x="92" y="120"/>
                    </a:lnTo>
                    <a:lnTo>
                      <a:pt x="95" y="120"/>
                    </a:lnTo>
                    <a:lnTo>
                      <a:pt x="98" y="115"/>
                    </a:lnTo>
                    <a:lnTo>
                      <a:pt x="100" y="112"/>
                    </a:lnTo>
                    <a:lnTo>
                      <a:pt x="100" y="109"/>
                    </a:lnTo>
                    <a:lnTo>
                      <a:pt x="106" y="106"/>
                    </a:lnTo>
                    <a:lnTo>
                      <a:pt x="106" y="103"/>
                    </a:lnTo>
                    <a:lnTo>
                      <a:pt x="106" y="101"/>
                    </a:lnTo>
                    <a:lnTo>
                      <a:pt x="103" y="101"/>
                    </a:lnTo>
                    <a:lnTo>
                      <a:pt x="98" y="106"/>
                    </a:lnTo>
                    <a:lnTo>
                      <a:pt x="95" y="106"/>
                    </a:lnTo>
                    <a:lnTo>
                      <a:pt x="84" y="109"/>
                    </a:lnTo>
                    <a:lnTo>
                      <a:pt x="84" y="106"/>
                    </a:lnTo>
                    <a:lnTo>
                      <a:pt x="84" y="101"/>
                    </a:lnTo>
                    <a:lnTo>
                      <a:pt x="81" y="106"/>
                    </a:lnTo>
                    <a:lnTo>
                      <a:pt x="81" y="101"/>
                    </a:lnTo>
                    <a:lnTo>
                      <a:pt x="78" y="101"/>
                    </a:lnTo>
                    <a:lnTo>
                      <a:pt x="78" y="106"/>
                    </a:lnTo>
                    <a:lnTo>
                      <a:pt x="75" y="109"/>
                    </a:lnTo>
                    <a:lnTo>
                      <a:pt x="73" y="112"/>
                    </a:lnTo>
                    <a:lnTo>
                      <a:pt x="73" y="106"/>
                    </a:lnTo>
                    <a:lnTo>
                      <a:pt x="70" y="112"/>
                    </a:lnTo>
                    <a:lnTo>
                      <a:pt x="64" y="112"/>
                    </a:lnTo>
                    <a:lnTo>
                      <a:pt x="61" y="115"/>
                    </a:lnTo>
                    <a:lnTo>
                      <a:pt x="59" y="112"/>
                    </a:lnTo>
                    <a:lnTo>
                      <a:pt x="59" y="109"/>
                    </a:lnTo>
                    <a:lnTo>
                      <a:pt x="61" y="106"/>
                    </a:lnTo>
                    <a:lnTo>
                      <a:pt x="61" y="95"/>
                    </a:lnTo>
                    <a:lnTo>
                      <a:pt x="64" y="92"/>
                    </a:lnTo>
                    <a:lnTo>
                      <a:pt x="67" y="89"/>
                    </a:lnTo>
                    <a:lnTo>
                      <a:pt x="64" y="92"/>
                    </a:lnTo>
                    <a:lnTo>
                      <a:pt x="59" y="92"/>
                    </a:lnTo>
                    <a:lnTo>
                      <a:pt x="56" y="103"/>
                    </a:lnTo>
                    <a:lnTo>
                      <a:pt x="53" y="103"/>
                    </a:lnTo>
                    <a:lnTo>
                      <a:pt x="53" y="98"/>
                    </a:lnTo>
                    <a:lnTo>
                      <a:pt x="50" y="98"/>
                    </a:lnTo>
                    <a:lnTo>
                      <a:pt x="50" y="103"/>
                    </a:lnTo>
                    <a:lnTo>
                      <a:pt x="53" y="106"/>
                    </a:lnTo>
                    <a:lnTo>
                      <a:pt x="53" y="112"/>
                    </a:lnTo>
                    <a:lnTo>
                      <a:pt x="50" y="112"/>
                    </a:lnTo>
                    <a:lnTo>
                      <a:pt x="45" y="117"/>
                    </a:lnTo>
                    <a:lnTo>
                      <a:pt x="42" y="117"/>
                    </a:lnTo>
                    <a:lnTo>
                      <a:pt x="39" y="112"/>
                    </a:lnTo>
                    <a:lnTo>
                      <a:pt x="39" y="106"/>
                    </a:lnTo>
                    <a:lnTo>
                      <a:pt x="36" y="109"/>
                    </a:lnTo>
                    <a:lnTo>
                      <a:pt x="34" y="109"/>
                    </a:lnTo>
                    <a:lnTo>
                      <a:pt x="34" y="120"/>
                    </a:lnTo>
                    <a:lnTo>
                      <a:pt x="31" y="117"/>
                    </a:lnTo>
                    <a:lnTo>
                      <a:pt x="25" y="112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3"/>
                    </a:lnTo>
                    <a:lnTo>
                      <a:pt x="20" y="106"/>
                    </a:lnTo>
                    <a:lnTo>
                      <a:pt x="17" y="109"/>
                    </a:lnTo>
                    <a:lnTo>
                      <a:pt x="9" y="106"/>
                    </a:lnTo>
                    <a:lnTo>
                      <a:pt x="6" y="106"/>
                    </a:lnTo>
                    <a:lnTo>
                      <a:pt x="0" y="101"/>
                    </a:lnTo>
                    <a:lnTo>
                      <a:pt x="6" y="92"/>
                    </a:lnTo>
                    <a:lnTo>
                      <a:pt x="9" y="87"/>
                    </a:lnTo>
                    <a:lnTo>
                      <a:pt x="25" y="87"/>
                    </a:lnTo>
                    <a:lnTo>
                      <a:pt x="28" y="87"/>
                    </a:lnTo>
                    <a:lnTo>
                      <a:pt x="31" y="81"/>
                    </a:lnTo>
                    <a:lnTo>
                      <a:pt x="39" y="78"/>
                    </a:lnTo>
                    <a:lnTo>
                      <a:pt x="42" y="73"/>
                    </a:lnTo>
                    <a:lnTo>
                      <a:pt x="36" y="78"/>
                    </a:lnTo>
                    <a:lnTo>
                      <a:pt x="31" y="78"/>
                    </a:lnTo>
                    <a:lnTo>
                      <a:pt x="25" y="81"/>
                    </a:lnTo>
                    <a:lnTo>
                      <a:pt x="20" y="84"/>
                    </a:lnTo>
                    <a:lnTo>
                      <a:pt x="9" y="84"/>
                    </a:lnTo>
                    <a:lnTo>
                      <a:pt x="9" y="76"/>
                    </a:lnTo>
                    <a:lnTo>
                      <a:pt x="11" y="70"/>
                    </a:lnTo>
                    <a:lnTo>
                      <a:pt x="23" y="67"/>
                    </a:lnTo>
                    <a:lnTo>
                      <a:pt x="31" y="64"/>
                    </a:lnTo>
                    <a:lnTo>
                      <a:pt x="42" y="64"/>
                    </a:lnTo>
                    <a:lnTo>
                      <a:pt x="48" y="59"/>
                    </a:lnTo>
                    <a:lnTo>
                      <a:pt x="17" y="64"/>
                    </a:lnTo>
                    <a:lnTo>
                      <a:pt x="14" y="64"/>
                    </a:lnTo>
                    <a:lnTo>
                      <a:pt x="14" y="59"/>
                    </a:lnTo>
                    <a:lnTo>
                      <a:pt x="17" y="56"/>
                    </a:lnTo>
                    <a:lnTo>
                      <a:pt x="20" y="56"/>
                    </a:lnTo>
                    <a:lnTo>
                      <a:pt x="17" y="53"/>
                    </a:lnTo>
                    <a:lnTo>
                      <a:pt x="17" y="51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31" y="42"/>
                    </a:lnTo>
                    <a:lnTo>
                      <a:pt x="36" y="42"/>
                    </a:lnTo>
                    <a:lnTo>
                      <a:pt x="45" y="45"/>
                    </a:lnTo>
                    <a:lnTo>
                      <a:pt x="48" y="42"/>
                    </a:lnTo>
                    <a:lnTo>
                      <a:pt x="45" y="42"/>
                    </a:lnTo>
                    <a:lnTo>
                      <a:pt x="42" y="39"/>
                    </a:lnTo>
                    <a:lnTo>
                      <a:pt x="31" y="39"/>
                    </a:lnTo>
                    <a:lnTo>
                      <a:pt x="28" y="37"/>
                    </a:lnTo>
                    <a:lnTo>
                      <a:pt x="31" y="28"/>
                    </a:lnTo>
                    <a:lnTo>
                      <a:pt x="34" y="25"/>
                    </a:lnTo>
                    <a:lnTo>
                      <a:pt x="42" y="25"/>
                    </a:lnTo>
                    <a:lnTo>
                      <a:pt x="42" y="23"/>
                    </a:lnTo>
                    <a:lnTo>
                      <a:pt x="48" y="23"/>
                    </a:lnTo>
                    <a:lnTo>
                      <a:pt x="53" y="23"/>
                    </a:lnTo>
                    <a:lnTo>
                      <a:pt x="56" y="28"/>
                    </a:lnTo>
                    <a:lnTo>
                      <a:pt x="56" y="34"/>
                    </a:lnTo>
                    <a:lnTo>
                      <a:pt x="53" y="34"/>
                    </a:lnTo>
                    <a:lnTo>
                      <a:pt x="56" y="42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5" y="37"/>
                    </a:lnTo>
                    <a:lnTo>
                      <a:pt x="75" y="42"/>
                    </a:lnTo>
                    <a:lnTo>
                      <a:pt x="81" y="42"/>
                    </a:lnTo>
                    <a:lnTo>
                      <a:pt x="84" y="51"/>
                    </a:lnTo>
                    <a:lnTo>
                      <a:pt x="87" y="56"/>
                    </a:lnTo>
                    <a:lnTo>
                      <a:pt x="89" y="56"/>
                    </a:lnTo>
                    <a:lnTo>
                      <a:pt x="92" y="59"/>
                    </a:lnTo>
                    <a:lnTo>
                      <a:pt x="87" y="62"/>
                    </a:lnTo>
                    <a:lnTo>
                      <a:pt x="87" y="67"/>
                    </a:lnTo>
                    <a:lnTo>
                      <a:pt x="89" y="67"/>
                    </a:lnTo>
                    <a:lnTo>
                      <a:pt x="98" y="64"/>
                    </a:lnTo>
                    <a:lnTo>
                      <a:pt x="98" y="67"/>
                    </a:lnTo>
                    <a:lnTo>
                      <a:pt x="98" y="70"/>
                    </a:lnTo>
                    <a:lnTo>
                      <a:pt x="98" y="73"/>
                    </a:lnTo>
                    <a:lnTo>
                      <a:pt x="100" y="76"/>
                    </a:lnTo>
                    <a:lnTo>
                      <a:pt x="98" y="81"/>
                    </a:lnTo>
                    <a:lnTo>
                      <a:pt x="100" y="84"/>
                    </a:lnTo>
                    <a:lnTo>
                      <a:pt x="103" y="84"/>
                    </a:lnTo>
                    <a:lnTo>
                      <a:pt x="106" y="84"/>
                    </a:lnTo>
                    <a:lnTo>
                      <a:pt x="106" y="81"/>
                    </a:lnTo>
                    <a:lnTo>
                      <a:pt x="109" y="84"/>
                    </a:lnTo>
                    <a:lnTo>
                      <a:pt x="114" y="81"/>
                    </a:lnTo>
                    <a:lnTo>
                      <a:pt x="114" y="84"/>
                    </a:lnTo>
                    <a:lnTo>
                      <a:pt x="120" y="84"/>
                    </a:lnTo>
                    <a:lnTo>
                      <a:pt x="134" y="87"/>
                    </a:lnTo>
                    <a:lnTo>
                      <a:pt x="137" y="84"/>
                    </a:lnTo>
                    <a:lnTo>
                      <a:pt x="139" y="73"/>
                    </a:lnTo>
                    <a:lnTo>
                      <a:pt x="134" y="64"/>
                    </a:lnTo>
                    <a:lnTo>
                      <a:pt x="128" y="67"/>
                    </a:lnTo>
                    <a:lnTo>
                      <a:pt x="128" y="64"/>
                    </a:lnTo>
                    <a:lnTo>
                      <a:pt x="126" y="62"/>
                    </a:lnTo>
                    <a:lnTo>
                      <a:pt x="123" y="64"/>
                    </a:lnTo>
                    <a:lnTo>
                      <a:pt x="123" y="62"/>
                    </a:lnTo>
                    <a:lnTo>
                      <a:pt x="128" y="56"/>
                    </a:lnTo>
                    <a:lnTo>
                      <a:pt x="128" y="53"/>
                    </a:lnTo>
                    <a:lnTo>
                      <a:pt x="134" y="53"/>
                    </a:lnTo>
                    <a:lnTo>
                      <a:pt x="131" y="45"/>
                    </a:lnTo>
                    <a:lnTo>
                      <a:pt x="128" y="42"/>
                    </a:lnTo>
                    <a:lnTo>
                      <a:pt x="126" y="42"/>
                    </a:lnTo>
                    <a:lnTo>
                      <a:pt x="126" y="39"/>
                    </a:lnTo>
                    <a:lnTo>
                      <a:pt x="123" y="39"/>
                    </a:lnTo>
                    <a:lnTo>
                      <a:pt x="117" y="34"/>
                    </a:lnTo>
                    <a:lnTo>
                      <a:pt x="114" y="28"/>
                    </a:lnTo>
                    <a:lnTo>
                      <a:pt x="114" y="25"/>
                    </a:lnTo>
                    <a:lnTo>
                      <a:pt x="120" y="25"/>
                    </a:lnTo>
                    <a:lnTo>
                      <a:pt x="120" y="2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7" name="Freeform 937"/>
              <p:cNvSpPr>
                <a:spLocks noChangeAspect="1"/>
              </p:cNvSpPr>
              <p:nvPr>
                <p:custDataLst>
                  <p:tags r:id="rId255"/>
                </p:custDataLst>
              </p:nvPr>
            </p:nvSpPr>
            <p:spPr bwMode="gray">
              <a:xfrm>
                <a:off x="3245088" y="1650373"/>
                <a:ext cx="350764" cy="214436"/>
              </a:xfrm>
              <a:custGeom>
                <a:avLst/>
                <a:gdLst>
                  <a:gd name="T0" fmla="*/ 16602589 w 270"/>
                  <a:gd name="T1" fmla="*/ 3343218 h 167"/>
                  <a:gd name="T2" fmla="*/ 5534649 w 270"/>
                  <a:gd name="T3" fmla="*/ 18385112 h 167"/>
                  <a:gd name="T4" fmla="*/ 16602589 w 270"/>
                  <a:gd name="T5" fmla="*/ 31755398 h 167"/>
                  <a:gd name="T6" fmla="*/ 16602589 w 270"/>
                  <a:gd name="T7" fmla="*/ 41783755 h 167"/>
                  <a:gd name="T8" fmla="*/ 31359391 w 270"/>
                  <a:gd name="T9" fmla="*/ 55155340 h 167"/>
                  <a:gd name="T10" fmla="*/ 62720140 w 270"/>
                  <a:gd name="T11" fmla="*/ 88582356 h 167"/>
                  <a:gd name="T12" fmla="*/ 92235111 w 270"/>
                  <a:gd name="T13" fmla="*/ 91925573 h 167"/>
                  <a:gd name="T14" fmla="*/ 103303048 w 270"/>
                  <a:gd name="T15" fmla="*/ 83568803 h 167"/>
                  <a:gd name="T16" fmla="*/ 123594491 w 270"/>
                  <a:gd name="T17" fmla="*/ 130367394 h 167"/>
                  <a:gd name="T18" fmla="*/ 129129139 w 270"/>
                  <a:gd name="T19" fmla="*/ 190536286 h 167"/>
                  <a:gd name="T20" fmla="*/ 138352646 w 270"/>
                  <a:gd name="T21" fmla="*/ 245691605 h 167"/>
                  <a:gd name="T22" fmla="*/ 154953871 w 270"/>
                  <a:gd name="T23" fmla="*/ 264076712 h 167"/>
                  <a:gd name="T24" fmla="*/ 180780005 w 270"/>
                  <a:gd name="T25" fmla="*/ 264076712 h 167"/>
                  <a:gd name="T26" fmla="*/ 190003512 w 270"/>
                  <a:gd name="T27" fmla="*/ 269090244 h 167"/>
                  <a:gd name="T28" fmla="*/ 221364250 w 270"/>
                  <a:gd name="T29" fmla="*/ 260733495 h 167"/>
                  <a:gd name="T30" fmla="*/ 221364250 w 270"/>
                  <a:gd name="T31" fmla="*/ 250705138 h 167"/>
                  <a:gd name="T32" fmla="*/ 236121046 w 270"/>
                  <a:gd name="T33" fmla="*/ 245691605 h 167"/>
                  <a:gd name="T34" fmla="*/ 256412490 w 270"/>
                  <a:gd name="T35" fmla="*/ 279118602 h 167"/>
                  <a:gd name="T36" fmla="*/ 278549721 w 270"/>
                  <a:gd name="T37" fmla="*/ 269090244 h 167"/>
                  <a:gd name="T38" fmla="*/ 293306517 w 270"/>
                  <a:gd name="T39" fmla="*/ 274105069 h 167"/>
                  <a:gd name="T40" fmla="*/ 324667255 w 270"/>
                  <a:gd name="T41" fmla="*/ 279118602 h 167"/>
                  <a:gd name="T42" fmla="*/ 339424051 w 270"/>
                  <a:gd name="T43" fmla="*/ 274105069 h 167"/>
                  <a:gd name="T44" fmla="*/ 385541671 w 270"/>
                  <a:gd name="T45" fmla="*/ 269090244 h 167"/>
                  <a:gd name="T46" fmla="*/ 391076318 w 270"/>
                  <a:gd name="T47" fmla="*/ 245691605 h 167"/>
                  <a:gd name="T48" fmla="*/ 416901051 w 270"/>
                  <a:gd name="T49" fmla="*/ 269090244 h 167"/>
                  <a:gd name="T50" fmla="*/ 451950649 w 270"/>
                  <a:gd name="T51" fmla="*/ 269090244 h 167"/>
                  <a:gd name="T52" fmla="*/ 483310029 w 270"/>
                  <a:gd name="T53" fmla="*/ 250705138 h 167"/>
                  <a:gd name="T54" fmla="*/ 477776740 w 270"/>
                  <a:gd name="T55" fmla="*/ 218949750 h 167"/>
                  <a:gd name="T56" fmla="*/ 498068183 w 270"/>
                  <a:gd name="T57" fmla="*/ 175493103 h 167"/>
                  <a:gd name="T58" fmla="*/ 477776740 w 270"/>
                  <a:gd name="T59" fmla="*/ 172151180 h 167"/>
                  <a:gd name="T60" fmla="*/ 472242092 w 270"/>
                  <a:gd name="T61" fmla="*/ 153766033 h 167"/>
                  <a:gd name="T62" fmla="*/ 451950649 w 270"/>
                  <a:gd name="T63" fmla="*/ 143737675 h 167"/>
                  <a:gd name="T64" fmla="*/ 391076318 w 270"/>
                  <a:gd name="T65" fmla="*/ 143737675 h 167"/>
                  <a:gd name="T66" fmla="*/ 354182206 w 270"/>
                  <a:gd name="T67" fmla="*/ 153766033 h 167"/>
                  <a:gd name="T68" fmla="*/ 339424051 w 270"/>
                  <a:gd name="T69" fmla="*/ 157109249 h 167"/>
                  <a:gd name="T70" fmla="*/ 328356115 w 270"/>
                  <a:gd name="T71" fmla="*/ 167136314 h 167"/>
                  <a:gd name="T72" fmla="*/ 308064671 w 270"/>
                  <a:gd name="T73" fmla="*/ 175493103 h 167"/>
                  <a:gd name="T74" fmla="*/ 308064671 w 270"/>
                  <a:gd name="T75" fmla="*/ 185521461 h 167"/>
                  <a:gd name="T76" fmla="*/ 282238580 w 270"/>
                  <a:gd name="T77" fmla="*/ 175493103 h 167"/>
                  <a:gd name="T78" fmla="*/ 267480426 w 270"/>
                  <a:gd name="T79" fmla="*/ 180507929 h 167"/>
                  <a:gd name="T80" fmla="*/ 252723630 w 270"/>
                  <a:gd name="T81" fmla="*/ 180507929 h 167"/>
                  <a:gd name="T82" fmla="*/ 241655693 w 270"/>
                  <a:gd name="T83" fmla="*/ 167136314 h 167"/>
                  <a:gd name="T84" fmla="*/ 226897539 w 270"/>
                  <a:gd name="T85" fmla="*/ 185521461 h 167"/>
                  <a:gd name="T86" fmla="*/ 210294955 w 270"/>
                  <a:gd name="T87" fmla="*/ 172151180 h 167"/>
                  <a:gd name="T88" fmla="*/ 215829603 w 270"/>
                  <a:gd name="T89" fmla="*/ 162122782 h 167"/>
                  <a:gd name="T90" fmla="*/ 201071448 w 270"/>
                  <a:gd name="T91" fmla="*/ 143737675 h 167"/>
                  <a:gd name="T92" fmla="*/ 195538159 w 270"/>
                  <a:gd name="T93" fmla="*/ 133709318 h 167"/>
                  <a:gd name="T94" fmla="*/ 175246673 w 270"/>
                  <a:gd name="T95" fmla="*/ 130367394 h 167"/>
                  <a:gd name="T96" fmla="*/ 169712026 w 270"/>
                  <a:gd name="T97" fmla="*/ 133709318 h 167"/>
                  <a:gd name="T98" fmla="*/ 175246673 w 270"/>
                  <a:gd name="T99" fmla="*/ 120339037 h 167"/>
                  <a:gd name="T100" fmla="*/ 169712026 w 270"/>
                  <a:gd name="T101" fmla="*/ 111982287 h 167"/>
                  <a:gd name="T102" fmla="*/ 160488519 w 270"/>
                  <a:gd name="T103" fmla="*/ 96939105 h 167"/>
                  <a:gd name="T104" fmla="*/ 190003512 w 270"/>
                  <a:gd name="T105" fmla="*/ 111982287 h 167"/>
                  <a:gd name="T106" fmla="*/ 221364250 w 270"/>
                  <a:gd name="T107" fmla="*/ 101953930 h 167"/>
                  <a:gd name="T108" fmla="*/ 190003512 w 270"/>
                  <a:gd name="T109" fmla="*/ 83568803 h 167"/>
                  <a:gd name="T110" fmla="*/ 160488519 w 270"/>
                  <a:gd name="T111" fmla="*/ 73540446 h 167"/>
                  <a:gd name="T112" fmla="*/ 175246673 w 270"/>
                  <a:gd name="T113" fmla="*/ 68525621 h 167"/>
                  <a:gd name="T114" fmla="*/ 184470222 w 270"/>
                  <a:gd name="T115" fmla="*/ 60168872 h 167"/>
                  <a:gd name="T116" fmla="*/ 154953871 w 270"/>
                  <a:gd name="T117" fmla="*/ 41783755 h 167"/>
                  <a:gd name="T118" fmla="*/ 129129139 w 270"/>
                  <a:gd name="T119" fmla="*/ 50140514 h 167"/>
                  <a:gd name="T120" fmla="*/ 97768400 w 270"/>
                  <a:gd name="T121" fmla="*/ 68525621 h 167"/>
                  <a:gd name="T122" fmla="*/ 103303048 w 270"/>
                  <a:gd name="T123" fmla="*/ 36770223 h 167"/>
                  <a:gd name="T124" fmla="*/ 88544872 w 270"/>
                  <a:gd name="T125" fmla="*/ 13371579 h 16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70"/>
                  <a:gd name="T190" fmla="*/ 0 h 167"/>
                  <a:gd name="T191" fmla="*/ 270 w 270"/>
                  <a:gd name="T192" fmla="*/ 167 h 16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70" h="167">
                    <a:moveTo>
                      <a:pt x="34" y="2"/>
                    </a:moveTo>
                    <a:lnTo>
                      <a:pt x="31" y="2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9" y="2"/>
                    </a:lnTo>
                    <a:lnTo>
                      <a:pt x="9" y="5"/>
                    </a:lnTo>
                    <a:lnTo>
                      <a:pt x="6" y="8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11" y="19"/>
                    </a:lnTo>
                    <a:lnTo>
                      <a:pt x="11" y="22"/>
                    </a:lnTo>
                    <a:lnTo>
                      <a:pt x="9" y="19"/>
                    </a:lnTo>
                    <a:lnTo>
                      <a:pt x="3" y="16"/>
                    </a:lnTo>
                    <a:lnTo>
                      <a:pt x="3" y="19"/>
                    </a:lnTo>
                    <a:lnTo>
                      <a:pt x="0" y="22"/>
                    </a:lnTo>
                    <a:lnTo>
                      <a:pt x="3" y="25"/>
                    </a:lnTo>
                    <a:lnTo>
                      <a:pt x="9" y="25"/>
                    </a:lnTo>
                    <a:lnTo>
                      <a:pt x="9" y="28"/>
                    </a:lnTo>
                    <a:lnTo>
                      <a:pt x="11" y="30"/>
                    </a:lnTo>
                    <a:lnTo>
                      <a:pt x="11" y="28"/>
                    </a:lnTo>
                    <a:lnTo>
                      <a:pt x="14" y="33"/>
                    </a:lnTo>
                    <a:lnTo>
                      <a:pt x="17" y="33"/>
                    </a:lnTo>
                    <a:lnTo>
                      <a:pt x="22" y="47"/>
                    </a:lnTo>
                    <a:lnTo>
                      <a:pt x="28" y="47"/>
                    </a:lnTo>
                    <a:lnTo>
                      <a:pt x="31" y="50"/>
                    </a:lnTo>
                    <a:lnTo>
                      <a:pt x="34" y="58"/>
                    </a:lnTo>
                    <a:lnTo>
                      <a:pt x="34" y="53"/>
                    </a:lnTo>
                    <a:lnTo>
                      <a:pt x="34" y="55"/>
                    </a:lnTo>
                    <a:lnTo>
                      <a:pt x="50" y="58"/>
                    </a:lnTo>
                    <a:lnTo>
                      <a:pt x="48" y="58"/>
                    </a:lnTo>
                    <a:lnTo>
                      <a:pt x="50" y="55"/>
                    </a:lnTo>
                    <a:lnTo>
                      <a:pt x="56" y="53"/>
                    </a:lnTo>
                    <a:lnTo>
                      <a:pt x="56" y="50"/>
                    </a:lnTo>
                    <a:lnTo>
                      <a:pt x="59" y="50"/>
                    </a:lnTo>
                    <a:lnTo>
                      <a:pt x="61" y="61"/>
                    </a:lnTo>
                    <a:lnTo>
                      <a:pt x="64" y="64"/>
                    </a:lnTo>
                    <a:lnTo>
                      <a:pt x="67" y="75"/>
                    </a:lnTo>
                    <a:lnTo>
                      <a:pt x="67" y="78"/>
                    </a:lnTo>
                    <a:lnTo>
                      <a:pt x="73" y="86"/>
                    </a:lnTo>
                    <a:lnTo>
                      <a:pt x="75" y="97"/>
                    </a:lnTo>
                    <a:lnTo>
                      <a:pt x="78" y="100"/>
                    </a:lnTo>
                    <a:lnTo>
                      <a:pt x="70" y="111"/>
                    </a:lnTo>
                    <a:lnTo>
                      <a:pt x="70" y="114"/>
                    </a:lnTo>
                    <a:lnTo>
                      <a:pt x="70" y="122"/>
                    </a:lnTo>
                    <a:lnTo>
                      <a:pt x="70" y="128"/>
                    </a:lnTo>
                    <a:lnTo>
                      <a:pt x="75" y="128"/>
                    </a:lnTo>
                    <a:lnTo>
                      <a:pt x="73" y="136"/>
                    </a:lnTo>
                    <a:lnTo>
                      <a:pt x="75" y="147"/>
                    </a:lnTo>
                    <a:lnTo>
                      <a:pt x="78" y="150"/>
                    </a:lnTo>
                    <a:lnTo>
                      <a:pt x="84" y="153"/>
                    </a:lnTo>
                    <a:lnTo>
                      <a:pt x="81" y="153"/>
                    </a:lnTo>
                    <a:lnTo>
                      <a:pt x="81" y="156"/>
                    </a:lnTo>
                    <a:lnTo>
                      <a:pt x="84" y="158"/>
                    </a:lnTo>
                    <a:lnTo>
                      <a:pt x="89" y="156"/>
                    </a:lnTo>
                    <a:lnTo>
                      <a:pt x="89" y="153"/>
                    </a:lnTo>
                    <a:lnTo>
                      <a:pt x="95" y="144"/>
                    </a:lnTo>
                    <a:lnTo>
                      <a:pt x="92" y="153"/>
                    </a:lnTo>
                    <a:lnTo>
                      <a:pt x="98" y="158"/>
                    </a:lnTo>
                    <a:lnTo>
                      <a:pt x="98" y="150"/>
                    </a:lnTo>
                    <a:lnTo>
                      <a:pt x="100" y="158"/>
                    </a:lnTo>
                    <a:lnTo>
                      <a:pt x="103" y="158"/>
                    </a:lnTo>
                    <a:lnTo>
                      <a:pt x="100" y="161"/>
                    </a:lnTo>
                    <a:lnTo>
                      <a:pt x="103" y="161"/>
                    </a:lnTo>
                    <a:lnTo>
                      <a:pt x="106" y="158"/>
                    </a:lnTo>
                    <a:lnTo>
                      <a:pt x="106" y="164"/>
                    </a:lnTo>
                    <a:lnTo>
                      <a:pt x="114" y="164"/>
                    </a:lnTo>
                    <a:lnTo>
                      <a:pt x="120" y="158"/>
                    </a:lnTo>
                    <a:lnTo>
                      <a:pt x="120" y="156"/>
                    </a:lnTo>
                    <a:lnTo>
                      <a:pt x="117" y="153"/>
                    </a:lnTo>
                    <a:lnTo>
                      <a:pt x="117" y="150"/>
                    </a:lnTo>
                    <a:lnTo>
                      <a:pt x="120" y="150"/>
                    </a:lnTo>
                    <a:lnTo>
                      <a:pt x="120" y="144"/>
                    </a:lnTo>
                    <a:lnTo>
                      <a:pt x="123" y="156"/>
                    </a:lnTo>
                    <a:lnTo>
                      <a:pt x="125" y="150"/>
                    </a:lnTo>
                    <a:lnTo>
                      <a:pt x="125" y="144"/>
                    </a:lnTo>
                    <a:lnTo>
                      <a:pt x="128" y="147"/>
                    </a:lnTo>
                    <a:lnTo>
                      <a:pt x="131" y="150"/>
                    </a:lnTo>
                    <a:lnTo>
                      <a:pt x="128" y="164"/>
                    </a:lnTo>
                    <a:lnTo>
                      <a:pt x="134" y="167"/>
                    </a:lnTo>
                    <a:lnTo>
                      <a:pt x="137" y="164"/>
                    </a:lnTo>
                    <a:lnTo>
                      <a:pt x="139" y="167"/>
                    </a:lnTo>
                    <a:lnTo>
                      <a:pt x="142" y="164"/>
                    </a:lnTo>
                    <a:lnTo>
                      <a:pt x="142" y="167"/>
                    </a:lnTo>
                    <a:lnTo>
                      <a:pt x="148" y="167"/>
                    </a:lnTo>
                    <a:lnTo>
                      <a:pt x="148" y="161"/>
                    </a:lnTo>
                    <a:lnTo>
                      <a:pt x="151" y="161"/>
                    </a:lnTo>
                    <a:lnTo>
                      <a:pt x="151" y="167"/>
                    </a:lnTo>
                    <a:lnTo>
                      <a:pt x="159" y="167"/>
                    </a:lnTo>
                    <a:lnTo>
                      <a:pt x="162" y="167"/>
                    </a:lnTo>
                    <a:lnTo>
                      <a:pt x="159" y="161"/>
                    </a:lnTo>
                    <a:lnTo>
                      <a:pt x="159" y="164"/>
                    </a:lnTo>
                    <a:lnTo>
                      <a:pt x="164" y="167"/>
                    </a:lnTo>
                    <a:lnTo>
                      <a:pt x="167" y="164"/>
                    </a:lnTo>
                    <a:lnTo>
                      <a:pt x="167" y="161"/>
                    </a:lnTo>
                    <a:lnTo>
                      <a:pt x="170" y="167"/>
                    </a:lnTo>
                    <a:lnTo>
                      <a:pt x="176" y="167"/>
                    </a:lnTo>
                    <a:lnTo>
                      <a:pt x="178" y="161"/>
                    </a:lnTo>
                    <a:lnTo>
                      <a:pt x="178" y="156"/>
                    </a:lnTo>
                    <a:lnTo>
                      <a:pt x="181" y="164"/>
                    </a:lnTo>
                    <a:lnTo>
                      <a:pt x="184" y="164"/>
                    </a:lnTo>
                    <a:lnTo>
                      <a:pt x="187" y="161"/>
                    </a:lnTo>
                    <a:lnTo>
                      <a:pt x="187" y="156"/>
                    </a:lnTo>
                    <a:lnTo>
                      <a:pt x="187" y="153"/>
                    </a:lnTo>
                    <a:lnTo>
                      <a:pt x="187" y="164"/>
                    </a:lnTo>
                    <a:lnTo>
                      <a:pt x="209" y="161"/>
                    </a:lnTo>
                    <a:lnTo>
                      <a:pt x="215" y="150"/>
                    </a:lnTo>
                    <a:lnTo>
                      <a:pt x="212" y="147"/>
                    </a:lnTo>
                    <a:lnTo>
                      <a:pt x="209" y="142"/>
                    </a:lnTo>
                    <a:lnTo>
                      <a:pt x="212" y="142"/>
                    </a:lnTo>
                    <a:lnTo>
                      <a:pt x="212" y="147"/>
                    </a:lnTo>
                    <a:lnTo>
                      <a:pt x="217" y="147"/>
                    </a:lnTo>
                    <a:lnTo>
                      <a:pt x="217" y="158"/>
                    </a:lnTo>
                    <a:lnTo>
                      <a:pt x="223" y="164"/>
                    </a:lnTo>
                    <a:lnTo>
                      <a:pt x="226" y="164"/>
                    </a:lnTo>
                    <a:lnTo>
                      <a:pt x="226" y="161"/>
                    </a:lnTo>
                    <a:lnTo>
                      <a:pt x="229" y="164"/>
                    </a:lnTo>
                    <a:lnTo>
                      <a:pt x="231" y="167"/>
                    </a:lnTo>
                    <a:lnTo>
                      <a:pt x="237" y="167"/>
                    </a:lnTo>
                    <a:lnTo>
                      <a:pt x="240" y="164"/>
                    </a:lnTo>
                    <a:lnTo>
                      <a:pt x="245" y="161"/>
                    </a:lnTo>
                    <a:lnTo>
                      <a:pt x="256" y="161"/>
                    </a:lnTo>
                    <a:lnTo>
                      <a:pt x="259" y="158"/>
                    </a:lnTo>
                    <a:lnTo>
                      <a:pt x="262" y="158"/>
                    </a:lnTo>
                    <a:lnTo>
                      <a:pt x="262" y="150"/>
                    </a:lnTo>
                    <a:lnTo>
                      <a:pt x="262" y="147"/>
                    </a:lnTo>
                    <a:lnTo>
                      <a:pt x="259" y="144"/>
                    </a:lnTo>
                    <a:lnTo>
                      <a:pt x="256" y="139"/>
                    </a:lnTo>
                    <a:lnTo>
                      <a:pt x="256" y="133"/>
                    </a:lnTo>
                    <a:lnTo>
                      <a:pt x="259" y="131"/>
                    </a:lnTo>
                    <a:lnTo>
                      <a:pt x="262" y="128"/>
                    </a:lnTo>
                    <a:lnTo>
                      <a:pt x="265" y="125"/>
                    </a:lnTo>
                    <a:lnTo>
                      <a:pt x="267" y="122"/>
                    </a:lnTo>
                    <a:lnTo>
                      <a:pt x="270" y="117"/>
                    </a:lnTo>
                    <a:lnTo>
                      <a:pt x="270" y="105"/>
                    </a:lnTo>
                    <a:lnTo>
                      <a:pt x="267" y="105"/>
                    </a:lnTo>
                    <a:lnTo>
                      <a:pt x="267" y="103"/>
                    </a:lnTo>
                    <a:lnTo>
                      <a:pt x="259" y="103"/>
                    </a:lnTo>
                    <a:lnTo>
                      <a:pt x="256" y="103"/>
                    </a:lnTo>
                    <a:lnTo>
                      <a:pt x="262" y="100"/>
                    </a:lnTo>
                    <a:lnTo>
                      <a:pt x="262" y="97"/>
                    </a:lnTo>
                    <a:lnTo>
                      <a:pt x="259" y="97"/>
                    </a:lnTo>
                    <a:lnTo>
                      <a:pt x="256" y="92"/>
                    </a:lnTo>
                    <a:lnTo>
                      <a:pt x="251" y="94"/>
                    </a:lnTo>
                    <a:lnTo>
                      <a:pt x="245" y="92"/>
                    </a:lnTo>
                    <a:lnTo>
                      <a:pt x="245" y="86"/>
                    </a:lnTo>
                    <a:lnTo>
                      <a:pt x="229" y="80"/>
                    </a:lnTo>
                    <a:lnTo>
                      <a:pt x="223" y="83"/>
                    </a:lnTo>
                    <a:lnTo>
                      <a:pt x="217" y="89"/>
                    </a:lnTo>
                    <a:lnTo>
                      <a:pt x="212" y="89"/>
                    </a:lnTo>
                    <a:lnTo>
                      <a:pt x="212" y="86"/>
                    </a:lnTo>
                    <a:lnTo>
                      <a:pt x="209" y="86"/>
                    </a:lnTo>
                    <a:lnTo>
                      <a:pt x="206" y="83"/>
                    </a:lnTo>
                    <a:lnTo>
                      <a:pt x="203" y="83"/>
                    </a:lnTo>
                    <a:lnTo>
                      <a:pt x="201" y="86"/>
                    </a:lnTo>
                    <a:lnTo>
                      <a:pt x="192" y="92"/>
                    </a:lnTo>
                    <a:lnTo>
                      <a:pt x="192" y="94"/>
                    </a:lnTo>
                    <a:lnTo>
                      <a:pt x="192" y="97"/>
                    </a:lnTo>
                    <a:lnTo>
                      <a:pt x="187" y="94"/>
                    </a:lnTo>
                    <a:lnTo>
                      <a:pt x="184" y="94"/>
                    </a:lnTo>
                    <a:lnTo>
                      <a:pt x="184" y="100"/>
                    </a:lnTo>
                    <a:lnTo>
                      <a:pt x="181" y="97"/>
                    </a:lnTo>
                    <a:lnTo>
                      <a:pt x="181" y="103"/>
                    </a:lnTo>
                    <a:lnTo>
                      <a:pt x="178" y="100"/>
                    </a:lnTo>
                    <a:lnTo>
                      <a:pt x="178" y="97"/>
                    </a:lnTo>
                    <a:lnTo>
                      <a:pt x="176" y="103"/>
                    </a:lnTo>
                    <a:lnTo>
                      <a:pt x="173" y="103"/>
                    </a:lnTo>
                    <a:lnTo>
                      <a:pt x="167" y="103"/>
                    </a:lnTo>
                    <a:lnTo>
                      <a:pt x="167" y="105"/>
                    </a:lnTo>
                    <a:lnTo>
                      <a:pt x="170" y="108"/>
                    </a:lnTo>
                    <a:lnTo>
                      <a:pt x="176" y="111"/>
                    </a:lnTo>
                    <a:lnTo>
                      <a:pt x="176" y="114"/>
                    </a:lnTo>
                    <a:lnTo>
                      <a:pt x="173" y="111"/>
                    </a:lnTo>
                    <a:lnTo>
                      <a:pt x="167" y="111"/>
                    </a:lnTo>
                    <a:lnTo>
                      <a:pt x="159" y="114"/>
                    </a:lnTo>
                    <a:lnTo>
                      <a:pt x="156" y="114"/>
                    </a:lnTo>
                    <a:lnTo>
                      <a:pt x="162" y="111"/>
                    </a:lnTo>
                    <a:lnTo>
                      <a:pt x="162" y="108"/>
                    </a:lnTo>
                    <a:lnTo>
                      <a:pt x="153" y="105"/>
                    </a:lnTo>
                    <a:lnTo>
                      <a:pt x="151" y="103"/>
                    </a:lnTo>
                    <a:lnTo>
                      <a:pt x="148" y="100"/>
                    </a:lnTo>
                    <a:lnTo>
                      <a:pt x="145" y="103"/>
                    </a:lnTo>
                    <a:lnTo>
                      <a:pt x="145" y="105"/>
                    </a:lnTo>
                    <a:lnTo>
                      <a:pt x="145" y="108"/>
                    </a:lnTo>
                    <a:lnTo>
                      <a:pt x="142" y="103"/>
                    </a:lnTo>
                    <a:lnTo>
                      <a:pt x="142" y="100"/>
                    </a:lnTo>
                    <a:lnTo>
                      <a:pt x="139" y="103"/>
                    </a:lnTo>
                    <a:lnTo>
                      <a:pt x="137" y="105"/>
                    </a:lnTo>
                    <a:lnTo>
                      <a:pt x="137" y="108"/>
                    </a:lnTo>
                    <a:lnTo>
                      <a:pt x="134" y="108"/>
                    </a:lnTo>
                    <a:lnTo>
                      <a:pt x="134" y="105"/>
                    </a:lnTo>
                    <a:lnTo>
                      <a:pt x="134" y="103"/>
                    </a:lnTo>
                    <a:lnTo>
                      <a:pt x="131" y="100"/>
                    </a:lnTo>
                    <a:lnTo>
                      <a:pt x="128" y="94"/>
                    </a:lnTo>
                    <a:lnTo>
                      <a:pt x="125" y="97"/>
                    </a:lnTo>
                    <a:lnTo>
                      <a:pt x="125" y="100"/>
                    </a:lnTo>
                    <a:lnTo>
                      <a:pt x="125" y="108"/>
                    </a:lnTo>
                    <a:lnTo>
                      <a:pt x="123" y="111"/>
                    </a:lnTo>
                    <a:lnTo>
                      <a:pt x="123" y="108"/>
                    </a:lnTo>
                    <a:lnTo>
                      <a:pt x="120" y="103"/>
                    </a:lnTo>
                    <a:lnTo>
                      <a:pt x="117" y="100"/>
                    </a:lnTo>
                    <a:lnTo>
                      <a:pt x="114" y="103"/>
                    </a:lnTo>
                    <a:lnTo>
                      <a:pt x="114" y="100"/>
                    </a:lnTo>
                    <a:lnTo>
                      <a:pt x="112" y="103"/>
                    </a:lnTo>
                    <a:lnTo>
                      <a:pt x="112" y="100"/>
                    </a:lnTo>
                    <a:lnTo>
                      <a:pt x="117" y="97"/>
                    </a:lnTo>
                    <a:lnTo>
                      <a:pt x="120" y="89"/>
                    </a:lnTo>
                    <a:lnTo>
                      <a:pt x="117" y="89"/>
                    </a:lnTo>
                    <a:lnTo>
                      <a:pt x="117" y="86"/>
                    </a:lnTo>
                    <a:lnTo>
                      <a:pt x="114" y="86"/>
                    </a:lnTo>
                    <a:lnTo>
                      <a:pt x="109" y="86"/>
                    </a:lnTo>
                    <a:lnTo>
                      <a:pt x="112" y="83"/>
                    </a:lnTo>
                    <a:lnTo>
                      <a:pt x="109" y="78"/>
                    </a:lnTo>
                    <a:lnTo>
                      <a:pt x="106" y="80"/>
                    </a:lnTo>
                    <a:lnTo>
                      <a:pt x="103" y="78"/>
                    </a:lnTo>
                    <a:lnTo>
                      <a:pt x="100" y="80"/>
                    </a:lnTo>
                    <a:lnTo>
                      <a:pt x="100" y="78"/>
                    </a:lnTo>
                    <a:lnTo>
                      <a:pt x="98" y="78"/>
                    </a:lnTo>
                    <a:lnTo>
                      <a:pt x="95" y="78"/>
                    </a:lnTo>
                    <a:lnTo>
                      <a:pt x="95" y="80"/>
                    </a:lnTo>
                    <a:lnTo>
                      <a:pt x="89" y="89"/>
                    </a:lnTo>
                    <a:lnTo>
                      <a:pt x="89" y="80"/>
                    </a:lnTo>
                    <a:lnTo>
                      <a:pt x="92" y="80"/>
                    </a:lnTo>
                    <a:lnTo>
                      <a:pt x="92" y="78"/>
                    </a:lnTo>
                    <a:lnTo>
                      <a:pt x="89" y="75"/>
                    </a:lnTo>
                    <a:lnTo>
                      <a:pt x="103" y="75"/>
                    </a:lnTo>
                    <a:lnTo>
                      <a:pt x="100" y="72"/>
                    </a:lnTo>
                    <a:lnTo>
                      <a:pt x="95" y="72"/>
                    </a:lnTo>
                    <a:lnTo>
                      <a:pt x="95" y="69"/>
                    </a:lnTo>
                    <a:lnTo>
                      <a:pt x="92" y="67"/>
                    </a:lnTo>
                    <a:lnTo>
                      <a:pt x="89" y="64"/>
                    </a:lnTo>
                    <a:lnTo>
                      <a:pt x="84" y="64"/>
                    </a:lnTo>
                    <a:lnTo>
                      <a:pt x="87" y="61"/>
                    </a:lnTo>
                    <a:lnTo>
                      <a:pt x="87" y="58"/>
                    </a:lnTo>
                    <a:lnTo>
                      <a:pt x="89" y="64"/>
                    </a:lnTo>
                    <a:lnTo>
                      <a:pt x="95" y="64"/>
                    </a:lnTo>
                    <a:lnTo>
                      <a:pt x="98" y="64"/>
                    </a:lnTo>
                    <a:lnTo>
                      <a:pt x="100" y="67"/>
                    </a:lnTo>
                    <a:lnTo>
                      <a:pt x="103" y="67"/>
                    </a:lnTo>
                    <a:lnTo>
                      <a:pt x="100" y="64"/>
                    </a:lnTo>
                    <a:lnTo>
                      <a:pt x="103" y="64"/>
                    </a:lnTo>
                    <a:lnTo>
                      <a:pt x="112" y="67"/>
                    </a:lnTo>
                    <a:lnTo>
                      <a:pt x="114" y="67"/>
                    </a:lnTo>
                    <a:lnTo>
                      <a:pt x="120" y="61"/>
                    </a:lnTo>
                    <a:lnTo>
                      <a:pt x="120" y="58"/>
                    </a:lnTo>
                    <a:lnTo>
                      <a:pt x="120" y="53"/>
                    </a:lnTo>
                    <a:lnTo>
                      <a:pt x="114" y="55"/>
                    </a:lnTo>
                    <a:lnTo>
                      <a:pt x="112" y="53"/>
                    </a:lnTo>
                    <a:lnTo>
                      <a:pt x="103" y="50"/>
                    </a:lnTo>
                    <a:lnTo>
                      <a:pt x="100" y="47"/>
                    </a:lnTo>
                    <a:lnTo>
                      <a:pt x="100" y="50"/>
                    </a:lnTo>
                    <a:lnTo>
                      <a:pt x="98" y="47"/>
                    </a:lnTo>
                    <a:lnTo>
                      <a:pt x="95" y="44"/>
                    </a:lnTo>
                    <a:lnTo>
                      <a:pt x="87" y="44"/>
                    </a:lnTo>
                    <a:lnTo>
                      <a:pt x="87" y="41"/>
                    </a:lnTo>
                    <a:lnTo>
                      <a:pt x="92" y="41"/>
                    </a:lnTo>
                    <a:lnTo>
                      <a:pt x="92" y="39"/>
                    </a:lnTo>
                    <a:lnTo>
                      <a:pt x="95" y="41"/>
                    </a:lnTo>
                    <a:lnTo>
                      <a:pt x="100" y="44"/>
                    </a:lnTo>
                    <a:lnTo>
                      <a:pt x="100" y="41"/>
                    </a:lnTo>
                    <a:lnTo>
                      <a:pt x="100" y="39"/>
                    </a:lnTo>
                    <a:lnTo>
                      <a:pt x="100" y="36"/>
                    </a:lnTo>
                    <a:lnTo>
                      <a:pt x="92" y="30"/>
                    </a:lnTo>
                    <a:lnTo>
                      <a:pt x="89" y="30"/>
                    </a:lnTo>
                    <a:lnTo>
                      <a:pt x="87" y="28"/>
                    </a:lnTo>
                    <a:lnTo>
                      <a:pt x="84" y="25"/>
                    </a:lnTo>
                    <a:lnTo>
                      <a:pt x="84" y="28"/>
                    </a:lnTo>
                    <a:lnTo>
                      <a:pt x="78" y="30"/>
                    </a:lnTo>
                    <a:lnTo>
                      <a:pt x="75" y="33"/>
                    </a:lnTo>
                    <a:lnTo>
                      <a:pt x="73" y="33"/>
                    </a:lnTo>
                    <a:lnTo>
                      <a:pt x="70" y="30"/>
                    </a:lnTo>
                    <a:lnTo>
                      <a:pt x="67" y="33"/>
                    </a:lnTo>
                    <a:lnTo>
                      <a:pt x="61" y="33"/>
                    </a:lnTo>
                    <a:lnTo>
                      <a:pt x="56" y="41"/>
                    </a:lnTo>
                    <a:lnTo>
                      <a:pt x="53" y="44"/>
                    </a:lnTo>
                    <a:lnTo>
                      <a:pt x="53" y="41"/>
                    </a:lnTo>
                    <a:lnTo>
                      <a:pt x="56" y="33"/>
                    </a:lnTo>
                    <a:lnTo>
                      <a:pt x="56" y="30"/>
                    </a:lnTo>
                    <a:lnTo>
                      <a:pt x="59" y="22"/>
                    </a:lnTo>
                    <a:lnTo>
                      <a:pt x="56" y="22"/>
                    </a:lnTo>
                    <a:lnTo>
                      <a:pt x="56" y="19"/>
                    </a:lnTo>
                    <a:lnTo>
                      <a:pt x="53" y="16"/>
                    </a:lnTo>
                    <a:lnTo>
                      <a:pt x="50" y="8"/>
                    </a:lnTo>
                    <a:lnTo>
                      <a:pt x="48" y="11"/>
                    </a:lnTo>
                    <a:lnTo>
                      <a:pt x="48" y="8"/>
                    </a:lnTo>
                    <a:lnTo>
                      <a:pt x="45" y="11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4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8" name="Freeform 942"/>
              <p:cNvSpPr>
                <a:spLocks noChangeAspect="1"/>
              </p:cNvSpPr>
              <p:nvPr>
                <p:custDataLst>
                  <p:tags r:id="rId256"/>
                </p:custDataLst>
              </p:nvPr>
            </p:nvSpPr>
            <p:spPr bwMode="gray">
              <a:xfrm>
                <a:off x="3257235" y="1770206"/>
                <a:ext cx="60739" cy="83567"/>
              </a:xfrm>
              <a:custGeom>
                <a:avLst/>
                <a:gdLst>
                  <a:gd name="T0" fmla="*/ 40157668 w 47"/>
                  <a:gd name="T1" fmla="*/ 0 h 66"/>
                  <a:gd name="T2" fmla="*/ 54761322 w 47"/>
                  <a:gd name="T3" fmla="*/ 8125690 h 66"/>
                  <a:gd name="T4" fmla="*/ 65713042 w 47"/>
                  <a:gd name="T5" fmla="*/ 17876772 h 66"/>
                  <a:gd name="T6" fmla="*/ 65713042 w 47"/>
                  <a:gd name="T7" fmla="*/ 21127562 h 66"/>
                  <a:gd name="T8" fmla="*/ 65713042 w 47"/>
                  <a:gd name="T9" fmla="*/ 35753544 h 66"/>
                  <a:gd name="T10" fmla="*/ 74840827 w 47"/>
                  <a:gd name="T11" fmla="*/ 35753544 h 66"/>
                  <a:gd name="T12" fmla="*/ 85792546 w 47"/>
                  <a:gd name="T13" fmla="*/ 43879241 h 66"/>
                  <a:gd name="T14" fmla="*/ 85792546 w 47"/>
                  <a:gd name="T15" fmla="*/ 99134955 h 66"/>
                  <a:gd name="T16" fmla="*/ 74840827 w 47"/>
                  <a:gd name="T17" fmla="*/ 104009858 h 66"/>
                  <a:gd name="T18" fmla="*/ 65713042 w 47"/>
                  <a:gd name="T19" fmla="*/ 107260642 h 66"/>
                  <a:gd name="T20" fmla="*/ 49285463 w 47"/>
                  <a:gd name="T21" fmla="*/ 104009858 h 66"/>
                  <a:gd name="T22" fmla="*/ 45634889 w 47"/>
                  <a:gd name="T23" fmla="*/ 99134955 h 66"/>
                  <a:gd name="T24" fmla="*/ 40157668 w 47"/>
                  <a:gd name="T25" fmla="*/ 89383875 h 66"/>
                  <a:gd name="T26" fmla="*/ 29205948 w 47"/>
                  <a:gd name="T27" fmla="*/ 84508973 h 66"/>
                  <a:gd name="T28" fmla="*/ 29205948 w 47"/>
                  <a:gd name="T29" fmla="*/ 89383875 h 66"/>
                  <a:gd name="T30" fmla="*/ 23730088 w 47"/>
                  <a:gd name="T31" fmla="*/ 89383875 h 66"/>
                  <a:gd name="T32" fmla="*/ 23730088 w 47"/>
                  <a:gd name="T33" fmla="*/ 81258168 h 66"/>
                  <a:gd name="T34" fmla="*/ 20079509 w 47"/>
                  <a:gd name="T35" fmla="*/ 84508973 h 66"/>
                  <a:gd name="T36" fmla="*/ 14603649 w 47"/>
                  <a:gd name="T37" fmla="*/ 71507088 h 66"/>
                  <a:gd name="T38" fmla="*/ 14603649 w 47"/>
                  <a:gd name="T39" fmla="*/ 66632186 h 66"/>
                  <a:gd name="T40" fmla="*/ 9126436 w 47"/>
                  <a:gd name="T41" fmla="*/ 63381401 h 66"/>
                  <a:gd name="T42" fmla="*/ 3650575 w 47"/>
                  <a:gd name="T43" fmla="*/ 71507088 h 66"/>
                  <a:gd name="T44" fmla="*/ 3650575 w 47"/>
                  <a:gd name="T45" fmla="*/ 66632186 h 66"/>
                  <a:gd name="T46" fmla="*/ 0 w 47"/>
                  <a:gd name="T47" fmla="*/ 48755419 h 66"/>
                  <a:gd name="T48" fmla="*/ 3650575 w 47"/>
                  <a:gd name="T49" fmla="*/ 43879241 h 66"/>
                  <a:gd name="T50" fmla="*/ 20079509 w 47"/>
                  <a:gd name="T51" fmla="*/ 35753544 h 66"/>
                  <a:gd name="T52" fmla="*/ 14603649 w 47"/>
                  <a:gd name="T53" fmla="*/ 35753544 h 66"/>
                  <a:gd name="T54" fmla="*/ 14603649 w 47"/>
                  <a:gd name="T55" fmla="*/ 26002464 h 66"/>
                  <a:gd name="T56" fmla="*/ 20079509 w 47"/>
                  <a:gd name="T57" fmla="*/ 26002464 h 66"/>
                  <a:gd name="T58" fmla="*/ 14603649 w 47"/>
                  <a:gd name="T59" fmla="*/ 21127562 h 66"/>
                  <a:gd name="T60" fmla="*/ 9126436 w 47"/>
                  <a:gd name="T61" fmla="*/ 21127562 h 66"/>
                  <a:gd name="T62" fmla="*/ 23730088 w 47"/>
                  <a:gd name="T63" fmla="*/ 21127562 h 66"/>
                  <a:gd name="T64" fmla="*/ 34681808 w 47"/>
                  <a:gd name="T65" fmla="*/ 3250786 h 66"/>
                  <a:gd name="T66" fmla="*/ 45634889 w 47"/>
                  <a:gd name="T67" fmla="*/ 3250786 h 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7"/>
                  <a:gd name="T103" fmla="*/ 0 h 66"/>
                  <a:gd name="T104" fmla="*/ 47 w 47"/>
                  <a:gd name="T105" fmla="*/ 66 h 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7" h="66">
                    <a:moveTo>
                      <a:pt x="25" y="2"/>
                    </a:moveTo>
                    <a:lnTo>
                      <a:pt x="22" y="0"/>
                    </a:lnTo>
                    <a:lnTo>
                      <a:pt x="25" y="2"/>
                    </a:lnTo>
                    <a:lnTo>
                      <a:pt x="30" y="5"/>
                    </a:lnTo>
                    <a:lnTo>
                      <a:pt x="33" y="11"/>
                    </a:lnTo>
                    <a:lnTo>
                      <a:pt x="36" y="11"/>
                    </a:lnTo>
                    <a:lnTo>
                      <a:pt x="36" y="13"/>
                    </a:lnTo>
                    <a:lnTo>
                      <a:pt x="39" y="16"/>
                    </a:lnTo>
                    <a:lnTo>
                      <a:pt x="36" y="22"/>
                    </a:lnTo>
                    <a:lnTo>
                      <a:pt x="39" y="19"/>
                    </a:lnTo>
                    <a:lnTo>
                      <a:pt x="41" y="22"/>
                    </a:lnTo>
                    <a:lnTo>
                      <a:pt x="47" y="27"/>
                    </a:lnTo>
                    <a:lnTo>
                      <a:pt x="44" y="30"/>
                    </a:lnTo>
                    <a:lnTo>
                      <a:pt x="47" y="61"/>
                    </a:lnTo>
                    <a:lnTo>
                      <a:pt x="44" y="61"/>
                    </a:lnTo>
                    <a:lnTo>
                      <a:pt x="41" y="64"/>
                    </a:lnTo>
                    <a:lnTo>
                      <a:pt x="39" y="64"/>
                    </a:lnTo>
                    <a:lnTo>
                      <a:pt x="36" y="66"/>
                    </a:lnTo>
                    <a:lnTo>
                      <a:pt x="30" y="64"/>
                    </a:lnTo>
                    <a:lnTo>
                      <a:pt x="27" y="64"/>
                    </a:lnTo>
                    <a:lnTo>
                      <a:pt x="25" y="64"/>
                    </a:lnTo>
                    <a:lnTo>
                      <a:pt x="25" y="61"/>
                    </a:lnTo>
                    <a:lnTo>
                      <a:pt x="22" y="58"/>
                    </a:lnTo>
                    <a:lnTo>
                      <a:pt x="22" y="55"/>
                    </a:lnTo>
                    <a:lnTo>
                      <a:pt x="19" y="52"/>
                    </a:lnTo>
                    <a:lnTo>
                      <a:pt x="16" y="52"/>
                    </a:lnTo>
                    <a:lnTo>
                      <a:pt x="16" y="55"/>
                    </a:lnTo>
                    <a:lnTo>
                      <a:pt x="13" y="55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1" y="50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8" y="44"/>
                    </a:lnTo>
                    <a:lnTo>
                      <a:pt x="8" y="41"/>
                    </a:lnTo>
                    <a:lnTo>
                      <a:pt x="5" y="39"/>
                    </a:lnTo>
                    <a:lnTo>
                      <a:pt x="5" y="44"/>
                    </a:lnTo>
                    <a:lnTo>
                      <a:pt x="2" y="44"/>
                    </a:lnTo>
                    <a:lnTo>
                      <a:pt x="2" y="41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7"/>
                    </a:lnTo>
                    <a:lnTo>
                      <a:pt x="11" y="22"/>
                    </a:lnTo>
                    <a:lnTo>
                      <a:pt x="8" y="22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11" y="16"/>
                    </a:lnTo>
                    <a:lnTo>
                      <a:pt x="11" y="13"/>
                    </a:lnTo>
                    <a:lnTo>
                      <a:pt x="8" y="13"/>
                    </a:lnTo>
                    <a:lnTo>
                      <a:pt x="5" y="16"/>
                    </a:lnTo>
                    <a:lnTo>
                      <a:pt x="5" y="13"/>
                    </a:lnTo>
                    <a:lnTo>
                      <a:pt x="8" y="13"/>
                    </a:lnTo>
                    <a:lnTo>
                      <a:pt x="13" y="13"/>
                    </a:lnTo>
                    <a:lnTo>
                      <a:pt x="11" y="8"/>
                    </a:lnTo>
                    <a:lnTo>
                      <a:pt x="19" y="2"/>
                    </a:lnTo>
                    <a:lnTo>
                      <a:pt x="22" y="0"/>
                    </a:lnTo>
                    <a:lnTo>
                      <a:pt x="25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9" name="Freeform 943"/>
              <p:cNvSpPr>
                <a:spLocks noChangeAspect="1"/>
              </p:cNvSpPr>
              <p:nvPr>
                <p:custDataLst>
                  <p:tags r:id="rId257"/>
                </p:custDataLst>
              </p:nvPr>
            </p:nvSpPr>
            <p:spPr bwMode="gray">
              <a:xfrm>
                <a:off x="3444007" y="2378827"/>
                <a:ext cx="142735" cy="127717"/>
              </a:xfrm>
              <a:custGeom>
                <a:avLst/>
                <a:gdLst>
                  <a:gd name="T0" fmla="*/ 46856658 w 109"/>
                  <a:gd name="T1" fmla="*/ 4960925 h 100"/>
                  <a:gd name="T2" fmla="*/ 52479290 w 109"/>
                  <a:gd name="T3" fmla="*/ 9920564 h 100"/>
                  <a:gd name="T4" fmla="*/ 58101923 w 109"/>
                  <a:gd name="T5" fmla="*/ 13227849 h 100"/>
                  <a:gd name="T6" fmla="*/ 63724555 w 109"/>
                  <a:gd name="T7" fmla="*/ 23148415 h 100"/>
                  <a:gd name="T8" fmla="*/ 69347187 w 109"/>
                  <a:gd name="T9" fmla="*/ 41337182 h 100"/>
                  <a:gd name="T10" fmla="*/ 78719609 w 109"/>
                  <a:gd name="T11" fmla="*/ 28109338 h 100"/>
                  <a:gd name="T12" fmla="*/ 84342242 w 109"/>
                  <a:gd name="T13" fmla="*/ 36376258 h 100"/>
                  <a:gd name="T14" fmla="*/ 89964895 w 109"/>
                  <a:gd name="T15" fmla="*/ 46298115 h 100"/>
                  <a:gd name="T16" fmla="*/ 110581213 w 109"/>
                  <a:gd name="T17" fmla="*/ 51257753 h 100"/>
                  <a:gd name="T18" fmla="*/ 119952267 w 109"/>
                  <a:gd name="T19" fmla="*/ 64485597 h 100"/>
                  <a:gd name="T20" fmla="*/ 131198900 w 109"/>
                  <a:gd name="T21" fmla="*/ 69446520 h 100"/>
                  <a:gd name="T22" fmla="*/ 142444164 w 109"/>
                  <a:gd name="T23" fmla="*/ 72753802 h 100"/>
                  <a:gd name="T24" fmla="*/ 157437850 w 109"/>
                  <a:gd name="T25" fmla="*/ 87635307 h 100"/>
                  <a:gd name="T26" fmla="*/ 163060482 w 109"/>
                  <a:gd name="T27" fmla="*/ 105822788 h 100"/>
                  <a:gd name="T28" fmla="*/ 166808903 w 109"/>
                  <a:gd name="T29" fmla="*/ 115744635 h 100"/>
                  <a:gd name="T30" fmla="*/ 172431536 w 109"/>
                  <a:gd name="T31" fmla="*/ 115744635 h 100"/>
                  <a:gd name="T32" fmla="*/ 183678212 w 109"/>
                  <a:gd name="T33" fmla="*/ 110783712 h 100"/>
                  <a:gd name="T34" fmla="*/ 189300844 w 109"/>
                  <a:gd name="T35" fmla="*/ 115744635 h 100"/>
                  <a:gd name="T36" fmla="*/ 193049265 w 109"/>
                  <a:gd name="T37" fmla="*/ 124011555 h 100"/>
                  <a:gd name="T38" fmla="*/ 204294530 w 109"/>
                  <a:gd name="T39" fmla="*/ 128972479 h 100"/>
                  <a:gd name="T40" fmla="*/ 198671897 w 109"/>
                  <a:gd name="T41" fmla="*/ 128972479 h 100"/>
                  <a:gd name="T42" fmla="*/ 178054168 w 109"/>
                  <a:gd name="T43" fmla="*/ 147159960 h 100"/>
                  <a:gd name="T44" fmla="*/ 166808903 w 109"/>
                  <a:gd name="T45" fmla="*/ 142200322 h 100"/>
                  <a:gd name="T46" fmla="*/ 163060482 w 109"/>
                  <a:gd name="T47" fmla="*/ 142200322 h 100"/>
                  <a:gd name="T48" fmla="*/ 157437850 w 109"/>
                  <a:gd name="T49" fmla="*/ 137239399 h 100"/>
                  <a:gd name="T50" fmla="*/ 151815218 w 109"/>
                  <a:gd name="T51" fmla="*/ 133932117 h 100"/>
                  <a:gd name="T52" fmla="*/ 142444164 w 109"/>
                  <a:gd name="T53" fmla="*/ 133932117 h 100"/>
                  <a:gd name="T54" fmla="*/ 142444164 w 109"/>
                  <a:gd name="T55" fmla="*/ 124011555 h 100"/>
                  <a:gd name="T56" fmla="*/ 136821532 w 109"/>
                  <a:gd name="T57" fmla="*/ 119050632 h 100"/>
                  <a:gd name="T58" fmla="*/ 125574899 w 109"/>
                  <a:gd name="T59" fmla="*/ 119050632 h 100"/>
                  <a:gd name="T60" fmla="*/ 119952267 w 109"/>
                  <a:gd name="T61" fmla="*/ 119050632 h 100"/>
                  <a:gd name="T62" fmla="*/ 125574899 w 109"/>
                  <a:gd name="T63" fmla="*/ 105822788 h 100"/>
                  <a:gd name="T64" fmla="*/ 104958581 w 109"/>
                  <a:gd name="T65" fmla="*/ 110783712 h 100"/>
                  <a:gd name="T66" fmla="*/ 104958581 w 109"/>
                  <a:gd name="T67" fmla="*/ 124011555 h 100"/>
                  <a:gd name="T68" fmla="*/ 99335949 w 109"/>
                  <a:gd name="T69" fmla="*/ 128972479 h 100"/>
                  <a:gd name="T70" fmla="*/ 93713317 w 109"/>
                  <a:gd name="T71" fmla="*/ 133932117 h 100"/>
                  <a:gd name="T72" fmla="*/ 89964895 w 109"/>
                  <a:gd name="T73" fmla="*/ 142200322 h 100"/>
                  <a:gd name="T74" fmla="*/ 84342242 w 109"/>
                  <a:gd name="T75" fmla="*/ 152120884 h 100"/>
                  <a:gd name="T76" fmla="*/ 78719609 w 109"/>
                  <a:gd name="T77" fmla="*/ 152120884 h 100"/>
                  <a:gd name="T78" fmla="*/ 58101923 w 109"/>
                  <a:gd name="T79" fmla="*/ 165348727 h 100"/>
                  <a:gd name="T80" fmla="*/ 52479290 w 109"/>
                  <a:gd name="T81" fmla="*/ 165348727 h 100"/>
                  <a:gd name="T82" fmla="*/ 46856658 w 109"/>
                  <a:gd name="T83" fmla="*/ 137239399 h 100"/>
                  <a:gd name="T84" fmla="*/ 43108226 w 109"/>
                  <a:gd name="T85" fmla="*/ 124011555 h 100"/>
                  <a:gd name="T86" fmla="*/ 43108226 w 109"/>
                  <a:gd name="T87" fmla="*/ 133932117 h 100"/>
                  <a:gd name="T88" fmla="*/ 31862962 w 109"/>
                  <a:gd name="T89" fmla="*/ 137239399 h 100"/>
                  <a:gd name="T90" fmla="*/ 20616323 w 109"/>
                  <a:gd name="T91" fmla="*/ 133932117 h 100"/>
                  <a:gd name="T92" fmla="*/ 11245270 w 109"/>
                  <a:gd name="T93" fmla="*/ 142200322 h 100"/>
                  <a:gd name="T94" fmla="*/ 0 w 109"/>
                  <a:gd name="T95" fmla="*/ 142200322 h 100"/>
                  <a:gd name="T96" fmla="*/ 5622635 w 109"/>
                  <a:gd name="T97" fmla="*/ 124011555 h 100"/>
                  <a:gd name="T98" fmla="*/ 16867902 w 109"/>
                  <a:gd name="T99" fmla="*/ 119050632 h 100"/>
                  <a:gd name="T100" fmla="*/ 26240330 w 109"/>
                  <a:gd name="T101" fmla="*/ 100863151 h 100"/>
                  <a:gd name="T102" fmla="*/ 37485594 w 109"/>
                  <a:gd name="T103" fmla="*/ 13227849 h 1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09"/>
                  <a:gd name="T157" fmla="*/ 0 h 100"/>
                  <a:gd name="T158" fmla="*/ 109 w 109"/>
                  <a:gd name="T159" fmla="*/ 100 h 10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09" h="100">
                    <a:moveTo>
                      <a:pt x="23" y="6"/>
                    </a:moveTo>
                    <a:lnTo>
                      <a:pt x="25" y="3"/>
                    </a:lnTo>
                    <a:lnTo>
                      <a:pt x="25" y="0"/>
                    </a:lnTo>
                    <a:lnTo>
                      <a:pt x="28" y="6"/>
                    </a:lnTo>
                    <a:lnTo>
                      <a:pt x="31" y="3"/>
                    </a:lnTo>
                    <a:lnTo>
                      <a:pt x="31" y="8"/>
                    </a:lnTo>
                    <a:lnTo>
                      <a:pt x="34" y="11"/>
                    </a:lnTo>
                    <a:lnTo>
                      <a:pt x="34" y="14"/>
                    </a:lnTo>
                    <a:lnTo>
                      <a:pt x="34" y="25"/>
                    </a:lnTo>
                    <a:lnTo>
                      <a:pt x="37" y="25"/>
                    </a:lnTo>
                    <a:lnTo>
                      <a:pt x="39" y="22"/>
                    </a:lnTo>
                    <a:lnTo>
                      <a:pt x="42" y="17"/>
                    </a:lnTo>
                    <a:lnTo>
                      <a:pt x="45" y="22"/>
                    </a:lnTo>
                    <a:lnTo>
                      <a:pt x="48" y="22"/>
                    </a:lnTo>
                    <a:lnTo>
                      <a:pt x="48" y="28"/>
                    </a:lnTo>
                    <a:lnTo>
                      <a:pt x="50" y="28"/>
                    </a:lnTo>
                    <a:lnTo>
                      <a:pt x="59" y="31"/>
                    </a:lnTo>
                    <a:lnTo>
                      <a:pt x="62" y="33"/>
                    </a:lnTo>
                    <a:lnTo>
                      <a:pt x="64" y="39"/>
                    </a:lnTo>
                    <a:lnTo>
                      <a:pt x="67" y="39"/>
                    </a:lnTo>
                    <a:lnTo>
                      <a:pt x="70" y="42"/>
                    </a:lnTo>
                    <a:lnTo>
                      <a:pt x="73" y="44"/>
                    </a:lnTo>
                    <a:lnTo>
                      <a:pt x="76" y="44"/>
                    </a:lnTo>
                    <a:lnTo>
                      <a:pt x="81" y="47"/>
                    </a:lnTo>
                    <a:lnTo>
                      <a:pt x="84" y="53"/>
                    </a:lnTo>
                    <a:lnTo>
                      <a:pt x="87" y="61"/>
                    </a:lnTo>
                    <a:lnTo>
                      <a:pt x="87" y="64"/>
                    </a:lnTo>
                    <a:lnTo>
                      <a:pt x="87" y="67"/>
                    </a:lnTo>
                    <a:lnTo>
                      <a:pt x="89" y="70"/>
                    </a:lnTo>
                    <a:lnTo>
                      <a:pt x="92" y="70"/>
                    </a:lnTo>
                    <a:lnTo>
                      <a:pt x="95" y="70"/>
                    </a:lnTo>
                    <a:lnTo>
                      <a:pt x="98" y="67"/>
                    </a:lnTo>
                    <a:lnTo>
                      <a:pt x="101" y="67"/>
                    </a:lnTo>
                    <a:lnTo>
                      <a:pt x="101" y="70"/>
                    </a:lnTo>
                    <a:lnTo>
                      <a:pt x="103" y="72"/>
                    </a:lnTo>
                    <a:lnTo>
                      <a:pt x="103" y="75"/>
                    </a:lnTo>
                    <a:lnTo>
                      <a:pt x="109" y="78"/>
                    </a:lnTo>
                    <a:lnTo>
                      <a:pt x="106" y="78"/>
                    </a:lnTo>
                    <a:lnTo>
                      <a:pt x="98" y="89"/>
                    </a:lnTo>
                    <a:lnTo>
                      <a:pt x="95" y="89"/>
                    </a:lnTo>
                    <a:lnTo>
                      <a:pt x="92" y="86"/>
                    </a:lnTo>
                    <a:lnTo>
                      <a:pt x="89" y="86"/>
                    </a:lnTo>
                    <a:lnTo>
                      <a:pt x="87" y="86"/>
                    </a:lnTo>
                    <a:lnTo>
                      <a:pt x="87" y="83"/>
                    </a:lnTo>
                    <a:lnTo>
                      <a:pt x="84" y="83"/>
                    </a:lnTo>
                    <a:lnTo>
                      <a:pt x="81" y="83"/>
                    </a:lnTo>
                    <a:lnTo>
                      <a:pt x="81" y="81"/>
                    </a:lnTo>
                    <a:lnTo>
                      <a:pt x="78" y="83"/>
                    </a:lnTo>
                    <a:lnTo>
                      <a:pt x="76" y="81"/>
                    </a:lnTo>
                    <a:lnTo>
                      <a:pt x="76" y="75"/>
                    </a:lnTo>
                    <a:lnTo>
                      <a:pt x="76" y="72"/>
                    </a:lnTo>
                    <a:lnTo>
                      <a:pt x="73" y="72"/>
                    </a:lnTo>
                    <a:lnTo>
                      <a:pt x="67" y="70"/>
                    </a:lnTo>
                    <a:lnTo>
                      <a:pt x="67" y="72"/>
                    </a:lnTo>
                    <a:lnTo>
                      <a:pt x="64" y="72"/>
                    </a:lnTo>
                    <a:lnTo>
                      <a:pt x="67" y="67"/>
                    </a:lnTo>
                    <a:lnTo>
                      <a:pt x="67" y="64"/>
                    </a:lnTo>
                    <a:lnTo>
                      <a:pt x="56" y="67"/>
                    </a:lnTo>
                    <a:lnTo>
                      <a:pt x="56" y="75"/>
                    </a:lnTo>
                    <a:lnTo>
                      <a:pt x="56" y="78"/>
                    </a:lnTo>
                    <a:lnTo>
                      <a:pt x="53" y="78"/>
                    </a:lnTo>
                    <a:lnTo>
                      <a:pt x="53" y="81"/>
                    </a:lnTo>
                    <a:lnTo>
                      <a:pt x="50" y="81"/>
                    </a:lnTo>
                    <a:lnTo>
                      <a:pt x="50" y="83"/>
                    </a:lnTo>
                    <a:lnTo>
                      <a:pt x="48" y="86"/>
                    </a:lnTo>
                    <a:lnTo>
                      <a:pt x="45" y="92"/>
                    </a:lnTo>
                    <a:lnTo>
                      <a:pt x="42" y="92"/>
                    </a:lnTo>
                    <a:lnTo>
                      <a:pt x="39" y="97"/>
                    </a:lnTo>
                    <a:lnTo>
                      <a:pt x="31" y="100"/>
                    </a:lnTo>
                    <a:lnTo>
                      <a:pt x="28" y="100"/>
                    </a:lnTo>
                    <a:lnTo>
                      <a:pt x="25" y="95"/>
                    </a:lnTo>
                    <a:lnTo>
                      <a:pt x="25" y="83"/>
                    </a:lnTo>
                    <a:lnTo>
                      <a:pt x="25" y="81"/>
                    </a:lnTo>
                    <a:lnTo>
                      <a:pt x="23" y="75"/>
                    </a:lnTo>
                    <a:lnTo>
                      <a:pt x="23" y="81"/>
                    </a:lnTo>
                    <a:lnTo>
                      <a:pt x="20" y="81"/>
                    </a:lnTo>
                    <a:lnTo>
                      <a:pt x="17" y="83"/>
                    </a:lnTo>
                    <a:lnTo>
                      <a:pt x="14" y="83"/>
                    </a:lnTo>
                    <a:lnTo>
                      <a:pt x="11" y="81"/>
                    </a:lnTo>
                    <a:lnTo>
                      <a:pt x="11" y="83"/>
                    </a:lnTo>
                    <a:lnTo>
                      <a:pt x="6" y="86"/>
                    </a:lnTo>
                    <a:lnTo>
                      <a:pt x="3" y="86"/>
                    </a:lnTo>
                    <a:lnTo>
                      <a:pt x="0" y="86"/>
                    </a:lnTo>
                    <a:lnTo>
                      <a:pt x="0" y="81"/>
                    </a:lnTo>
                    <a:lnTo>
                      <a:pt x="3" y="75"/>
                    </a:lnTo>
                    <a:lnTo>
                      <a:pt x="6" y="72"/>
                    </a:lnTo>
                    <a:lnTo>
                      <a:pt x="9" y="72"/>
                    </a:lnTo>
                    <a:lnTo>
                      <a:pt x="14" y="64"/>
                    </a:lnTo>
                    <a:lnTo>
                      <a:pt x="14" y="61"/>
                    </a:lnTo>
                    <a:lnTo>
                      <a:pt x="14" y="58"/>
                    </a:lnTo>
                    <a:lnTo>
                      <a:pt x="20" y="8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0" name="Freeform 944"/>
              <p:cNvSpPr>
                <a:spLocks noChangeAspect="1"/>
              </p:cNvSpPr>
              <p:nvPr>
                <p:custDataLst>
                  <p:tags r:id="rId258"/>
                </p:custDataLst>
              </p:nvPr>
            </p:nvSpPr>
            <p:spPr bwMode="gray">
              <a:xfrm>
                <a:off x="3501708" y="2369366"/>
                <a:ext cx="22777" cy="23652"/>
              </a:xfrm>
              <a:custGeom>
                <a:avLst/>
                <a:gdLst>
                  <a:gd name="T0" fmla="*/ 15696309 w 17"/>
                  <a:gd name="T1" fmla="*/ 12566997 h 19"/>
                  <a:gd name="T2" fmla="*/ 15696309 w 17"/>
                  <a:gd name="T3" fmla="*/ 12566997 h 19"/>
                  <a:gd name="T4" fmla="*/ 21582072 w 17"/>
                  <a:gd name="T5" fmla="*/ 12566997 h 19"/>
                  <a:gd name="T6" fmla="*/ 21582072 w 17"/>
                  <a:gd name="T7" fmla="*/ 21990680 h 19"/>
                  <a:gd name="T8" fmla="*/ 27467841 w 17"/>
                  <a:gd name="T9" fmla="*/ 25132741 h 19"/>
                  <a:gd name="T10" fmla="*/ 33353604 w 17"/>
                  <a:gd name="T11" fmla="*/ 25132741 h 19"/>
                  <a:gd name="T12" fmla="*/ 33353604 w 17"/>
                  <a:gd name="T13" fmla="*/ 29845207 h 19"/>
                  <a:gd name="T14" fmla="*/ 21582072 w 17"/>
                  <a:gd name="T15" fmla="*/ 29845207 h 19"/>
                  <a:gd name="T16" fmla="*/ 15696309 w 17"/>
                  <a:gd name="T17" fmla="*/ 25132741 h 19"/>
                  <a:gd name="T18" fmla="*/ 9810542 w 17"/>
                  <a:gd name="T19" fmla="*/ 21990680 h 19"/>
                  <a:gd name="T20" fmla="*/ 5885766 w 17"/>
                  <a:gd name="T21" fmla="*/ 7854529 h 19"/>
                  <a:gd name="T22" fmla="*/ 0 w 17"/>
                  <a:gd name="T23" fmla="*/ 3142063 h 19"/>
                  <a:gd name="T24" fmla="*/ 0 w 17"/>
                  <a:gd name="T25" fmla="*/ 0 h 19"/>
                  <a:gd name="T26" fmla="*/ 0 w 17"/>
                  <a:gd name="T27" fmla="*/ 0 h 19"/>
                  <a:gd name="T28" fmla="*/ 5885766 w 17"/>
                  <a:gd name="T29" fmla="*/ 3142063 h 19"/>
                  <a:gd name="T30" fmla="*/ 15696309 w 17"/>
                  <a:gd name="T31" fmla="*/ 12566997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19"/>
                  <a:gd name="T50" fmla="*/ 17 w 17"/>
                  <a:gd name="T51" fmla="*/ 19 h 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19">
                    <a:moveTo>
                      <a:pt x="8" y="8"/>
                    </a:moveTo>
                    <a:lnTo>
                      <a:pt x="8" y="8"/>
                    </a:lnTo>
                    <a:lnTo>
                      <a:pt x="11" y="8"/>
                    </a:lnTo>
                    <a:lnTo>
                      <a:pt x="11" y="14"/>
                    </a:lnTo>
                    <a:lnTo>
                      <a:pt x="14" y="16"/>
                    </a:lnTo>
                    <a:lnTo>
                      <a:pt x="17" y="16"/>
                    </a:lnTo>
                    <a:lnTo>
                      <a:pt x="17" y="19"/>
                    </a:lnTo>
                    <a:lnTo>
                      <a:pt x="11" y="19"/>
                    </a:lnTo>
                    <a:lnTo>
                      <a:pt x="8" y="16"/>
                    </a:lnTo>
                    <a:lnTo>
                      <a:pt x="5" y="14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1" name="Freeform 945"/>
              <p:cNvSpPr>
                <a:spLocks noChangeAspect="1"/>
              </p:cNvSpPr>
              <p:nvPr>
                <p:custDataLst>
                  <p:tags r:id="rId259"/>
                </p:custDataLst>
              </p:nvPr>
            </p:nvSpPr>
            <p:spPr bwMode="gray">
              <a:xfrm>
                <a:off x="3501708" y="2369366"/>
                <a:ext cx="22777" cy="23652"/>
              </a:xfrm>
              <a:custGeom>
                <a:avLst/>
                <a:gdLst>
                  <a:gd name="T0" fmla="*/ 15696309 w 17"/>
                  <a:gd name="T1" fmla="*/ 12566997 h 19"/>
                  <a:gd name="T2" fmla="*/ 15696309 w 17"/>
                  <a:gd name="T3" fmla="*/ 12566997 h 19"/>
                  <a:gd name="T4" fmla="*/ 21582072 w 17"/>
                  <a:gd name="T5" fmla="*/ 12566997 h 19"/>
                  <a:gd name="T6" fmla="*/ 21582072 w 17"/>
                  <a:gd name="T7" fmla="*/ 21990680 h 19"/>
                  <a:gd name="T8" fmla="*/ 27467841 w 17"/>
                  <a:gd name="T9" fmla="*/ 25132741 h 19"/>
                  <a:gd name="T10" fmla="*/ 33353604 w 17"/>
                  <a:gd name="T11" fmla="*/ 25132741 h 19"/>
                  <a:gd name="T12" fmla="*/ 33353604 w 17"/>
                  <a:gd name="T13" fmla="*/ 29845207 h 19"/>
                  <a:gd name="T14" fmla="*/ 21582072 w 17"/>
                  <a:gd name="T15" fmla="*/ 29845207 h 19"/>
                  <a:gd name="T16" fmla="*/ 15696309 w 17"/>
                  <a:gd name="T17" fmla="*/ 25132741 h 19"/>
                  <a:gd name="T18" fmla="*/ 9810542 w 17"/>
                  <a:gd name="T19" fmla="*/ 21990680 h 19"/>
                  <a:gd name="T20" fmla="*/ 5885766 w 17"/>
                  <a:gd name="T21" fmla="*/ 7854529 h 19"/>
                  <a:gd name="T22" fmla="*/ 0 w 17"/>
                  <a:gd name="T23" fmla="*/ 3142063 h 19"/>
                  <a:gd name="T24" fmla="*/ 0 w 17"/>
                  <a:gd name="T25" fmla="*/ 0 h 19"/>
                  <a:gd name="T26" fmla="*/ 0 w 17"/>
                  <a:gd name="T27" fmla="*/ 0 h 19"/>
                  <a:gd name="T28" fmla="*/ 5885766 w 17"/>
                  <a:gd name="T29" fmla="*/ 3142063 h 19"/>
                  <a:gd name="T30" fmla="*/ 15696309 w 17"/>
                  <a:gd name="T31" fmla="*/ 12566997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7"/>
                  <a:gd name="T49" fmla="*/ 0 h 19"/>
                  <a:gd name="T50" fmla="*/ 17 w 17"/>
                  <a:gd name="T51" fmla="*/ 19 h 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7" h="19">
                    <a:moveTo>
                      <a:pt x="8" y="8"/>
                    </a:moveTo>
                    <a:lnTo>
                      <a:pt x="8" y="8"/>
                    </a:lnTo>
                    <a:lnTo>
                      <a:pt x="11" y="8"/>
                    </a:lnTo>
                    <a:lnTo>
                      <a:pt x="11" y="14"/>
                    </a:lnTo>
                    <a:lnTo>
                      <a:pt x="14" y="16"/>
                    </a:lnTo>
                    <a:lnTo>
                      <a:pt x="17" y="16"/>
                    </a:lnTo>
                    <a:lnTo>
                      <a:pt x="17" y="19"/>
                    </a:lnTo>
                    <a:lnTo>
                      <a:pt x="11" y="19"/>
                    </a:lnTo>
                    <a:lnTo>
                      <a:pt x="8" y="16"/>
                    </a:lnTo>
                    <a:lnTo>
                      <a:pt x="5" y="14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8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2" name="Freeform 946"/>
              <p:cNvSpPr>
                <a:spLocks noChangeAspect="1"/>
              </p:cNvSpPr>
              <p:nvPr>
                <p:custDataLst>
                  <p:tags r:id="rId260"/>
                </p:custDataLst>
              </p:nvPr>
            </p:nvSpPr>
            <p:spPr bwMode="gray">
              <a:xfrm>
                <a:off x="3647479" y="2255842"/>
                <a:ext cx="44034" cy="58340"/>
              </a:xfrm>
              <a:custGeom>
                <a:avLst/>
                <a:gdLst>
                  <a:gd name="T0" fmla="*/ 25666981 w 34"/>
                  <a:gd name="T1" fmla="*/ 0 h 45"/>
                  <a:gd name="T2" fmla="*/ 25666981 w 34"/>
                  <a:gd name="T3" fmla="*/ 0 h 45"/>
                  <a:gd name="T4" fmla="*/ 25666981 w 34"/>
                  <a:gd name="T5" fmla="*/ 0 h 45"/>
                  <a:gd name="T6" fmla="*/ 31168400 w 34"/>
                  <a:gd name="T7" fmla="*/ 5111511 h 45"/>
                  <a:gd name="T8" fmla="*/ 36668465 w 34"/>
                  <a:gd name="T9" fmla="*/ 0 h 45"/>
                  <a:gd name="T10" fmla="*/ 42168530 w 34"/>
                  <a:gd name="T11" fmla="*/ 0 h 45"/>
                  <a:gd name="T12" fmla="*/ 45835250 w 34"/>
                  <a:gd name="T13" fmla="*/ 5111511 h 45"/>
                  <a:gd name="T14" fmla="*/ 51335315 w 34"/>
                  <a:gd name="T15" fmla="*/ 5111511 h 45"/>
                  <a:gd name="T16" fmla="*/ 56835380 w 34"/>
                  <a:gd name="T17" fmla="*/ 5111511 h 45"/>
                  <a:gd name="T18" fmla="*/ 62335445 w 34"/>
                  <a:gd name="T19" fmla="*/ 15334534 h 45"/>
                  <a:gd name="T20" fmla="*/ 62335445 w 34"/>
                  <a:gd name="T21" fmla="*/ 57928722 h 45"/>
                  <a:gd name="T22" fmla="*/ 42168530 w 34"/>
                  <a:gd name="T23" fmla="*/ 71558544 h 45"/>
                  <a:gd name="T24" fmla="*/ 16500200 w 34"/>
                  <a:gd name="T25" fmla="*/ 76670053 h 45"/>
                  <a:gd name="T26" fmla="*/ 16500200 w 34"/>
                  <a:gd name="T27" fmla="*/ 76670053 h 45"/>
                  <a:gd name="T28" fmla="*/ 5500066 w 34"/>
                  <a:gd name="T29" fmla="*/ 71558544 h 45"/>
                  <a:gd name="T30" fmla="*/ 0 w 34"/>
                  <a:gd name="T31" fmla="*/ 61335524 h 45"/>
                  <a:gd name="T32" fmla="*/ 0 w 34"/>
                  <a:gd name="T33" fmla="*/ 34075870 h 45"/>
                  <a:gd name="T34" fmla="*/ 16500200 w 34"/>
                  <a:gd name="T35" fmla="*/ 5111511 h 45"/>
                  <a:gd name="T36" fmla="*/ 20166910 w 34"/>
                  <a:gd name="T37" fmla="*/ 5111511 h 45"/>
                  <a:gd name="T38" fmla="*/ 25666981 w 34"/>
                  <a:gd name="T39" fmla="*/ 0 h 4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4"/>
                  <a:gd name="T61" fmla="*/ 0 h 45"/>
                  <a:gd name="T62" fmla="*/ 34 w 34"/>
                  <a:gd name="T63" fmla="*/ 45 h 4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4" h="45">
                    <a:moveTo>
                      <a:pt x="14" y="0"/>
                    </a:moveTo>
                    <a:lnTo>
                      <a:pt x="14" y="0"/>
                    </a:lnTo>
                    <a:lnTo>
                      <a:pt x="17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5" y="3"/>
                    </a:lnTo>
                    <a:lnTo>
                      <a:pt x="28" y="3"/>
                    </a:lnTo>
                    <a:lnTo>
                      <a:pt x="31" y="3"/>
                    </a:lnTo>
                    <a:lnTo>
                      <a:pt x="34" y="9"/>
                    </a:lnTo>
                    <a:lnTo>
                      <a:pt x="34" y="34"/>
                    </a:lnTo>
                    <a:lnTo>
                      <a:pt x="23" y="42"/>
                    </a:lnTo>
                    <a:lnTo>
                      <a:pt x="9" y="45"/>
                    </a:lnTo>
                    <a:lnTo>
                      <a:pt x="3" y="42"/>
                    </a:lnTo>
                    <a:lnTo>
                      <a:pt x="0" y="36"/>
                    </a:lnTo>
                    <a:lnTo>
                      <a:pt x="0" y="20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3" name="Freeform 947"/>
              <p:cNvSpPr>
                <a:spLocks noChangeAspect="1"/>
              </p:cNvSpPr>
              <p:nvPr>
                <p:custDataLst>
                  <p:tags r:id="rId261"/>
                </p:custDataLst>
              </p:nvPr>
            </p:nvSpPr>
            <p:spPr bwMode="gray">
              <a:xfrm>
                <a:off x="3697588" y="2263725"/>
                <a:ext cx="27332" cy="20498"/>
              </a:xfrm>
              <a:custGeom>
                <a:avLst/>
                <a:gdLst>
                  <a:gd name="T0" fmla="*/ 0 w 20"/>
                  <a:gd name="T1" fmla="*/ 7368622 h 17"/>
                  <a:gd name="T2" fmla="*/ 0 w 20"/>
                  <a:gd name="T3" fmla="*/ 7368622 h 17"/>
                  <a:gd name="T4" fmla="*/ 6123623 w 20"/>
                  <a:gd name="T5" fmla="*/ 4421173 h 17"/>
                  <a:gd name="T6" fmla="*/ 12247246 w 20"/>
                  <a:gd name="T7" fmla="*/ 0 h 17"/>
                  <a:gd name="T8" fmla="*/ 12247246 w 20"/>
                  <a:gd name="T9" fmla="*/ 7368622 h 17"/>
                  <a:gd name="T10" fmla="*/ 34702907 w 20"/>
                  <a:gd name="T11" fmla="*/ 11789796 h 17"/>
                  <a:gd name="T12" fmla="*/ 40826527 w 20"/>
                  <a:gd name="T13" fmla="*/ 20630931 h 17"/>
                  <a:gd name="T14" fmla="*/ 34702907 w 20"/>
                  <a:gd name="T15" fmla="*/ 25052102 h 17"/>
                  <a:gd name="T16" fmla="*/ 18372295 w 20"/>
                  <a:gd name="T17" fmla="*/ 25052102 h 17"/>
                  <a:gd name="T18" fmla="*/ 12247246 w 20"/>
                  <a:gd name="T19" fmla="*/ 25052102 h 17"/>
                  <a:gd name="T20" fmla="*/ 0 w 20"/>
                  <a:gd name="T21" fmla="*/ 16209754 h 17"/>
                  <a:gd name="T22" fmla="*/ 0 w 20"/>
                  <a:gd name="T23" fmla="*/ 7368622 h 1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"/>
                  <a:gd name="T37" fmla="*/ 0 h 17"/>
                  <a:gd name="T38" fmla="*/ 20 w 20"/>
                  <a:gd name="T39" fmla="*/ 17 h 1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" h="17">
                    <a:moveTo>
                      <a:pt x="0" y="5"/>
                    </a:moveTo>
                    <a:lnTo>
                      <a:pt x="0" y="5"/>
                    </a:lnTo>
                    <a:lnTo>
                      <a:pt x="3" y="3"/>
                    </a:lnTo>
                    <a:lnTo>
                      <a:pt x="6" y="0"/>
                    </a:lnTo>
                    <a:lnTo>
                      <a:pt x="6" y="5"/>
                    </a:lnTo>
                    <a:lnTo>
                      <a:pt x="17" y="8"/>
                    </a:lnTo>
                    <a:lnTo>
                      <a:pt x="20" y="14"/>
                    </a:lnTo>
                    <a:lnTo>
                      <a:pt x="17" y="17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0" y="11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4" name="Freeform 948"/>
              <p:cNvSpPr>
                <a:spLocks noChangeAspect="1"/>
              </p:cNvSpPr>
              <p:nvPr>
                <p:custDataLst>
                  <p:tags r:id="rId262"/>
                </p:custDataLst>
              </p:nvPr>
            </p:nvSpPr>
            <p:spPr bwMode="gray">
              <a:xfrm>
                <a:off x="3604962" y="2194349"/>
                <a:ext cx="21259" cy="28381"/>
              </a:xfrm>
              <a:custGeom>
                <a:avLst/>
                <a:gdLst>
                  <a:gd name="T0" fmla="*/ 18801039 w 17"/>
                  <a:gd name="T1" fmla="*/ 18558162 h 22"/>
                  <a:gd name="T2" fmla="*/ 13673603 w 17"/>
                  <a:gd name="T3" fmla="*/ 32053356 h 22"/>
                  <a:gd name="T4" fmla="*/ 8546165 w 17"/>
                  <a:gd name="T5" fmla="*/ 37115026 h 22"/>
                  <a:gd name="T6" fmla="*/ 0 w 17"/>
                  <a:gd name="T7" fmla="*/ 37115026 h 22"/>
                  <a:gd name="T8" fmla="*/ 0 w 17"/>
                  <a:gd name="T9" fmla="*/ 32053356 h 22"/>
                  <a:gd name="T10" fmla="*/ 5127437 w 17"/>
                  <a:gd name="T11" fmla="*/ 23618538 h 22"/>
                  <a:gd name="T12" fmla="*/ 8546165 w 17"/>
                  <a:gd name="T13" fmla="*/ 18558162 h 22"/>
                  <a:gd name="T14" fmla="*/ 18801039 w 17"/>
                  <a:gd name="T15" fmla="*/ 5061671 h 22"/>
                  <a:gd name="T16" fmla="*/ 23928480 w 17"/>
                  <a:gd name="T17" fmla="*/ 0 h 22"/>
                  <a:gd name="T18" fmla="*/ 29055916 w 17"/>
                  <a:gd name="T19" fmla="*/ 5061671 h 22"/>
                  <a:gd name="T20" fmla="*/ 29055916 w 17"/>
                  <a:gd name="T21" fmla="*/ 8434820 h 22"/>
                  <a:gd name="T22" fmla="*/ 23928480 w 17"/>
                  <a:gd name="T23" fmla="*/ 13496492 h 22"/>
                  <a:gd name="T24" fmla="*/ 23928480 w 17"/>
                  <a:gd name="T25" fmla="*/ 13496492 h 22"/>
                  <a:gd name="T26" fmla="*/ 18801039 w 17"/>
                  <a:gd name="T27" fmla="*/ 18558162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"/>
                  <a:gd name="T43" fmla="*/ 0 h 22"/>
                  <a:gd name="T44" fmla="*/ 17 w 17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" h="22">
                    <a:moveTo>
                      <a:pt x="11" y="11"/>
                    </a:moveTo>
                    <a:lnTo>
                      <a:pt x="8" y="19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3" y="14"/>
                    </a:lnTo>
                    <a:lnTo>
                      <a:pt x="5" y="11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1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5" name="Freeform 949"/>
              <p:cNvSpPr>
                <a:spLocks noChangeAspect="1"/>
              </p:cNvSpPr>
              <p:nvPr>
                <p:custDataLst>
                  <p:tags r:id="rId263"/>
                </p:custDataLst>
              </p:nvPr>
            </p:nvSpPr>
            <p:spPr bwMode="gray">
              <a:xfrm>
                <a:off x="3604962" y="2194349"/>
                <a:ext cx="21259" cy="28381"/>
              </a:xfrm>
              <a:custGeom>
                <a:avLst/>
                <a:gdLst>
                  <a:gd name="T0" fmla="*/ 18801039 w 17"/>
                  <a:gd name="T1" fmla="*/ 18558162 h 22"/>
                  <a:gd name="T2" fmla="*/ 13673603 w 17"/>
                  <a:gd name="T3" fmla="*/ 32053356 h 22"/>
                  <a:gd name="T4" fmla="*/ 8546165 w 17"/>
                  <a:gd name="T5" fmla="*/ 37115026 h 22"/>
                  <a:gd name="T6" fmla="*/ 0 w 17"/>
                  <a:gd name="T7" fmla="*/ 37115026 h 22"/>
                  <a:gd name="T8" fmla="*/ 0 w 17"/>
                  <a:gd name="T9" fmla="*/ 32053356 h 22"/>
                  <a:gd name="T10" fmla="*/ 5127437 w 17"/>
                  <a:gd name="T11" fmla="*/ 23618538 h 22"/>
                  <a:gd name="T12" fmla="*/ 8546165 w 17"/>
                  <a:gd name="T13" fmla="*/ 18558162 h 22"/>
                  <a:gd name="T14" fmla="*/ 18801039 w 17"/>
                  <a:gd name="T15" fmla="*/ 5061671 h 22"/>
                  <a:gd name="T16" fmla="*/ 23928480 w 17"/>
                  <a:gd name="T17" fmla="*/ 0 h 22"/>
                  <a:gd name="T18" fmla="*/ 29055916 w 17"/>
                  <a:gd name="T19" fmla="*/ 5061671 h 22"/>
                  <a:gd name="T20" fmla="*/ 29055916 w 17"/>
                  <a:gd name="T21" fmla="*/ 8434820 h 22"/>
                  <a:gd name="T22" fmla="*/ 23928480 w 17"/>
                  <a:gd name="T23" fmla="*/ 13496492 h 22"/>
                  <a:gd name="T24" fmla="*/ 23928480 w 17"/>
                  <a:gd name="T25" fmla="*/ 13496492 h 22"/>
                  <a:gd name="T26" fmla="*/ 18801039 w 17"/>
                  <a:gd name="T27" fmla="*/ 18558162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"/>
                  <a:gd name="T43" fmla="*/ 0 h 22"/>
                  <a:gd name="T44" fmla="*/ 17 w 17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" h="22">
                    <a:moveTo>
                      <a:pt x="11" y="11"/>
                    </a:moveTo>
                    <a:lnTo>
                      <a:pt x="8" y="19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3" y="14"/>
                    </a:lnTo>
                    <a:lnTo>
                      <a:pt x="5" y="11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5"/>
                    </a:lnTo>
                    <a:lnTo>
                      <a:pt x="14" y="8"/>
                    </a:lnTo>
                    <a:lnTo>
                      <a:pt x="11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6" name="Freeform 950"/>
              <p:cNvSpPr>
                <a:spLocks noChangeAspect="1"/>
              </p:cNvSpPr>
              <p:nvPr>
                <p:custDataLst>
                  <p:tags r:id="rId264"/>
                </p:custDataLst>
              </p:nvPr>
            </p:nvSpPr>
            <p:spPr bwMode="gray">
              <a:xfrm>
                <a:off x="3582185" y="2173851"/>
                <a:ext cx="22777" cy="17345"/>
              </a:xfrm>
              <a:custGeom>
                <a:avLst/>
                <a:gdLst>
                  <a:gd name="T0" fmla="*/ 5886013 w 17"/>
                  <a:gd name="T1" fmla="*/ 0 h 14"/>
                  <a:gd name="T2" fmla="*/ 11773428 w 17"/>
                  <a:gd name="T3" fmla="*/ 0 h 14"/>
                  <a:gd name="T4" fmla="*/ 11773428 w 17"/>
                  <a:gd name="T5" fmla="*/ 4667610 h 14"/>
                  <a:gd name="T6" fmla="*/ 15696968 w 17"/>
                  <a:gd name="T7" fmla="*/ 4667610 h 14"/>
                  <a:gd name="T8" fmla="*/ 21582978 w 17"/>
                  <a:gd name="T9" fmla="*/ 0 h 14"/>
                  <a:gd name="T10" fmla="*/ 21582978 w 17"/>
                  <a:gd name="T11" fmla="*/ 0 h 14"/>
                  <a:gd name="T12" fmla="*/ 27470395 w 17"/>
                  <a:gd name="T13" fmla="*/ 0 h 14"/>
                  <a:gd name="T14" fmla="*/ 33356406 w 17"/>
                  <a:gd name="T15" fmla="*/ 4667610 h 14"/>
                  <a:gd name="T16" fmla="*/ 33356406 w 17"/>
                  <a:gd name="T17" fmla="*/ 9335221 h 14"/>
                  <a:gd name="T18" fmla="*/ 15696968 w 17"/>
                  <a:gd name="T19" fmla="*/ 14002832 h 14"/>
                  <a:gd name="T20" fmla="*/ 11773428 w 17"/>
                  <a:gd name="T21" fmla="*/ 9335221 h 14"/>
                  <a:gd name="T22" fmla="*/ 11773428 w 17"/>
                  <a:gd name="T23" fmla="*/ 21782602 h 14"/>
                  <a:gd name="T24" fmla="*/ 0 w 17"/>
                  <a:gd name="T25" fmla="*/ 9335221 h 14"/>
                  <a:gd name="T26" fmla="*/ 0 w 17"/>
                  <a:gd name="T27" fmla="*/ 0 h 14"/>
                  <a:gd name="T28" fmla="*/ 5886013 w 17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4"/>
                  <a:gd name="T47" fmla="*/ 17 w 17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4">
                    <a:moveTo>
                      <a:pt x="3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8" y="9"/>
                    </a:lnTo>
                    <a:lnTo>
                      <a:pt x="6" y="6"/>
                    </a:lnTo>
                    <a:lnTo>
                      <a:pt x="6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7" name="Freeform 951"/>
              <p:cNvSpPr>
                <a:spLocks noChangeAspect="1"/>
              </p:cNvSpPr>
              <p:nvPr>
                <p:custDataLst>
                  <p:tags r:id="rId265"/>
                </p:custDataLst>
              </p:nvPr>
            </p:nvSpPr>
            <p:spPr bwMode="gray">
              <a:xfrm>
                <a:off x="3582185" y="2173851"/>
                <a:ext cx="22777" cy="17345"/>
              </a:xfrm>
              <a:custGeom>
                <a:avLst/>
                <a:gdLst>
                  <a:gd name="T0" fmla="*/ 5886013 w 17"/>
                  <a:gd name="T1" fmla="*/ 0 h 14"/>
                  <a:gd name="T2" fmla="*/ 11773428 w 17"/>
                  <a:gd name="T3" fmla="*/ 0 h 14"/>
                  <a:gd name="T4" fmla="*/ 11773428 w 17"/>
                  <a:gd name="T5" fmla="*/ 4667610 h 14"/>
                  <a:gd name="T6" fmla="*/ 15696968 w 17"/>
                  <a:gd name="T7" fmla="*/ 4667610 h 14"/>
                  <a:gd name="T8" fmla="*/ 21582978 w 17"/>
                  <a:gd name="T9" fmla="*/ 0 h 14"/>
                  <a:gd name="T10" fmla="*/ 21582978 w 17"/>
                  <a:gd name="T11" fmla="*/ 0 h 14"/>
                  <a:gd name="T12" fmla="*/ 27470395 w 17"/>
                  <a:gd name="T13" fmla="*/ 0 h 14"/>
                  <a:gd name="T14" fmla="*/ 33356406 w 17"/>
                  <a:gd name="T15" fmla="*/ 4667610 h 14"/>
                  <a:gd name="T16" fmla="*/ 33356406 w 17"/>
                  <a:gd name="T17" fmla="*/ 9335221 h 14"/>
                  <a:gd name="T18" fmla="*/ 15696968 w 17"/>
                  <a:gd name="T19" fmla="*/ 14002832 h 14"/>
                  <a:gd name="T20" fmla="*/ 11773428 w 17"/>
                  <a:gd name="T21" fmla="*/ 9335221 h 14"/>
                  <a:gd name="T22" fmla="*/ 11773428 w 17"/>
                  <a:gd name="T23" fmla="*/ 21782602 h 14"/>
                  <a:gd name="T24" fmla="*/ 0 w 17"/>
                  <a:gd name="T25" fmla="*/ 9335221 h 14"/>
                  <a:gd name="T26" fmla="*/ 0 w 17"/>
                  <a:gd name="T27" fmla="*/ 0 h 14"/>
                  <a:gd name="T28" fmla="*/ 5886013 w 17"/>
                  <a:gd name="T29" fmla="*/ 0 h 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4"/>
                  <a:gd name="T47" fmla="*/ 17 w 17"/>
                  <a:gd name="T48" fmla="*/ 14 h 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4">
                    <a:moveTo>
                      <a:pt x="3" y="0"/>
                    </a:moveTo>
                    <a:lnTo>
                      <a:pt x="6" y="0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7" y="6"/>
                    </a:lnTo>
                    <a:lnTo>
                      <a:pt x="8" y="9"/>
                    </a:lnTo>
                    <a:lnTo>
                      <a:pt x="6" y="6"/>
                    </a:lnTo>
                    <a:lnTo>
                      <a:pt x="6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8" name="Freeform 952"/>
              <p:cNvSpPr>
                <a:spLocks noChangeAspect="1"/>
              </p:cNvSpPr>
              <p:nvPr>
                <p:custDataLst>
                  <p:tags r:id="rId266"/>
                </p:custDataLst>
              </p:nvPr>
            </p:nvSpPr>
            <p:spPr bwMode="gray">
              <a:xfrm>
                <a:off x="3621666" y="2493930"/>
                <a:ext cx="18222" cy="17344"/>
              </a:xfrm>
              <a:custGeom>
                <a:avLst/>
                <a:gdLst>
                  <a:gd name="T0" fmla="*/ 0 w 14"/>
                  <a:gd name="T1" fmla="*/ 4667343 h 14"/>
                  <a:gd name="T2" fmla="*/ 0 w 14"/>
                  <a:gd name="T3" fmla="*/ 4667343 h 14"/>
                  <a:gd name="T4" fmla="*/ 0 w 14"/>
                  <a:gd name="T5" fmla="*/ 4667343 h 14"/>
                  <a:gd name="T6" fmla="*/ 5554436 w 14"/>
                  <a:gd name="T7" fmla="*/ 0 h 14"/>
                  <a:gd name="T8" fmla="*/ 14812737 w 14"/>
                  <a:gd name="T9" fmla="*/ 0 h 14"/>
                  <a:gd name="T10" fmla="*/ 14812737 w 14"/>
                  <a:gd name="T11" fmla="*/ 4667343 h 14"/>
                  <a:gd name="T12" fmla="*/ 20367171 w 14"/>
                  <a:gd name="T13" fmla="*/ 4667343 h 14"/>
                  <a:gd name="T14" fmla="*/ 25921611 w 14"/>
                  <a:gd name="T15" fmla="*/ 9334686 h 14"/>
                  <a:gd name="T16" fmla="*/ 25921611 w 14"/>
                  <a:gd name="T17" fmla="*/ 12445418 h 14"/>
                  <a:gd name="T18" fmla="*/ 20367171 w 14"/>
                  <a:gd name="T19" fmla="*/ 21780107 h 14"/>
                  <a:gd name="T20" fmla="*/ 0 w 14"/>
                  <a:gd name="T21" fmla="*/ 4667343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14"/>
                  <a:gd name="T35" fmla="*/ 14 w 14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14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1" y="1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9" name="Freeform 953"/>
              <p:cNvSpPr>
                <a:spLocks noChangeAspect="1"/>
              </p:cNvSpPr>
              <p:nvPr>
                <p:custDataLst>
                  <p:tags r:id="rId267"/>
                </p:custDataLst>
              </p:nvPr>
            </p:nvSpPr>
            <p:spPr bwMode="gray">
              <a:xfrm>
                <a:off x="3621666" y="2493930"/>
                <a:ext cx="18222" cy="17344"/>
              </a:xfrm>
              <a:custGeom>
                <a:avLst/>
                <a:gdLst>
                  <a:gd name="T0" fmla="*/ 0 w 14"/>
                  <a:gd name="T1" fmla="*/ 4667343 h 14"/>
                  <a:gd name="T2" fmla="*/ 0 w 14"/>
                  <a:gd name="T3" fmla="*/ 4667343 h 14"/>
                  <a:gd name="T4" fmla="*/ 0 w 14"/>
                  <a:gd name="T5" fmla="*/ 4667343 h 14"/>
                  <a:gd name="T6" fmla="*/ 5554436 w 14"/>
                  <a:gd name="T7" fmla="*/ 0 h 14"/>
                  <a:gd name="T8" fmla="*/ 14812737 w 14"/>
                  <a:gd name="T9" fmla="*/ 0 h 14"/>
                  <a:gd name="T10" fmla="*/ 14812737 w 14"/>
                  <a:gd name="T11" fmla="*/ 4667343 h 14"/>
                  <a:gd name="T12" fmla="*/ 20367171 w 14"/>
                  <a:gd name="T13" fmla="*/ 4667343 h 14"/>
                  <a:gd name="T14" fmla="*/ 25921611 w 14"/>
                  <a:gd name="T15" fmla="*/ 9334686 h 14"/>
                  <a:gd name="T16" fmla="*/ 25921611 w 14"/>
                  <a:gd name="T17" fmla="*/ 12445418 h 14"/>
                  <a:gd name="T18" fmla="*/ 20367171 w 14"/>
                  <a:gd name="T19" fmla="*/ 21780107 h 14"/>
                  <a:gd name="T20" fmla="*/ 0 w 14"/>
                  <a:gd name="T21" fmla="*/ 4667343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14"/>
                  <a:gd name="T35" fmla="*/ 14 w 14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14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1" y="14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0" name="Freeform 954"/>
              <p:cNvSpPr>
                <a:spLocks noChangeAspect="1"/>
              </p:cNvSpPr>
              <p:nvPr>
                <p:custDataLst>
                  <p:tags r:id="rId268"/>
                </p:custDataLst>
              </p:nvPr>
            </p:nvSpPr>
            <p:spPr bwMode="gray">
              <a:xfrm>
                <a:off x="3642923" y="2482892"/>
                <a:ext cx="16704" cy="14192"/>
              </a:xfrm>
              <a:custGeom>
                <a:avLst/>
                <a:gdLst>
                  <a:gd name="T0" fmla="*/ 0 w 12"/>
                  <a:gd name="T1" fmla="*/ 0 h 11"/>
                  <a:gd name="T2" fmla="*/ 19059409 w 12"/>
                  <a:gd name="T3" fmla="*/ 8436414 h 11"/>
                  <a:gd name="T4" fmla="*/ 25413034 w 12"/>
                  <a:gd name="T5" fmla="*/ 13496965 h 11"/>
                  <a:gd name="T6" fmla="*/ 25413034 w 12"/>
                  <a:gd name="T7" fmla="*/ 18558812 h 11"/>
                  <a:gd name="T8" fmla="*/ 19059409 w 12"/>
                  <a:gd name="T9" fmla="*/ 18558812 h 11"/>
                  <a:gd name="T10" fmla="*/ 0 w 12"/>
                  <a:gd name="T11" fmla="*/ 8436414 h 11"/>
                  <a:gd name="T12" fmla="*/ 0 w 12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1"/>
                  <a:gd name="T23" fmla="*/ 12 w 12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1">
                    <a:moveTo>
                      <a:pt x="0" y="0"/>
                    </a:moveTo>
                    <a:lnTo>
                      <a:pt x="9" y="5"/>
                    </a:lnTo>
                    <a:lnTo>
                      <a:pt x="12" y="8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1" name="Freeform 955"/>
              <p:cNvSpPr>
                <a:spLocks noChangeAspect="1"/>
              </p:cNvSpPr>
              <p:nvPr>
                <p:custDataLst>
                  <p:tags r:id="rId269"/>
                </p:custDataLst>
              </p:nvPr>
            </p:nvSpPr>
            <p:spPr bwMode="gray">
              <a:xfrm>
                <a:off x="3642923" y="2482892"/>
                <a:ext cx="16704" cy="14192"/>
              </a:xfrm>
              <a:custGeom>
                <a:avLst/>
                <a:gdLst>
                  <a:gd name="T0" fmla="*/ 0 w 12"/>
                  <a:gd name="T1" fmla="*/ 0 h 11"/>
                  <a:gd name="T2" fmla="*/ 19059409 w 12"/>
                  <a:gd name="T3" fmla="*/ 8436414 h 11"/>
                  <a:gd name="T4" fmla="*/ 25413034 w 12"/>
                  <a:gd name="T5" fmla="*/ 13496965 h 11"/>
                  <a:gd name="T6" fmla="*/ 25413034 w 12"/>
                  <a:gd name="T7" fmla="*/ 18558812 h 11"/>
                  <a:gd name="T8" fmla="*/ 19059409 w 12"/>
                  <a:gd name="T9" fmla="*/ 18558812 h 11"/>
                  <a:gd name="T10" fmla="*/ 0 w 12"/>
                  <a:gd name="T11" fmla="*/ 8436414 h 11"/>
                  <a:gd name="T12" fmla="*/ 0 w 12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11"/>
                  <a:gd name="T23" fmla="*/ 12 w 12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11">
                    <a:moveTo>
                      <a:pt x="0" y="0"/>
                    </a:moveTo>
                    <a:lnTo>
                      <a:pt x="9" y="5"/>
                    </a:lnTo>
                    <a:lnTo>
                      <a:pt x="12" y="8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2" name="Freeform 958"/>
              <p:cNvSpPr>
                <a:spLocks noChangeAspect="1"/>
              </p:cNvSpPr>
              <p:nvPr>
                <p:custDataLst>
                  <p:tags r:id="rId270"/>
                </p:custDataLst>
              </p:nvPr>
            </p:nvSpPr>
            <p:spPr bwMode="gray">
              <a:xfrm>
                <a:off x="3513855" y="2517580"/>
                <a:ext cx="36444" cy="36266"/>
              </a:xfrm>
              <a:custGeom>
                <a:avLst/>
                <a:gdLst>
                  <a:gd name="T0" fmla="*/ 37030479 w 28"/>
                  <a:gd name="T1" fmla="*/ 0 h 27"/>
                  <a:gd name="T2" fmla="*/ 20367171 w 28"/>
                  <a:gd name="T3" fmla="*/ 3658062 h 27"/>
                  <a:gd name="T4" fmla="*/ 16663308 w 28"/>
                  <a:gd name="T5" fmla="*/ 9144478 h 27"/>
                  <a:gd name="T6" fmla="*/ 0 w 28"/>
                  <a:gd name="T7" fmla="*/ 40233268 h 27"/>
                  <a:gd name="T8" fmla="*/ 0 w 28"/>
                  <a:gd name="T9" fmla="*/ 49377754 h 27"/>
                  <a:gd name="T10" fmla="*/ 5554436 w 28"/>
                  <a:gd name="T11" fmla="*/ 49377754 h 27"/>
                  <a:gd name="T12" fmla="*/ 11108871 w 28"/>
                  <a:gd name="T13" fmla="*/ 45719694 h 27"/>
                  <a:gd name="T14" fmla="*/ 20367171 w 28"/>
                  <a:gd name="T15" fmla="*/ 45719694 h 27"/>
                  <a:gd name="T16" fmla="*/ 20367171 w 28"/>
                  <a:gd name="T17" fmla="*/ 40233268 h 27"/>
                  <a:gd name="T18" fmla="*/ 31476045 w 28"/>
                  <a:gd name="T19" fmla="*/ 34746853 h 27"/>
                  <a:gd name="T20" fmla="*/ 31476045 w 28"/>
                  <a:gd name="T21" fmla="*/ 29260439 h 27"/>
                  <a:gd name="T22" fmla="*/ 31476045 w 28"/>
                  <a:gd name="T23" fmla="*/ 23774024 h 27"/>
                  <a:gd name="T24" fmla="*/ 37030479 w 28"/>
                  <a:gd name="T25" fmla="*/ 23774024 h 27"/>
                  <a:gd name="T26" fmla="*/ 51843221 w 28"/>
                  <a:gd name="T27" fmla="*/ 14630895 h 27"/>
                  <a:gd name="T28" fmla="*/ 51843221 w 28"/>
                  <a:gd name="T29" fmla="*/ 9144478 h 27"/>
                  <a:gd name="T30" fmla="*/ 51843221 w 28"/>
                  <a:gd name="T31" fmla="*/ 3658062 h 27"/>
                  <a:gd name="T32" fmla="*/ 51843221 w 28"/>
                  <a:gd name="T33" fmla="*/ 0 h 27"/>
                  <a:gd name="T34" fmla="*/ 42584913 w 28"/>
                  <a:gd name="T35" fmla="*/ 0 h 27"/>
                  <a:gd name="T36" fmla="*/ 37030479 w 28"/>
                  <a:gd name="T37" fmla="*/ 0 h 2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8"/>
                  <a:gd name="T58" fmla="*/ 0 h 27"/>
                  <a:gd name="T59" fmla="*/ 28 w 28"/>
                  <a:gd name="T60" fmla="*/ 27 h 2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8" h="27">
                    <a:moveTo>
                      <a:pt x="20" y="0"/>
                    </a:moveTo>
                    <a:lnTo>
                      <a:pt x="11" y="2"/>
                    </a:lnTo>
                    <a:lnTo>
                      <a:pt x="9" y="5"/>
                    </a:lnTo>
                    <a:lnTo>
                      <a:pt x="0" y="22"/>
                    </a:lnTo>
                    <a:lnTo>
                      <a:pt x="0" y="27"/>
                    </a:lnTo>
                    <a:lnTo>
                      <a:pt x="3" y="27"/>
                    </a:lnTo>
                    <a:lnTo>
                      <a:pt x="6" y="25"/>
                    </a:lnTo>
                    <a:lnTo>
                      <a:pt x="11" y="25"/>
                    </a:lnTo>
                    <a:lnTo>
                      <a:pt x="11" y="22"/>
                    </a:lnTo>
                    <a:lnTo>
                      <a:pt x="17" y="19"/>
                    </a:lnTo>
                    <a:lnTo>
                      <a:pt x="17" y="16"/>
                    </a:lnTo>
                    <a:lnTo>
                      <a:pt x="17" y="13"/>
                    </a:lnTo>
                    <a:lnTo>
                      <a:pt x="20" y="13"/>
                    </a:lnTo>
                    <a:lnTo>
                      <a:pt x="28" y="8"/>
                    </a:lnTo>
                    <a:lnTo>
                      <a:pt x="28" y="5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23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3" name="Freeform 959"/>
              <p:cNvSpPr>
                <a:spLocks noChangeAspect="1"/>
              </p:cNvSpPr>
              <p:nvPr>
                <p:custDataLst>
                  <p:tags r:id="rId271"/>
                </p:custDataLst>
              </p:nvPr>
            </p:nvSpPr>
            <p:spPr bwMode="gray">
              <a:xfrm>
                <a:off x="3586742" y="2542807"/>
                <a:ext cx="18222" cy="33112"/>
              </a:xfrm>
              <a:custGeom>
                <a:avLst/>
                <a:gdLst>
                  <a:gd name="T0" fmla="*/ 5554436 w 14"/>
                  <a:gd name="T1" fmla="*/ 0 h 25"/>
                  <a:gd name="T2" fmla="*/ 5554436 w 14"/>
                  <a:gd name="T3" fmla="*/ 0 h 25"/>
                  <a:gd name="T4" fmla="*/ 5554436 w 14"/>
                  <a:gd name="T5" fmla="*/ 0 h 25"/>
                  <a:gd name="T6" fmla="*/ 5554436 w 14"/>
                  <a:gd name="T7" fmla="*/ 5335413 h 25"/>
                  <a:gd name="T8" fmla="*/ 0 w 14"/>
                  <a:gd name="T9" fmla="*/ 5335413 h 25"/>
                  <a:gd name="T10" fmla="*/ 0 w 14"/>
                  <a:gd name="T11" fmla="*/ 35564978 h 25"/>
                  <a:gd name="T12" fmla="*/ 0 w 14"/>
                  <a:gd name="T13" fmla="*/ 35564978 h 25"/>
                  <a:gd name="T14" fmla="*/ 5554436 w 14"/>
                  <a:gd name="T15" fmla="*/ 39121475 h 25"/>
                  <a:gd name="T16" fmla="*/ 9258300 w 14"/>
                  <a:gd name="T17" fmla="*/ 44456897 h 25"/>
                  <a:gd name="T18" fmla="*/ 9258300 w 14"/>
                  <a:gd name="T19" fmla="*/ 44456897 h 25"/>
                  <a:gd name="T20" fmla="*/ 14812737 w 14"/>
                  <a:gd name="T21" fmla="*/ 39121475 h 25"/>
                  <a:gd name="T22" fmla="*/ 14812737 w 14"/>
                  <a:gd name="T23" fmla="*/ 35564978 h 25"/>
                  <a:gd name="T24" fmla="*/ 25921611 w 14"/>
                  <a:gd name="T25" fmla="*/ 5335413 h 25"/>
                  <a:gd name="T26" fmla="*/ 20367171 w 14"/>
                  <a:gd name="T27" fmla="*/ 0 h 25"/>
                  <a:gd name="T28" fmla="*/ 5554436 w 14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"/>
                  <a:gd name="T46" fmla="*/ 0 h 25"/>
                  <a:gd name="T47" fmla="*/ 14 w 14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" h="25">
                    <a:moveTo>
                      <a:pt x="3" y="0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20"/>
                    </a:lnTo>
                    <a:lnTo>
                      <a:pt x="3" y="22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4" name="Freeform 960"/>
              <p:cNvSpPr>
                <a:spLocks noChangeAspect="1"/>
              </p:cNvSpPr>
              <p:nvPr>
                <p:custDataLst>
                  <p:tags r:id="rId272"/>
                </p:custDataLst>
              </p:nvPr>
            </p:nvSpPr>
            <p:spPr bwMode="gray">
              <a:xfrm>
                <a:off x="3828175" y="2620069"/>
                <a:ext cx="12148" cy="9460"/>
              </a:xfrm>
              <a:custGeom>
                <a:avLst/>
                <a:gdLst>
                  <a:gd name="T0" fmla="*/ 5973234 w 9"/>
                  <a:gd name="T1" fmla="*/ 2834878 h 8"/>
                  <a:gd name="T2" fmla="*/ 0 w 9"/>
                  <a:gd name="T3" fmla="*/ 0 h 8"/>
                  <a:gd name="T4" fmla="*/ 0 w 9"/>
                  <a:gd name="T5" fmla="*/ 11340702 h 8"/>
                  <a:gd name="T6" fmla="*/ 0 w 9"/>
                  <a:gd name="T7" fmla="*/ 11340702 h 8"/>
                  <a:gd name="T8" fmla="*/ 5973234 w 9"/>
                  <a:gd name="T9" fmla="*/ 7087790 h 8"/>
                  <a:gd name="T10" fmla="*/ 11947878 w 9"/>
                  <a:gd name="T11" fmla="*/ 7087790 h 8"/>
                  <a:gd name="T12" fmla="*/ 17921109 w 9"/>
                  <a:gd name="T13" fmla="*/ 2834878 h 8"/>
                  <a:gd name="T14" fmla="*/ 17921109 w 9"/>
                  <a:gd name="T15" fmla="*/ 0 h 8"/>
                  <a:gd name="T16" fmla="*/ 5973234 w 9"/>
                  <a:gd name="T17" fmla="*/ 0 h 8"/>
                  <a:gd name="T18" fmla="*/ 5973234 w 9"/>
                  <a:gd name="T19" fmla="*/ 0 h 8"/>
                  <a:gd name="T20" fmla="*/ 5973234 w 9"/>
                  <a:gd name="T21" fmla="*/ 2834878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"/>
                  <a:gd name="T34" fmla="*/ 0 h 8"/>
                  <a:gd name="T35" fmla="*/ 9 w 9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" h="8">
                    <a:moveTo>
                      <a:pt x="3" y="2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" y="5"/>
                    </a:lnTo>
                    <a:lnTo>
                      <a:pt x="6" y="5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5" name="Freeform 961"/>
              <p:cNvSpPr>
                <a:spLocks noChangeAspect="1"/>
              </p:cNvSpPr>
              <p:nvPr>
                <p:custDataLst>
                  <p:tags r:id="rId273"/>
                </p:custDataLst>
              </p:nvPr>
            </p:nvSpPr>
            <p:spPr bwMode="gray">
              <a:xfrm>
                <a:off x="3828175" y="2620069"/>
                <a:ext cx="12148" cy="9460"/>
              </a:xfrm>
              <a:custGeom>
                <a:avLst/>
                <a:gdLst>
                  <a:gd name="T0" fmla="*/ 5973234 w 9"/>
                  <a:gd name="T1" fmla="*/ 2834878 h 8"/>
                  <a:gd name="T2" fmla="*/ 0 w 9"/>
                  <a:gd name="T3" fmla="*/ 0 h 8"/>
                  <a:gd name="T4" fmla="*/ 0 w 9"/>
                  <a:gd name="T5" fmla="*/ 11340702 h 8"/>
                  <a:gd name="T6" fmla="*/ 0 w 9"/>
                  <a:gd name="T7" fmla="*/ 11340702 h 8"/>
                  <a:gd name="T8" fmla="*/ 5973234 w 9"/>
                  <a:gd name="T9" fmla="*/ 7087790 h 8"/>
                  <a:gd name="T10" fmla="*/ 11947878 w 9"/>
                  <a:gd name="T11" fmla="*/ 7087790 h 8"/>
                  <a:gd name="T12" fmla="*/ 17921109 w 9"/>
                  <a:gd name="T13" fmla="*/ 2834878 h 8"/>
                  <a:gd name="T14" fmla="*/ 17921109 w 9"/>
                  <a:gd name="T15" fmla="*/ 0 h 8"/>
                  <a:gd name="T16" fmla="*/ 5973234 w 9"/>
                  <a:gd name="T17" fmla="*/ 0 h 8"/>
                  <a:gd name="T18" fmla="*/ 5973234 w 9"/>
                  <a:gd name="T19" fmla="*/ 0 h 8"/>
                  <a:gd name="T20" fmla="*/ 5973234 w 9"/>
                  <a:gd name="T21" fmla="*/ 2834878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"/>
                  <a:gd name="T34" fmla="*/ 0 h 8"/>
                  <a:gd name="T35" fmla="*/ 9 w 9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" h="8">
                    <a:moveTo>
                      <a:pt x="3" y="2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3" y="5"/>
                    </a:lnTo>
                    <a:lnTo>
                      <a:pt x="6" y="5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6" name="Freeform 962"/>
              <p:cNvSpPr>
                <a:spLocks noChangeAspect="1"/>
              </p:cNvSpPr>
              <p:nvPr>
                <p:custDataLst>
                  <p:tags r:id="rId274"/>
                </p:custDataLst>
              </p:nvPr>
            </p:nvSpPr>
            <p:spPr bwMode="gray">
              <a:xfrm>
                <a:off x="3887395" y="2569613"/>
                <a:ext cx="15185" cy="15767"/>
              </a:xfrm>
              <a:custGeom>
                <a:avLst/>
                <a:gdLst>
                  <a:gd name="T0" fmla="*/ 12496513 w 11"/>
                  <a:gd name="T1" fmla="*/ 2982058 h 13"/>
                  <a:gd name="T2" fmla="*/ 12496513 w 11"/>
                  <a:gd name="T3" fmla="*/ 0 h 13"/>
                  <a:gd name="T4" fmla="*/ 16661534 w 11"/>
                  <a:gd name="T5" fmla="*/ 2982058 h 13"/>
                  <a:gd name="T6" fmla="*/ 16661534 w 11"/>
                  <a:gd name="T7" fmla="*/ 7456366 h 13"/>
                  <a:gd name="T8" fmla="*/ 22910509 w 11"/>
                  <a:gd name="T9" fmla="*/ 7456366 h 13"/>
                  <a:gd name="T10" fmla="*/ 22910509 w 11"/>
                  <a:gd name="T11" fmla="*/ 7456366 h 13"/>
                  <a:gd name="T12" fmla="*/ 22910509 w 11"/>
                  <a:gd name="T13" fmla="*/ 16403760 h 13"/>
                  <a:gd name="T14" fmla="*/ 16661534 w 11"/>
                  <a:gd name="T15" fmla="*/ 19385816 h 13"/>
                  <a:gd name="T16" fmla="*/ 12496513 w 11"/>
                  <a:gd name="T17" fmla="*/ 16403760 h 13"/>
                  <a:gd name="T18" fmla="*/ 12496513 w 11"/>
                  <a:gd name="T19" fmla="*/ 11929453 h 13"/>
                  <a:gd name="T20" fmla="*/ 6248978 w 11"/>
                  <a:gd name="T21" fmla="*/ 11929453 h 13"/>
                  <a:gd name="T22" fmla="*/ 6248978 w 11"/>
                  <a:gd name="T23" fmla="*/ 7456366 h 13"/>
                  <a:gd name="T24" fmla="*/ 0 w 11"/>
                  <a:gd name="T25" fmla="*/ 7456366 h 13"/>
                  <a:gd name="T26" fmla="*/ 0 w 11"/>
                  <a:gd name="T27" fmla="*/ 2982058 h 13"/>
                  <a:gd name="T28" fmla="*/ 6248978 w 11"/>
                  <a:gd name="T29" fmla="*/ 2982058 h 13"/>
                  <a:gd name="T30" fmla="*/ 12496513 w 11"/>
                  <a:gd name="T31" fmla="*/ 2982058 h 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"/>
                  <a:gd name="T49" fmla="*/ 0 h 13"/>
                  <a:gd name="T50" fmla="*/ 11 w 11"/>
                  <a:gd name="T51" fmla="*/ 13 h 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" h="13">
                    <a:moveTo>
                      <a:pt x="6" y="2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11"/>
                    </a:lnTo>
                    <a:lnTo>
                      <a:pt x="8" y="13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7" name="Freeform 963"/>
              <p:cNvSpPr>
                <a:spLocks noChangeAspect="1"/>
              </p:cNvSpPr>
              <p:nvPr>
                <p:custDataLst>
                  <p:tags r:id="rId275"/>
                </p:custDataLst>
              </p:nvPr>
            </p:nvSpPr>
            <p:spPr bwMode="gray">
              <a:xfrm>
                <a:off x="3887395" y="2569613"/>
                <a:ext cx="15185" cy="15767"/>
              </a:xfrm>
              <a:custGeom>
                <a:avLst/>
                <a:gdLst>
                  <a:gd name="T0" fmla="*/ 12496513 w 11"/>
                  <a:gd name="T1" fmla="*/ 2982058 h 13"/>
                  <a:gd name="T2" fmla="*/ 12496513 w 11"/>
                  <a:gd name="T3" fmla="*/ 0 h 13"/>
                  <a:gd name="T4" fmla="*/ 16661534 w 11"/>
                  <a:gd name="T5" fmla="*/ 2982058 h 13"/>
                  <a:gd name="T6" fmla="*/ 16661534 w 11"/>
                  <a:gd name="T7" fmla="*/ 7456366 h 13"/>
                  <a:gd name="T8" fmla="*/ 22910509 w 11"/>
                  <a:gd name="T9" fmla="*/ 7456366 h 13"/>
                  <a:gd name="T10" fmla="*/ 22910509 w 11"/>
                  <a:gd name="T11" fmla="*/ 7456366 h 13"/>
                  <a:gd name="T12" fmla="*/ 22910509 w 11"/>
                  <a:gd name="T13" fmla="*/ 16403760 h 13"/>
                  <a:gd name="T14" fmla="*/ 16661534 w 11"/>
                  <a:gd name="T15" fmla="*/ 19385816 h 13"/>
                  <a:gd name="T16" fmla="*/ 12496513 w 11"/>
                  <a:gd name="T17" fmla="*/ 16403760 h 13"/>
                  <a:gd name="T18" fmla="*/ 12496513 w 11"/>
                  <a:gd name="T19" fmla="*/ 11929453 h 13"/>
                  <a:gd name="T20" fmla="*/ 6248978 w 11"/>
                  <a:gd name="T21" fmla="*/ 11929453 h 13"/>
                  <a:gd name="T22" fmla="*/ 6248978 w 11"/>
                  <a:gd name="T23" fmla="*/ 7456366 h 13"/>
                  <a:gd name="T24" fmla="*/ 0 w 11"/>
                  <a:gd name="T25" fmla="*/ 7456366 h 13"/>
                  <a:gd name="T26" fmla="*/ 0 w 11"/>
                  <a:gd name="T27" fmla="*/ 2982058 h 13"/>
                  <a:gd name="T28" fmla="*/ 6248978 w 11"/>
                  <a:gd name="T29" fmla="*/ 2982058 h 13"/>
                  <a:gd name="T30" fmla="*/ 12496513 w 11"/>
                  <a:gd name="T31" fmla="*/ 2982058 h 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"/>
                  <a:gd name="T49" fmla="*/ 0 h 13"/>
                  <a:gd name="T50" fmla="*/ 11 w 11"/>
                  <a:gd name="T51" fmla="*/ 13 h 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" h="13">
                    <a:moveTo>
                      <a:pt x="6" y="2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1" y="11"/>
                    </a:lnTo>
                    <a:lnTo>
                      <a:pt x="8" y="13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8" name="Freeform 964"/>
              <p:cNvSpPr>
                <a:spLocks noChangeAspect="1"/>
              </p:cNvSpPr>
              <p:nvPr>
                <p:custDataLst>
                  <p:tags r:id="rId276"/>
                </p:custDataLst>
              </p:nvPr>
            </p:nvSpPr>
            <p:spPr bwMode="gray">
              <a:xfrm>
                <a:off x="3387822" y="1913689"/>
                <a:ext cx="581569" cy="652771"/>
              </a:xfrm>
              <a:custGeom>
                <a:avLst/>
                <a:gdLst>
                  <a:gd name="T0" fmla="*/ 583887923 w 448"/>
                  <a:gd name="T1" fmla="*/ 794828862 h 507"/>
                  <a:gd name="T2" fmla="*/ 615199227 w 448"/>
                  <a:gd name="T3" fmla="*/ 823395458 h 507"/>
                  <a:gd name="T4" fmla="*/ 666773101 w 448"/>
                  <a:gd name="T5" fmla="*/ 836838104 h 507"/>
                  <a:gd name="T6" fmla="*/ 650196609 w 448"/>
                  <a:gd name="T7" fmla="*/ 794828862 h 507"/>
                  <a:gd name="T8" fmla="*/ 640986843 w 448"/>
                  <a:gd name="T9" fmla="*/ 757859641 h 507"/>
                  <a:gd name="T10" fmla="*/ 701770483 w 448"/>
                  <a:gd name="T11" fmla="*/ 791467553 h 507"/>
                  <a:gd name="T12" fmla="*/ 722030509 w 448"/>
                  <a:gd name="T13" fmla="*/ 791467553 h 507"/>
                  <a:gd name="T14" fmla="*/ 722030509 w 448"/>
                  <a:gd name="T15" fmla="*/ 771303583 h 507"/>
                  <a:gd name="T16" fmla="*/ 712822100 w 448"/>
                  <a:gd name="T17" fmla="*/ 710809083 h 507"/>
                  <a:gd name="T18" fmla="*/ 687034315 w 448"/>
                  <a:gd name="T19" fmla="*/ 682242488 h 507"/>
                  <a:gd name="T20" fmla="*/ 655721654 w 448"/>
                  <a:gd name="T21" fmla="*/ 645273104 h 507"/>
                  <a:gd name="T22" fmla="*/ 646511888 w 448"/>
                  <a:gd name="T23" fmla="*/ 613345199 h 507"/>
                  <a:gd name="T24" fmla="*/ 650196609 w 448"/>
                  <a:gd name="T25" fmla="*/ 584778604 h 507"/>
                  <a:gd name="T26" fmla="*/ 692560717 w 448"/>
                  <a:gd name="T27" fmla="*/ 598221250 h 507"/>
                  <a:gd name="T28" fmla="*/ 742291722 w 448"/>
                  <a:gd name="T29" fmla="*/ 650314421 h 507"/>
                  <a:gd name="T30" fmla="*/ 790182233 w 448"/>
                  <a:gd name="T31" fmla="*/ 621747825 h 507"/>
                  <a:gd name="T32" fmla="*/ 810443447 w 448"/>
                  <a:gd name="T33" fmla="*/ 589819920 h 507"/>
                  <a:gd name="T34" fmla="*/ 793865597 w 448"/>
                  <a:gd name="T35" fmla="*/ 542769362 h 507"/>
                  <a:gd name="T36" fmla="*/ 747818125 w 448"/>
                  <a:gd name="T37" fmla="*/ 519242787 h 507"/>
                  <a:gd name="T38" fmla="*/ 722030509 w 448"/>
                  <a:gd name="T39" fmla="*/ 467150913 h 507"/>
                  <a:gd name="T40" fmla="*/ 666773101 w 448"/>
                  <a:gd name="T41" fmla="*/ 440264324 h 507"/>
                  <a:gd name="T42" fmla="*/ 640986843 w 448"/>
                  <a:gd name="T43" fmla="*/ 398255083 h 507"/>
                  <a:gd name="T44" fmla="*/ 675982867 w 448"/>
                  <a:gd name="T45" fmla="*/ 388172450 h 507"/>
                  <a:gd name="T46" fmla="*/ 624408993 w 448"/>
                  <a:gd name="T47" fmla="*/ 351203229 h 507"/>
                  <a:gd name="T48" fmla="*/ 615199227 w 448"/>
                  <a:gd name="T49" fmla="*/ 327677869 h 507"/>
                  <a:gd name="T50" fmla="*/ 620725629 w 448"/>
                  <a:gd name="T51" fmla="*/ 280626014 h 507"/>
                  <a:gd name="T52" fmla="*/ 578361521 w 448"/>
                  <a:gd name="T53" fmla="*/ 257100735 h 507"/>
                  <a:gd name="T54" fmla="*/ 532314049 w 448"/>
                  <a:gd name="T55" fmla="*/ 243658089 h 507"/>
                  <a:gd name="T56" fmla="*/ 491791622 w 448"/>
                  <a:gd name="T57" fmla="*/ 201647551 h 507"/>
                  <a:gd name="T58" fmla="*/ 460478961 w 448"/>
                  <a:gd name="T59" fmla="*/ 210050177 h 507"/>
                  <a:gd name="T60" fmla="*/ 451269195 w 448"/>
                  <a:gd name="T61" fmla="*/ 159638269 h 507"/>
                  <a:gd name="T62" fmla="*/ 353647764 w 448"/>
                  <a:gd name="T63" fmla="*/ 97463762 h 507"/>
                  <a:gd name="T64" fmla="*/ 291022442 w 448"/>
                  <a:gd name="T65" fmla="*/ 120989041 h 507"/>
                  <a:gd name="T66" fmla="*/ 267077865 w 448"/>
                  <a:gd name="T67" fmla="*/ 149555637 h 507"/>
                  <a:gd name="T68" fmla="*/ 250500015 w 448"/>
                  <a:gd name="T69" fmla="*/ 47050578 h 507"/>
                  <a:gd name="T70" fmla="*/ 158405029 w 448"/>
                  <a:gd name="T71" fmla="*/ 36969232 h 507"/>
                  <a:gd name="T72" fmla="*/ 132617413 w 448"/>
                  <a:gd name="T73" fmla="*/ 70577153 h 507"/>
                  <a:gd name="T74" fmla="*/ 123409005 w 448"/>
                  <a:gd name="T75" fmla="*/ 78978483 h 507"/>
                  <a:gd name="T76" fmla="*/ 138143816 w 448"/>
                  <a:gd name="T77" fmla="*/ 144514320 h 507"/>
                  <a:gd name="T78" fmla="*/ 152878627 w 448"/>
                  <a:gd name="T79" fmla="*/ 215091494 h 507"/>
                  <a:gd name="T80" fmla="*/ 97621389 w 448"/>
                  <a:gd name="T81" fmla="*/ 243658089 h 507"/>
                  <a:gd name="T82" fmla="*/ 106831155 w 448"/>
                  <a:gd name="T83" fmla="*/ 131071674 h 507"/>
                  <a:gd name="T84" fmla="*/ 34996035 w 448"/>
                  <a:gd name="T85" fmla="*/ 47050578 h 507"/>
                  <a:gd name="T86" fmla="*/ 5526404 w 448"/>
                  <a:gd name="T87" fmla="*/ 126030358 h 507"/>
                  <a:gd name="T88" fmla="*/ 55257259 w 448"/>
                  <a:gd name="T89" fmla="*/ 228534140 h 507"/>
                  <a:gd name="T90" fmla="*/ 51573896 w 448"/>
                  <a:gd name="T91" fmla="*/ 299111273 h 507"/>
                  <a:gd name="T92" fmla="*/ 138143816 w 448"/>
                  <a:gd name="T93" fmla="*/ 327677869 h 507"/>
                  <a:gd name="T94" fmla="*/ 230238802 w 448"/>
                  <a:gd name="T95" fmla="*/ 336079198 h 507"/>
                  <a:gd name="T96" fmla="*/ 281812676 w 448"/>
                  <a:gd name="T97" fmla="*/ 322636552 h 507"/>
                  <a:gd name="T98" fmla="*/ 338912953 w 448"/>
                  <a:gd name="T99" fmla="*/ 309193906 h 507"/>
                  <a:gd name="T100" fmla="*/ 368382660 w 448"/>
                  <a:gd name="T101" fmla="*/ 351203229 h 507"/>
                  <a:gd name="T102" fmla="*/ 419956534 w 448"/>
                  <a:gd name="T103" fmla="*/ 406656412 h 507"/>
                  <a:gd name="T104" fmla="*/ 466004006 w 448"/>
                  <a:gd name="T105" fmla="*/ 421780362 h 507"/>
                  <a:gd name="T106" fmla="*/ 506526433 w 448"/>
                  <a:gd name="T107" fmla="*/ 519242787 h 507"/>
                  <a:gd name="T108" fmla="*/ 466004006 w 448"/>
                  <a:gd name="T109" fmla="*/ 618386516 h 507"/>
                  <a:gd name="T110" fmla="*/ 425482937 w 448"/>
                  <a:gd name="T111" fmla="*/ 650314421 h 507"/>
                  <a:gd name="T112" fmla="*/ 362857615 w 448"/>
                  <a:gd name="T113" fmla="*/ 655355737 h 507"/>
                  <a:gd name="T114" fmla="*/ 384960510 w 448"/>
                  <a:gd name="T115" fmla="*/ 715850400 h 507"/>
                  <a:gd name="T116" fmla="*/ 425482937 w 448"/>
                  <a:gd name="T117" fmla="*/ 702406457 h 507"/>
                  <a:gd name="T118" fmla="*/ 445744150 w 448"/>
                  <a:gd name="T119" fmla="*/ 682242488 h 507"/>
                  <a:gd name="T120" fmla="*/ 477056811 w 448"/>
                  <a:gd name="T121" fmla="*/ 697365141 h 507"/>
                  <a:gd name="T122" fmla="*/ 502843070 w 448"/>
                  <a:gd name="T123" fmla="*/ 739375678 h 507"/>
                  <a:gd name="T124" fmla="*/ 537839094 w 448"/>
                  <a:gd name="T125" fmla="*/ 747777008 h 50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48"/>
                  <a:gd name="T190" fmla="*/ 0 h 507"/>
                  <a:gd name="T191" fmla="*/ 448 w 448"/>
                  <a:gd name="T192" fmla="*/ 507 h 50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48" h="507">
                    <a:moveTo>
                      <a:pt x="292" y="468"/>
                    </a:moveTo>
                    <a:lnTo>
                      <a:pt x="303" y="471"/>
                    </a:lnTo>
                    <a:lnTo>
                      <a:pt x="303" y="473"/>
                    </a:lnTo>
                    <a:lnTo>
                      <a:pt x="306" y="473"/>
                    </a:lnTo>
                    <a:lnTo>
                      <a:pt x="309" y="476"/>
                    </a:lnTo>
                    <a:lnTo>
                      <a:pt x="312" y="473"/>
                    </a:lnTo>
                    <a:lnTo>
                      <a:pt x="314" y="471"/>
                    </a:lnTo>
                    <a:lnTo>
                      <a:pt x="314" y="476"/>
                    </a:lnTo>
                    <a:lnTo>
                      <a:pt x="317" y="476"/>
                    </a:lnTo>
                    <a:lnTo>
                      <a:pt x="317" y="473"/>
                    </a:lnTo>
                    <a:lnTo>
                      <a:pt x="320" y="476"/>
                    </a:lnTo>
                    <a:lnTo>
                      <a:pt x="323" y="473"/>
                    </a:lnTo>
                    <a:lnTo>
                      <a:pt x="320" y="476"/>
                    </a:lnTo>
                    <a:lnTo>
                      <a:pt x="323" y="479"/>
                    </a:lnTo>
                    <a:lnTo>
                      <a:pt x="326" y="482"/>
                    </a:lnTo>
                    <a:lnTo>
                      <a:pt x="326" y="484"/>
                    </a:lnTo>
                    <a:lnTo>
                      <a:pt x="328" y="487"/>
                    </a:lnTo>
                    <a:lnTo>
                      <a:pt x="331" y="490"/>
                    </a:lnTo>
                    <a:lnTo>
                      <a:pt x="334" y="484"/>
                    </a:lnTo>
                    <a:lnTo>
                      <a:pt x="334" y="490"/>
                    </a:lnTo>
                    <a:lnTo>
                      <a:pt x="337" y="493"/>
                    </a:lnTo>
                    <a:lnTo>
                      <a:pt x="339" y="493"/>
                    </a:lnTo>
                    <a:lnTo>
                      <a:pt x="342" y="493"/>
                    </a:lnTo>
                    <a:lnTo>
                      <a:pt x="342" y="496"/>
                    </a:lnTo>
                    <a:lnTo>
                      <a:pt x="351" y="496"/>
                    </a:lnTo>
                    <a:lnTo>
                      <a:pt x="353" y="498"/>
                    </a:lnTo>
                    <a:lnTo>
                      <a:pt x="356" y="501"/>
                    </a:lnTo>
                    <a:lnTo>
                      <a:pt x="359" y="501"/>
                    </a:lnTo>
                    <a:lnTo>
                      <a:pt x="362" y="498"/>
                    </a:lnTo>
                    <a:lnTo>
                      <a:pt x="370" y="507"/>
                    </a:lnTo>
                    <a:lnTo>
                      <a:pt x="376" y="504"/>
                    </a:lnTo>
                    <a:lnTo>
                      <a:pt x="376" y="501"/>
                    </a:lnTo>
                    <a:lnTo>
                      <a:pt x="373" y="501"/>
                    </a:lnTo>
                    <a:lnTo>
                      <a:pt x="373" y="498"/>
                    </a:lnTo>
                    <a:lnTo>
                      <a:pt x="373" y="496"/>
                    </a:lnTo>
                    <a:lnTo>
                      <a:pt x="376" y="493"/>
                    </a:lnTo>
                    <a:lnTo>
                      <a:pt x="373" y="490"/>
                    </a:lnTo>
                    <a:lnTo>
                      <a:pt x="362" y="479"/>
                    </a:lnTo>
                    <a:lnTo>
                      <a:pt x="359" y="479"/>
                    </a:lnTo>
                    <a:lnTo>
                      <a:pt x="353" y="473"/>
                    </a:lnTo>
                    <a:lnTo>
                      <a:pt x="353" y="471"/>
                    </a:lnTo>
                    <a:lnTo>
                      <a:pt x="351" y="468"/>
                    </a:lnTo>
                    <a:lnTo>
                      <a:pt x="351" y="465"/>
                    </a:lnTo>
                    <a:lnTo>
                      <a:pt x="348" y="465"/>
                    </a:lnTo>
                    <a:lnTo>
                      <a:pt x="345" y="462"/>
                    </a:lnTo>
                    <a:lnTo>
                      <a:pt x="345" y="459"/>
                    </a:lnTo>
                    <a:lnTo>
                      <a:pt x="342" y="462"/>
                    </a:lnTo>
                    <a:lnTo>
                      <a:pt x="331" y="443"/>
                    </a:lnTo>
                    <a:lnTo>
                      <a:pt x="334" y="440"/>
                    </a:lnTo>
                    <a:lnTo>
                      <a:pt x="345" y="451"/>
                    </a:lnTo>
                    <a:lnTo>
                      <a:pt x="348" y="451"/>
                    </a:lnTo>
                    <a:lnTo>
                      <a:pt x="348" y="448"/>
                    </a:lnTo>
                    <a:lnTo>
                      <a:pt x="351" y="448"/>
                    </a:lnTo>
                    <a:lnTo>
                      <a:pt x="356" y="459"/>
                    </a:lnTo>
                    <a:lnTo>
                      <a:pt x="359" y="459"/>
                    </a:lnTo>
                    <a:lnTo>
                      <a:pt x="362" y="459"/>
                    </a:lnTo>
                    <a:lnTo>
                      <a:pt x="365" y="468"/>
                    </a:lnTo>
                    <a:lnTo>
                      <a:pt x="373" y="468"/>
                    </a:lnTo>
                    <a:lnTo>
                      <a:pt x="376" y="471"/>
                    </a:lnTo>
                    <a:lnTo>
                      <a:pt x="378" y="468"/>
                    </a:lnTo>
                    <a:lnTo>
                      <a:pt x="378" y="471"/>
                    </a:lnTo>
                    <a:lnTo>
                      <a:pt x="381" y="471"/>
                    </a:lnTo>
                    <a:lnTo>
                      <a:pt x="384" y="468"/>
                    </a:lnTo>
                    <a:lnTo>
                      <a:pt x="384" y="471"/>
                    </a:lnTo>
                    <a:lnTo>
                      <a:pt x="387" y="473"/>
                    </a:lnTo>
                    <a:lnTo>
                      <a:pt x="390" y="473"/>
                    </a:lnTo>
                    <a:lnTo>
                      <a:pt x="390" y="476"/>
                    </a:lnTo>
                    <a:lnTo>
                      <a:pt x="390" y="479"/>
                    </a:lnTo>
                    <a:lnTo>
                      <a:pt x="392" y="482"/>
                    </a:lnTo>
                    <a:lnTo>
                      <a:pt x="392" y="484"/>
                    </a:lnTo>
                    <a:lnTo>
                      <a:pt x="395" y="482"/>
                    </a:lnTo>
                    <a:lnTo>
                      <a:pt x="392" y="471"/>
                    </a:lnTo>
                    <a:lnTo>
                      <a:pt x="395" y="471"/>
                    </a:lnTo>
                    <a:lnTo>
                      <a:pt x="395" y="473"/>
                    </a:lnTo>
                    <a:lnTo>
                      <a:pt x="401" y="473"/>
                    </a:lnTo>
                    <a:lnTo>
                      <a:pt x="401" y="471"/>
                    </a:lnTo>
                    <a:lnTo>
                      <a:pt x="398" y="468"/>
                    </a:lnTo>
                    <a:lnTo>
                      <a:pt x="395" y="468"/>
                    </a:lnTo>
                    <a:lnTo>
                      <a:pt x="392" y="459"/>
                    </a:lnTo>
                    <a:lnTo>
                      <a:pt x="392" y="451"/>
                    </a:lnTo>
                    <a:lnTo>
                      <a:pt x="398" y="459"/>
                    </a:lnTo>
                    <a:lnTo>
                      <a:pt x="398" y="457"/>
                    </a:lnTo>
                    <a:lnTo>
                      <a:pt x="398" y="454"/>
                    </a:lnTo>
                    <a:lnTo>
                      <a:pt x="398" y="451"/>
                    </a:lnTo>
                    <a:lnTo>
                      <a:pt x="401" y="443"/>
                    </a:lnTo>
                    <a:lnTo>
                      <a:pt x="398" y="440"/>
                    </a:lnTo>
                    <a:lnTo>
                      <a:pt x="398" y="432"/>
                    </a:lnTo>
                    <a:lnTo>
                      <a:pt x="392" y="432"/>
                    </a:lnTo>
                    <a:lnTo>
                      <a:pt x="387" y="429"/>
                    </a:lnTo>
                    <a:lnTo>
                      <a:pt x="387" y="423"/>
                    </a:lnTo>
                    <a:lnTo>
                      <a:pt x="390" y="420"/>
                    </a:lnTo>
                    <a:lnTo>
                      <a:pt x="392" y="415"/>
                    </a:lnTo>
                    <a:lnTo>
                      <a:pt x="390" y="412"/>
                    </a:lnTo>
                    <a:lnTo>
                      <a:pt x="387" y="412"/>
                    </a:lnTo>
                    <a:lnTo>
                      <a:pt x="387" y="409"/>
                    </a:lnTo>
                    <a:lnTo>
                      <a:pt x="387" y="406"/>
                    </a:lnTo>
                    <a:lnTo>
                      <a:pt x="381" y="412"/>
                    </a:lnTo>
                    <a:lnTo>
                      <a:pt x="381" y="401"/>
                    </a:lnTo>
                    <a:lnTo>
                      <a:pt x="378" y="401"/>
                    </a:lnTo>
                    <a:lnTo>
                      <a:pt x="373" y="406"/>
                    </a:lnTo>
                    <a:lnTo>
                      <a:pt x="370" y="404"/>
                    </a:lnTo>
                    <a:lnTo>
                      <a:pt x="373" y="398"/>
                    </a:lnTo>
                    <a:lnTo>
                      <a:pt x="370" y="401"/>
                    </a:lnTo>
                    <a:lnTo>
                      <a:pt x="367" y="398"/>
                    </a:lnTo>
                    <a:lnTo>
                      <a:pt x="365" y="398"/>
                    </a:lnTo>
                    <a:lnTo>
                      <a:pt x="365" y="404"/>
                    </a:lnTo>
                    <a:lnTo>
                      <a:pt x="359" y="390"/>
                    </a:lnTo>
                    <a:lnTo>
                      <a:pt x="356" y="390"/>
                    </a:lnTo>
                    <a:lnTo>
                      <a:pt x="356" y="387"/>
                    </a:lnTo>
                    <a:lnTo>
                      <a:pt x="356" y="384"/>
                    </a:lnTo>
                    <a:lnTo>
                      <a:pt x="356" y="381"/>
                    </a:lnTo>
                    <a:lnTo>
                      <a:pt x="356" y="379"/>
                    </a:lnTo>
                    <a:lnTo>
                      <a:pt x="353" y="376"/>
                    </a:lnTo>
                    <a:lnTo>
                      <a:pt x="356" y="373"/>
                    </a:lnTo>
                    <a:lnTo>
                      <a:pt x="351" y="373"/>
                    </a:lnTo>
                    <a:lnTo>
                      <a:pt x="345" y="376"/>
                    </a:lnTo>
                    <a:lnTo>
                      <a:pt x="345" y="373"/>
                    </a:lnTo>
                    <a:lnTo>
                      <a:pt x="348" y="370"/>
                    </a:lnTo>
                    <a:lnTo>
                      <a:pt x="345" y="365"/>
                    </a:lnTo>
                    <a:lnTo>
                      <a:pt x="348" y="362"/>
                    </a:lnTo>
                    <a:lnTo>
                      <a:pt x="351" y="365"/>
                    </a:lnTo>
                    <a:lnTo>
                      <a:pt x="353" y="362"/>
                    </a:lnTo>
                    <a:lnTo>
                      <a:pt x="359" y="362"/>
                    </a:lnTo>
                    <a:lnTo>
                      <a:pt x="356" y="356"/>
                    </a:lnTo>
                    <a:lnTo>
                      <a:pt x="351" y="354"/>
                    </a:lnTo>
                    <a:lnTo>
                      <a:pt x="345" y="351"/>
                    </a:lnTo>
                    <a:lnTo>
                      <a:pt x="342" y="345"/>
                    </a:lnTo>
                    <a:lnTo>
                      <a:pt x="348" y="345"/>
                    </a:lnTo>
                    <a:lnTo>
                      <a:pt x="345" y="342"/>
                    </a:lnTo>
                    <a:lnTo>
                      <a:pt x="348" y="342"/>
                    </a:lnTo>
                    <a:lnTo>
                      <a:pt x="353" y="348"/>
                    </a:lnTo>
                    <a:lnTo>
                      <a:pt x="356" y="348"/>
                    </a:lnTo>
                    <a:lnTo>
                      <a:pt x="353" y="342"/>
                    </a:lnTo>
                    <a:lnTo>
                      <a:pt x="356" y="342"/>
                    </a:lnTo>
                    <a:lnTo>
                      <a:pt x="353" y="340"/>
                    </a:lnTo>
                    <a:lnTo>
                      <a:pt x="356" y="337"/>
                    </a:lnTo>
                    <a:lnTo>
                      <a:pt x="359" y="340"/>
                    </a:lnTo>
                    <a:lnTo>
                      <a:pt x="362" y="340"/>
                    </a:lnTo>
                    <a:lnTo>
                      <a:pt x="362" y="345"/>
                    </a:lnTo>
                    <a:lnTo>
                      <a:pt x="362" y="348"/>
                    </a:lnTo>
                    <a:lnTo>
                      <a:pt x="365" y="348"/>
                    </a:lnTo>
                    <a:lnTo>
                      <a:pt x="376" y="356"/>
                    </a:lnTo>
                    <a:lnTo>
                      <a:pt x="378" y="362"/>
                    </a:lnTo>
                    <a:lnTo>
                      <a:pt x="381" y="362"/>
                    </a:lnTo>
                    <a:lnTo>
                      <a:pt x="387" y="359"/>
                    </a:lnTo>
                    <a:lnTo>
                      <a:pt x="384" y="365"/>
                    </a:lnTo>
                    <a:lnTo>
                      <a:pt x="387" y="373"/>
                    </a:lnTo>
                    <a:lnTo>
                      <a:pt x="392" y="381"/>
                    </a:lnTo>
                    <a:lnTo>
                      <a:pt x="395" y="379"/>
                    </a:lnTo>
                    <a:lnTo>
                      <a:pt x="398" y="381"/>
                    </a:lnTo>
                    <a:lnTo>
                      <a:pt x="395" y="387"/>
                    </a:lnTo>
                    <a:lnTo>
                      <a:pt x="398" y="390"/>
                    </a:lnTo>
                    <a:lnTo>
                      <a:pt x="403" y="387"/>
                    </a:lnTo>
                    <a:lnTo>
                      <a:pt x="406" y="395"/>
                    </a:lnTo>
                    <a:lnTo>
                      <a:pt x="409" y="393"/>
                    </a:lnTo>
                    <a:lnTo>
                      <a:pt x="412" y="398"/>
                    </a:lnTo>
                    <a:lnTo>
                      <a:pt x="415" y="401"/>
                    </a:lnTo>
                    <a:lnTo>
                      <a:pt x="417" y="387"/>
                    </a:lnTo>
                    <a:lnTo>
                      <a:pt x="420" y="387"/>
                    </a:lnTo>
                    <a:lnTo>
                      <a:pt x="415" y="373"/>
                    </a:lnTo>
                    <a:lnTo>
                      <a:pt x="415" y="370"/>
                    </a:lnTo>
                    <a:lnTo>
                      <a:pt x="423" y="376"/>
                    </a:lnTo>
                    <a:lnTo>
                      <a:pt x="426" y="376"/>
                    </a:lnTo>
                    <a:lnTo>
                      <a:pt x="429" y="370"/>
                    </a:lnTo>
                    <a:lnTo>
                      <a:pt x="431" y="368"/>
                    </a:lnTo>
                    <a:lnTo>
                      <a:pt x="431" y="362"/>
                    </a:lnTo>
                    <a:lnTo>
                      <a:pt x="437" y="359"/>
                    </a:lnTo>
                    <a:lnTo>
                      <a:pt x="434" y="356"/>
                    </a:lnTo>
                    <a:lnTo>
                      <a:pt x="429" y="356"/>
                    </a:lnTo>
                    <a:lnTo>
                      <a:pt x="429" y="354"/>
                    </a:lnTo>
                    <a:lnTo>
                      <a:pt x="431" y="354"/>
                    </a:lnTo>
                    <a:lnTo>
                      <a:pt x="434" y="348"/>
                    </a:lnTo>
                    <a:lnTo>
                      <a:pt x="429" y="348"/>
                    </a:lnTo>
                    <a:lnTo>
                      <a:pt x="431" y="345"/>
                    </a:lnTo>
                    <a:lnTo>
                      <a:pt x="440" y="351"/>
                    </a:lnTo>
                    <a:lnTo>
                      <a:pt x="442" y="351"/>
                    </a:lnTo>
                    <a:lnTo>
                      <a:pt x="445" y="348"/>
                    </a:lnTo>
                    <a:lnTo>
                      <a:pt x="442" y="345"/>
                    </a:lnTo>
                    <a:lnTo>
                      <a:pt x="442" y="340"/>
                    </a:lnTo>
                    <a:lnTo>
                      <a:pt x="445" y="340"/>
                    </a:lnTo>
                    <a:lnTo>
                      <a:pt x="448" y="337"/>
                    </a:lnTo>
                    <a:lnTo>
                      <a:pt x="445" y="331"/>
                    </a:lnTo>
                    <a:lnTo>
                      <a:pt x="440" y="326"/>
                    </a:lnTo>
                    <a:lnTo>
                      <a:pt x="437" y="323"/>
                    </a:lnTo>
                    <a:lnTo>
                      <a:pt x="434" y="320"/>
                    </a:lnTo>
                    <a:lnTo>
                      <a:pt x="431" y="323"/>
                    </a:lnTo>
                    <a:lnTo>
                      <a:pt x="429" y="320"/>
                    </a:lnTo>
                    <a:lnTo>
                      <a:pt x="423" y="323"/>
                    </a:lnTo>
                    <a:lnTo>
                      <a:pt x="417" y="326"/>
                    </a:lnTo>
                    <a:lnTo>
                      <a:pt x="420" y="317"/>
                    </a:lnTo>
                    <a:lnTo>
                      <a:pt x="423" y="312"/>
                    </a:lnTo>
                    <a:lnTo>
                      <a:pt x="423" y="309"/>
                    </a:lnTo>
                    <a:lnTo>
                      <a:pt x="417" y="309"/>
                    </a:lnTo>
                    <a:lnTo>
                      <a:pt x="417" y="312"/>
                    </a:lnTo>
                    <a:lnTo>
                      <a:pt x="409" y="312"/>
                    </a:lnTo>
                    <a:lnTo>
                      <a:pt x="403" y="312"/>
                    </a:lnTo>
                    <a:lnTo>
                      <a:pt x="406" y="309"/>
                    </a:lnTo>
                    <a:lnTo>
                      <a:pt x="403" y="309"/>
                    </a:lnTo>
                    <a:lnTo>
                      <a:pt x="403" y="306"/>
                    </a:lnTo>
                    <a:lnTo>
                      <a:pt x="409" y="306"/>
                    </a:lnTo>
                    <a:lnTo>
                      <a:pt x="409" y="303"/>
                    </a:lnTo>
                    <a:lnTo>
                      <a:pt x="401" y="290"/>
                    </a:lnTo>
                    <a:lnTo>
                      <a:pt x="398" y="287"/>
                    </a:lnTo>
                    <a:lnTo>
                      <a:pt x="390" y="290"/>
                    </a:lnTo>
                    <a:lnTo>
                      <a:pt x="390" y="287"/>
                    </a:lnTo>
                    <a:lnTo>
                      <a:pt x="390" y="284"/>
                    </a:lnTo>
                    <a:lnTo>
                      <a:pt x="392" y="281"/>
                    </a:lnTo>
                    <a:lnTo>
                      <a:pt x="392" y="278"/>
                    </a:lnTo>
                    <a:lnTo>
                      <a:pt x="381" y="281"/>
                    </a:lnTo>
                    <a:lnTo>
                      <a:pt x="376" y="284"/>
                    </a:lnTo>
                    <a:lnTo>
                      <a:pt x="376" y="281"/>
                    </a:lnTo>
                    <a:lnTo>
                      <a:pt x="373" y="281"/>
                    </a:lnTo>
                    <a:lnTo>
                      <a:pt x="373" y="278"/>
                    </a:lnTo>
                    <a:lnTo>
                      <a:pt x="376" y="276"/>
                    </a:lnTo>
                    <a:lnTo>
                      <a:pt x="373" y="270"/>
                    </a:lnTo>
                    <a:lnTo>
                      <a:pt x="365" y="273"/>
                    </a:lnTo>
                    <a:lnTo>
                      <a:pt x="362" y="270"/>
                    </a:lnTo>
                    <a:lnTo>
                      <a:pt x="365" y="264"/>
                    </a:lnTo>
                    <a:lnTo>
                      <a:pt x="362" y="262"/>
                    </a:lnTo>
                    <a:lnTo>
                      <a:pt x="339" y="256"/>
                    </a:lnTo>
                    <a:lnTo>
                      <a:pt x="339" y="253"/>
                    </a:lnTo>
                    <a:lnTo>
                      <a:pt x="345" y="253"/>
                    </a:lnTo>
                    <a:lnTo>
                      <a:pt x="345" y="251"/>
                    </a:lnTo>
                    <a:lnTo>
                      <a:pt x="351" y="251"/>
                    </a:lnTo>
                    <a:lnTo>
                      <a:pt x="348" y="248"/>
                    </a:lnTo>
                    <a:lnTo>
                      <a:pt x="342" y="242"/>
                    </a:lnTo>
                    <a:lnTo>
                      <a:pt x="342" y="239"/>
                    </a:lnTo>
                    <a:lnTo>
                      <a:pt x="348" y="239"/>
                    </a:lnTo>
                    <a:lnTo>
                      <a:pt x="348" y="237"/>
                    </a:lnTo>
                    <a:lnTo>
                      <a:pt x="339" y="231"/>
                    </a:lnTo>
                    <a:lnTo>
                      <a:pt x="337" y="231"/>
                    </a:lnTo>
                    <a:lnTo>
                      <a:pt x="337" y="228"/>
                    </a:lnTo>
                    <a:lnTo>
                      <a:pt x="339" y="228"/>
                    </a:lnTo>
                    <a:lnTo>
                      <a:pt x="342" y="228"/>
                    </a:lnTo>
                    <a:lnTo>
                      <a:pt x="345" y="228"/>
                    </a:lnTo>
                    <a:lnTo>
                      <a:pt x="345" y="225"/>
                    </a:lnTo>
                    <a:lnTo>
                      <a:pt x="353" y="231"/>
                    </a:lnTo>
                    <a:lnTo>
                      <a:pt x="359" y="231"/>
                    </a:lnTo>
                    <a:lnTo>
                      <a:pt x="362" y="228"/>
                    </a:lnTo>
                    <a:lnTo>
                      <a:pt x="367" y="231"/>
                    </a:lnTo>
                    <a:lnTo>
                      <a:pt x="367" y="228"/>
                    </a:lnTo>
                    <a:lnTo>
                      <a:pt x="367" y="225"/>
                    </a:lnTo>
                    <a:lnTo>
                      <a:pt x="359" y="217"/>
                    </a:lnTo>
                    <a:lnTo>
                      <a:pt x="348" y="217"/>
                    </a:lnTo>
                    <a:lnTo>
                      <a:pt x="342" y="214"/>
                    </a:lnTo>
                    <a:lnTo>
                      <a:pt x="342" y="220"/>
                    </a:lnTo>
                    <a:lnTo>
                      <a:pt x="337" y="214"/>
                    </a:lnTo>
                    <a:lnTo>
                      <a:pt x="334" y="212"/>
                    </a:lnTo>
                    <a:lnTo>
                      <a:pt x="331" y="214"/>
                    </a:lnTo>
                    <a:lnTo>
                      <a:pt x="334" y="209"/>
                    </a:lnTo>
                    <a:lnTo>
                      <a:pt x="339" y="209"/>
                    </a:lnTo>
                    <a:lnTo>
                      <a:pt x="345" y="206"/>
                    </a:lnTo>
                    <a:lnTo>
                      <a:pt x="345" y="203"/>
                    </a:lnTo>
                    <a:lnTo>
                      <a:pt x="351" y="203"/>
                    </a:lnTo>
                    <a:lnTo>
                      <a:pt x="356" y="206"/>
                    </a:lnTo>
                    <a:lnTo>
                      <a:pt x="359" y="200"/>
                    </a:lnTo>
                    <a:lnTo>
                      <a:pt x="348" y="181"/>
                    </a:lnTo>
                    <a:lnTo>
                      <a:pt x="342" y="178"/>
                    </a:lnTo>
                    <a:lnTo>
                      <a:pt x="339" y="184"/>
                    </a:lnTo>
                    <a:lnTo>
                      <a:pt x="339" y="189"/>
                    </a:lnTo>
                    <a:lnTo>
                      <a:pt x="337" y="192"/>
                    </a:lnTo>
                    <a:lnTo>
                      <a:pt x="334" y="195"/>
                    </a:lnTo>
                    <a:lnTo>
                      <a:pt x="328" y="195"/>
                    </a:lnTo>
                    <a:lnTo>
                      <a:pt x="334" y="189"/>
                    </a:lnTo>
                    <a:lnTo>
                      <a:pt x="334" y="184"/>
                    </a:lnTo>
                    <a:lnTo>
                      <a:pt x="323" y="187"/>
                    </a:lnTo>
                    <a:lnTo>
                      <a:pt x="320" y="187"/>
                    </a:lnTo>
                    <a:lnTo>
                      <a:pt x="317" y="187"/>
                    </a:lnTo>
                    <a:lnTo>
                      <a:pt x="323" y="181"/>
                    </a:lnTo>
                    <a:lnTo>
                      <a:pt x="331" y="178"/>
                    </a:lnTo>
                    <a:lnTo>
                      <a:pt x="334" y="173"/>
                    </a:lnTo>
                    <a:lnTo>
                      <a:pt x="337" y="175"/>
                    </a:lnTo>
                    <a:lnTo>
                      <a:pt x="337" y="167"/>
                    </a:lnTo>
                    <a:lnTo>
                      <a:pt x="326" y="161"/>
                    </a:lnTo>
                    <a:lnTo>
                      <a:pt x="323" y="159"/>
                    </a:lnTo>
                    <a:lnTo>
                      <a:pt x="320" y="159"/>
                    </a:lnTo>
                    <a:lnTo>
                      <a:pt x="314" y="159"/>
                    </a:lnTo>
                    <a:lnTo>
                      <a:pt x="312" y="164"/>
                    </a:lnTo>
                    <a:lnTo>
                      <a:pt x="309" y="167"/>
                    </a:lnTo>
                    <a:lnTo>
                      <a:pt x="306" y="170"/>
                    </a:lnTo>
                    <a:lnTo>
                      <a:pt x="306" y="167"/>
                    </a:lnTo>
                    <a:lnTo>
                      <a:pt x="309" y="164"/>
                    </a:lnTo>
                    <a:lnTo>
                      <a:pt x="312" y="159"/>
                    </a:lnTo>
                    <a:lnTo>
                      <a:pt x="314" y="153"/>
                    </a:lnTo>
                    <a:lnTo>
                      <a:pt x="312" y="156"/>
                    </a:lnTo>
                    <a:lnTo>
                      <a:pt x="309" y="159"/>
                    </a:lnTo>
                    <a:lnTo>
                      <a:pt x="303" y="159"/>
                    </a:lnTo>
                    <a:lnTo>
                      <a:pt x="300" y="164"/>
                    </a:lnTo>
                    <a:lnTo>
                      <a:pt x="300" y="161"/>
                    </a:lnTo>
                    <a:lnTo>
                      <a:pt x="303" y="150"/>
                    </a:lnTo>
                    <a:lnTo>
                      <a:pt x="303" y="145"/>
                    </a:lnTo>
                    <a:lnTo>
                      <a:pt x="300" y="145"/>
                    </a:lnTo>
                    <a:lnTo>
                      <a:pt x="295" y="148"/>
                    </a:lnTo>
                    <a:lnTo>
                      <a:pt x="292" y="150"/>
                    </a:lnTo>
                    <a:lnTo>
                      <a:pt x="289" y="145"/>
                    </a:lnTo>
                    <a:lnTo>
                      <a:pt x="281" y="145"/>
                    </a:lnTo>
                    <a:lnTo>
                      <a:pt x="289" y="142"/>
                    </a:lnTo>
                    <a:lnTo>
                      <a:pt x="292" y="142"/>
                    </a:lnTo>
                    <a:lnTo>
                      <a:pt x="295" y="136"/>
                    </a:lnTo>
                    <a:lnTo>
                      <a:pt x="295" y="128"/>
                    </a:lnTo>
                    <a:lnTo>
                      <a:pt x="289" y="122"/>
                    </a:lnTo>
                    <a:lnTo>
                      <a:pt x="278" y="117"/>
                    </a:lnTo>
                    <a:lnTo>
                      <a:pt x="273" y="111"/>
                    </a:lnTo>
                    <a:lnTo>
                      <a:pt x="273" y="117"/>
                    </a:lnTo>
                    <a:lnTo>
                      <a:pt x="267" y="120"/>
                    </a:lnTo>
                    <a:lnTo>
                      <a:pt x="264" y="120"/>
                    </a:lnTo>
                    <a:lnTo>
                      <a:pt x="261" y="120"/>
                    </a:lnTo>
                    <a:lnTo>
                      <a:pt x="261" y="128"/>
                    </a:lnTo>
                    <a:lnTo>
                      <a:pt x="261" y="131"/>
                    </a:lnTo>
                    <a:lnTo>
                      <a:pt x="261" y="128"/>
                    </a:lnTo>
                    <a:lnTo>
                      <a:pt x="259" y="131"/>
                    </a:lnTo>
                    <a:lnTo>
                      <a:pt x="259" y="128"/>
                    </a:lnTo>
                    <a:lnTo>
                      <a:pt x="256" y="125"/>
                    </a:lnTo>
                    <a:lnTo>
                      <a:pt x="256" y="120"/>
                    </a:lnTo>
                    <a:lnTo>
                      <a:pt x="253" y="120"/>
                    </a:lnTo>
                    <a:lnTo>
                      <a:pt x="250" y="125"/>
                    </a:lnTo>
                    <a:lnTo>
                      <a:pt x="259" y="109"/>
                    </a:lnTo>
                    <a:lnTo>
                      <a:pt x="250" y="109"/>
                    </a:lnTo>
                    <a:lnTo>
                      <a:pt x="245" y="109"/>
                    </a:lnTo>
                    <a:lnTo>
                      <a:pt x="242" y="114"/>
                    </a:lnTo>
                    <a:lnTo>
                      <a:pt x="239" y="117"/>
                    </a:lnTo>
                    <a:lnTo>
                      <a:pt x="239" y="111"/>
                    </a:lnTo>
                    <a:lnTo>
                      <a:pt x="234" y="114"/>
                    </a:lnTo>
                    <a:lnTo>
                      <a:pt x="245" y="106"/>
                    </a:lnTo>
                    <a:lnTo>
                      <a:pt x="245" y="100"/>
                    </a:lnTo>
                    <a:lnTo>
                      <a:pt x="245" y="95"/>
                    </a:lnTo>
                    <a:lnTo>
                      <a:pt x="239" y="95"/>
                    </a:lnTo>
                    <a:lnTo>
                      <a:pt x="234" y="95"/>
                    </a:lnTo>
                    <a:lnTo>
                      <a:pt x="231" y="92"/>
                    </a:lnTo>
                    <a:lnTo>
                      <a:pt x="234" y="86"/>
                    </a:lnTo>
                    <a:lnTo>
                      <a:pt x="231" y="75"/>
                    </a:lnTo>
                    <a:lnTo>
                      <a:pt x="228" y="72"/>
                    </a:lnTo>
                    <a:lnTo>
                      <a:pt x="231" y="72"/>
                    </a:lnTo>
                    <a:lnTo>
                      <a:pt x="223" y="67"/>
                    </a:lnTo>
                    <a:lnTo>
                      <a:pt x="217" y="67"/>
                    </a:lnTo>
                    <a:lnTo>
                      <a:pt x="200" y="58"/>
                    </a:lnTo>
                    <a:lnTo>
                      <a:pt x="192" y="58"/>
                    </a:lnTo>
                    <a:lnTo>
                      <a:pt x="184" y="64"/>
                    </a:lnTo>
                    <a:lnTo>
                      <a:pt x="178" y="70"/>
                    </a:lnTo>
                    <a:lnTo>
                      <a:pt x="178" y="75"/>
                    </a:lnTo>
                    <a:lnTo>
                      <a:pt x="184" y="81"/>
                    </a:lnTo>
                    <a:lnTo>
                      <a:pt x="178" y="81"/>
                    </a:lnTo>
                    <a:lnTo>
                      <a:pt x="175" y="81"/>
                    </a:lnTo>
                    <a:lnTo>
                      <a:pt x="170" y="86"/>
                    </a:lnTo>
                    <a:lnTo>
                      <a:pt x="167" y="78"/>
                    </a:lnTo>
                    <a:lnTo>
                      <a:pt x="161" y="81"/>
                    </a:lnTo>
                    <a:lnTo>
                      <a:pt x="158" y="81"/>
                    </a:lnTo>
                    <a:lnTo>
                      <a:pt x="158" y="72"/>
                    </a:lnTo>
                    <a:lnTo>
                      <a:pt x="153" y="86"/>
                    </a:lnTo>
                    <a:lnTo>
                      <a:pt x="150" y="86"/>
                    </a:lnTo>
                    <a:lnTo>
                      <a:pt x="150" y="92"/>
                    </a:lnTo>
                    <a:lnTo>
                      <a:pt x="147" y="97"/>
                    </a:lnTo>
                    <a:lnTo>
                      <a:pt x="142" y="100"/>
                    </a:lnTo>
                    <a:lnTo>
                      <a:pt x="142" y="97"/>
                    </a:lnTo>
                    <a:lnTo>
                      <a:pt x="139" y="95"/>
                    </a:lnTo>
                    <a:lnTo>
                      <a:pt x="142" y="92"/>
                    </a:lnTo>
                    <a:lnTo>
                      <a:pt x="145" y="95"/>
                    </a:lnTo>
                    <a:lnTo>
                      <a:pt x="147" y="92"/>
                    </a:lnTo>
                    <a:lnTo>
                      <a:pt x="145" y="89"/>
                    </a:lnTo>
                    <a:lnTo>
                      <a:pt x="142" y="89"/>
                    </a:lnTo>
                    <a:lnTo>
                      <a:pt x="150" y="61"/>
                    </a:lnTo>
                    <a:lnTo>
                      <a:pt x="147" y="56"/>
                    </a:lnTo>
                    <a:lnTo>
                      <a:pt x="145" y="50"/>
                    </a:lnTo>
                    <a:lnTo>
                      <a:pt x="145" y="47"/>
                    </a:lnTo>
                    <a:lnTo>
                      <a:pt x="147" y="45"/>
                    </a:lnTo>
                    <a:lnTo>
                      <a:pt x="147" y="42"/>
                    </a:lnTo>
                    <a:lnTo>
                      <a:pt x="145" y="39"/>
                    </a:lnTo>
                    <a:lnTo>
                      <a:pt x="139" y="33"/>
                    </a:lnTo>
                    <a:lnTo>
                      <a:pt x="133" y="33"/>
                    </a:lnTo>
                    <a:lnTo>
                      <a:pt x="136" y="28"/>
                    </a:lnTo>
                    <a:lnTo>
                      <a:pt x="136" y="14"/>
                    </a:lnTo>
                    <a:lnTo>
                      <a:pt x="133" y="6"/>
                    </a:lnTo>
                    <a:lnTo>
                      <a:pt x="114" y="6"/>
                    </a:lnTo>
                    <a:lnTo>
                      <a:pt x="108" y="8"/>
                    </a:lnTo>
                    <a:lnTo>
                      <a:pt x="106" y="11"/>
                    </a:lnTo>
                    <a:lnTo>
                      <a:pt x="94" y="19"/>
                    </a:lnTo>
                    <a:lnTo>
                      <a:pt x="100" y="25"/>
                    </a:lnTo>
                    <a:lnTo>
                      <a:pt x="97" y="31"/>
                    </a:lnTo>
                    <a:lnTo>
                      <a:pt x="94" y="22"/>
                    </a:lnTo>
                    <a:lnTo>
                      <a:pt x="92" y="19"/>
                    </a:lnTo>
                    <a:lnTo>
                      <a:pt x="86" y="22"/>
                    </a:lnTo>
                    <a:lnTo>
                      <a:pt x="86" y="25"/>
                    </a:lnTo>
                    <a:lnTo>
                      <a:pt x="89" y="33"/>
                    </a:lnTo>
                    <a:lnTo>
                      <a:pt x="83" y="31"/>
                    </a:lnTo>
                    <a:lnTo>
                      <a:pt x="81" y="25"/>
                    </a:lnTo>
                    <a:lnTo>
                      <a:pt x="78" y="28"/>
                    </a:lnTo>
                    <a:lnTo>
                      <a:pt x="75" y="33"/>
                    </a:lnTo>
                    <a:lnTo>
                      <a:pt x="81" y="36"/>
                    </a:lnTo>
                    <a:lnTo>
                      <a:pt x="97" y="45"/>
                    </a:lnTo>
                    <a:lnTo>
                      <a:pt x="94" y="45"/>
                    </a:lnTo>
                    <a:lnTo>
                      <a:pt x="75" y="39"/>
                    </a:lnTo>
                    <a:lnTo>
                      <a:pt x="72" y="42"/>
                    </a:lnTo>
                    <a:lnTo>
                      <a:pt x="69" y="42"/>
                    </a:lnTo>
                    <a:lnTo>
                      <a:pt x="72" y="45"/>
                    </a:lnTo>
                    <a:lnTo>
                      <a:pt x="78" y="45"/>
                    </a:lnTo>
                    <a:lnTo>
                      <a:pt x="83" y="50"/>
                    </a:lnTo>
                    <a:lnTo>
                      <a:pt x="86" y="53"/>
                    </a:lnTo>
                    <a:lnTo>
                      <a:pt x="92" y="58"/>
                    </a:lnTo>
                    <a:lnTo>
                      <a:pt x="89" y="58"/>
                    </a:lnTo>
                    <a:lnTo>
                      <a:pt x="78" y="50"/>
                    </a:lnTo>
                    <a:lnTo>
                      <a:pt x="72" y="47"/>
                    </a:lnTo>
                    <a:lnTo>
                      <a:pt x="67" y="47"/>
                    </a:lnTo>
                    <a:lnTo>
                      <a:pt x="67" y="50"/>
                    </a:lnTo>
                    <a:lnTo>
                      <a:pt x="67" y="58"/>
                    </a:lnTo>
                    <a:lnTo>
                      <a:pt x="69" y="67"/>
                    </a:lnTo>
                    <a:lnTo>
                      <a:pt x="67" y="70"/>
                    </a:lnTo>
                    <a:lnTo>
                      <a:pt x="69" y="75"/>
                    </a:lnTo>
                    <a:lnTo>
                      <a:pt x="75" y="78"/>
                    </a:lnTo>
                    <a:lnTo>
                      <a:pt x="78" y="78"/>
                    </a:lnTo>
                    <a:lnTo>
                      <a:pt x="81" y="75"/>
                    </a:lnTo>
                    <a:lnTo>
                      <a:pt x="81" y="78"/>
                    </a:lnTo>
                    <a:lnTo>
                      <a:pt x="78" y="83"/>
                    </a:lnTo>
                    <a:lnTo>
                      <a:pt x="75" y="86"/>
                    </a:lnTo>
                    <a:lnTo>
                      <a:pt x="69" y="86"/>
                    </a:lnTo>
                    <a:lnTo>
                      <a:pt x="69" y="92"/>
                    </a:lnTo>
                    <a:lnTo>
                      <a:pt x="64" y="97"/>
                    </a:lnTo>
                    <a:lnTo>
                      <a:pt x="64" y="100"/>
                    </a:lnTo>
                    <a:lnTo>
                      <a:pt x="69" y="103"/>
                    </a:lnTo>
                    <a:lnTo>
                      <a:pt x="69" y="109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83" y="114"/>
                    </a:lnTo>
                    <a:lnTo>
                      <a:pt x="83" y="120"/>
                    </a:lnTo>
                    <a:lnTo>
                      <a:pt x="83" y="128"/>
                    </a:lnTo>
                    <a:lnTo>
                      <a:pt x="81" y="128"/>
                    </a:lnTo>
                    <a:lnTo>
                      <a:pt x="81" y="142"/>
                    </a:lnTo>
                    <a:lnTo>
                      <a:pt x="78" y="150"/>
                    </a:lnTo>
                    <a:lnTo>
                      <a:pt x="78" y="148"/>
                    </a:lnTo>
                    <a:lnTo>
                      <a:pt x="78" y="139"/>
                    </a:lnTo>
                    <a:lnTo>
                      <a:pt x="75" y="139"/>
                    </a:lnTo>
                    <a:lnTo>
                      <a:pt x="69" y="139"/>
                    </a:lnTo>
                    <a:lnTo>
                      <a:pt x="64" y="142"/>
                    </a:lnTo>
                    <a:lnTo>
                      <a:pt x="58" y="148"/>
                    </a:lnTo>
                    <a:lnTo>
                      <a:pt x="53" y="145"/>
                    </a:lnTo>
                    <a:lnTo>
                      <a:pt x="64" y="136"/>
                    </a:lnTo>
                    <a:lnTo>
                      <a:pt x="69" y="136"/>
                    </a:lnTo>
                    <a:lnTo>
                      <a:pt x="72" y="134"/>
                    </a:lnTo>
                    <a:lnTo>
                      <a:pt x="75" y="131"/>
                    </a:lnTo>
                    <a:lnTo>
                      <a:pt x="78" y="134"/>
                    </a:lnTo>
                    <a:lnTo>
                      <a:pt x="78" y="128"/>
                    </a:lnTo>
                    <a:lnTo>
                      <a:pt x="75" y="125"/>
                    </a:lnTo>
                    <a:lnTo>
                      <a:pt x="72" y="122"/>
                    </a:lnTo>
                    <a:lnTo>
                      <a:pt x="55" y="103"/>
                    </a:lnTo>
                    <a:lnTo>
                      <a:pt x="55" y="95"/>
                    </a:lnTo>
                    <a:lnTo>
                      <a:pt x="58" y="78"/>
                    </a:lnTo>
                    <a:lnTo>
                      <a:pt x="50" y="64"/>
                    </a:lnTo>
                    <a:lnTo>
                      <a:pt x="53" y="56"/>
                    </a:lnTo>
                    <a:lnTo>
                      <a:pt x="58" y="45"/>
                    </a:lnTo>
                    <a:lnTo>
                      <a:pt x="58" y="36"/>
                    </a:lnTo>
                    <a:lnTo>
                      <a:pt x="81" y="6"/>
                    </a:lnTo>
                    <a:lnTo>
                      <a:pt x="75" y="3"/>
                    </a:lnTo>
                    <a:lnTo>
                      <a:pt x="53" y="0"/>
                    </a:lnTo>
                    <a:lnTo>
                      <a:pt x="30" y="11"/>
                    </a:lnTo>
                    <a:lnTo>
                      <a:pt x="22" y="22"/>
                    </a:lnTo>
                    <a:lnTo>
                      <a:pt x="19" y="28"/>
                    </a:lnTo>
                    <a:lnTo>
                      <a:pt x="16" y="33"/>
                    </a:lnTo>
                    <a:lnTo>
                      <a:pt x="14" y="36"/>
                    </a:lnTo>
                    <a:lnTo>
                      <a:pt x="11" y="42"/>
                    </a:lnTo>
                    <a:lnTo>
                      <a:pt x="14" y="47"/>
                    </a:lnTo>
                    <a:lnTo>
                      <a:pt x="8" y="50"/>
                    </a:lnTo>
                    <a:lnTo>
                      <a:pt x="8" y="56"/>
                    </a:lnTo>
                    <a:lnTo>
                      <a:pt x="11" y="58"/>
                    </a:lnTo>
                    <a:lnTo>
                      <a:pt x="5" y="58"/>
                    </a:lnTo>
                    <a:lnTo>
                      <a:pt x="5" y="64"/>
                    </a:lnTo>
                    <a:lnTo>
                      <a:pt x="3" y="67"/>
                    </a:lnTo>
                    <a:lnTo>
                      <a:pt x="3" y="75"/>
                    </a:lnTo>
                    <a:lnTo>
                      <a:pt x="0" y="78"/>
                    </a:lnTo>
                    <a:lnTo>
                      <a:pt x="3" y="89"/>
                    </a:lnTo>
                    <a:lnTo>
                      <a:pt x="5" y="89"/>
                    </a:lnTo>
                    <a:lnTo>
                      <a:pt x="3" y="89"/>
                    </a:lnTo>
                    <a:lnTo>
                      <a:pt x="0" y="95"/>
                    </a:lnTo>
                    <a:lnTo>
                      <a:pt x="0" y="97"/>
                    </a:lnTo>
                    <a:lnTo>
                      <a:pt x="3" y="109"/>
                    </a:lnTo>
                    <a:lnTo>
                      <a:pt x="0" y="114"/>
                    </a:lnTo>
                    <a:lnTo>
                      <a:pt x="0" y="125"/>
                    </a:lnTo>
                    <a:lnTo>
                      <a:pt x="3" y="131"/>
                    </a:lnTo>
                    <a:lnTo>
                      <a:pt x="30" y="136"/>
                    </a:lnTo>
                    <a:lnTo>
                      <a:pt x="39" y="145"/>
                    </a:lnTo>
                    <a:lnTo>
                      <a:pt x="44" y="148"/>
                    </a:lnTo>
                    <a:lnTo>
                      <a:pt x="36" y="150"/>
                    </a:lnTo>
                    <a:lnTo>
                      <a:pt x="28" y="150"/>
                    </a:lnTo>
                    <a:lnTo>
                      <a:pt x="19" y="145"/>
                    </a:lnTo>
                    <a:lnTo>
                      <a:pt x="8" y="142"/>
                    </a:lnTo>
                    <a:lnTo>
                      <a:pt x="11" y="145"/>
                    </a:lnTo>
                    <a:lnTo>
                      <a:pt x="8" y="150"/>
                    </a:lnTo>
                    <a:lnTo>
                      <a:pt x="22" y="170"/>
                    </a:lnTo>
                    <a:lnTo>
                      <a:pt x="33" y="178"/>
                    </a:lnTo>
                    <a:lnTo>
                      <a:pt x="28" y="178"/>
                    </a:lnTo>
                    <a:lnTo>
                      <a:pt x="33" y="181"/>
                    </a:lnTo>
                    <a:lnTo>
                      <a:pt x="33" y="178"/>
                    </a:lnTo>
                    <a:lnTo>
                      <a:pt x="39" y="178"/>
                    </a:lnTo>
                    <a:lnTo>
                      <a:pt x="47" y="181"/>
                    </a:lnTo>
                    <a:lnTo>
                      <a:pt x="53" y="178"/>
                    </a:lnTo>
                    <a:lnTo>
                      <a:pt x="53" y="173"/>
                    </a:lnTo>
                    <a:lnTo>
                      <a:pt x="55" y="181"/>
                    </a:lnTo>
                    <a:lnTo>
                      <a:pt x="58" y="187"/>
                    </a:lnTo>
                    <a:lnTo>
                      <a:pt x="64" y="192"/>
                    </a:lnTo>
                    <a:lnTo>
                      <a:pt x="69" y="195"/>
                    </a:lnTo>
                    <a:lnTo>
                      <a:pt x="75" y="195"/>
                    </a:lnTo>
                    <a:lnTo>
                      <a:pt x="69" y="192"/>
                    </a:lnTo>
                    <a:lnTo>
                      <a:pt x="75" y="189"/>
                    </a:lnTo>
                    <a:lnTo>
                      <a:pt x="100" y="198"/>
                    </a:lnTo>
                    <a:lnTo>
                      <a:pt x="100" y="195"/>
                    </a:lnTo>
                    <a:lnTo>
                      <a:pt x="108" y="192"/>
                    </a:lnTo>
                    <a:lnTo>
                      <a:pt x="117" y="200"/>
                    </a:lnTo>
                    <a:lnTo>
                      <a:pt x="122" y="200"/>
                    </a:lnTo>
                    <a:lnTo>
                      <a:pt x="125" y="198"/>
                    </a:lnTo>
                    <a:lnTo>
                      <a:pt x="125" y="200"/>
                    </a:lnTo>
                    <a:lnTo>
                      <a:pt x="128" y="198"/>
                    </a:lnTo>
                    <a:lnTo>
                      <a:pt x="131" y="195"/>
                    </a:lnTo>
                    <a:lnTo>
                      <a:pt x="136" y="198"/>
                    </a:lnTo>
                    <a:lnTo>
                      <a:pt x="139" y="203"/>
                    </a:lnTo>
                    <a:lnTo>
                      <a:pt x="142" y="203"/>
                    </a:lnTo>
                    <a:lnTo>
                      <a:pt x="142" y="200"/>
                    </a:lnTo>
                    <a:lnTo>
                      <a:pt x="136" y="192"/>
                    </a:lnTo>
                    <a:lnTo>
                      <a:pt x="131" y="192"/>
                    </a:lnTo>
                    <a:lnTo>
                      <a:pt x="131" y="187"/>
                    </a:lnTo>
                    <a:lnTo>
                      <a:pt x="150" y="195"/>
                    </a:lnTo>
                    <a:lnTo>
                      <a:pt x="153" y="192"/>
                    </a:lnTo>
                    <a:lnTo>
                      <a:pt x="156" y="195"/>
                    </a:lnTo>
                    <a:lnTo>
                      <a:pt x="161" y="200"/>
                    </a:lnTo>
                    <a:lnTo>
                      <a:pt x="175" y="198"/>
                    </a:lnTo>
                    <a:lnTo>
                      <a:pt x="175" y="195"/>
                    </a:lnTo>
                    <a:lnTo>
                      <a:pt x="170" y="178"/>
                    </a:lnTo>
                    <a:lnTo>
                      <a:pt x="167" y="178"/>
                    </a:lnTo>
                    <a:lnTo>
                      <a:pt x="164" y="175"/>
                    </a:lnTo>
                    <a:lnTo>
                      <a:pt x="167" y="173"/>
                    </a:lnTo>
                    <a:lnTo>
                      <a:pt x="175" y="175"/>
                    </a:lnTo>
                    <a:lnTo>
                      <a:pt x="184" y="184"/>
                    </a:lnTo>
                    <a:lnTo>
                      <a:pt x="186" y="181"/>
                    </a:lnTo>
                    <a:lnTo>
                      <a:pt x="189" y="184"/>
                    </a:lnTo>
                    <a:lnTo>
                      <a:pt x="192" y="184"/>
                    </a:lnTo>
                    <a:lnTo>
                      <a:pt x="195" y="200"/>
                    </a:lnTo>
                    <a:lnTo>
                      <a:pt x="195" y="203"/>
                    </a:lnTo>
                    <a:lnTo>
                      <a:pt x="197" y="198"/>
                    </a:lnTo>
                    <a:lnTo>
                      <a:pt x="200" y="200"/>
                    </a:lnTo>
                    <a:lnTo>
                      <a:pt x="203" y="200"/>
                    </a:lnTo>
                    <a:lnTo>
                      <a:pt x="206" y="203"/>
                    </a:lnTo>
                    <a:lnTo>
                      <a:pt x="206" y="206"/>
                    </a:lnTo>
                    <a:lnTo>
                      <a:pt x="200" y="209"/>
                    </a:lnTo>
                    <a:lnTo>
                      <a:pt x="206" y="209"/>
                    </a:lnTo>
                    <a:lnTo>
                      <a:pt x="223" y="225"/>
                    </a:lnTo>
                    <a:lnTo>
                      <a:pt x="223" y="231"/>
                    </a:lnTo>
                    <a:lnTo>
                      <a:pt x="217" y="237"/>
                    </a:lnTo>
                    <a:lnTo>
                      <a:pt x="211" y="237"/>
                    </a:lnTo>
                    <a:lnTo>
                      <a:pt x="209" y="237"/>
                    </a:lnTo>
                    <a:lnTo>
                      <a:pt x="209" y="242"/>
                    </a:lnTo>
                    <a:lnTo>
                      <a:pt x="209" y="253"/>
                    </a:lnTo>
                    <a:lnTo>
                      <a:pt x="223" y="245"/>
                    </a:lnTo>
                    <a:lnTo>
                      <a:pt x="225" y="239"/>
                    </a:lnTo>
                    <a:lnTo>
                      <a:pt x="228" y="242"/>
                    </a:lnTo>
                    <a:lnTo>
                      <a:pt x="234" y="237"/>
                    </a:lnTo>
                    <a:lnTo>
                      <a:pt x="239" y="237"/>
                    </a:lnTo>
                    <a:lnTo>
                      <a:pt x="245" y="237"/>
                    </a:lnTo>
                    <a:lnTo>
                      <a:pt x="236" y="239"/>
                    </a:lnTo>
                    <a:lnTo>
                      <a:pt x="239" y="242"/>
                    </a:lnTo>
                    <a:lnTo>
                      <a:pt x="236" y="245"/>
                    </a:lnTo>
                    <a:lnTo>
                      <a:pt x="248" y="259"/>
                    </a:lnTo>
                    <a:lnTo>
                      <a:pt x="248" y="256"/>
                    </a:lnTo>
                    <a:lnTo>
                      <a:pt x="248" y="253"/>
                    </a:lnTo>
                    <a:lnTo>
                      <a:pt x="248" y="251"/>
                    </a:lnTo>
                    <a:lnTo>
                      <a:pt x="253" y="251"/>
                    </a:lnTo>
                    <a:lnTo>
                      <a:pt x="250" y="262"/>
                    </a:lnTo>
                    <a:lnTo>
                      <a:pt x="253" y="267"/>
                    </a:lnTo>
                    <a:lnTo>
                      <a:pt x="259" y="270"/>
                    </a:lnTo>
                    <a:lnTo>
                      <a:pt x="261" y="267"/>
                    </a:lnTo>
                    <a:lnTo>
                      <a:pt x="267" y="273"/>
                    </a:lnTo>
                    <a:lnTo>
                      <a:pt x="267" y="284"/>
                    </a:lnTo>
                    <a:lnTo>
                      <a:pt x="270" y="287"/>
                    </a:lnTo>
                    <a:lnTo>
                      <a:pt x="270" y="295"/>
                    </a:lnTo>
                    <a:lnTo>
                      <a:pt x="273" y="298"/>
                    </a:lnTo>
                    <a:lnTo>
                      <a:pt x="275" y="309"/>
                    </a:lnTo>
                    <a:lnTo>
                      <a:pt x="275" y="315"/>
                    </a:lnTo>
                    <a:lnTo>
                      <a:pt x="273" y="317"/>
                    </a:lnTo>
                    <a:lnTo>
                      <a:pt x="270" y="317"/>
                    </a:lnTo>
                    <a:lnTo>
                      <a:pt x="267" y="320"/>
                    </a:lnTo>
                    <a:lnTo>
                      <a:pt x="267" y="331"/>
                    </a:lnTo>
                    <a:lnTo>
                      <a:pt x="264" y="331"/>
                    </a:lnTo>
                    <a:lnTo>
                      <a:pt x="261" y="334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8" y="362"/>
                    </a:lnTo>
                    <a:lnTo>
                      <a:pt x="253" y="368"/>
                    </a:lnTo>
                    <a:lnTo>
                      <a:pt x="253" y="373"/>
                    </a:lnTo>
                    <a:lnTo>
                      <a:pt x="256" y="373"/>
                    </a:lnTo>
                    <a:lnTo>
                      <a:pt x="256" y="381"/>
                    </a:lnTo>
                    <a:lnTo>
                      <a:pt x="250" y="379"/>
                    </a:lnTo>
                    <a:lnTo>
                      <a:pt x="248" y="376"/>
                    </a:lnTo>
                    <a:lnTo>
                      <a:pt x="248" y="379"/>
                    </a:lnTo>
                    <a:lnTo>
                      <a:pt x="245" y="379"/>
                    </a:lnTo>
                    <a:lnTo>
                      <a:pt x="239" y="384"/>
                    </a:lnTo>
                    <a:lnTo>
                      <a:pt x="231" y="381"/>
                    </a:lnTo>
                    <a:lnTo>
                      <a:pt x="231" y="387"/>
                    </a:lnTo>
                    <a:lnTo>
                      <a:pt x="228" y="387"/>
                    </a:lnTo>
                    <a:lnTo>
                      <a:pt x="225" y="384"/>
                    </a:lnTo>
                    <a:lnTo>
                      <a:pt x="217" y="387"/>
                    </a:lnTo>
                    <a:lnTo>
                      <a:pt x="209" y="384"/>
                    </a:lnTo>
                    <a:lnTo>
                      <a:pt x="206" y="384"/>
                    </a:lnTo>
                    <a:lnTo>
                      <a:pt x="203" y="381"/>
                    </a:lnTo>
                    <a:lnTo>
                      <a:pt x="200" y="381"/>
                    </a:lnTo>
                    <a:lnTo>
                      <a:pt x="197" y="381"/>
                    </a:lnTo>
                    <a:lnTo>
                      <a:pt x="200" y="384"/>
                    </a:lnTo>
                    <a:lnTo>
                      <a:pt x="197" y="384"/>
                    </a:lnTo>
                    <a:lnTo>
                      <a:pt x="197" y="390"/>
                    </a:lnTo>
                    <a:lnTo>
                      <a:pt x="195" y="393"/>
                    </a:lnTo>
                    <a:lnTo>
                      <a:pt x="189" y="395"/>
                    </a:lnTo>
                    <a:lnTo>
                      <a:pt x="186" y="401"/>
                    </a:lnTo>
                    <a:lnTo>
                      <a:pt x="186" y="409"/>
                    </a:lnTo>
                    <a:lnTo>
                      <a:pt x="189" y="415"/>
                    </a:lnTo>
                    <a:lnTo>
                      <a:pt x="192" y="418"/>
                    </a:lnTo>
                    <a:lnTo>
                      <a:pt x="195" y="418"/>
                    </a:lnTo>
                    <a:lnTo>
                      <a:pt x="197" y="423"/>
                    </a:lnTo>
                    <a:lnTo>
                      <a:pt x="200" y="423"/>
                    </a:lnTo>
                    <a:lnTo>
                      <a:pt x="206" y="423"/>
                    </a:lnTo>
                    <a:lnTo>
                      <a:pt x="209" y="426"/>
                    </a:lnTo>
                    <a:lnTo>
                      <a:pt x="209" y="423"/>
                    </a:lnTo>
                    <a:lnTo>
                      <a:pt x="214" y="423"/>
                    </a:lnTo>
                    <a:lnTo>
                      <a:pt x="214" y="420"/>
                    </a:lnTo>
                    <a:lnTo>
                      <a:pt x="220" y="420"/>
                    </a:lnTo>
                    <a:lnTo>
                      <a:pt x="223" y="418"/>
                    </a:lnTo>
                    <a:lnTo>
                      <a:pt x="223" y="415"/>
                    </a:lnTo>
                    <a:lnTo>
                      <a:pt x="220" y="412"/>
                    </a:lnTo>
                    <a:lnTo>
                      <a:pt x="223" y="412"/>
                    </a:lnTo>
                    <a:lnTo>
                      <a:pt x="228" y="412"/>
                    </a:lnTo>
                    <a:lnTo>
                      <a:pt x="228" y="415"/>
                    </a:lnTo>
                    <a:lnTo>
                      <a:pt x="231" y="418"/>
                    </a:lnTo>
                    <a:lnTo>
                      <a:pt x="236" y="418"/>
                    </a:lnTo>
                    <a:lnTo>
                      <a:pt x="239" y="418"/>
                    </a:lnTo>
                    <a:lnTo>
                      <a:pt x="239" y="415"/>
                    </a:lnTo>
                    <a:lnTo>
                      <a:pt x="242" y="412"/>
                    </a:lnTo>
                    <a:lnTo>
                      <a:pt x="242" y="415"/>
                    </a:lnTo>
                    <a:lnTo>
                      <a:pt x="239" y="409"/>
                    </a:lnTo>
                    <a:lnTo>
                      <a:pt x="236" y="409"/>
                    </a:lnTo>
                    <a:lnTo>
                      <a:pt x="236" y="404"/>
                    </a:lnTo>
                    <a:lnTo>
                      <a:pt x="239" y="404"/>
                    </a:lnTo>
                    <a:lnTo>
                      <a:pt x="239" y="401"/>
                    </a:lnTo>
                    <a:lnTo>
                      <a:pt x="242" y="406"/>
                    </a:lnTo>
                    <a:lnTo>
                      <a:pt x="245" y="409"/>
                    </a:lnTo>
                    <a:lnTo>
                      <a:pt x="248" y="409"/>
                    </a:lnTo>
                    <a:lnTo>
                      <a:pt x="250" y="409"/>
                    </a:lnTo>
                    <a:lnTo>
                      <a:pt x="253" y="412"/>
                    </a:lnTo>
                    <a:lnTo>
                      <a:pt x="256" y="409"/>
                    </a:lnTo>
                    <a:lnTo>
                      <a:pt x="259" y="412"/>
                    </a:lnTo>
                    <a:lnTo>
                      <a:pt x="259" y="415"/>
                    </a:lnTo>
                    <a:lnTo>
                      <a:pt x="261" y="423"/>
                    </a:lnTo>
                    <a:lnTo>
                      <a:pt x="261" y="420"/>
                    </a:lnTo>
                    <a:lnTo>
                      <a:pt x="264" y="426"/>
                    </a:lnTo>
                    <a:lnTo>
                      <a:pt x="267" y="429"/>
                    </a:lnTo>
                    <a:lnTo>
                      <a:pt x="264" y="432"/>
                    </a:lnTo>
                    <a:lnTo>
                      <a:pt x="267" y="432"/>
                    </a:lnTo>
                    <a:lnTo>
                      <a:pt x="267" y="434"/>
                    </a:lnTo>
                    <a:lnTo>
                      <a:pt x="270" y="434"/>
                    </a:lnTo>
                    <a:lnTo>
                      <a:pt x="273" y="440"/>
                    </a:lnTo>
                    <a:lnTo>
                      <a:pt x="275" y="437"/>
                    </a:lnTo>
                    <a:lnTo>
                      <a:pt x="278" y="440"/>
                    </a:lnTo>
                    <a:lnTo>
                      <a:pt x="278" y="443"/>
                    </a:lnTo>
                    <a:lnTo>
                      <a:pt x="281" y="445"/>
                    </a:lnTo>
                    <a:lnTo>
                      <a:pt x="281" y="443"/>
                    </a:lnTo>
                    <a:lnTo>
                      <a:pt x="284" y="437"/>
                    </a:lnTo>
                    <a:lnTo>
                      <a:pt x="287" y="443"/>
                    </a:lnTo>
                    <a:lnTo>
                      <a:pt x="289" y="445"/>
                    </a:lnTo>
                    <a:lnTo>
                      <a:pt x="292" y="445"/>
                    </a:lnTo>
                    <a:lnTo>
                      <a:pt x="289" y="451"/>
                    </a:lnTo>
                    <a:lnTo>
                      <a:pt x="284" y="454"/>
                    </a:lnTo>
                    <a:lnTo>
                      <a:pt x="281" y="448"/>
                    </a:lnTo>
                    <a:lnTo>
                      <a:pt x="287" y="462"/>
                    </a:lnTo>
                    <a:lnTo>
                      <a:pt x="289" y="465"/>
                    </a:lnTo>
                    <a:lnTo>
                      <a:pt x="292" y="46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9" name="Freeform 967"/>
              <p:cNvSpPr>
                <a:spLocks noChangeAspect="1"/>
              </p:cNvSpPr>
              <p:nvPr>
                <p:custDataLst>
                  <p:tags r:id="rId277"/>
                </p:custDataLst>
              </p:nvPr>
            </p:nvSpPr>
            <p:spPr bwMode="gray">
              <a:xfrm>
                <a:off x="3448560" y="2255842"/>
                <a:ext cx="10630" cy="28381"/>
              </a:xfrm>
              <a:custGeom>
                <a:avLst/>
                <a:gdLst>
                  <a:gd name="T0" fmla="*/ 11578357 w 8"/>
                  <a:gd name="T1" fmla="*/ 0 h 23"/>
                  <a:gd name="T2" fmla="*/ 11578357 w 8"/>
                  <a:gd name="T3" fmla="*/ 0 h 23"/>
                  <a:gd name="T4" fmla="*/ 15437344 w 8"/>
                  <a:gd name="T5" fmla="*/ 26240548 h 23"/>
                  <a:gd name="T6" fmla="*/ 15437344 w 8"/>
                  <a:gd name="T7" fmla="*/ 35501329 h 23"/>
                  <a:gd name="T8" fmla="*/ 11578357 w 8"/>
                  <a:gd name="T9" fmla="*/ 35501329 h 23"/>
                  <a:gd name="T10" fmla="*/ 0 w 8"/>
                  <a:gd name="T11" fmla="*/ 26240548 h 23"/>
                  <a:gd name="T12" fmla="*/ 5788484 w 8"/>
                  <a:gd name="T13" fmla="*/ 4630392 h 23"/>
                  <a:gd name="T14" fmla="*/ 5788484 w 8"/>
                  <a:gd name="T15" fmla="*/ 0 h 23"/>
                  <a:gd name="T16" fmla="*/ 11578357 w 8"/>
                  <a:gd name="T17" fmla="*/ 0 h 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23"/>
                  <a:gd name="T29" fmla="*/ 8 w 8"/>
                  <a:gd name="T30" fmla="*/ 23 h 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23">
                    <a:moveTo>
                      <a:pt x="6" y="0"/>
                    </a:moveTo>
                    <a:lnTo>
                      <a:pt x="6" y="0"/>
                    </a:lnTo>
                    <a:lnTo>
                      <a:pt x="8" y="17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0" y="17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0" name="Freeform 968"/>
              <p:cNvSpPr>
                <a:spLocks noChangeAspect="1"/>
              </p:cNvSpPr>
              <p:nvPr>
                <p:custDataLst>
                  <p:tags r:id="rId278"/>
                </p:custDataLst>
              </p:nvPr>
            </p:nvSpPr>
            <p:spPr bwMode="gray">
              <a:xfrm>
                <a:off x="3448560" y="2255842"/>
                <a:ext cx="10630" cy="28381"/>
              </a:xfrm>
              <a:custGeom>
                <a:avLst/>
                <a:gdLst>
                  <a:gd name="T0" fmla="*/ 11578357 w 8"/>
                  <a:gd name="T1" fmla="*/ 0 h 23"/>
                  <a:gd name="T2" fmla="*/ 11578357 w 8"/>
                  <a:gd name="T3" fmla="*/ 0 h 23"/>
                  <a:gd name="T4" fmla="*/ 15437344 w 8"/>
                  <a:gd name="T5" fmla="*/ 26240548 h 23"/>
                  <a:gd name="T6" fmla="*/ 15437344 w 8"/>
                  <a:gd name="T7" fmla="*/ 35501329 h 23"/>
                  <a:gd name="T8" fmla="*/ 11578357 w 8"/>
                  <a:gd name="T9" fmla="*/ 35501329 h 23"/>
                  <a:gd name="T10" fmla="*/ 0 w 8"/>
                  <a:gd name="T11" fmla="*/ 26240548 h 23"/>
                  <a:gd name="T12" fmla="*/ 5788484 w 8"/>
                  <a:gd name="T13" fmla="*/ 4630392 h 23"/>
                  <a:gd name="T14" fmla="*/ 5788484 w 8"/>
                  <a:gd name="T15" fmla="*/ 0 h 23"/>
                  <a:gd name="T16" fmla="*/ 11578357 w 8"/>
                  <a:gd name="T17" fmla="*/ 0 h 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23"/>
                  <a:gd name="T29" fmla="*/ 8 w 8"/>
                  <a:gd name="T30" fmla="*/ 23 h 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23">
                    <a:moveTo>
                      <a:pt x="6" y="0"/>
                    </a:moveTo>
                    <a:lnTo>
                      <a:pt x="6" y="0"/>
                    </a:lnTo>
                    <a:lnTo>
                      <a:pt x="8" y="17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0" y="17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1" name="Freeform 969"/>
              <p:cNvSpPr>
                <a:spLocks noChangeAspect="1"/>
              </p:cNvSpPr>
              <p:nvPr>
                <p:custDataLst>
                  <p:tags r:id="rId279"/>
                </p:custDataLst>
              </p:nvPr>
            </p:nvSpPr>
            <p:spPr bwMode="gray">
              <a:xfrm>
                <a:off x="3697588" y="2525464"/>
                <a:ext cx="15185" cy="7884"/>
              </a:xfrm>
              <a:custGeom>
                <a:avLst/>
                <a:gdLst>
                  <a:gd name="T0" fmla="*/ 22910509 w 11"/>
                  <a:gd name="T1" fmla="*/ 5250325 h 6"/>
                  <a:gd name="T2" fmla="*/ 22910509 w 11"/>
                  <a:gd name="T3" fmla="*/ 0 h 6"/>
                  <a:gd name="T4" fmla="*/ 22910509 w 11"/>
                  <a:gd name="T5" fmla="*/ 5250325 h 6"/>
                  <a:gd name="T6" fmla="*/ 22910509 w 11"/>
                  <a:gd name="T7" fmla="*/ 5250325 h 6"/>
                  <a:gd name="T8" fmla="*/ 22910509 w 11"/>
                  <a:gd name="T9" fmla="*/ 5250325 h 6"/>
                  <a:gd name="T10" fmla="*/ 18745488 w 11"/>
                  <a:gd name="T11" fmla="*/ 10499327 h 6"/>
                  <a:gd name="T12" fmla="*/ 0 w 11"/>
                  <a:gd name="T13" fmla="*/ 5250325 h 6"/>
                  <a:gd name="T14" fmla="*/ 0 w 11"/>
                  <a:gd name="T15" fmla="*/ 5250325 h 6"/>
                  <a:gd name="T16" fmla="*/ 0 w 11"/>
                  <a:gd name="T17" fmla="*/ 0 h 6"/>
                  <a:gd name="T18" fmla="*/ 6248978 w 11"/>
                  <a:gd name="T19" fmla="*/ 5250325 h 6"/>
                  <a:gd name="T20" fmla="*/ 18745488 w 11"/>
                  <a:gd name="T21" fmla="*/ 0 h 6"/>
                  <a:gd name="T22" fmla="*/ 22910509 w 11"/>
                  <a:gd name="T23" fmla="*/ 5250325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"/>
                  <a:gd name="T37" fmla="*/ 0 h 6"/>
                  <a:gd name="T38" fmla="*/ 11 w 11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" h="6">
                    <a:moveTo>
                      <a:pt x="11" y="3"/>
                    </a:moveTo>
                    <a:lnTo>
                      <a:pt x="11" y="0"/>
                    </a:lnTo>
                    <a:lnTo>
                      <a:pt x="11" y="3"/>
                    </a:lnTo>
                    <a:lnTo>
                      <a:pt x="9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1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2" name="Freeform 970"/>
              <p:cNvSpPr>
                <a:spLocks noChangeAspect="1"/>
              </p:cNvSpPr>
              <p:nvPr>
                <p:custDataLst>
                  <p:tags r:id="rId280"/>
                </p:custDataLst>
              </p:nvPr>
            </p:nvSpPr>
            <p:spPr bwMode="gray">
              <a:xfrm>
                <a:off x="3697588" y="2525464"/>
                <a:ext cx="15185" cy="7884"/>
              </a:xfrm>
              <a:custGeom>
                <a:avLst/>
                <a:gdLst>
                  <a:gd name="T0" fmla="*/ 22910509 w 11"/>
                  <a:gd name="T1" fmla="*/ 5250325 h 6"/>
                  <a:gd name="T2" fmla="*/ 22910509 w 11"/>
                  <a:gd name="T3" fmla="*/ 0 h 6"/>
                  <a:gd name="T4" fmla="*/ 22910509 w 11"/>
                  <a:gd name="T5" fmla="*/ 5250325 h 6"/>
                  <a:gd name="T6" fmla="*/ 22910509 w 11"/>
                  <a:gd name="T7" fmla="*/ 5250325 h 6"/>
                  <a:gd name="T8" fmla="*/ 22910509 w 11"/>
                  <a:gd name="T9" fmla="*/ 5250325 h 6"/>
                  <a:gd name="T10" fmla="*/ 18745488 w 11"/>
                  <a:gd name="T11" fmla="*/ 10499327 h 6"/>
                  <a:gd name="T12" fmla="*/ 0 w 11"/>
                  <a:gd name="T13" fmla="*/ 5250325 h 6"/>
                  <a:gd name="T14" fmla="*/ 0 w 11"/>
                  <a:gd name="T15" fmla="*/ 5250325 h 6"/>
                  <a:gd name="T16" fmla="*/ 0 w 11"/>
                  <a:gd name="T17" fmla="*/ 0 h 6"/>
                  <a:gd name="T18" fmla="*/ 6248978 w 11"/>
                  <a:gd name="T19" fmla="*/ 5250325 h 6"/>
                  <a:gd name="T20" fmla="*/ 18745488 w 11"/>
                  <a:gd name="T21" fmla="*/ 0 h 6"/>
                  <a:gd name="T22" fmla="*/ 22910509 w 11"/>
                  <a:gd name="T23" fmla="*/ 5250325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"/>
                  <a:gd name="T37" fmla="*/ 0 h 6"/>
                  <a:gd name="T38" fmla="*/ 11 w 11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" h="6">
                    <a:moveTo>
                      <a:pt x="11" y="3"/>
                    </a:moveTo>
                    <a:lnTo>
                      <a:pt x="11" y="0"/>
                    </a:lnTo>
                    <a:lnTo>
                      <a:pt x="11" y="3"/>
                    </a:lnTo>
                    <a:lnTo>
                      <a:pt x="9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9" y="0"/>
                    </a:lnTo>
                    <a:lnTo>
                      <a:pt x="11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3" name="Freeform 971"/>
              <p:cNvSpPr>
                <a:spLocks noChangeAspect="1"/>
              </p:cNvSpPr>
              <p:nvPr>
                <p:custDataLst>
                  <p:tags r:id="rId281"/>
                </p:custDataLst>
              </p:nvPr>
            </p:nvSpPr>
            <p:spPr bwMode="gray">
              <a:xfrm>
                <a:off x="3911691" y="3082052"/>
                <a:ext cx="44034" cy="31534"/>
              </a:xfrm>
              <a:custGeom>
                <a:avLst/>
                <a:gdLst>
                  <a:gd name="T0" fmla="*/ 56835380 w 34"/>
                  <a:gd name="T1" fmla="*/ 25806402 h 25"/>
                  <a:gd name="T2" fmla="*/ 56835380 w 34"/>
                  <a:gd name="T3" fmla="*/ 25806402 h 25"/>
                  <a:gd name="T4" fmla="*/ 62335445 w 34"/>
                  <a:gd name="T5" fmla="*/ 22580603 h 25"/>
                  <a:gd name="T6" fmla="*/ 62335445 w 34"/>
                  <a:gd name="T7" fmla="*/ 22580603 h 25"/>
                  <a:gd name="T8" fmla="*/ 51335315 w 34"/>
                  <a:gd name="T9" fmla="*/ 22580603 h 25"/>
                  <a:gd name="T10" fmla="*/ 36668465 w 34"/>
                  <a:gd name="T11" fmla="*/ 22580603 h 25"/>
                  <a:gd name="T12" fmla="*/ 16500200 w 34"/>
                  <a:gd name="T13" fmla="*/ 17741900 h 25"/>
                  <a:gd name="T14" fmla="*/ 16500200 w 34"/>
                  <a:gd name="T15" fmla="*/ 17741900 h 25"/>
                  <a:gd name="T16" fmla="*/ 11000133 w 34"/>
                  <a:gd name="T17" fmla="*/ 17741900 h 25"/>
                  <a:gd name="T18" fmla="*/ 5500066 w 34"/>
                  <a:gd name="T19" fmla="*/ 8064500 h 25"/>
                  <a:gd name="T20" fmla="*/ 11000133 w 34"/>
                  <a:gd name="T21" fmla="*/ 3225800 h 25"/>
                  <a:gd name="T22" fmla="*/ 11000133 w 34"/>
                  <a:gd name="T23" fmla="*/ 0 h 25"/>
                  <a:gd name="T24" fmla="*/ 0 w 34"/>
                  <a:gd name="T25" fmla="*/ 8064500 h 25"/>
                  <a:gd name="T26" fmla="*/ 0 w 34"/>
                  <a:gd name="T27" fmla="*/ 12903201 h 25"/>
                  <a:gd name="T28" fmla="*/ 5500066 w 34"/>
                  <a:gd name="T29" fmla="*/ 17741900 h 25"/>
                  <a:gd name="T30" fmla="*/ 5500066 w 34"/>
                  <a:gd name="T31" fmla="*/ 17741900 h 25"/>
                  <a:gd name="T32" fmla="*/ 11000133 w 34"/>
                  <a:gd name="T33" fmla="*/ 22580603 h 25"/>
                  <a:gd name="T34" fmla="*/ 16500200 w 34"/>
                  <a:gd name="T35" fmla="*/ 22580603 h 25"/>
                  <a:gd name="T36" fmla="*/ 16500200 w 34"/>
                  <a:gd name="T37" fmla="*/ 25806402 h 25"/>
                  <a:gd name="T38" fmla="*/ 25666981 w 34"/>
                  <a:gd name="T39" fmla="*/ 30645101 h 25"/>
                  <a:gd name="T40" fmla="*/ 31168400 w 34"/>
                  <a:gd name="T41" fmla="*/ 30645101 h 25"/>
                  <a:gd name="T42" fmla="*/ 31168400 w 34"/>
                  <a:gd name="T43" fmla="*/ 30645101 h 25"/>
                  <a:gd name="T44" fmla="*/ 36668465 w 34"/>
                  <a:gd name="T45" fmla="*/ 25806402 h 25"/>
                  <a:gd name="T46" fmla="*/ 36668465 w 34"/>
                  <a:gd name="T47" fmla="*/ 30645101 h 25"/>
                  <a:gd name="T48" fmla="*/ 42168530 w 34"/>
                  <a:gd name="T49" fmla="*/ 35483799 h 25"/>
                  <a:gd name="T50" fmla="*/ 42168530 w 34"/>
                  <a:gd name="T51" fmla="*/ 35483799 h 25"/>
                  <a:gd name="T52" fmla="*/ 47668605 w 34"/>
                  <a:gd name="T53" fmla="*/ 40322498 h 25"/>
                  <a:gd name="T54" fmla="*/ 51335315 w 34"/>
                  <a:gd name="T55" fmla="*/ 35483799 h 25"/>
                  <a:gd name="T56" fmla="*/ 51335315 w 34"/>
                  <a:gd name="T57" fmla="*/ 35483799 h 25"/>
                  <a:gd name="T58" fmla="*/ 51335315 w 34"/>
                  <a:gd name="T59" fmla="*/ 30645101 h 25"/>
                  <a:gd name="T60" fmla="*/ 56835380 w 34"/>
                  <a:gd name="T61" fmla="*/ 25806402 h 2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4"/>
                  <a:gd name="T94" fmla="*/ 0 h 25"/>
                  <a:gd name="T95" fmla="*/ 34 w 34"/>
                  <a:gd name="T96" fmla="*/ 25 h 2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4" h="25">
                    <a:moveTo>
                      <a:pt x="31" y="16"/>
                    </a:moveTo>
                    <a:lnTo>
                      <a:pt x="31" y="16"/>
                    </a:lnTo>
                    <a:lnTo>
                      <a:pt x="34" y="14"/>
                    </a:lnTo>
                    <a:lnTo>
                      <a:pt x="28" y="14"/>
                    </a:lnTo>
                    <a:lnTo>
                      <a:pt x="20" y="14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14" y="19"/>
                    </a:lnTo>
                    <a:lnTo>
                      <a:pt x="17" y="19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23" y="22"/>
                    </a:lnTo>
                    <a:lnTo>
                      <a:pt x="26" y="25"/>
                    </a:lnTo>
                    <a:lnTo>
                      <a:pt x="28" y="22"/>
                    </a:lnTo>
                    <a:lnTo>
                      <a:pt x="28" y="19"/>
                    </a:lnTo>
                    <a:lnTo>
                      <a:pt x="31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4" name="Freeform 972"/>
              <p:cNvSpPr>
                <a:spLocks noChangeAspect="1"/>
              </p:cNvSpPr>
              <p:nvPr>
                <p:custDataLst>
                  <p:tags r:id="rId282"/>
                </p:custDataLst>
              </p:nvPr>
            </p:nvSpPr>
            <p:spPr bwMode="gray">
              <a:xfrm>
                <a:off x="3911691" y="3082052"/>
                <a:ext cx="44034" cy="31534"/>
              </a:xfrm>
              <a:custGeom>
                <a:avLst/>
                <a:gdLst>
                  <a:gd name="T0" fmla="*/ 56835380 w 34"/>
                  <a:gd name="T1" fmla="*/ 25806402 h 25"/>
                  <a:gd name="T2" fmla="*/ 56835380 w 34"/>
                  <a:gd name="T3" fmla="*/ 25806402 h 25"/>
                  <a:gd name="T4" fmla="*/ 62335445 w 34"/>
                  <a:gd name="T5" fmla="*/ 22580603 h 25"/>
                  <a:gd name="T6" fmla="*/ 62335445 w 34"/>
                  <a:gd name="T7" fmla="*/ 22580603 h 25"/>
                  <a:gd name="T8" fmla="*/ 51335315 w 34"/>
                  <a:gd name="T9" fmla="*/ 22580603 h 25"/>
                  <a:gd name="T10" fmla="*/ 36668465 w 34"/>
                  <a:gd name="T11" fmla="*/ 22580603 h 25"/>
                  <a:gd name="T12" fmla="*/ 16500200 w 34"/>
                  <a:gd name="T13" fmla="*/ 17741900 h 25"/>
                  <a:gd name="T14" fmla="*/ 16500200 w 34"/>
                  <a:gd name="T15" fmla="*/ 17741900 h 25"/>
                  <a:gd name="T16" fmla="*/ 11000133 w 34"/>
                  <a:gd name="T17" fmla="*/ 17741900 h 25"/>
                  <a:gd name="T18" fmla="*/ 5500066 w 34"/>
                  <a:gd name="T19" fmla="*/ 8064500 h 25"/>
                  <a:gd name="T20" fmla="*/ 11000133 w 34"/>
                  <a:gd name="T21" fmla="*/ 3225800 h 25"/>
                  <a:gd name="T22" fmla="*/ 11000133 w 34"/>
                  <a:gd name="T23" fmla="*/ 0 h 25"/>
                  <a:gd name="T24" fmla="*/ 0 w 34"/>
                  <a:gd name="T25" fmla="*/ 8064500 h 25"/>
                  <a:gd name="T26" fmla="*/ 0 w 34"/>
                  <a:gd name="T27" fmla="*/ 12903201 h 25"/>
                  <a:gd name="T28" fmla="*/ 5500066 w 34"/>
                  <a:gd name="T29" fmla="*/ 17741900 h 25"/>
                  <a:gd name="T30" fmla="*/ 5500066 w 34"/>
                  <a:gd name="T31" fmla="*/ 17741900 h 25"/>
                  <a:gd name="T32" fmla="*/ 11000133 w 34"/>
                  <a:gd name="T33" fmla="*/ 22580603 h 25"/>
                  <a:gd name="T34" fmla="*/ 16500200 w 34"/>
                  <a:gd name="T35" fmla="*/ 22580603 h 25"/>
                  <a:gd name="T36" fmla="*/ 16500200 w 34"/>
                  <a:gd name="T37" fmla="*/ 25806402 h 25"/>
                  <a:gd name="T38" fmla="*/ 25666981 w 34"/>
                  <a:gd name="T39" fmla="*/ 30645101 h 25"/>
                  <a:gd name="T40" fmla="*/ 31168400 w 34"/>
                  <a:gd name="T41" fmla="*/ 30645101 h 25"/>
                  <a:gd name="T42" fmla="*/ 31168400 w 34"/>
                  <a:gd name="T43" fmla="*/ 30645101 h 25"/>
                  <a:gd name="T44" fmla="*/ 36668465 w 34"/>
                  <a:gd name="T45" fmla="*/ 25806402 h 25"/>
                  <a:gd name="T46" fmla="*/ 36668465 w 34"/>
                  <a:gd name="T47" fmla="*/ 30645101 h 25"/>
                  <a:gd name="T48" fmla="*/ 42168530 w 34"/>
                  <a:gd name="T49" fmla="*/ 35483799 h 25"/>
                  <a:gd name="T50" fmla="*/ 42168530 w 34"/>
                  <a:gd name="T51" fmla="*/ 35483799 h 25"/>
                  <a:gd name="T52" fmla="*/ 47668605 w 34"/>
                  <a:gd name="T53" fmla="*/ 40322498 h 25"/>
                  <a:gd name="T54" fmla="*/ 51335315 w 34"/>
                  <a:gd name="T55" fmla="*/ 35483799 h 25"/>
                  <a:gd name="T56" fmla="*/ 51335315 w 34"/>
                  <a:gd name="T57" fmla="*/ 35483799 h 25"/>
                  <a:gd name="T58" fmla="*/ 51335315 w 34"/>
                  <a:gd name="T59" fmla="*/ 30645101 h 25"/>
                  <a:gd name="T60" fmla="*/ 56835380 w 34"/>
                  <a:gd name="T61" fmla="*/ 25806402 h 2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4"/>
                  <a:gd name="T94" fmla="*/ 0 h 25"/>
                  <a:gd name="T95" fmla="*/ 34 w 34"/>
                  <a:gd name="T96" fmla="*/ 25 h 2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4" h="25">
                    <a:moveTo>
                      <a:pt x="31" y="16"/>
                    </a:moveTo>
                    <a:lnTo>
                      <a:pt x="31" y="16"/>
                    </a:lnTo>
                    <a:lnTo>
                      <a:pt x="34" y="14"/>
                    </a:lnTo>
                    <a:lnTo>
                      <a:pt x="28" y="14"/>
                    </a:lnTo>
                    <a:lnTo>
                      <a:pt x="20" y="14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14" y="19"/>
                    </a:lnTo>
                    <a:lnTo>
                      <a:pt x="17" y="19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23" y="22"/>
                    </a:lnTo>
                    <a:lnTo>
                      <a:pt x="26" y="25"/>
                    </a:lnTo>
                    <a:lnTo>
                      <a:pt x="28" y="22"/>
                    </a:lnTo>
                    <a:lnTo>
                      <a:pt x="28" y="19"/>
                    </a:lnTo>
                    <a:lnTo>
                      <a:pt x="31" y="1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5" name="Rectangle 973"/>
              <p:cNvSpPr>
                <a:spLocks noChangeAspect="1" noChangeArrowheads="1"/>
              </p:cNvSpPr>
              <p:nvPr>
                <p:custDataLst>
                  <p:tags r:id="rId283"/>
                </p:custDataLst>
              </p:nvPr>
            </p:nvSpPr>
            <p:spPr bwMode="gray">
              <a:xfrm>
                <a:off x="4081757" y="2877078"/>
                <a:ext cx="1518" cy="1577"/>
              </a:xfrm>
              <a:prstGeom prst="rect">
                <a:avLst/>
              </a:prstGeom>
              <a:grpFill/>
              <a:ln w="9525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6" name="Freeform 974"/>
              <p:cNvSpPr>
                <a:spLocks noChangeAspect="1"/>
              </p:cNvSpPr>
              <p:nvPr>
                <p:custDataLst>
                  <p:tags r:id="rId284"/>
                </p:custDataLst>
              </p:nvPr>
            </p:nvSpPr>
            <p:spPr bwMode="gray">
              <a:xfrm>
                <a:off x="4081757" y="2877078"/>
                <a:ext cx="1518" cy="1577"/>
              </a:xfrm>
              <a:custGeom>
                <a:avLst/>
                <a:gdLst>
                  <a:gd name="T0" fmla="*/ 0 w 1587"/>
                  <a:gd name="T1" fmla="*/ 0 h 1588"/>
                  <a:gd name="T2" fmla="*/ 0 w 1587"/>
                  <a:gd name="T3" fmla="*/ 0 h 1588"/>
                  <a:gd name="T4" fmla="*/ 0 w 1587"/>
                  <a:gd name="T5" fmla="*/ 0 h 1588"/>
                  <a:gd name="T6" fmla="*/ 0 w 1587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7"/>
                  <a:gd name="T13" fmla="*/ 0 h 1588"/>
                  <a:gd name="T14" fmla="*/ 1587 w 1587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7" h="1588"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7" name="Freeform 975"/>
              <p:cNvSpPr>
                <a:spLocks noChangeAspect="1"/>
              </p:cNvSpPr>
              <p:nvPr>
                <p:custDataLst>
                  <p:tags r:id="rId285"/>
                </p:custDataLst>
              </p:nvPr>
            </p:nvSpPr>
            <p:spPr bwMode="gray">
              <a:xfrm>
                <a:off x="2353754" y="2036675"/>
                <a:ext cx="1732559" cy="1188862"/>
              </a:xfrm>
              <a:custGeom>
                <a:avLst/>
                <a:gdLst>
                  <a:gd name="T0" fmla="*/ 2147483647 w 1331"/>
                  <a:gd name="T1" fmla="*/ 1240469848 h 922"/>
                  <a:gd name="T2" fmla="*/ 2147483647 w 1331"/>
                  <a:gd name="T3" fmla="*/ 1296088925 h 922"/>
                  <a:gd name="T4" fmla="*/ 2147483647 w 1331"/>
                  <a:gd name="T5" fmla="*/ 1409012517 h 922"/>
                  <a:gd name="T6" fmla="*/ 2147483647 w 1331"/>
                  <a:gd name="T7" fmla="*/ 1488227055 h 922"/>
                  <a:gd name="T8" fmla="*/ 2147483647 w 1331"/>
                  <a:gd name="T9" fmla="*/ 1414067852 h 922"/>
                  <a:gd name="T10" fmla="*/ 2026095366 w 1331"/>
                  <a:gd name="T11" fmla="*/ 1432607977 h 922"/>
                  <a:gd name="T12" fmla="*/ 1692733271 w 1331"/>
                  <a:gd name="T13" fmla="*/ 1553958102 h 922"/>
                  <a:gd name="T14" fmla="*/ 1733478132 w 1331"/>
                  <a:gd name="T15" fmla="*/ 1451148103 h 922"/>
                  <a:gd name="T16" fmla="*/ 1681621655 w 1331"/>
                  <a:gd name="T17" fmla="*/ 1398899249 h 922"/>
                  <a:gd name="T18" fmla="*/ 1526053584 w 1331"/>
                  <a:gd name="T19" fmla="*/ 1291032292 h 922"/>
                  <a:gd name="T20" fmla="*/ 1366780848 w 1331"/>
                  <a:gd name="T21" fmla="*/ 1306200895 h 922"/>
                  <a:gd name="T22" fmla="*/ 505597080 w 1331"/>
                  <a:gd name="T23" fmla="*/ 1272492166 h 922"/>
                  <a:gd name="T24" fmla="*/ 444481149 w 1331"/>
                  <a:gd name="T25" fmla="*/ 1225301245 h 922"/>
                  <a:gd name="T26" fmla="*/ 398181161 w 1331"/>
                  <a:gd name="T27" fmla="*/ 1188222293 h 922"/>
                  <a:gd name="T28" fmla="*/ 346324598 w 1331"/>
                  <a:gd name="T29" fmla="*/ 1103951120 h 922"/>
                  <a:gd name="T30" fmla="*/ 320397040 w 1331"/>
                  <a:gd name="T31" fmla="*/ 991027854 h 922"/>
                  <a:gd name="T32" fmla="*/ 124084066 w 1331"/>
                  <a:gd name="T33" fmla="*/ 830912367 h 922"/>
                  <a:gd name="T34" fmla="*/ 77784057 w 1331"/>
                  <a:gd name="T35" fmla="*/ 220789981 h 922"/>
                  <a:gd name="T36" fmla="*/ 190756528 w 1331"/>
                  <a:gd name="T37" fmla="*/ 225846615 h 922"/>
                  <a:gd name="T38" fmla="*/ 325953529 w 1331"/>
                  <a:gd name="T39" fmla="*/ 141575402 h 922"/>
                  <a:gd name="T40" fmla="*/ 283356505 w 1331"/>
                  <a:gd name="T41" fmla="*/ 202251154 h 922"/>
                  <a:gd name="T42" fmla="*/ 433369533 w 1331"/>
                  <a:gd name="T43" fmla="*/ 207306489 h 922"/>
                  <a:gd name="T44" fmla="*/ 474113033 w 1331"/>
                  <a:gd name="T45" fmla="*/ 155058893 h 922"/>
                  <a:gd name="T46" fmla="*/ 624125976 w 1331"/>
                  <a:gd name="T47" fmla="*/ 212363123 h 922"/>
                  <a:gd name="T48" fmla="*/ 768582600 w 1331"/>
                  <a:gd name="T49" fmla="*/ 286521028 h 922"/>
                  <a:gd name="T50" fmla="*/ 855626089 w 1331"/>
                  <a:gd name="T51" fmla="*/ 325286390 h 922"/>
                  <a:gd name="T52" fmla="*/ 938966613 w 1331"/>
                  <a:gd name="T53" fmla="*/ 347196820 h 922"/>
                  <a:gd name="T54" fmla="*/ 976007148 w 1331"/>
                  <a:gd name="T55" fmla="*/ 296634295 h 922"/>
                  <a:gd name="T56" fmla="*/ 964895532 w 1331"/>
                  <a:gd name="T57" fmla="*/ 278094170 h 922"/>
                  <a:gd name="T58" fmla="*/ 1022307137 w 1331"/>
                  <a:gd name="T59" fmla="*/ 254498709 h 922"/>
                  <a:gd name="T60" fmla="*/ 1124167928 w 1331"/>
                  <a:gd name="T61" fmla="*/ 325286390 h 922"/>
                  <a:gd name="T62" fmla="*/ 1263067894 w 1331"/>
                  <a:gd name="T63" fmla="*/ 315173122 h 922"/>
                  <a:gd name="T64" fmla="*/ 1285292487 w 1331"/>
                  <a:gd name="T65" fmla="*/ 286521028 h 922"/>
                  <a:gd name="T66" fmla="*/ 1320479499 w 1331"/>
                  <a:gd name="T67" fmla="*/ 301690929 h 922"/>
                  <a:gd name="T68" fmla="*/ 1357520034 w 1331"/>
                  <a:gd name="T69" fmla="*/ 220789981 h 922"/>
                  <a:gd name="T70" fmla="*/ 1288995452 w 1331"/>
                  <a:gd name="T71" fmla="*/ 85956324 h 922"/>
                  <a:gd name="T72" fmla="*/ 1387151918 w 1331"/>
                  <a:gd name="T73" fmla="*/ 57304210 h 922"/>
                  <a:gd name="T74" fmla="*/ 1403820022 w 1331"/>
                  <a:gd name="T75" fmla="*/ 183711028 h 922"/>
                  <a:gd name="T76" fmla="*/ 1500124665 w 1331"/>
                  <a:gd name="T77" fmla="*/ 215733347 h 922"/>
                  <a:gd name="T78" fmla="*/ 1624208689 w 1331"/>
                  <a:gd name="T79" fmla="*/ 249442075 h 922"/>
                  <a:gd name="T80" fmla="*/ 1696437597 w 1331"/>
                  <a:gd name="T81" fmla="*/ 215733347 h 922"/>
                  <a:gd name="T82" fmla="*/ 1722365155 w 1331"/>
                  <a:gd name="T83" fmla="*/ 362365423 h 922"/>
                  <a:gd name="T84" fmla="*/ 1594576805 w 1331"/>
                  <a:gd name="T85" fmla="*/ 409557643 h 922"/>
                  <a:gd name="T86" fmla="*/ 1563092759 w 1331"/>
                  <a:gd name="T87" fmla="*/ 493828815 h 922"/>
                  <a:gd name="T88" fmla="*/ 1453824677 w 1331"/>
                  <a:gd name="T89" fmla="*/ 596638814 h 922"/>
                  <a:gd name="T90" fmla="*/ 1424192453 w 1331"/>
                  <a:gd name="T91" fmla="*/ 586526845 h 922"/>
                  <a:gd name="T92" fmla="*/ 1372335976 w 1331"/>
                  <a:gd name="T93" fmla="*/ 685966782 h 922"/>
                  <a:gd name="T94" fmla="*/ 1398264895 w 1331"/>
                  <a:gd name="T95" fmla="*/ 915183539 h 922"/>
                  <a:gd name="T96" fmla="*/ 1676065166 w 1331"/>
                  <a:gd name="T97" fmla="*/ 1028106806 h 922"/>
                  <a:gd name="T98" fmla="*/ 1768665144 w 1331"/>
                  <a:gd name="T99" fmla="*/ 1188222293 h 922"/>
                  <a:gd name="T100" fmla="*/ 1768665144 w 1331"/>
                  <a:gd name="T101" fmla="*/ 1056758901 h 922"/>
                  <a:gd name="T102" fmla="*/ 1835337563 w 1331"/>
                  <a:gd name="T103" fmla="*/ 807316906 h 922"/>
                  <a:gd name="T104" fmla="*/ 1826078109 w 1331"/>
                  <a:gd name="T105" fmla="*/ 699450274 h 922"/>
                  <a:gd name="T106" fmla="*/ 1970534564 w 1331"/>
                  <a:gd name="T107" fmla="*/ 691022118 h 922"/>
                  <a:gd name="T108" fmla="*/ 2048318599 w 1331"/>
                  <a:gd name="T109" fmla="*/ 741585860 h 922"/>
                  <a:gd name="T110" fmla="*/ 2068691029 w 1331"/>
                  <a:gd name="T111" fmla="*/ 835969001 h 922"/>
                  <a:gd name="T112" fmla="*/ 2120547506 w 1331"/>
                  <a:gd name="T113" fmla="*/ 878104587 h 922"/>
                  <a:gd name="T114" fmla="*/ 2147483647 w 1331"/>
                  <a:gd name="T115" fmla="*/ 788776781 h 922"/>
                  <a:gd name="T116" fmla="*/ 2147483647 w 1331"/>
                  <a:gd name="T117" fmla="*/ 849452492 h 922"/>
                  <a:gd name="T118" fmla="*/ 2147483647 w 1331"/>
                  <a:gd name="T119" fmla="*/ 920240173 h 922"/>
                  <a:gd name="T120" fmla="*/ 2147483647 w 1331"/>
                  <a:gd name="T121" fmla="*/ 1019679948 h 922"/>
                  <a:gd name="T122" fmla="*/ 2147483647 w 1331"/>
                  <a:gd name="T123" fmla="*/ 1075299026 h 922"/>
                  <a:gd name="T124" fmla="*/ 2147483647 w 1331"/>
                  <a:gd name="T125" fmla="*/ 1093837853 h 92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31"/>
                  <a:gd name="T190" fmla="*/ 0 h 922"/>
                  <a:gd name="T191" fmla="*/ 1331 w 1331"/>
                  <a:gd name="T192" fmla="*/ 922 h 92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31" h="922">
                    <a:moveTo>
                      <a:pt x="1328" y="683"/>
                    </a:moveTo>
                    <a:lnTo>
                      <a:pt x="1331" y="688"/>
                    </a:lnTo>
                    <a:lnTo>
                      <a:pt x="1326" y="694"/>
                    </a:lnTo>
                    <a:lnTo>
                      <a:pt x="1320" y="699"/>
                    </a:lnTo>
                    <a:lnTo>
                      <a:pt x="1317" y="705"/>
                    </a:lnTo>
                    <a:lnTo>
                      <a:pt x="1314" y="705"/>
                    </a:lnTo>
                    <a:lnTo>
                      <a:pt x="1312" y="705"/>
                    </a:lnTo>
                    <a:lnTo>
                      <a:pt x="1301" y="705"/>
                    </a:lnTo>
                    <a:lnTo>
                      <a:pt x="1289" y="710"/>
                    </a:lnTo>
                    <a:lnTo>
                      <a:pt x="1287" y="710"/>
                    </a:lnTo>
                    <a:lnTo>
                      <a:pt x="1281" y="716"/>
                    </a:lnTo>
                    <a:lnTo>
                      <a:pt x="1273" y="727"/>
                    </a:lnTo>
                    <a:lnTo>
                      <a:pt x="1270" y="730"/>
                    </a:lnTo>
                    <a:lnTo>
                      <a:pt x="1267" y="733"/>
                    </a:lnTo>
                    <a:lnTo>
                      <a:pt x="1264" y="736"/>
                    </a:lnTo>
                    <a:lnTo>
                      <a:pt x="1262" y="736"/>
                    </a:lnTo>
                    <a:lnTo>
                      <a:pt x="1262" y="733"/>
                    </a:lnTo>
                    <a:lnTo>
                      <a:pt x="1262" y="730"/>
                    </a:lnTo>
                    <a:lnTo>
                      <a:pt x="1259" y="733"/>
                    </a:lnTo>
                    <a:lnTo>
                      <a:pt x="1259" y="736"/>
                    </a:lnTo>
                    <a:lnTo>
                      <a:pt x="1239" y="738"/>
                    </a:lnTo>
                    <a:lnTo>
                      <a:pt x="1236" y="738"/>
                    </a:lnTo>
                    <a:lnTo>
                      <a:pt x="1236" y="736"/>
                    </a:lnTo>
                    <a:lnTo>
                      <a:pt x="1234" y="736"/>
                    </a:lnTo>
                    <a:lnTo>
                      <a:pt x="1217" y="736"/>
                    </a:lnTo>
                    <a:lnTo>
                      <a:pt x="1211" y="736"/>
                    </a:lnTo>
                    <a:lnTo>
                      <a:pt x="1195" y="733"/>
                    </a:lnTo>
                    <a:lnTo>
                      <a:pt x="1186" y="736"/>
                    </a:lnTo>
                    <a:lnTo>
                      <a:pt x="1181" y="736"/>
                    </a:lnTo>
                    <a:lnTo>
                      <a:pt x="1175" y="736"/>
                    </a:lnTo>
                    <a:lnTo>
                      <a:pt x="1172" y="736"/>
                    </a:lnTo>
                    <a:lnTo>
                      <a:pt x="1170" y="736"/>
                    </a:lnTo>
                    <a:lnTo>
                      <a:pt x="1167" y="736"/>
                    </a:lnTo>
                    <a:lnTo>
                      <a:pt x="1164" y="736"/>
                    </a:lnTo>
                    <a:lnTo>
                      <a:pt x="1164" y="738"/>
                    </a:lnTo>
                    <a:lnTo>
                      <a:pt x="1161" y="738"/>
                    </a:lnTo>
                    <a:lnTo>
                      <a:pt x="1159" y="738"/>
                    </a:lnTo>
                    <a:lnTo>
                      <a:pt x="1159" y="741"/>
                    </a:lnTo>
                    <a:lnTo>
                      <a:pt x="1153" y="747"/>
                    </a:lnTo>
                    <a:lnTo>
                      <a:pt x="1150" y="758"/>
                    </a:lnTo>
                    <a:lnTo>
                      <a:pt x="1139" y="758"/>
                    </a:lnTo>
                    <a:lnTo>
                      <a:pt x="1136" y="761"/>
                    </a:lnTo>
                    <a:lnTo>
                      <a:pt x="1133" y="761"/>
                    </a:lnTo>
                    <a:lnTo>
                      <a:pt x="1133" y="763"/>
                    </a:lnTo>
                    <a:lnTo>
                      <a:pt x="1128" y="769"/>
                    </a:lnTo>
                    <a:lnTo>
                      <a:pt x="1125" y="769"/>
                    </a:lnTo>
                    <a:lnTo>
                      <a:pt x="1117" y="783"/>
                    </a:lnTo>
                    <a:lnTo>
                      <a:pt x="1114" y="783"/>
                    </a:lnTo>
                    <a:lnTo>
                      <a:pt x="1111" y="786"/>
                    </a:lnTo>
                    <a:lnTo>
                      <a:pt x="1111" y="788"/>
                    </a:lnTo>
                    <a:lnTo>
                      <a:pt x="1106" y="800"/>
                    </a:lnTo>
                    <a:lnTo>
                      <a:pt x="1103" y="802"/>
                    </a:lnTo>
                    <a:lnTo>
                      <a:pt x="1089" y="813"/>
                    </a:lnTo>
                    <a:lnTo>
                      <a:pt x="1089" y="816"/>
                    </a:lnTo>
                    <a:lnTo>
                      <a:pt x="1094" y="813"/>
                    </a:lnTo>
                    <a:lnTo>
                      <a:pt x="1097" y="813"/>
                    </a:lnTo>
                    <a:lnTo>
                      <a:pt x="1097" y="811"/>
                    </a:lnTo>
                    <a:lnTo>
                      <a:pt x="1125" y="780"/>
                    </a:lnTo>
                    <a:lnTo>
                      <a:pt x="1128" y="780"/>
                    </a:lnTo>
                    <a:lnTo>
                      <a:pt x="1131" y="777"/>
                    </a:lnTo>
                    <a:lnTo>
                      <a:pt x="1161" y="761"/>
                    </a:lnTo>
                    <a:lnTo>
                      <a:pt x="1178" y="758"/>
                    </a:lnTo>
                    <a:lnTo>
                      <a:pt x="1184" y="761"/>
                    </a:lnTo>
                    <a:lnTo>
                      <a:pt x="1195" y="766"/>
                    </a:lnTo>
                    <a:lnTo>
                      <a:pt x="1197" y="769"/>
                    </a:lnTo>
                    <a:lnTo>
                      <a:pt x="1195" y="769"/>
                    </a:lnTo>
                    <a:lnTo>
                      <a:pt x="1197" y="772"/>
                    </a:lnTo>
                    <a:lnTo>
                      <a:pt x="1197" y="777"/>
                    </a:lnTo>
                    <a:lnTo>
                      <a:pt x="1184" y="788"/>
                    </a:lnTo>
                    <a:lnTo>
                      <a:pt x="1178" y="786"/>
                    </a:lnTo>
                    <a:lnTo>
                      <a:pt x="1172" y="786"/>
                    </a:lnTo>
                    <a:lnTo>
                      <a:pt x="1161" y="788"/>
                    </a:lnTo>
                    <a:lnTo>
                      <a:pt x="1167" y="788"/>
                    </a:lnTo>
                    <a:lnTo>
                      <a:pt x="1172" y="791"/>
                    </a:lnTo>
                    <a:lnTo>
                      <a:pt x="1175" y="794"/>
                    </a:lnTo>
                    <a:lnTo>
                      <a:pt x="1175" y="797"/>
                    </a:lnTo>
                    <a:lnTo>
                      <a:pt x="1184" y="791"/>
                    </a:lnTo>
                    <a:lnTo>
                      <a:pt x="1186" y="791"/>
                    </a:lnTo>
                    <a:lnTo>
                      <a:pt x="1186" y="794"/>
                    </a:lnTo>
                    <a:lnTo>
                      <a:pt x="1189" y="794"/>
                    </a:lnTo>
                    <a:lnTo>
                      <a:pt x="1189" y="797"/>
                    </a:lnTo>
                    <a:lnTo>
                      <a:pt x="1186" y="805"/>
                    </a:lnTo>
                    <a:lnTo>
                      <a:pt x="1181" y="808"/>
                    </a:lnTo>
                    <a:lnTo>
                      <a:pt x="1181" y="811"/>
                    </a:lnTo>
                    <a:lnTo>
                      <a:pt x="1184" y="808"/>
                    </a:lnTo>
                    <a:lnTo>
                      <a:pt x="1189" y="811"/>
                    </a:lnTo>
                    <a:lnTo>
                      <a:pt x="1186" y="816"/>
                    </a:lnTo>
                    <a:lnTo>
                      <a:pt x="1192" y="825"/>
                    </a:lnTo>
                    <a:lnTo>
                      <a:pt x="1195" y="827"/>
                    </a:lnTo>
                    <a:lnTo>
                      <a:pt x="1197" y="827"/>
                    </a:lnTo>
                    <a:lnTo>
                      <a:pt x="1203" y="830"/>
                    </a:lnTo>
                    <a:lnTo>
                      <a:pt x="1206" y="833"/>
                    </a:lnTo>
                    <a:lnTo>
                      <a:pt x="1203" y="833"/>
                    </a:lnTo>
                    <a:lnTo>
                      <a:pt x="1203" y="836"/>
                    </a:lnTo>
                    <a:lnTo>
                      <a:pt x="1220" y="839"/>
                    </a:lnTo>
                    <a:lnTo>
                      <a:pt x="1223" y="841"/>
                    </a:lnTo>
                    <a:lnTo>
                      <a:pt x="1228" y="841"/>
                    </a:lnTo>
                    <a:lnTo>
                      <a:pt x="1234" y="836"/>
                    </a:lnTo>
                    <a:lnTo>
                      <a:pt x="1234" y="839"/>
                    </a:lnTo>
                    <a:lnTo>
                      <a:pt x="1234" y="841"/>
                    </a:lnTo>
                    <a:lnTo>
                      <a:pt x="1236" y="841"/>
                    </a:lnTo>
                    <a:lnTo>
                      <a:pt x="1239" y="841"/>
                    </a:lnTo>
                    <a:lnTo>
                      <a:pt x="1242" y="841"/>
                    </a:lnTo>
                    <a:lnTo>
                      <a:pt x="1245" y="847"/>
                    </a:lnTo>
                    <a:lnTo>
                      <a:pt x="1242" y="847"/>
                    </a:lnTo>
                    <a:lnTo>
                      <a:pt x="1242" y="850"/>
                    </a:lnTo>
                    <a:lnTo>
                      <a:pt x="1248" y="850"/>
                    </a:lnTo>
                    <a:lnTo>
                      <a:pt x="1245" y="850"/>
                    </a:lnTo>
                    <a:lnTo>
                      <a:pt x="1242" y="852"/>
                    </a:lnTo>
                    <a:lnTo>
                      <a:pt x="1239" y="852"/>
                    </a:lnTo>
                    <a:lnTo>
                      <a:pt x="1228" y="858"/>
                    </a:lnTo>
                    <a:lnTo>
                      <a:pt x="1225" y="858"/>
                    </a:lnTo>
                    <a:lnTo>
                      <a:pt x="1225" y="861"/>
                    </a:lnTo>
                    <a:lnTo>
                      <a:pt x="1223" y="861"/>
                    </a:lnTo>
                    <a:lnTo>
                      <a:pt x="1220" y="861"/>
                    </a:lnTo>
                    <a:lnTo>
                      <a:pt x="1217" y="864"/>
                    </a:lnTo>
                    <a:lnTo>
                      <a:pt x="1217" y="861"/>
                    </a:lnTo>
                    <a:lnTo>
                      <a:pt x="1211" y="864"/>
                    </a:lnTo>
                    <a:lnTo>
                      <a:pt x="1209" y="864"/>
                    </a:lnTo>
                    <a:lnTo>
                      <a:pt x="1209" y="866"/>
                    </a:lnTo>
                    <a:lnTo>
                      <a:pt x="1209" y="869"/>
                    </a:lnTo>
                    <a:lnTo>
                      <a:pt x="1206" y="869"/>
                    </a:lnTo>
                    <a:lnTo>
                      <a:pt x="1203" y="866"/>
                    </a:lnTo>
                    <a:lnTo>
                      <a:pt x="1203" y="864"/>
                    </a:lnTo>
                    <a:lnTo>
                      <a:pt x="1200" y="869"/>
                    </a:lnTo>
                    <a:lnTo>
                      <a:pt x="1200" y="866"/>
                    </a:lnTo>
                    <a:lnTo>
                      <a:pt x="1197" y="869"/>
                    </a:lnTo>
                    <a:lnTo>
                      <a:pt x="1197" y="872"/>
                    </a:lnTo>
                    <a:lnTo>
                      <a:pt x="1195" y="875"/>
                    </a:lnTo>
                    <a:lnTo>
                      <a:pt x="1189" y="880"/>
                    </a:lnTo>
                    <a:lnTo>
                      <a:pt x="1186" y="883"/>
                    </a:lnTo>
                    <a:lnTo>
                      <a:pt x="1186" y="886"/>
                    </a:lnTo>
                    <a:lnTo>
                      <a:pt x="1184" y="883"/>
                    </a:lnTo>
                    <a:lnTo>
                      <a:pt x="1181" y="886"/>
                    </a:lnTo>
                    <a:lnTo>
                      <a:pt x="1181" y="889"/>
                    </a:lnTo>
                    <a:lnTo>
                      <a:pt x="1178" y="889"/>
                    </a:lnTo>
                    <a:lnTo>
                      <a:pt x="1175" y="889"/>
                    </a:lnTo>
                    <a:lnTo>
                      <a:pt x="1175" y="886"/>
                    </a:lnTo>
                    <a:lnTo>
                      <a:pt x="1172" y="883"/>
                    </a:lnTo>
                    <a:lnTo>
                      <a:pt x="1170" y="883"/>
                    </a:lnTo>
                    <a:lnTo>
                      <a:pt x="1170" y="875"/>
                    </a:lnTo>
                    <a:lnTo>
                      <a:pt x="1170" y="872"/>
                    </a:lnTo>
                    <a:lnTo>
                      <a:pt x="1172" y="866"/>
                    </a:lnTo>
                    <a:lnTo>
                      <a:pt x="1167" y="869"/>
                    </a:lnTo>
                    <a:lnTo>
                      <a:pt x="1170" y="866"/>
                    </a:lnTo>
                    <a:lnTo>
                      <a:pt x="1172" y="864"/>
                    </a:lnTo>
                    <a:lnTo>
                      <a:pt x="1175" y="864"/>
                    </a:lnTo>
                    <a:lnTo>
                      <a:pt x="1178" y="864"/>
                    </a:lnTo>
                    <a:lnTo>
                      <a:pt x="1178" y="861"/>
                    </a:lnTo>
                    <a:lnTo>
                      <a:pt x="1195" y="850"/>
                    </a:lnTo>
                    <a:lnTo>
                      <a:pt x="1195" y="852"/>
                    </a:lnTo>
                    <a:lnTo>
                      <a:pt x="1197" y="852"/>
                    </a:lnTo>
                    <a:lnTo>
                      <a:pt x="1200" y="855"/>
                    </a:lnTo>
                    <a:lnTo>
                      <a:pt x="1203" y="852"/>
                    </a:lnTo>
                    <a:lnTo>
                      <a:pt x="1206" y="850"/>
                    </a:lnTo>
                    <a:lnTo>
                      <a:pt x="1211" y="850"/>
                    </a:lnTo>
                    <a:lnTo>
                      <a:pt x="1211" y="847"/>
                    </a:lnTo>
                    <a:lnTo>
                      <a:pt x="1203" y="850"/>
                    </a:lnTo>
                    <a:lnTo>
                      <a:pt x="1195" y="847"/>
                    </a:lnTo>
                    <a:lnTo>
                      <a:pt x="1192" y="850"/>
                    </a:lnTo>
                    <a:lnTo>
                      <a:pt x="1189" y="850"/>
                    </a:lnTo>
                    <a:lnTo>
                      <a:pt x="1189" y="847"/>
                    </a:lnTo>
                    <a:lnTo>
                      <a:pt x="1195" y="839"/>
                    </a:lnTo>
                    <a:lnTo>
                      <a:pt x="1192" y="836"/>
                    </a:lnTo>
                    <a:lnTo>
                      <a:pt x="1189" y="841"/>
                    </a:lnTo>
                    <a:lnTo>
                      <a:pt x="1186" y="841"/>
                    </a:lnTo>
                    <a:lnTo>
                      <a:pt x="1175" y="850"/>
                    </a:lnTo>
                    <a:lnTo>
                      <a:pt x="1172" y="850"/>
                    </a:lnTo>
                    <a:lnTo>
                      <a:pt x="1170" y="850"/>
                    </a:lnTo>
                    <a:lnTo>
                      <a:pt x="1167" y="852"/>
                    </a:lnTo>
                    <a:lnTo>
                      <a:pt x="1159" y="855"/>
                    </a:lnTo>
                    <a:lnTo>
                      <a:pt x="1156" y="852"/>
                    </a:lnTo>
                    <a:lnTo>
                      <a:pt x="1153" y="852"/>
                    </a:lnTo>
                    <a:lnTo>
                      <a:pt x="1150" y="852"/>
                    </a:lnTo>
                    <a:lnTo>
                      <a:pt x="1147" y="852"/>
                    </a:lnTo>
                    <a:lnTo>
                      <a:pt x="1145" y="850"/>
                    </a:lnTo>
                    <a:lnTo>
                      <a:pt x="1145" y="844"/>
                    </a:lnTo>
                    <a:lnTo>
                      <a:pt x="1142" y="841"/>
                    </a:lnTo>
                    <a:lnTo>
                      <a:pt x="1142" y="811"/>
                    </a:lnTo>
                    <a:lnTo>
                      <a:pt x="1133" y="805"/>
                    </a:lnTo>
                    <a:lnTo>
                      <a:pt x="1131" y="808"/>
                    </a:lnTo>
                    <a:lnTo>
                      <a:pt x="1125" y="808"/>
                    </a:lnTo>
                    <a:lnTo>
                      <a:pt x="1122" y="808"/>
                    </a:lnTo>
                    <a:lnTo>
                      <a:pt x="1120" y="805"/>
                    </a:lnTo>
                    <a:lnTo>
                      <a:pt x="1120" y="802"/>
                    </a:lnTo>
                    <a:lnTo>
                      <a:pt x="1117" y="802"/>
                    </a:lnTo>
                    <a:lnTo>
                      <a:pt x="1114" y="802"/>
                    </a:lnTo>
                    <a:lnTo>
                      <a:pt x="1103" y="833"/>
                    </a:lnTo>
                    <a:lnTo>
                      <a:pt x="1100" y="844"/>
                    </a:lnTo>
                    <a:lnTo>
                      <a:pt x="1097" y="847"/>
                    </a:lnTo>
                    <a:lnTo>
                      <a:pt x="1097" y="850"/>
                    </a:lnTo>
                    <a:lnTo>
                      <a:pt x="1094" y="850"/>
                    </a:lnTo>
                    <a:lnTo>
                      <a:pt x="1094" y="852"/>
                    </a:lnTo>
                    <a:lnTo>
                      <a:pt x="1092" y="850"/>
                    </a:lnTo>
                    <a:lnTo>
                      <a:pt x="1089" y="852"/>
                    </a:lnTo>
                    <a:lnTo>
                      <a:pt x="1086" y="852"/>
                    </a:lnTo>
                    <a:lnTo>
                      <a:pt x="1083" y="852"/>
                    </a:lnTo>
                    <a:lnTo>
                      <a:pt x="1083" y="858"/>
                    </a:lnTo>
                    <a:lnTo>
                      <a:pt x="1028" y="858"/>
                    </a:lnTo>
                    <a:lnTo>
                      <a:pt x="1019" y="864"/>
                    </a:lnTo>
                    <a:lnTo>
                      <a:pt x="1017" y="866"/>
                    </a:lnTo>
                    <a:lnTo>
                      <a:pt x="1014" y="872"/>
                    </a:lnTo>
                    <a:lnTo>
                      <a:pt x="1000" y="878"/>
                    </a:lnTo>
                    <a:lnTo>
                      <a:pt x="997" y="875"/>
                    </a:lnTo>
                    <a:lnTo>
                      <a:pt x="994" y="875"/>
                    </a:lnTo>
                    <a:lnTo>
                      <a:pt x="994" y="878"/>
                    </a:lnTo>
                    <a:lnTo>
                      <a:pt x="997" y="880"/>
                    </a:lnTo>
                    <a:lnTo>
                      <a:pt x="994" y="880"/>
                    </a:lnTo>
                    <a:lnTo>
                      <a:pt x="980" y="880"/>
                    </a:lnTo>
                    <a:lnTo>
                      <a:pt x="964" y="883"/>
                    </a:lnTo>
                    <a:lnTo>
                      <a:pt x="955" y="894"/>
                    </a:lnTo>
                    <a:lnTo>
                      <a:pt x="961" y="897"/>
                    </a:lnTo>
                    <a:lnTo>
                      <a:pt x="966" y="894"/>
                    </a:lnTo>
                    <a:lnTo>
                      <a:pt x="969" y="903"/>
                    </a:lnTo>
                    <a:lnTo>
                      <a:pt x="955" y="903"/>
                    </a:lnTo>
                    <a:lnTo>
                      <a:pt x="947" y="905"/>
                    </a:lnTo>
                    <a:lnTo>
                      <a:pt x="944" y="908"/>
                    </a:lnTo>
                    <a:lnTo>
                      <a:pt x="933" y="908"/>
                    </a:lnTo>
                    <a:lnTo>
                      <a:pt x="927" y="911"/>
                    </a:lnTo>
                    <a:lnTo>
                      <a:pt x="925" y="911"/>
                    </a:lnTo>
                    <a:lnTo>
                      <a:pt x="925" y="914"/>
                    </a:lnTo>
                    <a:lnTo>
                      <a:pt x="922" y="914"/>
                    </a:lnTo>
                    <a:lnTo>
                      <a:pt x="919" y="917"/>
                    </a:lnTo>
                    <a:lnTo>
                      <a:pt x="914" y="922"/>
                    </a:lnTo>
                    <a:lnTo>
                      <a:pt x="908" y="922"/>
                    </a:lnTo>
                    <a:lnTo>
                      <a:pt x="902" y="922"/>
                    </a:lnTo>
                    <a:lnTo>
                      <a:pt x="902" y="919"/>
                    </a:lnTo>
                    <a:lnTo>
                      <a:pt x="905" y="914"/>
                    </a:lnTo>
                    <a:lnTo>
                      <a:pt x="908" y="914"/>
                    </a:lnTo>
                    <a:lnTo>
                      <a:pt x="911" y="914"/>
                    </a:lnTo>
                    <a:lnTo>
                      <a:pt x="914" y="914"/>
                    </a:lnTo>
                    <a:lnTo>
                      <a:pt x="914" y="911"/>
                    </a:lnTo>
                    <a:lnTo>
                      <a:pt x="911" y="911"/>
                    </a:lnTo>
                    <a:lnTo>
                      <a:pt x="911" y="908"/>
                    </a:lnTo>
                    <a:lnTo>
                      <a:pt x="914" y="897"/>
                    </a:lnTo>
                    <a:lnTo>
                      <a:pt x="916" y="900"/>
                    </a:lnTo>
                    <a:lnTo>
                      <a:pt x="916" y="897"/>
                    </a:lnTo>
                    <a:lnTo>
                      <a:pt x="919" y="894"/>
                    </a:lnTo>
                    <a:lnTo>
                      <a:pt x="922" y="894"/>
                    </a:lnTo>
                    <a:lnTo>
                      <a:pt x="922" y="891"/>
                    </a:lnTo>
                    <a:lnTo>
                      <a:pt x="925" y="875"/>
                    </a:lnTo>
                    <a:lnTo>
                      <a:pt x="930" y="864"/>
                    </a:lnTo>
                    <a:lnTo>
                      <a:pt x="930" y="861"/>
                    </a:lnTo>
                    <a:lnTo>
                      <a:pt x="927" y="852"/>
                    </a:lnTo>
                    <a:lnTo>
                      <a:pt x="925" y="852"/>
                    </a:lnTo>
                    <a:lnTo>
                      <a:pt x="925" y="850"/>
                    </a:lnTo>
                    <a:lnTo>
                      <a:pt x="930" y="852"/>
                    </a:lnTo>
                    <a:lnTo>
                      <a:pt x="933" y="858"/>
                    </a:lnTo>
                    <a:lnTo>
                      <a:pt x="936" y="858"/>
                    </a:lnTo>
                    <a:lnTo>
                      <a:pt x="936" y="861"/>
                    </a:lnTo>
                    <a:lnTo>
                      <a:pt x="936" y="866"/>
                    </a:lnTo>
                    <a:lnTo>
                      <a:pt x="939" y="864"/>
                    </a:lnTo>
                    <a:lnTo>
                      <a:pt x="941" y="866"/>
                    </a:lnTo>
                    <a:lnTo>
                      <a:pt x="947" y="866"/>
                    </a:lnTo>
                    <a:lnTo>
                      <a:pt x="950" y="866"/>
                    </a:lnTo>
                    <a:lnTo>
                      <a:pt x="952" y="866"/>
                    </a:lnTo>
                    <a:lnTo>
                      <a:pt x="952" y="864"/>
                    </a:lnTo>
                    <a:lnTo>
                      <a:pt x="950" y="861"/>
                    </a:lnTo>
                    <a:lnTo>
                      <a:pt x="952" y="861"/>
                    </a:lnTo>
                    <a:lnTo>
                      <a:pt x="955" y="861"/>
                    </a:lnTo>
                    <a:lnTo>
                      <a:pt x="955" y="858"/>
                    </a:lnTo>
                    <a:lnTo>
                      <a:pt x="952" y="858"/>
                    </a:lnTo>
                    <a:lnTo>
                      <a:pt x="950" y="855"/>
                    </a:lnTo>
                    <a:lnTo>
                      <a:pt x="952" y="852"/>
                    </a:lnTo>
                    <a:lnTo>
                      <a:pt x="950" y="850"/>
                    </a:lnTo>
                    <a:lnTo>
                      <a:pt x="947" y="847"/>
                    </a:lnTo>
                    <a:lnTo>
                      <a:pt x="944" y="847"/>
                    </a:lnTo>
                    <a:lnTo>
                      <a:pt x="941" y="844"/>
                    </a:lnTo>
                    <a:lnTo>
                      <a:pt x="941" y="839"/>
                    </a:lnTo>
                    <a:lnTo>
                      <a:pt x="930" y="836"/>
                    </a:lnTo>
                    <a:lnTo>
                      <a:pt x="927" y="836"/>
                    </a:lnTo>
                    <a:lnTo>
                      <a:pt x="927" y="833"/>
                    </a:lnTo>
                    <a:lnTo>
                      <a:pt x="922" y="833"/>
                    </a:lnTo>
                    <a:lnTo>
                      <a:pt x="914" y="833"/>
                    </a:lnTo>
                    <a:lnTo>
                      <a:pt x="914" y="830"/>
                    </a:lnTo>
                    <a:lnTo>
                      <a:pt x="911" y="833"/>
                    </a:lnTo>
                    <a:lnTo>
                      <a:pt x="908" y="830"/>
                    </a:lnTo>
                    <a:lnTo>
                      <a:pt x="905" y="830"/>
                    </a:lnTo>
                    <a:lnTo>
                      <a:pt x="902" y="830"/>
                    </a:lnTo>
                    <a:lnTo>
                      <a:pt x="891" y="827"/>
                    </a:lnTo>
                    <a:lnTo>
                      <a:pt x="888" y="827"/>
                    </a:lnTo>
                    <a:lnTo>
                      <a:pt x="886" y="827"/>
                    </a:lnTo>
                    <a:lnTo>
                      <a:pt x="886" y="822"/>
                    </a:lnTo>
                    <a:lnTo>
                      <a:pt x="883" y="822"/>
                    </a:lnTo>
                    <a:lnTo>
                      <a:pt x="883" y="825"/>
                    </a:lnTo>
                    <a:lnTo>
                      <a:pt x="880" y="825"/>
                    </a:lnTo>
                    <a:lnTo>
                      <a:pt x="880" y="822"/>
                    </a:lnTo>
                    <a:lnTo>
                      <a:pt x="880" y="819"/>
                    </a:lnTo>
                    <a:lnTo>
                      <a:pt x="880" y="816"/>
                    </a:lnTo>
                    <a:lnTo>
                      <a:pt x="883" y="816"/>
                    </a:lnTo>
                    <a:lnTo>
                      <a:pt x="877" y="813"/>
                    </a:lnTo>
                    <a:lnTo>
                      <a:pt x="877" y="808"/>
                    </a:lnTo>
                    <a:lnTo>
                      <a:pt x="877" y="805"/>
                    </a:lnTo>
                    <a:lnTo>
                      <a:pt x="875" y="800"/>
                    </a:lnTo>
                    <a:lnTo>
                      <a:pt x="875" y="797"/>
                    </a:lnTo>
                    <a:lnTo>
                      <a:pt x="875" y="788"/>
                    </a:lnTo>
                    <a:lnTo>
                      <a:pt x="861" y="791"/>
                    </a:lnTo>
                    <a:lnTo>
                      <a:pt x="858" y="788"/>
                    </a:lnTo>
                    <a:lnTo>
                      <a:pt x="852" y="772"/>
                    </a:lnTo>
                    <a:lnTo>
                      <a:pt x="849" y="772"/>
                    </a:lnTo>
                    <a:lnTo>
                      <a:pt x="844" y="772"/>
                    </a:lnTo>
                    <a:lnTo>
                      <a:pt x="841" y="772"/>
                    </a:lnTo>
                    <a:lnTo>
                      <a:pt x="841" y="783"/>
                    </a:lnTo>
                    <a:lnTo>
                      <a:pt x="836" y="769"/>
                    </a:lnTo>
                    <a:lnTo>
                      <a:pt x="824" y="766"/>
                    </a:lnTo>
                    <a:lnTo>
                      <a:pt x="824" y="769"/>
                    </a:lnTo>
                    <a:lnTo>
                      <a:pt x="824" y="775"/>
                    </a:lnTo>
                    <a:lnTo>
                      <a:pt x="822" y="775"/>
                    </a:lnTo>
                    <a:lnTo>
                      <a:pt x="819" y="777"/>
                    </a:lnTo>
                    <a:lnTo>
                      <a:pt x="819" y="780"/>
                    </a:lnTo>
                    <a:lnTo>
                      <a:pt x="819" y="777"/>
                    </a:lnTo>
                    <a:lnTo>
                      <a:pt x="819" y="772"/>
                    </a:lnTo>
                    <a:lnTo>
                      <a:pt x="819" y="769"/>
                    </a:lnTo>
                    <a:lnTo>
                      <a:pt x="816" y="780"/>
                    </a:lnTo>
                    <a:lnTo>
                      <a:pt x="813" y="780"/>
                    </a:lnTo>
                    <a:lnTo>
                      <a:pt x="813" y="775"/>
                    </a:lnTo>
                    <a:lnTo>
                      <a:pt x="808" y="780"/>
                    </a:lnTo>
                    <a:lnTo>
                      <a:pt x="808" y="786"/>
                    </a:lnTo>
                    <a:lnTo>
                      <a:pt x="805" y="786"/>
                    </a:lnTo>
                    <a:lnTo>
                      <a:pt x="799" y="788"/>
                    </a:lnTo>
                    <a:lnTo>
                      <a:pt x="797" y="788"/>
                    </a:lnTo>
                    <a:lnTo>
                      <a:pt x="794" y="788"/>
                    </a:lnTo>
                    <a:lnTo>
                      <a:pt x="785" y="788"/>
                    </a:lnTo>
                    <a:lnTo>
                      <a:pt x="783" y="786"/>
                    </a:lnTo>
                    <a:lnTo>
                      <a:pt x="780" y="786"/>
                    </a:lnTo>
                    <a:lnTo>
                      <a:pt x="774" y="788"/>
                    </a:lnTo>
                    <a:lnTo>
                      <a:pt x="772" y="786"/>
                    </a:lnTo>
                    <a:lnTo>
                      <a:pt x="769" y="783"/>
                    </a:lnTo>
                    <a:lnTo>
                      <a:pt x="758" y="780"/>
                    </a:lnTo>
                    <a:lnTo>
                      <a:pt x="758" y="777"/>
                    </a:lnTo>
                    <a:lnTo>
                      <a:pt x="752" y="775"/>
                    </a:lnTo>
                    <a:lnTo>
                      <a:pt x="744" y="775"/>
                    </a:lnTo>
                    <a:lnTo>
                      <a:pt x="741" y="775"/>
                    </a:lnTo>
                    <a:lnTo>
                      <a:pt x="738" y="775"/>
                    </a:lnTo>
                    <a:lnTo>
                      <a:pt x="735" y="775"/>
                    </a:lnTo>
                    <a:lnTo>
                      <a:pt x="730" y="772"/>
                    </a:lnTo>
                    <a:lnTo>
                      <a:pt x="727" y="772"/>
                    </a:lnTo>
                    <a:lnTo>
                      <a:pt x="724" y="772"/>
                    </a:lnTo>
                    <a:lnTo>
                      <a:pt x="721" y="766"/>
                    </a:lnTo>
                    <a:lnTo>
                      <a:pt x="719" y="758"/>
                    </a:lnTo>
                    <a:lnTo>
                      <a:pt x="716" y="755"/>
                    </a:lnTo>
                    <a:lnTo>
                      <a:pt x="716" y="766"/>
                    </a:lnTo>
                    <a:lnTo>
                      <a:pt x="284" y="766"/>
                    </a:lnTo>
                    <a:lnTo>
                      <a:pt x="284" y="763"/>
                    </a:lnTo>
                    <a:lnTo>
                      <a:pt x="281" y="763"/>
                    </a:lnTo>
                    <a:lnTo>
                      <a:pt x="284" y="761"/>
                    </a:lnTo>
                    <a:lnTo>
                      <a:pt x="287" y="761"/>
                    </a:lnTo>
                    <a:lnTo>
                      <a:pt x="287" y="758"/>
                    </a:lnTo>
                    <a:lnTo>
                      <a:pt x="284" y="758"/>
                    </a:lnTo>
                    <a:lnTo>
                      <a:pt x="281" y="761"/>
                    </a:lnTo>
                    <a:lnTo>
                      <a:pt x="279" y="761"/>
                    </a:lnTo>
                    <a:lnTo>
                      <a:pt x="279" y="758"/>
                    </a:lnTo>
                    <a:lnTo>
                      <a:pt x="279" y="755"/>
                    </a:lnTo>
                    <a:lnTo>
                      <a:pt x="279" y="749"/>
                    </a:lnTo>
                    <a:lnTo>
                      <a:pt x="276" y="749"/>
                    </a:lnTo>
                    <a:lnTo>
                      <a:pt x="276" y="752"/>
                    </a:lnTo>
                    <a:lnTo>
                      <a:pt x="273" y="755"/>
                    </a:lnTo>
                    <a:lnTo>
                      <a:pt x="270" y="755"/>
                    </a:lnTo>
                    <a:lnTo>
                      <a:pt x="270" y="752"/>
                    </a:lnTo>
                    <a:lnTo>
                      <a:pt x="270" y="749"/>
                    </a:lnTo>
                    <a:lnTo>
                      <a:pt x="270" y="747"/>
                    </a:lnTo>
                    <a:lnTo>
                      <a:pt x="268" y="747"/>
                    </a:lnTo>
                    <a:lnTo>
                      <a:pt x="268" y="744"/>
                    </a:lnTo>
                    <a:lnTo>
                      <a:pt x="268" y="741"/>
                    </a:lnTo>
                    <a:lnTo>
                      <a:pt x="265" y="741"/>
                    </a:lnTo>
                    <a:lnTo>
                      <a:pt x="268" y="744"/>
                    </a:lnTo>
                    <a:lnTo>
                      <a:pt x="265" y="744"/>
                    </a:lnTo>
                    <a:lnTo>
                      <a:pt x="265" y="747"/>
                    </a:lnTo>
                    <a:lnTo>
                      <a:pt x="262" y="747"/>
                    </a:lnTo>
                    <a:lnTo>
                      <a:pt x="259" y="747"/>
                    </a:lnTo>
                    <a:lnTo>
                      <a:pt x="256" y="744"/>
                    </a:lnTo>
                    <a:lnTo>
                      <a:pt x="254" y="738"/>
                    </a:lnTo>
                    <a:lnTo>
                      <a:pt x="256" y="738"/>
                    </a:lnTo>
                    <a:lnTo>
                      <a:pt x="256" y="736"/>
                    </a:lnTo>
                    <a:lnTo>
                      <a:pt x="254" y="733"/>
                    </a:lnTo>
                    <a:lnTo>
                      <a:pt x="256" y="730"/>
                    </a:lnTo>
                    <a:lnTo>
                      <a:pt x="254" y="730"/>
                    </a:lnTo>
                    <a:lnTo>
                      <a:pt x="254" y="733"/>
                    </a:lnTo>
                    <a:lnTo>
                      <a:pt x="251" y="733"/>
                    </a:lnTo>
                    <a:lnTo>
                      <a:pt x="251" y="730"/>
                    </a:lnTo>
                    <a:lnTo>
                      <a:pt x="251" y="727"/>
                    </a:lnTo>
                    <a:lnTo>
                      <a:pt x="248" y="727"/>
                    </a:lnTo>
                    <a:lnTo>
                      <a:pt x="245" y="730"/>
                    </a:lnTo>
                    <a:lnTo>
                      <a:pt x="243" y="730"/>
                    </a:lnTo>
                    <a:lnTo>
                      <a:pt x="240" y="727"/>
                    </a:lnTo>
                    <a:lnTo>
                      <a:pt x="240" y="730"/>
                    </a:lnTo>
                    <a:lnTo>
                      <a:pt x="237" y="730"/>
                    </a:lnTo>
                    <a:lnTo>
                      <a:pt x="229" y="727"/>
                    </a:lnTo>
                    <a:lnTo>
                      <a:pt x="226" y="727"/>
                    </a:lnTo>
                    <a:lnTo>
                      <a:pt x="234" y="724"/>
                    </a:lnTo>
                    <a:lnTo>
                      <a:pt x="231" y="724"/>
                    </a:lnTo>
                    <a:lnTo>
                      <a:pt x="231" y="722"/>
                    </a:lnTo>
                    <a:lnTo>
                      <a:pt x="229" y="722"/>
                    </a:lnTo>
                    <a:lnTo>
                      <a:pt x="229" y="719"/>
                    </a:lnTo>
                    <a:lnTo>
                      <a:pt x="231" y="719"/>
                    </a:lnTo>
                    <a:lnTo>
                      <a:pt x="226" y="716"/>
                    </a:lnTo>
                    <a:lnTo>
                      <a:pt x="223" y="719"/>
                    </a:lnTo>
                    <a:lnTo>
                      <a:pt x="217" y="716"/>
                    </a:lnTo>
                    <a:lnTo>
                      <a:pt x="217" y="719"/>
                    </a:lnTo>
                    <a:lnTo>
                      <a:pt x="209" y="716"/>
                    </a:lnTo>
                    <a:lnTo>
                      <a:pt x="209" y="713"/>
                    </a:lnTo>
                    <a:lnTo>
                      <a:pt x="206" y="713"/>
                    </a:lnTo>
                    <a:lnTo>
                      <a:pt x="206" y="710"/>
                    </a:lnTo>
                    <a:lnTo>
                      <a:pt x="209" y="710"/>
                    </a:lnTo>
                    <a:lnTo>
                      <a:pt x="212" y="710"/>
                    </a:lnTo>
                    <a:lnTo>
                      <a:pt x="212" y="708"/>
                    </a:lnTo>
                    <a:lnTo>
                      <a:pt x="209" y="708"/>
                    </a:lnTo>
                    <a:lnTo>
                      <a:pt x="206" y="708"/>
                    </a:lnTo>
                    <a:lnTo>
                      <a:pt x="212" y="705"/>
                    </a:lnTo>
                    <a:lnTo>
                      <a:pt x="215" y="705"/>
                    </a:lnTo>
                    <a:lnTo>
                      <a:pt x="212" y="705"/>
                    </a:lnTo>
                    <a:lnTo>
                      <a:pt x="212" y="702"/>
                    </a:lnTo>
                    <a:lnTo>
                      <a:pt x="212" y="699"/>
                    </a:lnTo>
                    <a:lnTo>
                      <a:pt x="209" y="702"/>
                    </a:lnTo>
                    <a:lnTo>
                      <a:pt x="206" y="702"/>
                    </a:lnTo>
                    <a:lnTo>
                      <a:pt x="206" y="697"/>
                    </a:lnTo>
                    <a:lnTo>
                      <a:pt x="206" y="694"/>
                    </a:lnTo>
                    <a:lnTo>
                      <a:pt x="206" y="691"/>
                    </a:lnTo>
                    <a:lnTo>
                      <a:pt x="206" y="685"/>
                    </a:lnTo>
                    <a:lnTo>
                      <a:pt x="204" y="685"/>
                    </a:lnTo>
                    <a:lnTo>
                      <a:pt x="204" y="683"/>
                    </a:lnTo>
                    <a:lnTo>
                      <a:pt x="204" y="680"/>
                    </a:lnTo>
                    <a:lnTo>
                      <a:pt x="201" y="683"/>
                    </a:lnTo>
                    <a:lnTo>
                      <a:pt x="198" y="683"/>
                    </a:lnTo>
                    <a:lnTo>
                      <a:pt x="198" y="680"/>
                    </a:lnTo>
                    <a:lnTo>
                      <a:pt x="198" y="677"/>
                    </a:lnTo>
                    <a:lnTo>
                      <a:pt x="195" y="680"/>
                    </a:lnTo>
                    <a:lnTo>
                      <a:pt x="192" y="680"/>
                    </a:lnTo>
                    <a:lnTo>
                      <a:pt x="190" y="677"/>
                    </a:lnTo>
                    <a:lnTo>
                      <a:pt x="190" y="674"/>
                    </a:lnTo>
                    <a:lnTo>
                      <a:pt x="187" y="671"/>
                    </a:lnTo>
                    <a:lnTo>
                      <a:pt x="187" y="669"/>
                    </a:lnTo>
                    <a:lnTo>
                      <a:pt x="184" y="666"/>
                    </a:lnTo>
                    <a:lnTo>
                      <a:pt x="187" y="663"/>
                    </a:lnTo>
                    <a:lnTo>
                      <a:pt x="187" y="655"/>
                    </a:lnTo>
                    <a:lnTo>
                      <a:pt x="184" y="655"/>
                    </a:lnTo>
                    <a:lnTo>
                      <a:pt x="181" y="655"/>
                    </a:lnTo>
                    <a:lnTo>
                      <a:pt x="170" y="641"/>
                    </a:lnTo>
                    <a:lnTo>
                      <a:pt x="170" y="638"/>
                    </a:lnTo>
                    <a:lnTo>
                      <a:pt x="173" y="638"/>
                    </a:lnTo>
                    <a:lnTo>
                      <a:pt x="173" y="635"/>
                    </a:lnTo>
                    <a:lnTo>
                      <a:pt x="170" y="635"/>
                    </a:lnTo>
                    <a:lnTo>
                      <a:pt x="167" y="635"/>
                    </a:lnTo>
                    <a:lnTo>
                      <a:pt x="165" y="630"/>
                    </a:lnTo>
                    <a:lnTo>
                      <a:pt x="165" y="627"/>
                    </a:lnTo>
                    <a:lnTo>
                      <a:pt x="167" y="621"/>
                    </a:lnTo>
                    <a:lnTo>
                      <a:pt x="170" y="624"/>
                    </a:lnTo>
                    <a:lnTo>
                      <a:pt x="170" y="621"/>
                    </a:lnTo>
                    <a:lnTo>
                      <a:pt x="170" y="619"/>
                    </a:lnTo>
                    <a:lnTo>
                      <a:pt x="170" y="616"/>
                    </a:lnTo>
                    <a:lnTo>
                      <a:pt x="173" y="613"/>
                    </a:lnTo>
                    <a:lnTo>
                      <a:pt x="170" y="613"/>
                    </a:lnTo>
                    <a:lnTo>
                      <a:pt x="170" y="610"/>
                    </a:lnTo>
                    <a:lnTo>
                      <a:pt x="173" y="607"/>
                    </a:lnTo>
                    <a:lnTo>
                      <a:pt x="170" y="602"/>
                    </a:lnTo>
                    <a:lnTo>
                      <a:pt x="170" y="591"/>
                    </a:lnTo>
                    <a:lnTo>
                      <a:pt x="173" y="588"/>
                    </a:lnTo>
                    <a:lnTo>
                      <a:pt x="170" y="585"/>
                    </a:lnTo>
                    <a:lnTo>
                      <a:pt x="165" y="582"/>
                    </a:lnTo>
                    <a:lnTo>
                      <a:pt x="156" y="577"/>
                    </a:lnTo>
                    <a:lnTo>
                      <a:pt x="145" y="574"/>
                    </a:lnTo>
                    <a:lnTo>
                      <a:pt x="142" y="571"/>
                    </a:lnTo>
                    <a:lnTo>
                      <a:pt x="140" y="566"/>
                    </a:lnTo>
                    <a:lnTo>
                      <a:pt x="137" y="557"/>
                    </a:lnTo>
                    <a:lnTo>
                      <a:pt x="134" y="557"/>
                    </a:lnTo>
                    <a:lnTo>
                      <a:pt x="134" y="555"/>
                    </a:lnTo>
                    <a:lnTo>
                      <a:pt x="134" y="552"/>
                    </a:lnTo>
                    <a:lnTo>
                      <a:pt x="131" y="546"/>
                    </a:lnTo>
                    <a:lnTo>
                      <a:pt x="128" y="541"/>
                    </a:lnTo>
                    <a:lnTo>
                      <a:pt x="109" y="507"/>
                    </a:lnTo>
                    <a:lnTo>
                      <a:pt x="103" y="504"/>
                    </a:lnTo>
                    <a:lnTo>
                      <a:pt x="103" y="502"/>
                    </a:lnTo>
                    <a:lnTo>
                      <a:pt x="101" y="496"/>
                    </a:lnTo>
                    <a:lnTo>
                      <a:pt x="98" y="493"/>
                    </a:lnTo>
                    <a:lnTo>
                      <a:pt x="92" y="485"/>
                    </a:lnTo>
                    <a:lnTo>
                      <a:pt x="92" y="482"/>
                    </a:lnTo>
                    <a:lnTo>
                      <a:pt x="89" y="477"/>
                    </a:lnTo>
                    <a:lnTo>
                      <a:pt x="87" y="477"/>
                    </a:lnTo>
                    <a:lnTo>
                      <a:pt x="78" y="479"/>
                    </a:lnTo>
                    <a:lnTo>
                      <a:pt x="73" y="482"/>
                    </a:lnTo>
                    <a:lnTo>
                      <a:pt x="73" y="485"/>
                    </a:lnTo>
                    <a:lnTo>
                      <a:pt x="70" y="488"/>
                    </a:lnTo>
                    <a:lnTo>
                      <a:pt x="67" y="490"/>
                    </a:lnTo>
                    <a:lnTo>
                      <a:pt x="67" y="493"/>
                    </a:lnTo>
                    <a:lnTo>
                      <a:pt x="67" y="496"/>
                    </a:lnTo>
                    <a:lnTo>
                      <a:pt x="62" y="496"/>
                    </a:lnTo>
                    <a:lnTo>
                      <a:pt x="59" y="499"/>
                    </a:lnTo>
                    <a:lnTo>
                      <a:pt x="53" y="502"/>
                    </a:lnTo>
                    <a:lnTo>
                      <a:pt x="53" y="499"/>
                    </a:lnTo>
                    <a:lnTo>
                      <a:pt x="50" y="490"/>
                    </a:lnTo>
                    <a:lnTo>
                      <a:pt x="45" y="488"/>
                    </a:lnTo>
                    <a:lnTo>
                      <a:pt x="50" y="485"/>
                    </a:lnTo>
                    <a:lnTo>
                      <a:pt x="50" y="482"/>
                    </a:lnTo>
                    <a:lnTo>
                      <a:pt x="45" y="479"/>
                    </a:lnTo>
                    <a:lnTo>
                      <a:pt x="48" y="482"/>
                    </a:lnTo>
                    <a:lnTo>
                      <a:pt x="48" y="485"/>
                    </a:lnTo>
                    <a:lnTo>
                      <a:pt x="45" y="485"/>
                    </a:lnTo>
                    <a:lnTo>
                      <a:pt x="42" y="485"/>
                    </a:lnTo>
                    <a:lnTo>
                      <a:pt x="28" y="468"/>
                    </a:lnTo>
                    <a:lnTo>
                      <a:pt x="28" y="460"/>
                    </a:lnTo>
                    <a:lnTo>
                      <a:pt x="20" y="460"/>
                    </a:lnTo>
                    <a:lnTo>
                      <a:pt x="17" y="463"/>
                    </a:lnTo>
                    <a:lnTo>
                      <a:pt x="14" y="463"/>
                    </a:lnTo>
                    <a:lnTo>
                      <a:pt x="9" y="460"/>
                    </a:lnTo>
                    <a:lnTo>
                      <a:pt x="6" y="463"/>
                    </a:lnTo>
                    <a:lnTo>
                      <a:pt x="0" y="460"/>
                    </a:lnTo>
                    <a:lnTo>
                      <a:pt x="0" y="109"/>
                    </a:lnTo>
                    <a:lnTo>
                      <a:pt x="6" y="112"/>
                    </a:lnTo>
                    <a:lnTo>
                      <a:pt x="20" y="112"/>
                    </a:lnTo>
                    <a:lnTo>
                      <a:pt x="20" y="115"/>
                    </a:lnTo>
                    <a:lnTo>
                      <a:pt x="25" y="115"/>
                    </a:lnTo>
                    <a:lnTo>
                      <a:pt x="36" y="128"/>
                    </a:lnTo>
                    <a:lnTo>
                      <a:pt x="39" y="128"/>
                    </a:lnTo>
                    <a:lnTo>
                      <a:pt x="39" y="131"/>
                    </a:lnTo>
                    <a:lnTo>
                      <a:pt x="42" y="128"/>
                    </a:lnTo>
                    <a:lnTo>
                      <a:pt x="42" y="131"/>
                    </a:lnTo>
                    <a:lnTo>
                      <a:pt x="48" y="137"/>
                    </a:lnTo>
                    <a:lnTo>
                      <a:pt x="50" y="140"/>
                    </a:lnTo>
                    <a:lnTo>
                      <a:pt x="53" y="142"/>
                    </a:lnTo>
                    <a:lnTo>
                      <a:pt x="56" y="142"/>
                    </a:lnTo>
                    <a:lnTo>
                      <a:pt x="62" y="142"/>
                    </a:lnTo>
                    <a:lnTo>
                      <a:pt x="64" y="145"/>
                    </a:lnTo>
                    <a:lnTo>
                      <a:pt x="67" y="145"/>
                    </a:lnTo>
                    <a:lnTo>
                      <a:pt x="70" y="145"/>
                    </a:lnTo>
                    <a:lnTo>
                      <a:pt x="70" y="142"/>
                    </a:lnTo>
                    <a:lnTo>
                      <a:pt x="75" y="145"/>
                    </a:lnTo>
                    <a:lnTo>
                      <a:pt x="78" y="145"/>
                    </a:lnTo>
                    <a:lnTo>
                      <a:pt x="87" y="154"/>
                    </a:lnTo>
                    <a:lnTo>
                      <a:pt x="89" y="154"/>
                    </a:lnTo>
                    <a:lnTo>
                      <a:pt x="92" y="154"/>
                    </a:lnTo>
                    <a:lnTo>
                      <a:pt x="89" y="154"/>
                    </a:lnTo>
                    <a:lnTo>
                      <a:pt x="87" y="148"/>
                    </a:lnTo>
                    <a:lnTo>
                      <a:pt x="87" y="145"/>
                    </a:lnTo>
                    <a:lnTo>
                      <a:pt x="87" y="142"/>
                    </a:lnTo>
                    <a:lnTo>
                      <a:pt x="92" y="145"/>
                    </a:lnTo>
                    <a:lnTo>
                      <a:pt x="95" y="145"/>
                    </a:lnTo>
                    <a:lnTo>
                      <a:pt x="98" y="145"/>
                    </a:lnTo>
                    <a:lnTo>
                      <a:pt x="98" y="148"/>
                    </a:lnTo>
                    <a:lnTo>
                      <a:pt x="98" y="151"/>
                    </a:lnTo>
                    <a:lnTo>
                      <a:pt x="101" y="154"/>
                    </a:lnTo>
                    <a:lnTo>
                      <a:pt x="106" y="156"/>
                    </a:lnTo>
                    <a:lnTo>
                      <a:pt x="106" y="159"/>
                    </a:lnTo>
                    <a:lnTo>
                      <a:pt x="106" y="156"/>
                    </a:lnTo>
                    <a:lnTo>
                      <a:pt x="106" y="151"/>
                    </a:lnTo>
                    <a:lnTo>
                      <a:pt x="101" y="140"/>
                    </a:lnTo>
                    <a:lnTo>
                      <a:pt x="101" y="137"/>
                    </a:lnTo>
                    <a:lnTo>
                      <a:pt x="103" y="134"/>
                    </a:lnTo>
                    <a:lnTo>
                      <a:pt x="106" y="131"/>
                    </a:lnTo>
                    <a:lnTo>
                      <a:pt x="109" y="128"/>
                    </a:lnTo>
                    <a:lnTo>
                      <a:pt x="112" y="126"/>
                    </a:lnTo>
                    <a:lnTo>
                      <a:pt x="114" y="123"/>
                    </a:lnTo>
                    <a:lnTo>
                      <a:pt x="120" y="123"/>
                    </a:lnTo>
                    <a:lnTo>
                      <a:pt x="123" y="120"/>
                    </a:lnTo>
                    <a:lnTo>
                      <a:pt x="126" y="120"/>
                    </a:lnTo>
                    <a:lnTo>
                      <a:pt x="126" y="112"/>
                    </a:lnTo>
                    <a:lnTo>
                      <a:pt x="128" y="112"/>
                    </a:lnTo>
                    <a:lnTo>
                      <a:pt x="131" y="109"/>
                    </a:lnTo>
                    <a:lnTo>
                      <a:pt x="131" y="106"/>
                    </a:lnTo>
                    <a:lnTo>
                      <a:pt x="134" y="106"/>
                    </a:lnTo>
                    <a:lnTo>
                      <a:pt x="134" y="109"/>
                    </a:lnTo>
                    <a:lnTo>
                      <a:pt x="137" y="109"/>
                    </a:lnTo>
                    <a:lnTo>
                      <a:pt x="140" y="106"/>
                    </a:lnTo>
                    <a:lnTo>
                      <a:pt x="142" y="106"/>
                    </a:lnTo>
                    <a:lnTo>
                      <a:pt x="148" y="101"/>
                    </a:lnTo>
                    <a:lnTo>
                      <a:pt x="148" y="98"/>
                    </a:lnTo>
                    <a:lnTo>
                      <a:pt x="153" y="101"/>
                    </a:lnTo>
                    <a:lnTo>
                      <a:pt x="156" y="98"/>
                    </a:lnTo>
                    <a:lnTo>
                      <a:pt x="156" y="95"/>
                    </a:lnTo>
                    <a:lnTo>
                      <a:pt x="159" y="92"/>
                    </a:lnTo>
                    <a:lnTo>
                      <a:pt x="162" y="90"/>
                    </a:lnTo>
                    <a:lnTo>
                      <a:pt x="162" y="87"/>
                    </a:lnTo>
                    <a:lnTo>
                      <a:pt x="167" y="90"/>
                    </a:lnTo>
                    <a:lnTo>
                      <a:pt x="170" y="92"/>
                    </a:lnTo>
                    <a:lnTo>
                      <a:pt x="173" y="90"/>
                    </a:lnTo>
                    <a:lnTo>
                      <a:pt x="173" y="87"/>
                    </a:lnTo>
                    <a:lnTo>
                      <a:pt x="176" y="84"/>
                    </a:lnTo>
                    <a:lnTo>
                      <a:pt x="176" y="87"/>
                    </a:lnTo>
                    <a:lnTo>
                      <a:pt x="178" y="90"/>
                    </a:lnTo>
                    <a:lnTo>
                      <a:pt x="178" y="92"/>
                    </a:lnTo>
                    <a:lnTo>
                      <a:pt x="176" y="95"/>
                    </a:lnTo>
                    <a:lnTo>
                      <a:pt x="165" y="103"/>
                    </a:lnTo>
                    <a:lnTo>
                      <a:pt x="162" y="109"/>
                    </a:lnTo>
                    <a:lnTo>
                      <a:pt x="156" y="115"/>
                    </a:lnTo>
                    <a:lnTo>
                      <a:pt x="151" y="115"/>
                    </a:lnTo>
                    <a:lnTo>
                      <a:pt x="142" y="117"/>
                    </a:lnTo>
                    <a:lnTo>
                      <a:pt x="140" y="120"/>
                    </a:lnTo>
                    <a:lnTo>
                      <a:pt x="137" y="123"/>
                    </a:lnTo>
                    <a:lnTo>
                      <a:pt x="140" y="123"/>
                    </a:lnTo>
                    <a:lnTo>
                      <a:pt x="134" y="126"/>
                    </a:lnTo>
                    <a:lnTo>
                      <a:pt x="134" y="128"/>
                    </a:lnTo>
                    <a:lnTo>
                      <a:pt x="131" y="134"/>
                    </a:lnTo>
                    <a:lnTo>
                      <a:pt x="131" y="131"/>
                    </a:lnTo>
                    <a:lnTo>
                      <a:pt x="128" y="128"/>
                    </a:lnTo>
                    <a:lnTo>
                      <a:pt x="126" y="134"/>
                    </a:lnTo>
                    <a:lnTo>
                      <a:pt x="126" y="137"/>
                    </a:lnTo>
                    <a:lnTo>
                      <a:pt x="128" y="137"/>
                    </a:lnTo>
                    <a:lnTo>
                      <a:pt x="131" y="134"/>
                    </a:lnTo>
                    <a:lnTo>
                      <a:pt x="137" y="131"/>
                    </a:lnTo>
                    <a:lnTo>
                      <a:pt x="142" y="126"/>
                    </a:lnTo>
                    <a:lnTo>
                      <a:pt x="142" y="123"/>
                    </a:lnTo>
                    <a:lnTo>
                      <a:pt x="145" y="120"/>
                    </a:lnTo>
                    <a:lnTo>
                      <a:pt x="148" y="120"/>
                    </a:lnTo>
                    <a:lnTo>
                      <a:pt x="148" y="126"/>
                    </a:lnTo>
                    <a:lnTo>
                      <a:pt x="148" y="120"/>
                    </a:lnTo>
                    <a:lnTo>
                      <a:pt x="151" y="126"/>
                    </a:lnTo>
                    <a:lnTo>
                      <a:pt x="151" y="120"/>
                    </a:lnTo>
                    <a:lnTo>
                      <a:pt x="153" y="120"/>
                    </a:lnTo>
                    <a:lnTo>
                      <a:pt x="156" y="120"/>
                    </a:lnTo>
                    <a:lnTo>
                      <a:pt x="156" y="131"/>
                    </a:lnTo>
                    <a:lnTo>
                      <a:pt x="165" y="112"/>
                    </a:lnTo>
                    <a:lnTo>
                      <a:pt x="165" y="109"/>
                    </a:lnTo>
                    <a:lnTo>
                      <a:pt x="173" y="106"/>
                    </a:lnTo>
                    <a:lnTo>
                      <a:pt x="176" y="103"/>
                    </a:lnTo>
                    <a:lnTo>
                      <a:pt x="184" y="101"/>
                    </a:lnTo>
                    <a:lnTo>
                      <a:pt x="187" y="98"/>
                    </a:lnTo>
                    <a:lnTo>
                      <a:pt x="187" y="103"/>
                    </a:lnTo>
                    <a:lnTo>
                      <a:pt x="184" y="109"/>
                    </a:lnTo>
                    <a:lnTo>
                      <a:pt x="192" y="103"/>
                    </a:lnTo>
                    <a:lnTo>
                      <a:pt x="195" y="98"/>
                    </a:lnTo>
                    <a:lnTo>
                      <a:pt x="198" y="95"/>
                    </a:lnTo>
                    <a:lnTo>
                      <a:pt x="198" y="92"/>
                    </a:lnTo>
                    <a:lnTo>
                      <a:pt x="198" y="90"/>
                    </a:lnTo>
                    <a:lnTo>
                      <a:pt x="206" y="87"/>
                    </a:lnTo>
                    <a:lnTo>
                      <a:pt x="206" y="84"/>
                    </a:lnTo>
                    <a:lnTo>
                      <a:pt x="204" y="84"/>
                    </a:lnTo>
                    <a:lnTo>
                      <a:pt x="201" y="81"/>
                    </a:lnTo>
                    <a:lnTo>
                      <a:pt x="204" y="78"/>
                    </a:lnTo>
                    <a:lnTo>
                      <a:pt x="201" y="76"/>
                    </a:lnTo>
                    <a:lnTo>
                      <a:pt x="198" y="78"/>
                    </a:lnTo>
                    <a:lnTo>
                      <a:pt x="198" y="76"/>
                    </a:lnTo>
                    <a:lnTo>
                      <a:pt x="201" y="73"/>
                    </a:lnTo>
                    <a:lnTo>
                      <a:pt x="201" y="70"/>
                    </a:lnTo>
                    <a:lnTo>
                      <a:pt x="206" y="73"/>
                    </a:lnTo>
                    <a:lnTo>
                      <a:pt x="215" y="87"/>
                    </a:lnTo>
                    <a:lnTo>
                      <a:pt x="217" y="92"/>
                    </a:lnTo>
                    <a:lnTo>
                      <a:pt x="223" y="112"/>
                    </a:lnTo>
                    <a:lnTo>
                      <a:pt x="226" y="115"/>
                    </a:lnTo>
                    <a:lnTo>
                      <a:pt x="229" y="117"/>
                    </a:lnTo>
                    <a:lnTo>
                      <a:pt x="234" y="123"/>
                    </a:lnTo>
                    <a:lnTo>
                      <a:pt x="237" y="123"/>
                    </a:lnTo>
                    <a:lnTo>
                      <a:pt x="243" y="123"/>
                    </a:lnTo>
                    <a:lnTo>
                      <a:pt x="245" y="123"/>
                    </a:lnTo>
                    <a:lnTo>
                      <a:pt x="245" y="120"/>
                    </a:lnTo>
                    <a:lnTo>
                      <a:pt x="243" y="120"/>
                    </a:lnTo>
                    <a:lnTo>
                      <a:pt x="240" y="120"/>
                    </a:lnTo>
                    <a:lnTo>
                      <a:pt x="240" y="117"/>
                    </a:lnTo>
                    <a:lnTo>
                      <a:pt x="245" y="117"/>
                    </a:lnTo>
                    <a:lnTo>
                      <a:pt x="243" y="112"/>
                    </a:lnTo>
                    <a:lnTo>
                      <a:pt x="243" y="109"/>
                    </a:lnTo>
                    <a:lnTo>
                      <a:pt x="248" y="109"/>
                    </a:lnTo>
                    <a:lnTo>
                      <a:pt x="248" y="106"/>
                    </a:lnTo>
                    <a:lnTo>
                      <a:pt x="245" y="106"/>
                    </a:lnTo>
                    <a:lnTo>
                      <a:pt x="245" y="103"/>
                    </a:lnTo>
                    <a:lnTo>
                      <a:pt x="245" y="106"/>
                    </a:lnTo>
                    <a:lnTo>
                      <a:pt x="251" y="98"/>
                    </a:lnTo>
                    <a:lnTo>
                      <a:pt x="251" y="95"/>
                    </a:lnTo>
                    <a:lnTo>
                      <a:pt x="248" y="95"/>
                    </a:lnTo>
                    <a:lnTo>
                      <a:pt x="248" y="98"/>
                    </a:lnTo>
                    <a:lnTo>
                      <a:pt x="245" y="95"/>
                    </a:lnTo>
                    <a:lnTo>
                      <a:pt x="248" y="92"/>
                    </a:lnTo>
                    <a:lnTo>
                      <a:pt x="248" y="95"/>
                    </a:lnTo>
                    <a:lnTo>
                      <a:pt x="251" y="92"/>
                    </a:lnTo>
                    <a:lnTo>
                      <a:pt x="254" y="95"/>
                    </a:lnTo>
                    <a:lnTo>
                      <a:pt x="254" y="98"/>
                    </a:lnTo>
                    <a:lnTo>
                      <a:pt x="256" y="95"/>
                    </a:lnTo>
                    <a:lnTo>
                      <a:pt x="256" y="92"/>
                    </a:lnTo>
                    <a:lnTo>
                      <a:pt x="254" y="90"/>
                    </a:lnTo>
                    <a:lnTo>
                      <a:pt x="259" y="90"/>
                    </a:lnTo>
                    <a:lnTo>
                      <a:pt x="259" y="92"/>
                    </a:lnTo>
                    <a:lnTo>
                      <a:pt x="259" y="103"/>
                    </a:lnTo>
                    <a:lnTo>
                      <a:pt x="256" y="106"/>
                    </a:lnTo>
                    <a:lnTo>
                      <a:pt x="256" y="109"/>
                    </a:lnTo>
                    <a:lnTo>
                      <a:pt x="259" y="109"/>
                    </a:lnTo>
                    <a:lnTo>
                      <a:pt x="262" y="109"/>
                    </a:lnTo>
                    <a:lnTo>
                      <a:pt x="265" y="109"/>
                    </a:lnTo>
                    <a:lnTo>
                      <a:pt x="259" y="123"/>
                    </a:lnTo>
                    <a:lnTo>
                      <a:pt x="256" y="120"/>
                    </a:lnTo>
                    <a:lnTo>
                      <a:pt x="256" y="123"/>
                    </a:lnTo>
                    <a:lnTo>
                      <a:pt x="262" y="126"/>
                    </a:lnTo>
                    <a:lnTo>
                      <a:pt x="265" y="123"/>
                    </a:lnTo>
                    <a:lnTo>
                      <a:pt x="268" y="123"/>
                    </a:lnTo>
                    <a:lnTo>
                      <a:pt x="270" y="123"/>
                    </a:lnTo>
                    <a:lnTo>
                      <a:pt x="273" y="123"/>
                    </a:lnTo>
                    <a:lnTo>
                      <a:pt x="273" y="120"/>
                    </a:lnTo>
                    <a:lnTo>
                      <a:pt x="276" y="117"/>
                    </a:lnTo>
                    <a:lnTo>
                      <a:pt x="279" y="103"/>
                    </a:lnTo>
                    <a:lnTo>
                      <a:pt x="281" y="103"/>
                    </a:lnTo>
                    <a:lnTo>
                      <a:pt x="284" y="103"/>
                    </a:lnTo>
                    <a:lnTo>
                      <a:pt x="290" y="103"/>
                    </a:lnTo>
                    <a:lnTo>
                      <a:pt x="293" y="103"/>
                    </a:lnTo>
                    <a:lnTo>
                      <a:pt x="293" y="106"/>
                    </a:lnTo>
                    <a:lnTo>
                      <a:pt x="301" y="103"/>
                    </a:lnTo>
                    <a:lnTo>
                      <a:pt x="307" y="106"/>
                    </a:lnTo>
                    <a:lnTo>
                      <a:pt x="315" y="112"/>
                    </a:lnTo>
                    <a:lnTo>
                      <a:pt x="320" y="120"/>
                    </a:lnTo>
                    <a:lnTo>
                      <a:pt x="326" y="123"/>
                    </a:lnTo>
                    <a:lnTo>
                      <a:pt x="332" y="126"/>
                    </a:lnTo>
                    <a:lnTo>
                      <a:pt x="334" y="126"/>
                    </a:lnTo>
                    <a:lnTo>
                      <a:pt x="337" y="126"/>
                    </a:lnTo>
                    <a:lnTo>
                      <a:pt x="343" y="128"/>
                    </a:lnTo>
                    <a:lnTo>
                      <a:pt x="346" y="128"/>
                    </a:lnTo>
                    <a:lnTo>
                      <a:pt x="348" y="128"/>
                    </a:lnTo>
                    <a:lnTo>
                      <a:pt x="348" y="131"/>
                    </a:lnTo>
                    <a:lnTo>
                      <a:pt x="365" y="142"/>
                    </a:lnTo>
                    <a:lnTo>
                      <a:pt x="371" y="142"/>
                    </a:lnTo>
                    <a:lnTo>
                      <a:pt x="373" y="145"/>
                    </a:lnTo>
                    <a:lnTo>
                      <a:pt x="373" y="142"/>
                    </a:lnTo>
                    <a:lnTo>
                      <a:pt x="382" y="145"/>
                    </a:lnTo>
                    <a:lnTo>
                      <a:pt x="387" y="145"/>
                    </a:lnTo>
                    <a:lnTo>
                      <a:pt x="390" y="148"/>
                    </a:lnTo>
                    <a:lnTo>
                      <a:pt x="390" y="145"/>
                    </a:lnTo>
                    <a:lnTo>
                      <a:pt x="385" y="140"/>
                    </a:lnTo>
                    <a:lnTo>
                      <a:pt x="390" y="140"/>
                    </a:lnTo>
                    <a:lnTo>
                      <a:pt x="390" y="142"/>
                    </a:lnTo>
                    <a:lnTo>
                      <a:pt x="393" y="142"/>
                    </a:lnTo>
                    <a:lnTo>
                      <a:pt x="393" y="140"/>
                    </a:lnTo>
                    <a:lnTo>
                      <a:pt x="401" y="142"/>
                    </a:lnTo>
                    <a:lnTo>
                      <a:pt x="404" y="145"/>
                    </a:lnTo>
                    <a:lnTo>
                      <a:pt x="404" y="148"/>
                    </a:lnTo>
                    <a:lnTo>
                      <a:pt x="407" y="145"/>
                    </a:lnTo>
                    <a:lnTo>
                      <a:pt x="407" y="148"/>
                    </a:lnTo>
                    <a:lnTo>
                      <a:pt x="412" y="151"/>
                    </a:lnTo>
                    <a:lnTo>
                      <a:pt x="418" y="159"/>
                    </a:lnTo>
                    <a:lnTo>
                      <a:pt x="418" y="165"/>
                    </a:lnTo>
                    <a:lnTo>
                      <a:pt x="421" y="162"/>
                    </a:lnTo>
                    <a:lnTo>
                      <a:pt x="421" y="165"/>
                    </a:lnTo>
                    <a:lnTo>
                      <a:pt x="418" y="167"/>
                    </a:lnTo>
                    <a:lnTo>
                      <a:pt x="421" y="170"/>
                    </a:lnTo>
                    <a:lnTo>
                      <a:pt x="418" y="170"/>
                    </a:lnTo>
                    <a:lnTo>
                      <a:pt x="418" y="173"/>
                    </a:lnTo>
                    <a:lnTo>
                      <a:pt x="415" y="173"/>
                    </a:lnTo>
                    <a:lnTo>
                      <a:pt x="415" y="170"/>
                    </a:lnTo>
                    <a:lnTo>
                      <a:pt x="410" y="170"/>
                    </a:lnTo>
                    <a:lnTo>
                      <a:pt x="404" y="170"/>
                    </a:lnTo>
                    <a:lnTo>
                      <a:pt x="410" y="173"/>
                    </a:lnTo>
                    <a:lnTo>
                      <a:pt x="407" y="173"/>
                    </a:lnTo>
                    <a:lnTo>
                      <a:pt x="401" y="173"/>
                    </a:lnTo>
                    <a:lnTo>
                      <a:pt x="401" y="176"/>
                    </a:lnTo>
                    <a:lnTo>
                      <a:pt x="401" y="181"/>
                    </a:lnTo>
                    <a:lnTo>
                      <a:pt x="396" y="184"/>
                    </a:lnTo>
                    <a:lnTo>
                      <a:pt x="398" y="184"/>
                    </a:lnTo>
                    <a:lnTo>
                      <a:pt x="401" y="184"/>
                    </a:lnTo>
                    <a:lnTo>
                      <a:pt x="398" y="187"/>
                    </a:lnTo>
                    <a:lnTo>
                      <a:pt x="410" y="193"/>
                    </a:lnTo>
                    <a:lnTo>
                      <a:pt x="410" y="190"/>
                    </a:lnTo>
                    <a:lnTo>
                      <a:pt x="412" y="190"/>
                    </a:lnTo>
                    <a:lnTo>
                      <a:pt x="415" y="193"/>
                    </a:lnTo>
                    <a:lnTo>
                      <a:pt x="418" y="193"/>
                    </a:lnTo>
                    <a:lnTo>
                      <a:pt x="421" y="193"/>
                    </a:lnTo>
                    <a:lnTo>
                      <a:pt x="426" y="193"/>
                    </a:lnTo>
                    <a:lnTo>
                      <a:pt x="432" y="193"/>
                    </a:lnTo>
                    <a:lnTo>
                      <a:pt x="437" y="193"/>
                    </a:lnTo>
                    <a:lnTo>
                      <a:pt x="435" y="193"/>
                    </a:lnTo>
                    <a:lnTo>
                      <a:pt x="440" y="195"/>
                    </a:lnTo>
                    <a:lnTo>
                      <a:pt x="446" y="193"/>
                    </a:lnTo>
                    <a:lnTo>
                      <a:pt x="451" y="193"/>
                    </a:lnTo>
                    <a:lnTo>
                      <a:pt x="454" y="193"/>
                    </a:lnTo>
                    <a:lnTo>
                      <a:pt x="451" y="193"/>
                    </a:lnTo>
                    <a:lnTo>
                      <a:pt x="454" y="190"/>
                    </a:lnTo>
                    <a:lnTo>
                      <a:pt x="457" y="193"/>
                    </a:lnTo>
                    <a:lnTo>
                      <a:pt x="460" y="193"/>
                    </a:lnTo>
                    <a:lnTo>
                      <a:pt x="462" y="193"/>
                    </a:lnTo>
                    <a:lnTo>
                      <a:pt x="462" y="187"/>
                    </a:lnTo>
                    <a:lnTo>
                      <a:pt x="465" y="187"/>
                    </a:lnTo>
                    <a:lnTo>
                      <a:pt x="465" y="193"/>
                    </a:lnTo>
                    <a:lnTo>
                      <a:pt x="468" y="193"/>
                    </a:lnTo>
                    <a:lnTo>
                      <a:pt x="471" y="190"/>
                    </a:lnTo>
                    <a:lnTo>
                      <a:pt x="474" y="184"/>
                    </a:lnTo>
                    <a:lnTo>
                      <a:pt x="476" y="181"/>
                    </a:lnTo>
                    <a:lnTo>
                      <a:pt x="482" y="181"/>
                    </a:lnTo>
                    <a:lnTo>
                      <a:pt x="482" y="179"/>
                    </a:lnTo>
                    <a:lnTo>
                      <a:pt x="485" y="184"/>
                    </a:lnTo>
                    <a:lnTo>
                      <a:pt x="482" y="184"/>
                    </a:lnTo>
                    <a:lnTo>
                      <a:pt x="485" y="187"/>
                    </a:lnTo>
                    <a:lnTo>
                      <a:pt x="485" y="184"/>
                    </a:lnTo>
                    <a:lnTo>
                      <a:pt x="488" y="190"/>
                    </a:lnTo>
                    <a:lnTo>
                      <a:pt x="488" y="193"/>
                    </a:lnTo>
                    <a:lnTo>
                      <a:pt x="493" y="193"/>
                    </a:lnTo>
                    <a:lnTo>
                      <a:pt x="490" y="193"/>
                    </a:lnTo>
                    <a:lnTo>
                      <a:pt x="499" y="193"/>
                    </a:lnTo>
                    <a:lnTo>
                      <a:pt x="499" y="195"/>
                    </a:lnTo>
                    <a:lnTo>
                      <a:pt x="499" y="198"/>
                    </a:lnTo>
                    <a:lnTo>
                      <a:pt x="501" y="201"/>
                    </a:lnTo>
                    <a:lnTo>
                      <a:pt x="499" y="204"/>
                    </a:lnTo>
                    <a:lnTo>
                      <a:pt x="501" y="206"/>
                    </a:lnTo>
                    <a:lnTo>
                      <a:pt x="501" y="204"/>
                    </a:lnTo>
                    <a:lnTo>
                      <a:pt x="501" y="201"/>
                    </a:lnTo>
                    <a:lnTo>
                      <a:pt x="504" y="195"/>
                    </a:lnTo>
                    <a:lnTo>
                      <a:pt x="504" y="201"/>
                    </a:lnTo>
                    <a:lnTo>
                      <a:pt x="507" y="201"/>
                    </a:lnTo>
                    <a:lnTo>
                      <a:pt x="504" y="201"/>
                    </a:lnTo>
                    <a:lnTo>
                      <a:pt x="504" y="206"/>
                    </a:lnTo>
                    <a:lnTo>
                      <a:pt x="507" y="206"/>
                    </a:lnTo>
                    <a:lnTo>
                      <a:pt x="510" y="204"/>
                    </a:lnTo>
                    <a:lnTo>
                      <a:pt x="510" y="209"/>
                    </a:lnTo>
                    <a:lnTo>
                      <a:pt x="513" y="209"/>
                    </a:lnTo>
                    <a:lnTo>
                      <a:pt x="515" y="218"/>
                    </a:lnTo>
                    <a:lnTo>
                      <a:pt x="515" y="220"/>
                    </a:lnTo>
                    <a:lnTo>
                      <a:pt x="513" y="218"/>
                    </a:lnTo>
                    <a:lnTo>
                      <a:pt x="510" y="220"/>
                    </a:lnTo>
                    <a:lnTo>
                      <a:pt x="507" y="220"/>
                    </a:lnTo>
                    <a:lnTo>
                      <a:pt x="510" y="223"/>
                    </a:lnTo>
                    <a:lnTo>
                      <a:pt x="515" y="232"/>
                    </a:lnTo>
                    <a:lnTo>
                      <a:pt x="518" y="232"/>
                    </a:lnTo>
                    <a:lnTo>
                      <a:pt x="518" y="226"/>
                    </a:lnTo>
                    <a:lnTo>
                      <a:pt x="521" y="229"/>
                    </a:lnTo>
                    <a:lnTo>
                      <a:pt x="524" y="223"/>
                    </a:lnTo>
                    <a:lnTo>
                      <a:pt x="527" y="226"/>
                    </a:lnTo>
                    <a:lnTo>
                      <a:pt x="524" y="220"/>
                    </a:lnTo>
                    <a:lnTo>
                      <a:pt x="527" y="218"/>
                    </a:lnTo>
                    <a:lnTo>
                      <a:pt x="524" y="218"/>
                    </a:lnTo>
                    <a:lnTo>
                      <a:pt x="518" y="206"/>
                    </a:lnTo>
                    <a:lnTo>
                      <a:pt x="518" y="204"/>
                    </a:lnTo>
                    <a:lnTo>
                      <a:pt x="518" y="201"/>
                    </a:lnTo>
                    <a:lnTo>
                      <a:pt x="518" y="198"/>
                    </a:lnTo>
                    <a:lnTo>
                      <a:pt x="518" y="195"/>
                    </a:lnTo>
                    <a:lnTo>
                      <a:pt x="515" y="195"/>
                    </a:lnTo>
                    <a:lnTo>
                      <a:pt x="513" y="193"/>
                    </a:lnTo>
                    <a:lnTo>
                      <a:pt x="515" y="187"/>
                    </a:lnTo>
                    <a:lnTo>
                      <a:pt x="518" y="184"/>
                    </a:lnTo>
                    <a:lnTo>
                      <a:pt x="518" y="179"/>
                    </a:lnTo>
                    <a:lnTo>
                      <a:pt x="524" y="179"/>
                    </a:lnTo>
                    <a:lnTo>
                      <a:pt x="527" y="176"/>
                    </a:lnTo>
                    <a:lnTo>
                      <a:pt x="532" y="176"/>
                    </a:lnTo>
                    <a:lnTo>
                      <a:pt x="532" y="173"/>
                    </a:lnTo>
                    <a:lnTo>
                      <a:pt x="535" y="173"/>
                    </a:lnTo>
                    <a:lnTo>
                      <a:pt x="538" y="173"/>
                    </a:lnTo>
                    <a:lnTo>
                      <a:pt x="538" y="167"/>
                    </a:lnTo>
                    <a:lnTo>
                      <a:pt x="540" y="167"/>
                    </a:lnTo>
                    <a:lnTo>
                      <a:pt x="540" y="170"/>
                    </a:lnTo>
                    <a:lnTo>
                      <a:pt x="543" y="165"/>
                    </a:lnTo>
                    <a:lnTo>
                      <a:pt x="543" y="162"/>
                    </a:lnTo>
                    <a:lnTo>
                      <a:pt x="546" y="159"/>
                    </a:lnTo>
                    <a:lnTo>
                      <a:pt x="546" y="156"/>
                    </a:lnTo>
                    <a:lnTo>
                      <a:pt x="546" y="154"/>
                    </a:lnTo>
                    <a:lnTo>
                      <a:pt x="535" y="156"/>
                    </a:lnTo>
                    <a:lnTo>
                      <a:pt x="538" y="159"/>
                    </a:lnTo>
                    <a:lnTo>
                      <a:pt x="532" y="159"/>
                    </a:lnTo>
                    <a:lnTo>
                      <a:pt x="535" y="165"/>
                    </a:lnTo>
                    <a:lnTo>
                      <a:pt x="535" y="162"/>
                    </a:lnTo>
                    <a:lnTo>
                      <a:pt x="535" y="167"/>
                    </a:lnTo>
                    <a:lnTo>
                      <a:pt x="535" y="170"/>
                    </a:lnTo>
                    <a:lnTo>
                      <a:pt x="535" y="167"/>
                    </a:lnTo>
                    <a:lnTo>
                      <a:pt x="532" y="167"/>
                    </a:lnTo>
                    <a:lnTo>
                      <a:pt x="532" y="165"/>
                    </a:lnTo>
                    <a:lnTo>
                      <a:pt x="529" y="165"/>
                    </a:lnTo>
                    <a:lnTo>
                      <a:pt x="527" y="170"/>
                    </a:lnTo>
                    <a:lnTo>
                      <a:pt x="527" y="167"/>
                    </a:lnTo>
                    <a:lnTo>
                      <a:pt x="521" y="167"/>
                    </a:lnTo>
                    <a:lnTo>
                      <a:pt x="521" y="165"/>
                    </a:lnTo>
                    <a:lnTo>
                      <a:pt x="515" y="167"/>
                    </a:lnTo>
                    <a:lnTo>
                      <a:pt x="515" y="170"/>
                    </a:lnTo>
                    <a:lnTo>
                      <a:pt x="518" y="170"/>
                    </a:lnTo>
                    <a:lnTo>
                      <a:pt x="518" y="173"/>
                    </a:lnTo>
                    <a:lnTo>
                      <a:pt x="515" y="173"/>
                    </a:lnTo>
                    <a:lnTo>
                      <a:pt x="515" y="176"/>
                    </a:lnTo>
                    <a:lnTo>
                      <a:pt x="513" y="176"/>
                    </a:lnTo>
                    <a:lnTo>
                      <a:pt x="515" y="173"/>
                    </a:lnTo>
                    <a:lnTo>
                      <a:pt x="510" y="176"/>
                    </a:lnTo>
                    <a:lnTo>
                      <a:pt x="510" y="173"/>
                    </a:lnTo>
                    <a:lnTo>
                      <a:pt x="507" y="173"/>
                    </a:lnTo>
                    <a:lnTo>
                      <a:pt x="504" y="173"/>
                    </a:lnTo>
                    <a:lnTo>
                      <a:pt x="507" y="170"/>
                    </a:lnTo>
                    <a:lnTo>
                      <a:pt x="501" y="170"/>
                    </a:lnTo>
                    <a:lnTo>
                      <a:pt x="501" y="167"/>
                    </a:lnTo>
                    <a:lnTo>
                      <a:pt x="504" y="162"/>
                    </a:lnTo>
                    <a:lnTo>
                      <a:pt x="504" y="159"/>
                    </a:lnTo>
                    <a:lnTo>
                      <a:pt x="507" y="156"/>
                    </a:lnTo>
                    <a:lnTo>
                      <a:pt x="510" y="154"/>
                    </a:lnTo>
                    <a:lnTo>
                      <a:pt x="518" y="154"/>
                    </a:lnTo>
                    <a:lnTo>
                      <a:pt x="529" y="148"/>
                    </a:lnTo>
                    <a:lnTo>
                      <a:pt x="529" y="145"/>
                    </a:lnTo>
                    <a:lnTo>
                      <a:pt x="535" y="145"/>
                    </a:lnTo>
                    <a:lnTo>
                      <a:pt x="535" y="142"/>
                    </a:lnTo>
                    <a:lnTo>
                      <a:pt x="540" y="142"/>
                    </a:lnTo>
                    <a:lnTo>
                      <a:pt x="543" y="140"/>
                    </a:lnTo>
                    <a:lnTo>
                      <a:pt x="546" y="142"/>
                    </a:lnTo>
                    <a:lnTo>
                      <a:pt x="549" y="142"/>
                    </a:lnTo>
                    <a:lnTo>
                      <a:pt x="549" y="148"/>
                    </a:lnTo>
                    <a:lnTo>
                      <a:pt x="552" y="151"/>
                    </a:lnTo>
                    <a:lnTo>
                      <a:pt x="552" y="154"/>
                    </a:lnTo>
                    <a:lnTo>
                      <a:pt x="552" y="156"/>
                    </a:lnTo>
                    <a:lnTo>
                      <a:pt x="554" y="159"/>
                    </a:lnTo>
                    <a:lnTo>
                      <a:pt x="552" y="159"/>
                    </a:lnTo>
                    <a:lnTo>
                      <a:pt x="552" y="162"/>
                    </a:lnTo>
                    <a:lnTo>
                      <a:pt x="554" y="165"/>
                    </a:lnTo>
                    <a:lnTo>
                      <a:pt x="557" y="165"/>
                    </a:lnTo>
                    <a:lnTo>
                      <a:pt x="557" y="167"/>
                    </a:lnTo>
                    <a:lnTo>
                      <a:pt x="560" y="170"/>
                    </a:lnTo>
                    <a:lnTo>
                      <a:pt x="565" y="173"/>
                    </a:lnTo>
                    <a:lnTo>
                      <a:pt x="565" y="179"/>
                    </a:lnTo>
                    <a:lnTo>
                      <a:pt x="568" y="179"/>
                    </a:lnTo>
                    <a:lnTo>
                      <a:pt x="571" y="179"/>
                    </a:lnTo>
                    <a:lnTo>
                      <a:pt x="574" y="181"/>
                    </a:lnTo>
                    <a:lnTo>
                      <a:pt x="577" y="179"/>
                    </a:lnTo>
                    <a:lnTo>
                      <a:pt x="579" y="181"/>
                    </a:lnTo>
                    <a:lnTo>
                      <a:pt x="579" y="179"/>
                    </a:lnTo>
                    <a:lnTo>
                      <a:pt x="582" y="179"/>
                    </a:lnTo>
                    <a:lnTo>
                      <a:pt x="582" y="176"/>
                    </a:lnTo>
                    <a:lnTo>
                      <a:pt x="582" y="173"/>
                    </a:lnTo>
                    <a:lnTo>
                      <a:pt x="588" y="176"/>
                    </a:lnTo>
                    <a:lnTo>
                      <a:pt x="588" y="181"/>
                    </a:lnTo>
                    <a:lnTo>
                      <a:pt x="593" y="187"/>
                    </a:lnTo>
                    <a:lnTo>
                      <a:pt x="596" y="193"/>
                    </a:lnTo>
                    <a:lnTo>
                      <a:pt x="599" y="193"/>
                    </a:lnTo>
                    <a:lnTo>
                      <a:pt x="602" y="195"/>
                    </a:lnTo>
                    <a:lnTo>
                      <a:pt x="604" y="195"/>
                    </a:lnTo>
                    <a:lnTo>
                      <a:pt x="604" y="193"/>
                    </a:lnTo>
                    <a:lnTo>
                      <a:pt x="607" y="193"/>
                    </a:lnTo>
                    <a:lnTo>
                      <a:pt x="610" y="193"/>
                    </a:lnTo>
                    <a:lnTo>
                      <a:pt x="616" y="195"/>
                    </a:lnTo>
                    <a:lnTo>
                      <a:pt x="621" y="193"/>
                    </a:lnTo>
                    <a:lnTo>
                      <a:pt x="627" y="193"/>
                    </a:lnTo>
                    <a:lnTo>
                      <a:pt x="632" y="193"/>
                    </a:lnTo>
                    <a:lnTo>
                      <a:pt x="635" y="187"/>
                    </a:lnTo>
                    <a:lnTo>
                      <a:pt x="643" y="190"/>
                    </a:lnTo>
                    <a:lnTo>
                      <a:pt x="646" y="190"/>
                    </a:lnTo>
                    <a:lnTo>
                      <a:pt x="652" y="193"/>
                    </a:lnTo>
                    <a:lnTo>
                      <a:pt x="655" y="193"/>
                    </a:lnTo>
                    <a:lnTo>
                      <a:pt x="660" y="193"/>
                    </a:lnTo>
                    <a:lnTo>
                      <a:pt x="666" y="193"/>
                    </a:lnTo>
                    <a:lnTo>
                      <a:pt x="663" y="187"/>
                    </a:lnTo>
                    <a:lnTo>
                      <a:pt x="660" y="184"/>
                    </a:lnTo>
                    <a:lnTo>
                      <a:pt x="657" y="181"/>
                    </a:lnTo>
                    <a:lnTo>
                      <a:pt x="660" y="179"/>
                    </a:lnTo>
                    <a:lnTo>
                      <a:pt x="663" y="179"/>
                    </a:lnTo>
                    <a:lnTo>
                      <a:pt x="663" y="181"/>
                    </a:lnTo>
                    <a:lnTo>
                      <a:pt x="666" y="184"/>
                    </a:lnTo>
                    <a:lnTo>
                      <a:pt x="666" y="187"/>
                    </a:lnTo>
                    <a:lnTo>
                      <a:pt x="668" y="193"/>
                    </a:lnTo>
                    <a:lnTo>
                      <a:pt x="671" y="193"/>
                    </a:lnTo>
                    <a:lnTo>
                      <a:pt x="671" y="195"/>
                    </a:lnTo>
                    <a:lnTo>
                      <a:pt x="677" y="195"/>
                    </a:lnTo>
                    <a:lnTo>
                      <a:pt x="677" y="198"/>
                    </a:lnTo>
                    <a:lnTo>
                      <a:pt x="680" y="198"/>
                    </a:lnTo>
                    <a:lnTo>
                      <a:pt x="682" y="195"/>
                    </a:lnTo>
                    <a:lnTo>
                      <a:pt x="682" y="184"/>
                    </a:lnTo>
                    <a:lnTo>
                      <a:pt x="682" y="187"/>
                    </a:lnTo>
                    <a:lnTo>
                      <a:pt x="680" y="187"/>
                    </a:lnTo>
                    <a:lnTo>
                      <a:pt x="680" y="184"/>
                    </a:lnTo>
                    <a:lnTo>
                      <a:pt x="677" y="181"/>
                    </a:lnTo>
                    <a:lnTo>
                      <a:pt x="671" y="184"/>
                    </a:lnTo>
                    <a:lnTo>
                      <a:pt x="671" y="190"/>
                    </a:lnTo>
                    <a:lnTo>
                      <a:pt x="668" y="187"/>
                    </a:lnTo>
                    <a:lnTo>
                      <a:pt x="668" y="181"/>
                    </a:lnTo>
                    <a:lnTo>
                      <a:pt x="663" y="176"/>
                    </a:lnTo>
                    <a:lnTo>
                      <a:pt x="666" y="179"/>
                    </a:lnTo>
                    <a:lnTo>
                      <a:pt x="666" y="173"/>
                    </a:lnTo>
                    <a:lnTo>
                      <a:pt x="663" y="170"/>
                    </a:lnTo>
                    <a:lnTo>
                      <a:pt x="660" y="165"/>
                    </a:lnTo>
                    <a:lnTo>
                      <a:pt x="663" y="165"/>
                    </a:lnTo>
                    <a:lnTo>
                      <a:pt x="663" y="167"/>
                    </a:lnTo>
                    <a:lnTo>
                      <a:pt x="666" y="167"/>
                    </a:lnTo>
                    <a:lnTo>
                      <a:pt x="666" y="165"/>
                    </a:lnTo>
                    <a:lnTo>
                      <a:pt x="668" y="165"/>
                    </a:lnTo>
                    <a:lnTo>
                      <a:pt x="668" y="167"/>
                    </a:lnTo>
                    <a:lnTo>
                      <a:pt x="674" y="165"/>
                    </a:lnTo>
                    <a:lnTo>
                      <a:pt x="671" y="159"/>
                    </a:lnTo>
                    <a:lnTo>
                      <a:pt x="677" y="159"/>
                    </a:lnTo>
                    <a:lnTo>
                      <a:pt x="677" y="162"/>
                    </a:lnTo>
                    <a:lnTo>
                      <a:pt x="680" y="165"/>
                    </a:lnTo>
                    <a:lnTo>
                      <a:pt x="677" y="162"/>
                    </a:lnTo>
                    <a:lnTo>
                      <a:pt x="682" y="162"/>
                    </a:lnTo>
                    <a:lnTo>
                      <a:pt x="682" y="165"/>
                    </a:lnTo>
                    <a:lnTo>
                      <a:pt x="688" y="167"/>
                    </a:lnTo>
                    <a:lnTo>
                      <a:pt x="685" y="170"/>
                    </a:lnTo>
                    <a:lnTo>
                      <a:pt x="688" y="170"/>
                    </a:lnTo>
                    <a:lnTo>
                      <a:pt x="694" y="167"/>
                    </a:lnTo>
                    <a:lnTo>
                      <a:pt x="694" y="170"/>
                    </a:lnTo>
                    <a:lnTo>
                      <a:pt x="691" y="173"/>
                    </a:lnTo>
                    <a:lnTo>
                      <a:pt x="691" y="176"/>
                    </a:lnTo>
                    <a:lnTo>
                      <a:pt x="691" y="179"/>
                    </a:lnTo>
                    <a:lnTo>
                      <a:pt x="691" y="181"/>
                    </a:lnTo>
                    <a:lnTo>
                      <a:pt x="694" y="179"/>
                    </a:lnTo>
                    <a:lnTo>
                      <a:pt x="694" y="181"/>
                    </a:lnTo>
                    <a:lnTo>
                      <a:pt x="694" y="176"/>
                    </a:lnTo>
                    <a:lnTo>
                      <a:pt x="702" y="170"/>
                    </a:lnTo>
                    <a:lnTo>
                      <a:pt x="702" y="173"/>
                    </a:lnTo>
                    <a:lnTo>
                      <a:pt x="702" y="181"/>
                    </a:lnTo>
                    <a:lnTo>
                      <a:pt x="699" y="187"/>
                    </a:lnTo>
                    <a:lnTo>
                      <a:pt x="699" y="193"/>
                    </a:lnTo>
                    <a:lnTo>
                      <a:pt x="702" y="195"/>
                    </a:lnTo>
                    <a:lnTo>
                      <a:pt x="696" y="201"/>
                    </a:lnTo>
                    <a:lnTo>
                      <a:pt x="696" y="204"/>
                    </a:lnTo>
                    <a:lnTo>
                      <a:pt x="702" y="204"/>
                    </a:lnTo>
                    <a:lnTo>
                      <a:pt x="702" y="212"/>
                    </a:lnTo>
                    <a:lnTo>
                      <a:pt x="705" y="206"/>
                    </a:lnTo>
                    <a:lnTo>
                      <a:pt x="707" y="209"/>
                    </a:lnTo>
                    <a:lnTo>
                      <a:pt x="710" y="206"/>
                    </a:lnTo>
                    <a:lnTo>
                      <a:pt x="710" y="209"/>
                    </a:lnTo>
                    <a:lnTo>
                      <a:pt x="707" y="209"/>
                    </a:lnTo>
                    <a:lnTo>
                      <a:pt x="707" y="212"/>
                    </a:lnTo>
                    <a:lnTo>
                      <a:pt x="713" y="215"/>
                    </a:lnTo>
                    <a:lnTo>
                      <a:pt x="713" y="209"/>
                    </a:lnTo>
                    <a:lnTo>
                      <a:pt x="713" y="204"/>
                    </a:lnTo>
                    <a:lnTo>
                      <a:pt x="713" y="201"/>
                    </a:lnTo>
                    <a:lnTo>
                      <a:pt x="710" y="195"/>
                    </a:lnTo>
                    <a:lnTo>
                      <a:pt x="707" y="193"/>
                    </a:lnTo>
                    <a:lnTo>
                      <a:pt x="710" y="181"/>
                    </a:lnTo>
                    <a:lnTo>
                      <a:pt x="707" y="179"/>
                    </a:lnTo>
                    <a:lnTo>
                      <a:pt x="710" y="179"/>
                    </a:lnTo>
                    <a:lnTo>
                      <a:pt x="713" y="179"/>
                    </a:lnTo>
                    <a:lnTo>
                      <a:pt x="716" y="179"/>
                    </a:lnTo>
                    <a:lnTo>
                      <a:pt x="721" y="181"/>
                    </a:lnTo>
                    <a:lnTo>
                      <a:pt x="721" y="179"/>
                    </a:lnTo>
                    <a:lnTo>
                      <a:pt x="724" y="176"/>
                    </a:lnTo>
                    <a:lnTo>
                      <a:pt x="724" y="173"/>
                    </a:lnTo>
                    <a:lnTo>
                      <a:pt x="730" y="173"/>
                    </a:lnTo>
                    <a:lnTo>
                      <a:pt x="730" y="170"/>
                    </a:lnTo>
                    <a:lnTo>
                      <a:pt x="730" y="165"/>
                    </a:lnTo>
                    <a:lnTo>
                      <a:pt x="738" y="159"/>
                    </a:lnTo>
                    <a:lnTo>
                      <a:pt x="741" y="156"/>
                    </a:lnTo>
                    <a:lnTo>
                      <a:pt x="735" y="156"/>
                    </a:lnTo>
                    <a:lnTo>
                      <a:pt x="735" y="142"/>
                    </a:lnTo>
                    <a:lnTo>
                      <a:pt x="733" y="140"/>
                    </a:lnTo>
                    <a:lnTo>
                      <a:pt x="733" y="142"/>
                    </a:lnTo>
                    <a:lnTo>
                      <a:pt x="730" y="145"/>
                    </a:lnTo>
                    <a:lnTo>
                      <a:pt x="733" y="145"/>
                    </a:lnTo>
                    <a:lnTo>
                      <a:pt x="735" y="142"/>
                    </a:lnTo>
                    <a:lnTo>
                      <a:pt x="730" y="151"/>
                    </a:lnTo>
                    <a:lnTo>
                      <a:pt x="724" y="151"/>
                    </a:lnTo>
                    <a:lnTo>
                      <a:pt x="721" y="151"/>
                    </a:lnTo>
                    <a:lnTo>
                      <a:pt x="721" y="148"/>
                    </a:lnTo>
                    <a:lnTo>
                      <a:pt x="721" y="142"/>
                    </a:lnTo>
                    <a:lnTo>
                      <a:pt x="724" y="142"/>
                    </a:lnTo>
                    <a:lnTo>
                      <a:pt x="727" y="142"/>
                    </a:lnTo>
                    <a:lnTo>
                      <a:pt x="730" y="137"/>
                    </a:lnTo>
                    <a:lnTo>
                      <a:pt x="730" y="134"/>
                    </a:lnTo>
                    <a:lnTo>
                      <a:pt x="727" y="134"/>
                    </a:lnTo>
                    <a:lnTo>
                      <a:pt x="727" y="128"/>
                    </a:lnTo>
                    <a:lnTo>
                      <a:pt x="730" y="126"/>
                    </a:lnTo>
                    <a:lnTo>
                      <a:pt x="735" y="123"/>
                    </a:lnTo>
                    <a:lnTo>
                      <a:pt x="735" y="120"/>
                    </a:lnTo>
                    <a:lnTo>
                      <a:pt x="733" y="126"/>
                    </a:lnTo>
                    <a:lnTo>
                      <a:pt x="733" y="131"/>
                    </a:lnTo>
                    <a:lnTo>
                      <a:pt x="735" y="131"/>
                    </a:lnTo>
                    <a:lnTo>
                      <a:pt x="738" y="128"/>
                    </a:lnTo>
                    <a:lnTo>
                      <a:pt x="738" y="123"/>
                    </a:lnTo>
                    <a:lnTo>
                      <a:pt x="738" y="117"/>
                    </a:lnTo>
                    <a:lnTo>
                      <a:pt x="735" y="117"/>
                    </a:lnTo>
                    <a:lnTo>
                      <a:pt x="730" y="120"/>
                    </a:lnTo>
                    <a:lnTo>
                      <a:pt x="727" y="120"/>
                    </a:lnTo>
                    <a:lnTo>
                      <a:pt x="721" y="112"/>
                    </a:lnTo>
                    <a:lnTo>
                      <a:pt x="721" y="115"/>
                    </a:lnTo>
                    <a:lnTo>
                      <a:pt x="719" y="115"/>
                    </a:lnTo>
                    <a:lnTo>
                      <a:pt x="719" y="112"/>
                    </a:lnTo>
                    <a:lnTo>
                      <a:pt x="713" y="109"/>
                    </a:lnTo>
                    <a:lnTo>
                      <a:pt x="713" y="106"/>
                    </a:lnTo>
                    <a:lnTo>
                      <a:pt x="705" y="106"/>
                    </a:lnTo>
                    <a:lnTo>
                      <a:pt x="702" y="103"/>
                    </a:lnTo>
                    <a:lnTo>
                      <a:pt x="699" y="101"/>
                    </a:lnTo>
                    <a:lnTo>
                      <a:pt x="702" y="101"/>
                    </a:lnTo>
                    <a:lnTo>
                      <a:pt x="696" y="98"/>
                    </a:lnTo>
                    <a:lnTo>
                      <a:pt x="694" y="95"/>
                    </a:lnTo>
                    <a:lnTo>
                      <a:pt x="694" y="92"/>
                    </a:lnTo>
                    <a:lnTo>
                      <a:pt x="694" y="78"/>
                    </a:lnTo>
                    <a:lnTo>
                      <a:pt x="694" y="76"/>
                    </a:lnTo>
                    <a:lnTo>
                      <a:pt x="696" y="76"/>
                    </a:lnTo>
                    <a:lnTo>
                      <a:pt x="699" y="70"/>
                    </a:lnTo>
                    <a:lnTo>
                      <a:pt x="702" y="64"/>
                    </a:lnTo>
                    <a:lnTo>
                      <a:pt x="699" y="67"/>
                    </a:lnTo>
                    <a:lnTo>
                      <a:pt x="696" y="59"/>
                    </a:lnTo>
                    <a:lnTo>
                      <a:pt x="694" y="56"/>
                    </a:lnTo>
                    <a:lnTo>
                      <a:pt x="696" y="51"/>
                    </a:lnTo>
                    <a:lnTo>
                      <a:pt x="696" y="45"/>
                    </a:lnTo>
                    <a:lnTo>
                      <a:pt x="696" y="37"/>
                    </a:lnTo>
                    <a:lnTo>
                      <a:pt x="699" y="34"/>
                    </a:lnTo>
                    <a:lnTo>
                      <a:pt x="699" y="37"/>
                    </a:lnTo>
                    <a:lnTo>
                      <a:pt x="699" y="34"/>
                    </a:lnTo>
                    <a:lnTo>
                      <a:pt x="699" y="31"/>
                    </a:lnTo>
                    <a:lnTo>
                      <a:pt x="702" y="31"/>
                    </a:lnTo>
                    <a:lnTo>
                      <a:pt x="707" y="37"/>
                    </a:lnTo>
                    <a:lnTo>
                      <a:pt x="710" y="31"/>
                    </a:lnTo>
                    <a:lnTo>
                      <a:pt x="707" y="25"/>
                    </a:lnTo>
                    <a:lnTo>
                      <a:pt x="705" y="25"/>
                    </a:lnTo>
                    <a:lnTo>
                      <a:pt x="705" y="20"/>
                    </a:lnTo>
                    <a:lnTo>
                      <a:pt x="710" y="12"/>
                    </a:lnTo>
                    <a:lnTo>
                      <a:pt x="713" y="3"/>
                    </a:lnTo>
                    <a:lnTo>
                      <a:pt x="716" y="0"/>
                    </a:lnTo>
                    <a:lnTo>
                      <a:pt x="719" y="3"/>
                    </a:lnTo>
                    <a:lnTo>
                      <a:pt x="721" y="0"/>
                    </a:lnTo>
                    <a:lnTo>
                      <a:pt x="724" y="6"/>
                    </a:lnTo>
                    <a:lnTo>
                      <a:pt x="724" y="9"/>
                    </a:lnTo>
                    <a:lnTo>
                      <a:pt x="724" y="12"/>
                    </a:lnTo>
                    <a:lnTo>
                      <a:pt x="727" y="12"/>
                    </a:lnTo>
                    <a:lnTo>
                      <a:pt x="727" y="17"/>
                    </a:lnTo>
                    <a:lnTo>
                      <a:pt x="730" y="14"/>
                    </a:lnTo>
                    <a:lnTo>
                      <a:pt x="730" y="12"/>
                    </a:lnTo>
                    <a:lnTo>
                      <a:pt x="733" y="14"/>
                    </a:lnTo>
                    <a:lnTo>
                      <a:pt x="738" y="12"/>
                    </a:lnTo>
                    <a:lnTo>
                      <a:pt x="735" y="20"/>
                    </a:lnTo>
                    <a:lnTo>
                      <a:pt x="738" y="23"/>
                    </a:lnTo>
                    <a:lnTo>
                      <a:pt x="741" y="23"/>
                    </a:lnTo>
                    <a:lnTo>
                      <a:pt x="749" y="34"/>
                    </a:lnTo>
                    <a:lnTo>
                      <a:pt x="749" y="56"/>
                    </a:lnTo>
                    <a:lnTo>
                      <a:pt x="749" y="59"/>
                    </a:lnTo>
                    <a:lnTo>
                      <a:pt x="752" y="59"/>
                    </a:lnTo>
                    <a:lnTo>
                      <a:pt x="752" y="64"/>
                    </a:lnTo>
                    <a:lnTo>
                      <a:pt x="758" y="64"/>
                    </a:lnTo>
                    <a:lnTo>
                      <a:pt x="760" y="67"/>
                    </a:lnTo>
                    <a:lnTo>
                      <a:pt x="760" y="73"/>
                    </a:lnTo>
                    <a:lnTo>
                      <a:pt x="763" y="78"/>
                    </a:lnTo>
                    <a:lnTo>
                      <a:pt x="763" y="84"/>
                    </a:lnTo>
                    <a:lnTo>
                      <a:pt x="766" y="81"/>
                    </a:lnTo>
                    <a:lnTo>
                      <a:pt x="766" y="78"/>
                    </a:lnTo>
                    <a:lnTo>
                      <a:pt x="769" y="81"/>
                    </a:lnTo>
                    <a:lnTo>
                      <a:pt x="769" y="87"/>
                    </a:lnTo>
                    <a:lnTo>
                      <a:pt x="772" y="90"/>
                    </a:lnTo>
                    <a:lnTo>
                      <a:pt x="766" y="90"/>
                    </a:lnTo>
                    <a:lnTo>
                      <a:pt x="760" y="87"/>
                    </a:lnTo>
                    <a:lnTo>
                      <a:pt x="758" y="87"/>
                    </a:lnTo>
                    <a:lnTo>
                      <a:pt x="758" y="90"/>
                    </a:lnTo>
                    <a:lnTo>
                      <a:pt x="758" y="92"/>
                    </a:lnTo>
                    <a:lnTo>
                      <a:pt x="763" y="92"/>
                    </a:lnTo>
                    <a:lnTo>
                      <a:pt x="763" y="98"/>
                    </a:lnTo>
                    <a:lnTo>
                      <a:pt x="760" y="101"/>
                    </a:lnTo>
                    <a:lnTo>
                      <a:pt x="758" y="101"/>
                    </a:lnTo>
                    <a:lnTo>
                      <a:pt x="758" y="103"/>
                    </a:lnTo>
                    <a:lnTo>
                      <a:pt x="755" y="103"/>
                    </a:lnTo>
                    <a:lnTo>
                      <a:pt x="755" y="106"/>
                    </a:lnTo>
                    <a:lnTo>
                      <a:pt x="752" y="106"/>
                    </a:lnTo>
                    <a:lnTo>
                      <a:pt x="755" y="109"/>
                    </a:lnTo>
                    <a:lnTo>
                      <a:pt x="752" y="109"/>
                    </a:lnTo>
                    <a:lnTo>
                      <a:pt x="758" y="109"/>
                    </a:lnTo>
                    <a:lnTo>
                      <a:pt x="760" y="117"/>
                    </a:lnTo>
                    <a:lnTo>
                      <a:pt x="766" y="117"/>
                    </a:lnTo>
                    <a:lnTo>
                      <a:pt x="769" y="117"/>
                    </a:lnTo>
                    <a:lnTo>
                      <a:pt x="772" y="112"/>
                    </a:lnTo>
                    <a:lnTo>
                      <a:pt x="774" y="112"/>
                    </a:lnTo>
                    <a:lnTo>
                      <a:pt x="774" y="115"/>
                    </a:lnTo>
                    <a:lnTo>
                      <a:pt x="772" y="117"/>
                    </a:lnTo>
                    <a:lnTo>
                      <a:pt x="774" y="117"/>
                    </a:lnTo>
                    <a:lnTo>
                      <a:pt x="777" y="120"/>
                    </a:lnTo>
                    <a:lnTo>
                      <a:pt x="777" y="117"/>
                    </a:lnTo>
                    <a:lnTo>
                      <a:pt x="780" y="120"/>
                    </a:lnTo>
                    <a:lnTo>
                      <a:pt x="783" y="117"/>
                    </a:lnTo>
                    <a:lnTo>
                      <a:pt x="783" y="120"/>
                    </a:lnTo>
                    <a:lnTo>
                      <a:pt x="780" y="126"/>
                    </a:lnTo>
                    <a:lnTo>
                      <a:pt x="777" y="123"/>
                    </a:lnTo>
                    <a:lnTo>
                      <a:pt x="774" y="126"/>
                    </a:lnTo>
                    <a:lnTo>
                      <a:pt x="780" y="134"/>
                    </a:lnTo>
                    <a:lnTo>
                      <a:pt x="783" y="134"/>
                    </a:lnTo>
                    <a:lnTo>
                      <a:pt x="783" y="137"/>
                    </a:lnTo>
                    <a:lnTo>
                      <a:pt x="785" y="142"/>
                    </a:lnTo>
                    <a:lnTo>
                      <a:pt x="788" y="148"/>
                    </a:lnTo>
                    <a:lnTo>
                      <a:pt x="785" y="159"/>
                    </a:lnTo>
                    <a:lnTo>
                      <a:pt x="791" y="170"/>
                    </a:lnTo>
                    <a:lnTo>
                      <a:pt x="797" y="162"/>
                    </a:lnTo>
                    <a:lnTo>
                      <a:pt x="797" y="154"/>
                    </a:lnTo>
                    <a:lnTo>
                      <a:pt x="797" y="140"/>
                    </a:lnTo>
                    <a:lnTo>
                      <a:pt x="802" y="134"/>
                    </a:lnTo>
                    <a:lnTo>
                      <a:pt x="802" y="128"/>
                    </a:lnTo>
                    <a:lnTo>
                      <a:pt x="808" y="128"/>
                    </a:lnTo>
                    <a:lnTo>
                      <a:pt x="810" y="128"/>
                    </a:lnTo>
                    <a:lnTo>
                      <a:pt x="810" y="134"/>
                    </a:lnTo>
                    <a:lnTo>
                      <a:pt x="816" y="140"/>
                    </a:lnTo>
                    <a:lnTo>
                      <a:pt x="824" y="145"/>
                    </a:lnTo>
                    <a:lnTo>
                      <a:pt x="827" y="170"/>
                    </a:lnTo>
                    <a:lnTo>
                      <a:pt x="827" y="173"/>
                    </a:lnTo>
                    <a:lnTo>
                      <a:pt x="824" y="170"/>
                    </a:lnTo>
                    <a:lnTo>
                      <a:pt x="822" y="170"/>
                    </a:lnTo>
                    <a:lnTo>
                      <a:pt x="822" y="165"/>
                    </a:lnTo>
                    <a:lnTo>
                      <a:pt x="819" y="173"/>
                    </a:lnTo>
                    <a:lnTo>
                      <a:pt x="822" y="176"/>
                    </a:lnTo>
                    <a:lnTo>
                      <a:pt x="819" y="184"/>
                    </a:lnTo>
                    <a:lnTo>
                      <a:pt x="833" y="209"/>
                    </a:lnTo>
                    <a:lnTo>
                      <a:pt x="836" y="215"/>
                    </a:lnTo>
                    <a:lnTo>
                      <a:pt x="841" y="212"/>
                    </a:lnTo>
                    <a:lnTo>
                      <a:pt x="841" y="206"/>
                    </a:lnTo>
                    <a:lnTo>
                      <a:pt x="844" y="206"/>
                    </a:lnTo>
                    <a:lnTo>
                      <a:pt x="847" y="206"/>
                    </a:lnTo>
                    <a:lnTo>
                      <a:pt x="849" y="195"/>
                    </a:lnTo>
                    <a:lnTo>
                      <a:pt x="852" y="187"/>
                    </a:lnTo>
                    <a:lnTo>
                      <a:pt x="855" y="184"/>
                    </a:lnTo>
                    <a:lnTo>
                      <a:pt x="858" y="173"/>
                    </a:lnTo>
                    <a:lnTo>
                      <a:pt x="858" y="170"/>
                    </a:lnTo>
                    <a:lnTo>
                      <a:pt x="861" y="167"/>
                    </a:lnTo>
                    <a:lnTo>
                      <a:pt x="861" y="154"/>
                    </a:lnTo>
                    <a:lnTo>
                      <a:pt x="863" y="154"/>
                    </a:lnTo>
                    <a:lnTo>
                      <a:pt x="866" y="154"/>
                    </a:lnTo>
                    <a:lnTo>
                      <a:pt x="866" y="151"/>
                    </a:lnTo>
                    <a:lnTo>
                      <a:pt x="869" y="151"/>
                    </a:lnTo>
                    <a:lnTo>
                      <a:pt x="872" y="151"/>
                    </a:lnTo>
                    <a:lnTo>
                      <a:pt x="875" y="151"/>
                    </a:lnTo>
                    <a:lnTo>
                      <a:pt x="877" y="151"/>
                    </a:lnTo>
                    <a:lnTo>
                      <a:pt x="877" y="148"/>
                    </a:lnTo>
                    <a:lnTo>
                      <a:pt x="872" y="148"/>
                    </a:lnTo>
                    <a:lnTo>
                      <a:pt x="872" y="145"/>
                    </a:lnTo>
                    <a:lnTo>
                      <a:pt x="872" y="142"/>
                    </a:lnTo>
                    <a:lnTo>
                      <a:pt x="875" y="142"/>
                    </a:lnTo>
                    <a:lnTo>
                      <a:pt x="875" y="140"/>
                    </a:lnTo>
                    <a:lnTo>
                      <a:pt x="877" y="140"/>
                    </a:lnTo>
                    <a:lnTo>
                      <a:pt x="877" y="137"/>
                    </a:lnTo>
                    <a:lnTo>
                      <a:pt x="875" y="137"/>
                    </a:lnTo>
                    <a:lnTo>
                      <a:pt x="875" y="134"/>
                    </a:lnTo>
                    <a:lnTo>
                      <a:pt x="869" y="134"/>
                    </a:lnTo>
                    <a:lnTo>
                      <a:pt x="866" y="131"/>
                    </a:lnTo>
                    <a:lnTo>
                      <a:pt x="866" y="128"/>
                    </a:lnTo>
                    <a:lnTo>
                      <a:pt x="866" y="126"/>
                    </a:lnTo>
                    <a:lnTo>
                      <a:pt x="866" y="123"/>
                    </a:lnTo>
                    <a:lnTo>
                      <a:pt x="866" y="117"/>
                    </a:lnTo>
                    <a:lnTo>
                      <a:pt x="866" y="115"/>
                    </a:lnTo>
                    <a:lnTo>
                      <a:pt x="866" y="112"/>
                    </a:lnTo>
                    <a:lnTo>
                      <a:pt x="866" y="103"/>
                    </a:lnTo>
                    <a:lnTo>
                      <a:pt x="872" y="106"/>
                    </a:lnTo>
                    <a:lnTo>
                      <a:pt x="875" y="103"/>
                    </a:lnTo>
                    <a:lnTo>
                      <a:pt x="880" y="103"/>
                    </a:lnTo>
                    <a:lnTo>
                      <a:pt x="886" y="103"/>
                    </a:lnTo>
                    <a:lnTo>
                      <a:pt x="888" y="106"/>
                    </a:lnTo>
                    <a:lnTo>
                      <a:pt x="897" y="112"/>
                    </a:lnTo>
                    <a:lnTo>
                      <a:pt x="902" y="109"/>
                    </a:lnTo>
                    <a:lnTo>
                      <a:pt x="905" y="112"/>
                    </a:lnTo>
                    <a:lnTo>
                      <a:pt x="908" y="112"/>
                    </a:lnTo>
                    <a:lnTo>
                      <a:pt x="911" y="109"/>
                    </a:lnTo>
                    <a:lnTo>
                      <a:pt x="911" y="112"/>
                    </a:lnTo>
                    <a:lnTo>
                      <a:pt x="911" y="120"/>
                    </a:lnTo>
                    <a:lnTo>
                      <a:pt x="908" y="120"/>
                    </a:lnTo>
                    <a:lnTo>
                      <a:pt x="911" y="120"/>
                    </a:lnTo>
                    <a:lnTo>
                      <a:pt x="916" y="128"/>
                    </a:lnTo>
                    <a:lnTo>
                      <a:pt x="916" y="131"/>
                    </a:lnTo>
                    <a:lnTo>
                      <a:pt x="925" y="131"/>
                    </a:lnTo>
                    <a:lnTo>
                      <a:pt x="927" y="131"/>
                    </a:lnTo>
                    <a:lnTo>
                      <a:pt x="930" y="134"/>
                    </a:lnTo>
                    <a:lnTo>
                      <a:pt x="930" y="137"/>
                    </a:lnTo>
                    <a:lnTo>
                      <a:pt x="927" y="140"/>
                    </a:lnTo>
                    <a:lnTo>
                      <a:pt x="922" y="142"/>
                    </a:lnTo>
                    <a:lnTo>
                      <a:pt x="922" y="145"/>
                    </a:lnTo>
                    <a:lnTo>
                      <a:pt x="930" y="148"/>
                    </a:lnTo>
                    <a:lnTo>
                      <a:pt x="930" y="151"/>
                    </a:lnTo>
                    <a:lnTo>
                      <a:pt x="930" y="156"/>
                    </a:lnTo>
                    <a:lnTo>
                      <a:pt x="930" y="159"/>
                    </a:lnTo>
                    <a:lnTo>
                      <a:pt x="927" y="162"/>
                    </a:lnTo>
                    <a:lnTo>
                      <a:pt x="925" y="162"/>
                    </a:lnTo>
                    <a:lnTo>
                      <a:pt x="922" y="165"/>
                    </a:lnTo>
                    <a:lnTo>
                      <a:pt x="919" y="165"/>
                    </a:lnTo>
                    <a:lnTo>
                      <a:pt x="919" y="159"/>
                    </a:lnTo>
                    <a:lnTo>
                      <a:pt x="916" y="162"/>
                    </a:lnTo>
                    <a:lnTo>
                      <a:pt x="911" y="162"/>
                    </a:lnTo>
                    <a:lnTo>
                      <a:pt x="911" y="165"/>
                    </a:lnTo>
                    <a:lnTo>
                      <a:pt x="916" y="170"/>
                    </a:lnTo>
                    <a:lnTo>
                      <a:pt x="914" y="170"/>
                    </a:lnTo>
                    <a:lnTo>
                      <a:pt x="916" y="170"/>
                    </a:lnTo>
                    <a:lnTo>
                      <a:pt x="916" y="176"/>
                    </a:lnTo>
                    <a:lnTo>
                      <a:pt x="922" y="173"/>
                    </a:lnTo>
                    <a:lnTo>
                      <a:pt x="919" y="184"/>
                    </a:lnTo>
                    <a:lnTo>
                      <a:pt x="919" y="187"/>
                    </a:lnTo>
                    <a:lnTo>
                      <a:pt x="930" y="204"/>
                    </a:lnTo>
                    <a:lnTo>
                      <a:pt x="930" y="206"/>
                    </a:lnTo>
                    <a:lnTo>
                      <a:pt x="930" y="212"/>
                    </a:lnTo>
                    <a:lnTo>
                      <a:pt x="930" y="215"/>
                    </a:lnTo>
                    <a:lnTo>
                      <a:pt x="930" y="218"/>
                    </a:lnTo>
                    <a:lnTo>
                      <a:pt x="930" y="220"/>
                    </a:lnTo>
                    <a:lnTo>
                      <a:pt x="925" y="220"/>
                    </a:lnTo>
                    <a:lnTo>
                      <a:pt x="919" y="226"/>
                    </a:lnTo>
                    <a:lnTo>
                      <a:pt x="919" y="229"/>
                    </a:lnTo>
                    <a:lnTo>
                      <a:pt x="911" y="240"/>
                    </a:lnTo>
                    <a:lnTo>
                      <a:pt x="905" y="240"/>
                    </a:lnTo>
                    <a:lnTo>
                      <a:pt x="905" y="243"/>
                    </a:lnTo>
                    <a:lnTo>
                      <a:pt x="900" y="248"/>
                    </a:lnTo>
                    <a:lnTo>
                      <a:pt x="897" y="245"/>
                    </a:lnTo>
                    <a:lnTo>
                      <a:pt x="897" y="243"/>
                    </a:lnTo>
                    <a:lnTo>
                      <a:pt x="891" y="237"/>
                    </a:lnTo>
                    <a:lnTo>
                      <a:pt x="888" y="234"/>
                    </a:lnTo>
                    <a:lnTo>
                      <a:pt x="886" y="237"/>
                    </a:lnTo>
                    <a:lnTo>
                      <a:pt x="886" y="240"/>
                    </a:lnTo>
                    <a:lnTo>
                      <a:pt x="891" y="245"/>
                    </a:lnTo>
                    <a:lnTo>
                      <a:pt x="891" y="248"/>
                    </a:lnTo>
                    <a:lnTo>
                      <a:pt x="894" y="254"/>
                    </a:lnTo>
                    <a:lnTo>
                      <a:pt x="894" y="257"/>
                    </a:lnTo>
                    <a:lnTo>
                      <a:pt x="891" y="254"/>
                    </a:lnTo>
                    <a:lnTo>
                      <a:pt x="888" y="254"/>
                    </a:lnTo>
                    <a:lnTo>
                      <a:pt x="886" y="248"/>
                    </a:lnTo>
                    <a:lnTo>
                      <a:pt x="883" y="248"/>
                    </a:lnTo>
                    <a:lnTo>
                      <a:pt x="880" y="248"/>
                    </a:lnTo>
                    <a:lnTo>
                      <a:pt x="880" y="254"/>
                    </a:lnTo>
                    <a:lnTo>
                      <a:pt x="877" y="251"/>
                    </a:lnTo>
                    <a:lnTo>
                      <a:pt x="875" y="254"/>
                    </a:lnTo>
                    <a:lnTo>
                      <a:pt x="872" y="251"/>
                    </a:lnTo>
                    <a:lnTo>
                      <a:pt x="869" y="240"/>
                    </a:lnTo>
                    <a:lnTo>
                      <a:pt x="866" y="240"/>
                    </a:lnTo>
                    <a:lnTo>
                      <a:pt x="861" y="243"/>
                    </a:lnTo>
                    <a:lnTo>
                      <a:pt x="858" y="243"/>
                    </a:lnTo>
                    <a:lnTo>
                      <a:pt x="849" y="240"/>
                    </a:lnTo>
                    <a:lnTo>
                      <a:pt x="847" y="243"/>
                    </a:lnTo>
                    <a:lnTo>
                      <a:pt x="847" y="245"/>
                    </a:lnTo>
                    <a:lnTo>
                      <a:pt x="847" y="248"/>
                    </a:lnTo>
                    <a:lnTo>
                      <a:pt x="852" y="251"/>
                    </a:lnTo>
                    <a:lnTo>
                      <a:pt x="855" y="251"/>
                    </a:lnTo>
                    <a:lnTo>
                      <a:pt x="858" y="254"/>
                    </a:lnTo>
                    <a:lnTo>
                      <a:pt x="858" y="259"/>
                    </a:lnTo>
                    <a:lnTo>
                      <a:pt x="855" y="259"/>
                    </a:lnTo>
                    <a:lnTo>
                      <a:pt x="855" y="262"/>
                    </a:lnTo>
                    <a:lnTo>
                      <a:pt x="849" y="273"/>
                    </a:lnTo>
                    <a:lnTo>
                      <a:pt x="847" y="276"/>
                    </a:lnTo>
                    <a:lnTo>
                      <a:pt x="844" y="279"/>
                    </a:lnTo>
                    <a:lnTo>
                      <a:pt x="841" y="284"/>
                    </a:lnTo>
                    <a:lnTo>
                      <a:pt x="827" y="287"/>
                    </a:lnTo>
                    <a:lnTo>
                      <a:pt x="824" y="282"/>
                    </a:lnTo>
                    <a:lnTo>
                      <a:pt x="816" y="273"/>
                    </a:lnTo>
                    <a:lnTo>
                      <a:pt x="810" y="271"/>
                    </a:lnTo>
                    <a:lnTo>
                      <a:pt x="802" y="268"/>
                    </a:lnTo>
                    <a:lnTo>
                      <a:pt x="802" y="265"/>
                    </a:lnTo>
                    <a:lnTo>
                      <a:pt x="799" y="268"/>
                    </a:lnTo>
                    <a:lnTo>
                      <a:pt x="794" y="265"/>
                    </a:lnTo>
                    <a:lnTo>
                      <a:pt x="794" y="268"/>
                    </a:lnTo>
                    <a:lnTo>
                      <a:pt x="799" y="273"/>
                    </a:lnTo>
                    <a:lnTo>
                      <a:pt x="810" y="287"/>
                    </a:lnTo>
                    <a:lnTo>
                      <a:pt x="824" y="290"/>
                    </a:lnTo>
                    <a:lnTo>
                      <a:pt x="827" y="290"/>
                    </a:lnTo>
                    <a:lnTo>
                      <a:pt x="841" y="290"/>
                    </a:lnTo>
                    <a:lnTo>
                      <a:pt x="841" y="293"/>
                    </a:lnTo>
                    <a:lnTo>
                      <a:pt x="844" y="293"/>
                    </a:lnTo>
                    <a:lnTo>
                      <a:pt x="841" y="298"/>
                    </a:lnTo>
                    <a:lnTo>
                      <a:pt x="841" y="301"/>
                    </a:lnTo>
                    <a:lnTo>
                      <a:pt x="838" y="304"/>
                    </a:lnTo>
                    <a:lnTo>
                      <a:pt x="838" y="309"/>
                    </a:lnTo>
                    <a:lnTo>
                      <a:pt x="836" y="309"/>
                    </a:lnTo>
                    <a:lnTo>
                      <a:pt x="833" y="315"/>
                    </a:lnTo>
                    <a:lnTo>
                      <a:pt x="830" y="318"/>
                    </a:lnTo>
                    <a:lnTo>
                      <a:pt x="830" y="321"/>
                    </a:lnTo>
                    <a:lnTo>
                      <a:pt x="824" y="329"/>
                    </a:lnTo>
                    <a:lnTo>
                      <a:pt x="822" y="332"/>
                    </a:lnTo>
                    <a:lnTo>
                      <a:pt x="816" y="335"/>
                    </a:lnTo>
                    <a:lnTo>
                      <a:pt x="810" y="335"/>
                    </a:lnTo>
                    <a:lnTo>
                      <a:pt x="810" y="337"/>
                    </a:lnTo>
                    <a:lnTo>
                      <a:pt x="802" y="332"/>
                    </a:lnTo>
                    <a:lnTo>
                      <a:pt x="802" y="335"/>
                    </a:lnTo>
                    <a:lnTo>
                      <a:pt x="802" y="332"/>
                    </a:lnTo>
                    <a:lnTo>
                      <a:pt x="799" y="332"/>
                    </a:lnTo>
                    <a:lnTo>
                      <a:pt x="799" y="329"/>
                    </a:lnTo>
                    <a:lnTo>
                      <a:pt x="797" y="329"/>
                    </a:lnTo>
                    <a:lnTo>
                      <a:pt x="797" y="332"/>
                    </a:lnTo>
                    <a:lnTo>
                      <a:pt x="797" y="335"/>
                    </a:lnTo>
                    <a:lnTo>
                      <a:pt x="799" y="337"/>
                    </a:lnTo>
                    <a:lnTo>
                      <a:pt x="797" y="337"/>
                    </a:lnTo>
                    <a:lnTo>
                      <a:pt x="794" y="337"/>
                    </a:lnTo>
                    <a:lnTo>
                      <a:pt x="794" y="340"/>
                    </a:lnTo>
                    <a:lnTo>
                      <a:pt x="797" y="343"/>
                    </a:lnTo>
                    <a:lnTo>
                      <a:pt x="794" y="348"/>
                    </a:lnTo>
                    <a:lnTo>
                      <a:pt x="791" y="348"/>
                    </a:lnTo>
                    <a:lnTo>
                      <a:pt x="791" y="351"/>
                    </a:lnTo>
                    <a:lnTo>
                      <a:pt x="788" y="351"/>
                    </a:lnTo>
                    <a:lnTo>
                      <a:pt x="785" y="351"/>
                    </a:lnTo>
                    <a:lnTo>
                      <a:pt x="785" y="354"/>
                    </a:lnTo>
                    <a:lnTo>
                      <a:pt x="783" y="351"/>
                    </a:lnTo>
                    <a:lnTo>
                      <a:pt x="780" y="348"/>
                    </a:lnTo>
                    <a:lnTo>
                      <a:pt x="777" y="348"/>
                    </a:lnTo>
                    <a:lnTo>
                      <a:pt x="774" y="346"/>
                    </a:lnTo>
                    <a:lnTo>
                      <a:pt x="772" y="346"/>
                    </a:lnTo>
                    <a:lnTo>
                      <a:pt x="772" y="343"/>
                    </a:lnTo>
                    <a:lnTo>
                      <a:pt x="769" y="343"/>
                    </a:lnTo>
                    <a:lnTo>
                      <a:pt x="766" y="346"/>
                    </a:lnTo>
                    <a:lnTo>
                      <a:pt x="766" y="343"/>
                    </a:lnTo>
                    <a:lnTo>
                      <a:pt x="763" y="343"/>
                    </a:lnTo>
                    <a:lnTo>
                      <a:pt x="760" y="343"/>
                    </a:lnTo>
                    <a:lnTo>
                      <a:pt x="755" y="343"/>
                    </a:lnTo>
                    <a:lnTo>
                      <a:pt x="755" y="340"/>
                    </a:lnTo>
                    <a:lnTo>
                      <a:pt x="741" y="335"/>
                    </a:lnTo>
                    <a:lnTo>
                      <a:pt x="738" y="337"/>
                    </a:lnTo>
                    <a:lnTo>
                      <a:pt x="741" y="340"/>
                    </a:lnTo>
                    <a:lnTo>
                      <a:pt x="741" y="343"/>
                    </a:lnTo>
                    <a:lnTo>
                      <a:pt x="744" y="340"/>
                    </a:lnTo>
                    <a:lnTo>
                      <a:pt x="744" y="337"/>
                    </a:lnTo>
                    <a:lnTo>
                      <a:pt x="746" y="340"/>
                    </a:lnTo>
                    <a:lnTo>
                      <a:pt x="755" y="343"/>
                    </a:lnTo>
                    <a:lnTo>
                      <a:pt x="755" y="346"/>
                    </a:lnTo>
                    <a:lnTo>
                      <a:pt x="758" y="343"/>
                    </a:lnTo>
                    <a:lnTo>
                      <a:pt x="763" y="346"/>
                    </a:lnTo>
                    <a:lnTo>
                      <a:pt x="763" y="348"/>
                    </a:lnTo>
                    <a:lnTo>
                      <a:pt x="760" y="348"/>
                    </a:lnTo>
                    <a:lnTo>
                      <a:pt x="760" y="351"/>
                    </a:lnTo>
                    <a:lnTo>
                      <a:pt x="763" y="348"/>
                    </a:lnTo>
                    <a:lnTo>
                      <a:pt x="766" y="348"/>
                    </a:lnTo>
                    <a:lnTo>
                      <a:pt x="769" y="346"/>
                    </a:lnTo>
                    <a:lnTo>
                      <a:pt x="769" y="348"/>
                    </a:lnTo>
                    <a:lnTo>
                      <a:pt x="772" y="348"/>
                    </a:lnTo>
                    <a:lnTo>
                      <a:pt x="774" y="351"/>
                    </a:lnTo>
                    <a:lnTo>
                      <a:pt x="777" y="354"/>
                    </a:lnTo>
                    <a:lnTo>
                      <a:pt x="780" y="354"/>
                    </a:lnTo>
                    <a:lnTo>
                      <a:pt x="783" y="354"/>
                    </a:lnTo>
                    <a:lnTo>
                      <a:pt x="783" y="357"/>
                    </a:lnTo>
                    <a:lnTo>
                      <a:pt x="783" y="360"/>
                    </a:lnTo>
                    <a:lnTo>
                      <a:pt x="785" y="368"/>
                    </a:lnTo>
                    <a:lnTo>
                      <a:pt x="785" y="371"/>
                    </a:lnTo>
                    <a:lnTo>
                      <a:pt x="785" y="374"/>
                    </a:lnTo>
                    <a:lnTo>
                      <a:pt x="783" y="374"/>
                    </a:lnTo>
                    <a:lnTo>
                      <a:pt x="777" y="374"/>
                    </a:lnTo>
                    <a:lnTo>
                      <a:pt x="774" y="376"/>
                    </a:lnTo>
                    <a:lnTo>
                      <a:pt x="772" y="376"/>
                    </a:lnTo>
                    <a:lnTo>
                      <a:pt x="763" y="376"/>
                    </a:lnTo>
                    <a:lnTo>
                      <a:pt x="760" y="379"/>
                    </a:lnTo>
                    <a:lnTo>
                      <a:pt x="758" y="376"/>
                    </a:lnTo>
                    <a:lnTo>
                      <a:pt x="758" y="379"/>
                    </a:lnTo>
                    <a:lnTo>
                      <a:pt x="758" y="385"/>
                    </a:lnTo>
                    <a:lnTo>
                      <a:pt x="763" y="382"/>
                    </a:lnTo>
                    <a:lnTo>
                      <a:pt x="763" y="385"/>
                    </a:lnTo>
                    <a:lnTo>
                      <a:pt x="760" y="385"/>
                    </a:lnTo>
                    <a:lnTo>
                      <a:pt x="758" y="385"/>
                    </a:lnTo>
                    <a:lnTo>
                      <a:pt x="755" y="385"/>
                    </a:lnTo>
                    <a:lnTo>
                      <a:pt x="755" y="393"/>
                    </a:lnTo>
                    <a:lnTo>
                      <a:pt x="755" y="401"/>
                    </a:lnTo>
                    <a:lnTo>
                      <a:pt x="749" y="396"/>
                    </a:lnTo>
                    <a:lnTo>
                      <a:pt x="749" y="399"/>
                    </a:lnTo>
                    <a:lnTo>
                      <a:pt x="746" y="401"/>
                    </a:lnTo>
                    <a:lnTo>
                      <a:pt x="746" y="404"/>
                    </a:lnTo>
                    <a:lnTo>
                      <a:pt x="746" y="407"/>
                    </a:lnTo>
                    <a:lnTo>
                      <a:pt x="744" y="407"/>
                    </a:lnTo>
                    <a:lnTo>
                      <a:pt x="741" y="407"/>
                    </a:lnTo>
                    <a:lnTo>
                      <a:pt x="741" y="410"/>
                    </a:lnTo>
                    <a:lnTo>
                      <a:pt x="744" y="413"/>
                    </a:lnTo>
                    <a:lnTo>
                      <a:pt x="741" y="418"/>
                    </a:lnTo>
                    <a:lnTo>
                      <a:pt x="733" y="424"/>
                    </a:lnTo>
                    <a:lnTo>
                      <a:pt x="724" y="424"/>
                    </a:lnTo>
                    <a:lnTo>
                      <a:pt x="724" y="426"/>
                    </a:lnTo>
                    <a:lnTo>
                      <a:pt x="730" y="429"/>
                    </a:lnTo>
                    <a:lnTo>
                      <a:pt x="730" y="438"/>
                    </a:lnTo>
                    <a:lnTo>
                      <a:pt x="727" y="440"/>
                    </a:lnTo>
                    <a:lnTo>
                      <a:pt x="724" y="443"/>
                    </a:lnTo>
                    <a:lnTo>
                      <a:pt x="724" y="449"/>
                    </a:lnTo>
                    <a:lnTo>
                      <a:pt x="724" y="452"/>
                    </a:lnTo>
                    <a:lnTo>
                      <a:pt x="721" y="452"/>
                    </a:lnTo>
                    <a:lnTo>
                      <a:pt x="721" y="454"/>
                    </a:lnTo>
                    <a:lnTo>
                      <a:pt x="721" y="493"/>
                    </a:lnTo>
                    <a:lnTo>
                      <a:pt x="719" y="499"/>
                    </a:lnTo>
                    <a:lnTo>
                      <a:pt x="721" y="499"/>
                    </a:lnTo>
                    <a:lnTo>
                      <a:pt x="724" y="504"/>
                    </a:lnTo>
                    <a:lnTo>
                      <a:pt x="724" y="507"/>
                    </a:lnTo>
                    <a:lnTo>
                      <a:pt x="727" y="504"/>
                    </a:lnTo>
                    <a:lnTo>
                      <a:pt x="727" y="516"/>
                    </a:lnTo>
                    <a:lnTo>
                      <a:pt x="730" y="513"/>
                    </a:lnTo>
                    <a:lnTo>
                      <a:pt x="730" y="507"/>
                    </a:lnTo>
                    <a:lnTo>
                      <a:pt x="738" y="504"/>
                    </a:lnTo>
                    <a:lnTo>
                      <a:pt x="741" y="507"/>
                    </a:lnTo>
                    <a:lnTo>
                      <a:pt x="744" y="507"/>
                    </a:lnTo>
                    <a:lnTo>
                      <a:pt x="746" y="507"/>
                    </a:lnTo>
                    <a:lnTo>
                      <a:pt x="746" y="510"/>
                    </a:lnTo>
                    <a:lnTo>
                      <a:pt x="746" y="518"/>
                    </a:lnTo>
                    <a:lnTo>
                      <a:pt x="752" y="529"/>
                    </a:lnTo>
                    <a:lnTo>
                      <a:pt x="752" y="541"/>
                    </a:lnTo>
                    <a:lnTo>
                      <a:pt x="755" y="543"/>
                    </a:lnTo>
                    <a:lnTo>
                      <a:pt x="758" y="555"/>
                    </a:lnTo>
                    <a:lnTo>
                      <a:pt x="755" y="557"/>
                    </a:lnTo>
                    <a:lnTo>
                      <a:pt x="752" y="560"/>
                    </a:lnTo>
                    <a:lnTo>
                      <a:pt x="758" y="557"/>
                    </a:lnTo>
                    <a:lnTo>
                      <a:pt x="758" y="560"/>
                    </a:lnTo>
                    <a:lnTo>
                      <a:pt x="777" y="552"/>
                    </a:lnTo>
                    <a:lnTo>
                      <a:pt x="783" y="552"/>
                    </a:lnTo>
                    <a:lnTo>
                      <a:pt x="788" y="557"/>
                    </a:lnTo>
                    <a:lnTo>
                      <a:pt x="791" y="557"/>
                    </a:lnTo>
                    <a:lnTo>
                      <a:pt x="802" y="563"/>
                    </a:lnTo>
                    <a:lnTo>
                      <a:pt x="808" y="563"/>
                    </a:lnTo>
                    <a:lnTo>
                      <a:pt x="824" y="574"/>
                    </a:lnTo>
                    <a:lnTo>
                      <a:pt x="830" y="585"/>
                    </a:lnTo>
                    <a:lnTo>
                      <a:pt x="833" y="588"/>
                    </a:lnTo>
                    <a:lnTo>
                      <a:pt x="836" y="588"/>
                    </a:lnTo>
                    <a:lnTo>
                      <a:pt x="838" y="591"/>
                    </a:lnTo>
                    <a:lnTo>
                      <a:pt x="841" y="588"/>
                    </a:lnTo>
                    <a:lnTo>
                      <a:pt x="844" y="591"/>
                    </a:lnTo>
                    <a:lnTo>
                      <a:pt x="847" y="594"/>
                    </a:lnTo>
                    <a:lnTo>
                      <a:pt x="858" y="596"/>
                    </a:lnTo>
                    <a:lnTo>
                      <a:pt x="861" y="599"/>
                    </a:lnTo>
                    <a:lnTo>
                      <a:pt x="863" y="602"/>
                    </a:lnTo>
                    <a:lnTo>
                      <a:pt x="866" y="605"/>
                    </a:lnTo>
                    <a:lnTo>
                      <a:pt x="863" y="619"/>
                    </a:lnTo>
                    <a:lnTo>
                      <a:pt x="869" y="607"/>
                    </a:lnTo>
                    <a:lnTo>
                      <a:pt x="900" y="607"/>
                    </a:lnTo>
                    <a:lnTo>
                      <a:pt x="902" y="607"/>
                    </a:lnTo>
                    <a:lnTo>
                      <a:pt x="905" y="607"/>
                    </a:lnTo>
                    <a:lnTo>
                      <a:pt x="905" y="610"/>
                    </a:lnTo>
                    <a:lnTo>
                      <a:pt x="908" y="610"/>
                    </a:lnTo>
                    <a:lnTo>
                      <a:pt x="911" y="610"/>
                    </a:lnTo>
                    <a:lnTo>
                      <a:pt x="914" y="613"/>
                    </a:lnTo>
                    <a:lnTo>
                      <a:pt x="914" y="610"/>
                    </a:lnTo>
                    <a:lnTo>
                      <a:pt x="916" y="619"/>
                    </a:lnTo>
                    <a:lnTo>
                      <a:pt x="914" y="638"/>
                    </a:lnTo>
                    <a:lnTo>
                      <a:pt x="916" y="644"/>
                    </a:lnTo>
                    <a:lnTo>
                      <a:pt x="916" y="660"/>
                    </a:lnTo>
                    <a:lnTo>
                      <a:pt x="916" y="663"/>
                    </a:lnTo>
                    <a:lnTo>
                      <a:pt x="916" y="669"/>
                    </a:lnTo>
                    <a:lnTo>
                      <a:pt x="916" y="671"/>
                    </a:lnTo>
                    <a:lnTo>
                      <a:pt x="919" y="671"/>
                    </a:lnTo>
                    <a:lnTo>
                      <a:pt x="922" y="674"/>
                    </a:lnTo>
                    <a:lnTo>
                      <a:pt x="922" y="677"/>
                    </a:lnTo>
                    <a:lnTo>
                      <a:pt x="925" y="680"/>
                    </a:lnTo>
                    <a:lnTo>
                      <a:pt x="927" y="685"/>
                    </a:lnTo>
                    <a:lnTo>
                      <a:pt x="925" y="685"/>
                    </a:lnTo>
                    <a:lnTo>
                      <a:pt x="919" y="691"/>
                    </a:lnTo>
                    <a:lnTo>
                      <a:pt x="927" y="688"/>
                    </a:lnTo>
                    <a:lnTo>
                      <a:pt x="930" y="688"/>
                    </a:lnTo>
                    <a:lnTo>
                      <a:pt x="941" y="699"/>
                    </a:lnTo>
                    <a:lnTo>
                      <a:pt x="944" y="708"/>
                    </a:lnTo>
                    <a:lnTo>
                      <a:pt x="941" y="708"/>
                    </a:lnTo>
                    <a:lnTo>
                      <a:pt x="936" y="716"/>
                    </a:lnTo>
                    <a:lnTo>
                      <a:pt x="944" y="710"/>
                    </a:lnTo>
                    <a:lnTo>
                      <a:pt x="950" y="713"/>
                    </a:lnTo>
                    <a:lnTo>
                      <a:pt x="955" y="716"/>
                    </a:lnTo>
                    <a:lnTo>
                      <a:pt x="955" y="708"/>
                    </a:lnTo>
                    <a:lnTo>
                      <a:pt x="955" y="705"/>
                    </a:lnTo>
                    <a:lnTo>
                      <a:pt x="958" y="705"/>
                    </a:lnTo>
                    <a:lnTo>
                      <a:pt x="958" y="702"/>
                    </a:lnTo>
                    <a:lnTo>
                      <a:pt x="961" y="702"/>
                    </a:lnTo>
                    <a:lnTo>
                      <a:pt x="964" y="702"/>
                    </a:lnTo>
                    <a:lnTo>
                      <a:pt x="966" y="705"/>
                    </a:lnTo>
                    <a:lnTo>
                      <a:pt x="966" y="710"/>
                    </a:lnTo>
                    <a:lnTo>
                      <a:pt x="969" y="710"/>
                    </a:lnTo>
                    <a:lnTo>
                      <a:pt x="972" y="710"/>
                    </a:lnTo>
                    <a:lnTo>
                      <a:pt x="972" y="708"/>
                    </a:lnTo>
                    <a:lnTo>
                      <a:pt x="972" y="705"/>
                    </a:lnTo>
                    <a:lnTo>
                      <a:pt x="969" y="702"/>
                    </a:lnTo>
                    <a:lnTo>
                      <a:pt x="966" y="699"/>
                    </a:lnTo>
                    <a:lnTo>
                      <a:pt x="966" y="697"/>
                    </a:lnTo>
                    <a:lnTo>
                      <a:pt x="969" y="697"/>
                    </a:lnTo>
                    <a:lnTo>
                      <a:pt x="969" y="694"/>
                    </a:lnTo>
                    <a:lnTo>
                      <a:pt x="972" y="694"/>
                    </a:lnTo>
                    <a:lnTo>
                      <a:pt x="975" y="688"/>
                    </a:lnTo>
                    <a:lnTo>
                      <a:pt x="978" y="688"/>
                    </a:lnTo>
                    <a:lnTo>
                      <a:pt x="980" y="688"/>
                    </a:lnTo>
                    <a:lnTo>
                      <a:pt x="983" y="685"/>
                    </a:lnTo>
                    <a:lnTo>
                      <a:pt x="980" y="685"/>
                    </a:lnTo>
                    <a:lnTo>
                      <a:pt x="978" y="685"/>
                    </a:lnTo>
                    <a:lnTo>
                      <a:pt x="975" y="685"/>
                    </a:lnTo>
                    <a:lnTo>
                      <a:pt x="975" y="680"/>
                    </a:lnTo>
                    <a:lnTo>
                      <a:pt x="972" y="680"/>
                    </a:lnTo>
                    <a:lnTo>
                      <a:pt x="969" y="674"/>
                    </a:lnTo>
                    <a:lnTo>
                      <a:pt x="972" y="671"/>
                    </a:lnTo>
                    <a:lnTo>
                      <a:pt x="969" y="671"/>
                    </a:lnTo>
                    <a:lnTo>
                      <a:pt x="969" y="646"/>
                    </a:lnTo>
                    <a:lnTo>
                      <a:pt x="958" y="627"/>
                    </a:lnTo>
                    <a:lnTo>
                      <a:pt x="955" y="627"/>
                    </a:lnTo>
                    <a:lnTo>
                      <a:pt x="991" y="599"/>
                    </a:lnTo>
                    <a:lnTo>
                      <a:pt x="989" y="602"/>
                    </a:lnTo>
                    <a:lnTo>
                      <a:pt x="1003" y="580"/>
                    </a:lnTo>
                    <a:lnTo>
                      <a:pt x="1005" y="582"/>
                    </a:lnTo>
                    <a:lnTo>
                      <a:pt x="1008" y="582"/>
                    </a:lnTo>
                    <a:lnTo>
                      <a:pt x="1011" y="580"/>
                    </a:lnTo>
                    <a:lnTo>
                      <a:pt x="1008" y="580"/>
                    </a:lnTo>
                    <a:lnTo>
                      <a:pt x="1008" y="571"/>
                    </a:lnTo>
                    <a:lnTo>
                      <a:pt x="1005" y="571"/>
                    </a:lnTo>
                    <a:lnTo>
                      <a:pt x="1003" y="580"/>
                    </a:lnTo>
                    <a:lnTo>
                      <a:pt x="1003" y="577"/>
                    </a:lnTo>
                    <a:lnTo>
                      <a:pt x="1000" y="560"/>
                    </a:lnTo>
                    <a:lnTo>
                      <a:pt x="1000" y="557"/>
                    </a:lnTo>
                    <a:lnTo>
                      <a:pt x="989" y="521"/>
                    </a:lnTo>
                    <a:lnTo>
                      <a:pt x="986" y="521"/>
                    </a:lnTo>
                    <a:lnTo>
                      <a:pt x="969" y="507"/>
                    </a:lnTo>
                    <a:lnTo>
                      <a:pt x="969" y="504"/>
                    </a:lnTo>
                    <a:lnTo>
                      <a:pt x="972" y="504"/>
                    </a:lnTo>
                    <a:lnTo>
                      <a:pt x="969" y="499"/>
                    </a:lnTo>
                    <a:lnTo>
                      <a:pt x="969" y="496"/>
                    </a:lnTo>
                    <a:lnTo>
                      <a:pt x="972" y="496"/>
                    </a:lnTo>
                    <a:lnTo>
                      <a:pt x="975" y="493"/>
                    </a:lnTo>
                    <a:lnTo>
                      <a:pt x="980" y="493"/>
                    </a:lnTo>
                    <a:lnTo>
                      <a:pt x="983" y="493"/>
                    </a:lnTo>
                    <a:lnTo>
                      <a:pt x="986" y="490"/>
                    </a:lnTo>
                    <a:lnTo>
                      <a:pt x="986" y="488"/>
                    </a:lnTo>
                    <a:lnTo>
                      <a:pt x="986" y="485"/>
                    </a:lnTo>
                    <a:lnTo>
                      <a:pt x="986" y="479"/>
                    </a:lnTo>
                    <a:lnTo>
                      <a:pt x="991" y="482"/>
                    </a:lnTo>
                    <a:lnTo>
                      <a:pt x="997" y="482"/>
                    </a:lnTo>
                    <a:lnTo>
                      <a:pt x="991" y="479"/>
                    </a:lnTo>
                    <a:lnTo>
                      <a:pt x="991" y="474"/>
                    </a:lnTo>
                    <a:lnTo>
                      <a:pt x="994" y="474"/>
                    </a:lnTo>
                    <a:lnTo>
                      <a:pt x="994" y="468"/>
                    </a:lnTo>
                    <a:lnTo>
                      <a:pt x="994" y="471"/>
                    </a:lnTo>
                    <a:lnTo>
                      <a:pt x="986" y="468"/>
                    </a:lnTo>
                    <a:lnTo>
                      <a:pt x="986" y="465"/>
                    </a:lnTo>
                    <a:lnTo>
                      <a:pt x="989" y="468"/>
                    </a:lnTo>
                    <a:lnTo>
                      <a:pt x="989" y="465"/>
                    </a:lnTo>
                    <a:lnTo>
                      <a:pt x="991" y="463"/>
                    </a:lnTo>
                    <a:lnTo>
                      <a:pt x="989" y="463"/>
                    </a:lnTo>
                    <a:lnTo>
                      <a:pt x="989" y="460"/>
                    </a:lnTo>
                    <a:lnTo>
                      <a:pt x="986" y="457"/>
                    </a:lnTo>
                    <a:lnTo>
                      <a:pt x="986" y="452"/>
                    </a:lnTo>
                    <a:lnTo>
                      <a:pt x="986" y="449"/>
                    </a:lnTo>
                    <a:lnTo>
                      <a:pt x="991" y="446"/>
                    </a:lnTo>
                    <a:lnTo>
                      <a:pt x="989" y="446"/>
                    </a:lnTo>
                    <a:lnTo>
                      <a:pt x="986" y="443"/>
                    </a:lnTo>
                    <a:lnTo>
                      <a:pt x="983" y="446"/>
                    </a:lnTo>
                    <a:lnTo>
                      <a:pt x="980" y="446"/>
                    </a:lnTo>
                    <a:lnTo>
                      <a:pt x="980" y="443"/>
                    </a:lnTo>
                    <a:lnTo>
                      <a:pt x="980" y="440"/>
                    </a:lnTo>
                    <a:lnTo>
                      <a:pt x="983" y="435"/>
                    </a:lnTo>
                    <a:lnTo>
                      <a:pt x="983" y="429"/>
                    </a:lnTo>
                    <a:lnTo>
                      <a:pt x="986" y="429"/>
                    </a:lnTo>
                    <a:lnTo>
                      <a:pt x="986" y="424"/>
                    </a:lnTo>
                    <a:lnTo>
                      <a:pt x="989" y="421"/>
                    </a:lnTo>
                    <a:lnTo>
                      <a:pt x="989" y="418"/>
                    </a:lnTo>
                    <a:lnTo>
                      <a:pt x="991" y="418"/>
                    </a:lnTo>
                    <a:lnTo>
                      <a:pt x="991" y="413"/>
                    </a:lnTo>
                    <a:lnTo>
                      <a:pt x="989" y="415"/>
                    </a:lnTo>
                    <a:lnTo>
                      <a:pt x="986" y="415"/>
                    </a:lnTo>
                    <a:lnTo>
                      <a:pt x="983" y="415"/>
                    </a:lnTo>
                    <a:lnTo>
                      <a:pt x="980" y="413"/>
                    </a:lnTo>
                    <a:lnTo>
                      <a:pt x="980" y="407"/>
                    </a:lnTo>
                    <a:lnTo>
                      <a:pt x="978" y="404"/>
                    </a:lnTo>
                    <a:lnTo>
                      <a:pt x="978" y="399"/>
                    </a:lnTo>
                    <a:lnTo>
                      <a:pt x="978" y="396"/>
                    </a:lnTo>
                    <a:lnTo>
                      <a:pt x="983" y="393"/>
                    </a:lnTo>
                    <a:lnTo>
                      <a:pt x="989" y="385"/>
                    </a:lnTo>
                    <a:lnTo>
                      <a:pt x="989" y="387"/>
                    </a:lnTo>
                    <a:lnTo>
                      <a:pt x="1000" y="387"/>
                    </a:lnTo>
                    <a:lnTo>
                      <a:pt x="1008" y="390"/>
                    </a:lnTo>
                    <a:lnTo>
                      <a:pt x="1011" y="390"/>
                    </a:lnTo>
                    <a:lnTo>
                      <a:pt x="1014" y="393"/>
                    </a:lnTo>
                    <a:lnTo>
                      <a:pt x="1017" y="393"/>
                    </a:lnTo>
                    <a:lnTo>
                      <a:pt x="1019" y="393"/>
                    </a:lnTo>
                    <a:lnTo>
                      <a:pt x="1019" y="396"/>
                    </a:lnTo>
                    <a:lnTo>
                      <a:pt x="1022" y="396"/>
                    </a:lnTo>
                    <a:lnTo>
                      <a:pt x="1028" y="396"/>
                    </a:lnTo>
                    <a:lnTo>
                      <a:pt x="1028" y="399"/>
                    </a:lnTo>
                    <a:lnTo>
                      <a:pt x="1033" y="399"/>
                    </a:lnTo>
                    <a:lnTo>
                      <a:pt x="1033" y="396"/>
                    </a:lnTo>
                    <a:lnTo>
                      <a:pt x="1044" y="393"/>
                    </a:lnTo>
                    <a:lnTo>
                      <a:pt x="1047" y="387"/>
                    </a:lnTo>
                    <a:lnTo>
                      <a:pt x="1055" y="393"/>
                    </a:lnTo>
                    <a:lnTo>
                      <a:pt x="1058" y="399"/>
                    </a:lnTo>
                    <a:lnTo>
                      <a:pt x="1064" y="399"/>
                    </a:lnTo>
                    <a:lnTo>
                      <a:pt x="1067" y="399"/>
                    </a:lnTo>
                    <a:lnTo>
                      <a:pt x="1067" y="401"/>
                    </a:lnTo>
                    <a:lnTo>
                      <a:pt x="1067" y="404"/>
                    </a:lnTo>
                    <a:lnTo>
                      <a:pt x="1064" y="410"/>
                    </a:lnTo>
                    <a:lnTo>
                      <a:pt x="1067" y="410"/>
                    </a:lnTo>
                    <a:lnTo>
                      <a:pt x="1067" y="407"/>
                    </a:lnTo>
                    <a:lnTo>
                      <a:pt x="1069" y="407"/>
                    </a:lnTo>
                    <a:lnTo>
                      <a:pt x="1072" y="407"/>
                    </a:lnTo>
                    <a:lnTo>
                      <a:pt x="1072" y="413"/>
                    </a:lnTo>
                    <a:lnTo>
                      <a:pt x="1075" y="415"/>
                    </a:lnTo>
                    <a:lnTo>
                      <a:pt x="1072" y="418"/>
                    </a:lnTo>
                    <a:lnTo>
                      <a:pt x="1072" y="421"/>
                    </a:lnTo>
                    <a:lnTo>
                      <a:pt x="1075" y="418"/>
                    </a:lnTo>
                    <a:lnTo>
                      <a:pt x="1075" y="415"/>
                    </a:lnTo>
                    <a:lnTo>
                      <a:pt x="1078" y="415"/>
                    </a:lnTo>
                    <a:lnTo>
                      <a:pt x="1081" y="415"/>
                    </a:lnTo>
                    <a:lnTo>
                      <a:pt x="1083" y="418"/>
                    </a:lnTo>
                    <a:lnTo>
                      <a:pt x="1081" y="421"/>
                    </a:lnTo>
                    <a:lnTo>
                      <a:pt x="1078" y="424"/>
                    </a:lnTo>
                    <a:lnTo>
                      <a:pt x="1078" y="426"/>
                    </a:lnTo>
                    <a:lnTo>
                      <a:pt x="1081" y="429"/>
                    </a:lnTo>
                    <a:lnTo>
                      <a:pt x="1083" y="429"/>
                    </a:lnTo>
                    <a:lnTo>
                      <a:pt x="1081" y="432"/>
                    </a:lnTo>
                    <a:lnTo>
                      <a:pt x="1086" y="432"/>
                    </a:lnTo>
                    <a:lnTo>
                      <a:pt x="1089" y="432"/>
                    </a:lnTo>
                    <a:lnTo>
                      <a:pt x="1092" y="435"/>
                    </a:lnTo>
                    <a:lnTo>
                      <a:pt x="1092" y="438"/>
                    </a:lnTo>
                    <a:lnTo>
                      <a:pt x="1094" y="435"/>
                    </a:lnTo>
                    <a:lnTo>
                      <a:pt x="1097" y="438"/>
                    </a:lnTo>
                    <a:lnTo>
                      <a:pt x="1103" y="435"/>
                    </a:lnTo>
                    <a:lnTo>
                      <a:pt x="1103" y="438"/>
                    </a:lnTo>
                    <a:lnTo>
                      <a:pt x="1103" y="440"/>
                    </a:lnTo>
                    <a:lnTo>
                      <a:pt x="1106" y="440"/>
                    </a:lnTo>
                    <a:lnTo>
                      <a:pt x="1111" y="438"/>
                    </a:lnTo>
                    <a:lnTo>
                      <a:pt x="1114" y="435"/>
                    </a:lnTo>
                    <a:lnTo>
                      <a:pt x="1117" y="440"/>
                    </a:lnTo>
                    <a:lnTo>
                      <a:pt x="1117" y="443"/>
                    </a:lnTo>
                    <a:lnTo>
                      <a:pt x="1111" y="446"/>
                    </a:lnTo>
                    <a:lnTo>
                      <a:pt x="1111" y="452"/>
                    </a:lnTo>
                    <a:lnTo>
                      <a:pt x="1111" y="454"/>
                    </a:lnTo>
                    <a:lnTo>
                      <a:pt x="1111" y="457"/>
                    </a:lnTo>
                    <a:lnTo>
                      <a:pt x="1114" y="457"/>
                    </a:lnTo>
                    <a:lnTo>
                      <a:pt x="1114" y="460"/>
                    </a:lnTo>
                    <a:lnTo>
                      <a:pt x="1117" y="465"/>
                    </a:lnTo>
                    <a:lnTo>
                      <a:pt x="1111" y="465"/>
                    </a:lnTo>
                    <a:lnTo>
                      <a:pt x="1111" y="468"/>
                    </a:lnTo>
                    <a:lnTo>
                      <a:pt x="1094" y="468"/>
                    </a:lnTo>
                    <a:lnTo>
                      <a:pt x="1092" y="465"/>
                    </a:lnTo>
                    <a:lnTo>
                      <a:pt x="1089" y="465"/>
                    </a:lnTo>
                    <a:lnTo>
                      <a:pt x="1089" y="468"/>
                    </a:lnTo>
                    <a:lnTo>
                      <a:pt x="1092" y="468"/>
                    </a:lnTo>
                    <a:lnTo>
                      <a:pt x="1097" y="471"/>
                    </a:lnTo>
                    <a:lnTo>
                      <a:pt x="1108" y="471"/>
                    </a:lnTo>
                    <a:lnTo>
                      <a:pt x="1111" y="471"/>
                    </a:lnTo>
                    <a:lnTo>
                      <a:pt x="1117" y="474"/>
                    </a:lnTo>
                    <a:lnTo>
                      <a:pt x="1117" y="477"/>
                    </a:lnTo>
                    <a:lnTo>
                      <a:pt x="1117" y="479"/>
                    </a:lnTo>
                    <a:lnTo>
                      <a:pt x="1111" y="488"/>
                    </a:lnTo>
                    <a:lnTo>
                      <a:pt x="1114" y="490"/>
                    </a:lnTo>
                    <a:lnTo>
                      <a:pt x="1117" y="488"/>
                    </a:lnTo>
                    <a:lnTo>
                      <a:pt x="1120" y="490"/>
                    </a:lnTo>
                    <a:lnTo>
                      <a:pt x="1114" y="493"/>
                    </a:lnTo>
                    <a:lnTo>
                      <a:pt x="1117" y="496"/>
                    </a:lnTo>
                    <a:lnTo>
                      <a:pt x="1120" y="496"/>
                    </a:lnTo>
                    <a:lnTo>
                      <a:pt x="1120" y="499"/>
                    </a:lnTo>
                    <a:lnTo>
                      <a:pt x="1117" y="499"/>
                    </a:lnTo>
                    <a:lnTo>
                      <a:pt x="1111" y="504"/>
                    </a:lnTo>
                    <a:lnTo>
                      <a:pt x="1111" y="502"/>
                    </a:lnTo>
                    <a:lnTo>
                      <a:pt x="1108" y="499"/>
                    </a:lnTo>
                    <a:lnTo>
                      <a:pt x="1106" y="499"/>
                    </a:lnTo>
                    <a:lnTo>
                      <a:pt x="1108" y="504"/>
                    </a:lnTo>
                    <a:lnTo>
                      <a:pt x="1103" y="507"/>
                    </a:lnTo>
                    <a:lnTo>
                      <a:pt x="1106" y="507"/>
                    </a:lnTo>
                    <a:lnTo>
                      <a:pt x="1108" y="507"/>
                    </a:lnTo>
                    <a:lnTo>
                      <a:pt x="1111" y="510"/>
                    </a:lnTo>
                    <a:lnTo>
                      <a:pt x="1117" y="504"/>
                    </a:lnTo>
                    <a:lnTo>
                      <a:pt x="1128" y="502"/>
                    </a:lnTo>
                    <a:lnTo>
                      <a:pt x="1131" y="504"/>
                    </a:lnTo>
                    <a:lnTo>
                      <a:pt x="1133" y="510"/>
                    </a:lnTo>
                    <a:lnTo>
                      <a:pt x="1133" y="513"/>
                    </a:lnTo>
                    <a:lnTo>
                      <a:pt x="1133" y="516"/>
                    </a:lnTo>
                    <a:lnTo>
                      <a:pt x="1133" y="524"/>
                    </a:lnTo>
                    <a:lnTo>
                      <a:pt x="1120" y="535"/>
                    </a:lnTo>
                    <a:lnTo>
                      <a:pt x="1133" y="527"/>
                    </a:lnTo>
                    <a:lnTo>
                      <a:pt x="1136" y="516"/>
                    </a:lnTo>
                    <a:lnTo>
                      <a:pt x="1139" y="510"/>
                    </a:lnTo>
                    <a:lnTo>
                      <a:pt x="1139" y="518"/>
                    </a:lnTo>
                    <a:lnTo>
                      <a:pt x="1142" y="516"/>
                    </a:lnTo>
                    <a:lnTo>
                      <a:pt x="1142" y="518"/>
                    </a:lnTo>
                    <a:lnTo>
                      <a:pt x="1142" y="521"/>
                    </a:lnTo>
                    <a:lnTo>
                      <a:pt x="1142" y="524"/>
                    </a:lnTo>
                    <a:lnTo>
                      <a:pt x="1142" y="527"/>
                    </a:lnTo>
                    <a:lnTo>
                      <a:pt x="1145" y="521"/>
                    </a:lnTo>
                    <a:lnTo>
                      <a:pt x="1153" y="516"/>
                    </a:lnTo>
                    <a:lnTo>
                      <a:pt x="1159" y="516"/>
                    </a:lnTo>
                    <a:lnTo>
                      <a:pt x="1164" y="504"/>
                    </a:lnTo>
                    <a:lnTo>
                      <a:pt x="1167" y="507"/>
                    </a:lnTo>
                    <a:lnTo>
                      <a:pt x="1170" y="507"/>
                    </a:lnTo>
                    <a:lnTo>
                      <a:pt x="1170" y="510"/>
                    </a:lnTo>
                    <a:lnTo>
                      <a:pt x="1170" y="516"/>
                    </a:lnTo>
                    <a:lnTo>
                      <a:pt x="1172" y="507"/>
                    </a:lnTo>
                    <a:lnTo>
                      <a:pt x="1167" y="502"/>
                    </a:lnTo>
                    <a:lnTo>
                      <a:pt x="1170" y="504"/>
                    </a:lnTo>
                    <a:lnTo>
                      <a:pt x="1172" y="504"/>
                    </a:lnTo>
                    <a:lnTo>
                      <a:pt x="1172" y="502"/>
                    </a:lnTo>
                    <a:lnTo>
                      <a:pt x="1172" y="499"/>
                    </a:lnTo>
                    <a:lnTo>
                      <a:pt x="1175" y="499"/>
                    </a:lnTo>
                    <a:lnTo>
                      <a:pt x="1175" y="493"/>
                    </a:lnTo>
                    <a:lnTo>
                      <a:pt x="1175" y="490"/>
                    </a:lnTo>
                    <a:lnTo>
                      <a:pt x="1175" y="493"/>
                    </a:lnTo>
                    <a:lnTo>
                      <a:pt x="1178" y="490"/>
                    </a:lnTo>
                    <a:lnTo>
                      <a:pt x="1178" y="488"/>
                    </a:lnTo>
                    <a:lnTo>
                      <a:pt x="1181" y="485"/>
                    </a:lnTo>
                    <a:lnTo>
                      <a:pt x="1175" y="477"/>
                    </a:lnTo>
                    <a:lnTo>
                      <a:pt x="1181" y="465"/>
                    </a:lnTo>
                    <a:lnTo>
                      <a:pt x="1184" y="465"/>
                    </a:lnTo>
                    <a:lnTo>
                      <a:pt x="1186" y="463"/>
                    </a:lnTo>
                    <a:lnTo>
                      <a:pt x="1186" y="460"/>
                    </a:lnTo>
                    <a:lnTo>
                      <a:pt x="1189" y="460"/>
                    </a:lnTo>
                    <a:lnTo>
                      <a:pt x="1192" y="460"/>
                    </a:lnTo>
                    <a:lnTo>
                      <a:pt x="1195" y="460"/>
                    </a:lnTo>
                    <a:lnTo>
                      <a:pt x="1192" y="463"/>
                    </a:lnTo>
                    <a:lnTo>
                      <a:pt x="1195" y="463"/>
                    </a:lnTo>
                    <a:lnTo>
                      <a:pt x="1195" y="465"/>
                    </a:lnTo>
                    <a:lnTo>
                      <a:pt x="1195" y="468"/>
                    </a:lnTo>
                    <a:lnTo>
                      <a:pt x="1195" y="471"/>
                    </a:lnTo>
                    <a:lnTo>
                      <a:pt x="1195" y="474"/>
                    </a:lnTo>
                    <a:lnTo>
                      <a:pt x="1195" y="471"/>
                    </a:lnTo>
                    <a:lnTo>
                      <a:pt x="1197" y="474"/>
                    </a:lnTo>
                    <a:lnTo>
                      <a:pt x="1197" y="479"/>
                    </a:lnTo>
                    <a:lnTo>
                      <a:pt x="1200" y="479"/>
                    </a:lnTo>
                    <a:lnTo>
                      <a:pt x="1200" y="482"/>
                    </a:lnTo>
                    <a:lnTo>
                      <a:pt x="1203" y="482"/>
                    </a:lnTo>
                    <a:lnTo>
                      <a:pt x="1206" y="482"/>
                    </a:lnTo>
                    <a:lnTo>
                      <a:pt x="1200" y="488"/>
                    </a:lnTo>
                    <a:lnTo>
                      <a:pt x="1203" y="488"/>
                    </a:lnTo>
                    <a:lnTo>
                      <a:pt x="1206" y="490"/>
                    </a:lnTo>
                    <a:lnTo>
                      <a:pt x="1206" y="488"/>
                    </a:lnTo>
                    <a:lnTo>
                      <a:pt x="1209" y="488"/>
                    </a:lnTo>
                    <a:lnTo>
                      <a:pt x="1209" y="493"/>
                    </a:lnTo>
                    <a:lnTo>
                      <a:pt x="1209" y="490"/>
                    </a:lnTo>
                    <a:lnTo>
                      <a:pt x="1211" y="493"/>
                    </a:lnTo>
                    <a:lnTo>
                      <a:pt x="1211" y="496"/>
                    </a:lnTo>
                    <a:lnTo>
                      <a:pt x="1209" y="496"/>
                    </a:lnTo>
                    <a:lnTo>
                      <a:pt x="1200" y="496"/>
                    </a:lnTo>
                    <a:lnTo>
                      <a:pt x="1197" y="499"/>
                    </a:lnTo>
                    <a:lnTo>
                      <a:pt x="1200" y="499"/>
                    </a:lnTo>
                    <a:lnTo>
                      <a:pt x="1203" y="499"/>
                    </a:lnTo>
                    <a:lnTo>
                      <a:pt x="1209" y="499"/>
                    </a:lnTo>
                    <a:lnTo>
                      <a:pt x="1211" y="496"/>
                    </a:lnTo>
                    <a:lnTo>
                      <a:pt x="1214" y="496"/>
                    </a:lnTo>
                    <a:lnTo>
                      <a:pt x="1211" y="502"/>
                    </a:lnTo>
                    <a:lnTo>
                      <a:pt x="1214" y="502"/>
                    </a:lnTo>
                    <a:lnTo>
                      <a:pt x="1214" y="504"/>
                    </a:lnTo>
                    <a:lnTo>
                      <a:pt x="1211" y="504"/>
                    </a:lnTo>
                    <a:lnTo>
                      <a:pt x="1214" y="504"/>
                    </a:lnTo>
                    <a:lnTo>
                      <a:pt x="1217" y="504"/>
                    </a:lnTo>
                    <a:lnTo>
                      <a:pt x="1217" y="507"/>
                    </a:lnTo>
                    <a:lnTo>
                      <a:pt x="1217" y="510"/>
                    </a:lnTo>
                    <a:lnTo>
                      <a:pt x="1220" y="510"/>
                    </a:lnTo>
                    <a:lnTo>
                      <a:pt x="1220" y="513"/>
                    </a:lnTo>
                    <a:lnTo>
                      <a:pt x="1211" y="513"/>
                    </a:lnTo>
                    <a:lnTo>
                      <a:pt x="1209" y="513"/>
                    </a:lnTo>
                    <a:lnTo>
                      <a:pt x="1209" y="516"/>
                    </a:lnTo>
                    <a:lnTo>
                      <a:pt x="1223" y="516"/>
                    </a:lnTo>
                    <a:lnTo>
                      <a:pt x="1223" y="518"/>
                    </a:lnTo>
                    <a:lnTo>
                      <a:pt x="1220" y="521"/>
                    </a:lnTo>
                    <a:lnTo>
                      <a:pt x="1223" y="521"/>
                    </a:lnTo>
                    <a:lnTo>
                      <a:pt x="1220" y="524"/>
                    </a:lnTo>
                    <a:lnTo>
                      <a:pt x="1217" y="524"/>
                    </a:lnTo>
                    <a:lnTo>
                      <a:pt x="1214" y="527"/>
                    </a:lnTo>
                    <a:lnTo>
                      <a:pt x="1217" y="527"/>
                    </a:lnTo>
                    <a:lnTo>
                      <a:pt x="1220" y="527"/>
                    </a:lnTo>
                    <a:lnTo>
                      <a:pt x="1223" y="527"/>
                    </a:lnTo>
                    <a:lnTo>
                      <a:pt x="1223" y="524"/>
                    </a:lnTo>
                    <a:lnTo>
                      <a:pt x="1225" y="529"/>
                    </a:lnTo>
                    <a:lnTo>
                      <a:pt x="1223" y="529"/>
                    </a:lnTo>
                    <a:lnTo>
                      <a:pt x="1223" y="532"/>
                    </a:lnTo>
                    <a:lnTo>
                      <a:pt x="1225" y="529"/>
                    </a:lnTo>
                    <a:lnTo>
                      <a:pt x="1228" y="532"/>
                    </a:lnTo>
                    <a:lnTo>
                      <a:pt x="1231" y="535"/>
                    </a:lnTo>
                    <a:lnTo>
                      <a:pt x="1234" y="538"/>
                    </a:lnTo>
                    <a:lnTo>
                      <a:pt x="1234" y="541"/>
                    </a:lnTo>
                    <a:lnTo>
                      <a:pt x="1228" y="543"/>
                    </a:lnTo>
                    <a:lnTo>
                      <a:pt x="1225" y="543"/>
                    </a:lnTo>
                    <a:lnTo>
                      <a:pt x="1225" y="546"/>
                    </a:lnTo>
                    <a:lnTo>
                      <a:pt x="1234" y="546"/>
                    </a:lnTo>
                    <a:lnTo>
                      <a:pt x="1236" y="549"/>
                    </a:lnTo>
                    <a:lnTo>
                      <a:pt x="1234" y="552"/>
                    </a:lnTo>
                    <a:lnTo>
                      <a:pt x="1242" y="555"/>
                    </a:lnTo>
                    <a:lnTo>
                      <a:pt x="1242" y="557"/>
                    </a:lnTo>
                    <a:lnTo>
                      <a:pt x="1236" y="563"/>
                    </a:lnTo>
                    <a:lnTo>
                      <a:pt x="1236" y="566"/>
                    </a:lnTo>
                    <a:lnTo>
                      <a:pt x="1234" y="568"/>
                    </a:lnTo>
                    <a:lnTo>
                      <a:pt x="1225" y="563"/>
                    </a:lnTo>
                    <a:lnTo>
                      <a:pt x="1225" y="566"/>
                    </a:lnTo>
                    <a:lnTo>
                      <a:pt x="1231" y="566"/>
                    </a:lnTo>
                    <a:lnTo>
                      <a:pt x="1220" y="568"/>
                    </a:lnTo>
                    <a:lnTo>
                      <a:pt x="1236" y="571"/>
                    </a:lnTo>
                    <a:lnTo>
                      <a:pt x="1234" y="571"/>
                    </a:lnTo>
                    <a:lnTo>
                      <a:pt x="1234" y="574"/>
                    </a:lnTo>
                    <a:lnTo>
                      <a:pt x="1236" y="577"/>
                    </a:lnTo>
                    <a:lnTo>
                      <a:pt x="1236" y="580"/>
                    </a:lnTo>
                    <a:lnTo>
                      <a:pt x="1234" y="577"/>
                    </a:lnTo>
                    <a:lnTo>
                      <a:pt x="1234" y="580"/>
                    </a:lnTo>
                    <a:lnTo>
                      <a:pt x="1242" y="580"/>
                    </a:lnTo>
                    <a:lnTo>
                      <a:pt x="1245" y="585"/>
                    </a:lnTo>
                    <a:lnTo>
                      <a:pt x="1245" y="588"/>
                    </a:lnTo>
                    <a:lnTo>
                      <a:pt x="1242" y="588"/>
                    </a:lnTo>
                    <a:lnTo>
                      <a:pt x="1253" y="591"/>
                    </a:lnTo>
                    <a:lnTo>
                      <a:pt x="1253" y="594"/>
                    </a:lnTo>
                    <a:lnTo>
                      <a:pt x="1256" y="594"/>
                    </a:lnTo>
                    <a:lnTo>
                      <a:pt x="1259" y="594"/>
                    </a:lnTo>
                    <a:lnTo>
                      <a:pt x="1259" y="596"/>
                    </a:lnTo>
                    <a:lnTo>
                      <a:pt x="1259" y="599"/>
                    </a:lnTo>
                    <a:lnTo>
                      <a:pt x="1259" y="602"/>
                    </a:lnTo>
                    <a:lnTo>
                      <a:pt x="1256" y="605"/>
                    </a:lnTo>
                    <a:lnTo>
                      <a:pt x="1256" y="607"/>
                    </a:lnTo>
                    <a:lnTo>
                      <a:pt x="1262" y="605"/>
                    </a:lnTo>
                    <a:lnTo>
                      <a:pt x="1264" y="607"/>
                    </a:lnTo>
                    <a:lnTo>
                      <a:pt x="1267" y="605"/>
                    </a:lnTo>
                    <a:lnTo>
                      <a:pt x="1270" y="607"/>
                    </a:lnTo>
                    <a:lnTo>
                      <a:pt x="1273" y="607"/>
                    </a:lnTo>
                    <a:lnTo>
                      <a:pt x="1267" y="616"/>
                    </a:lnTo>
                    <a:lnTo>
                      <a:pt x="1273" y="610"/>
                    </a:lnTo>
                    <a:lnTo>
                      <a:pt x="1275" y="607"/>
                    </a:lnTo>
                    <a:lnTo>
                      <a:pt x="1275" y="610"/>
                    </a:lnTo>
                    <a:lnTo>
                      <a:pt x="1278" y="610"/>
                    </a:lnTo>
                    <a:lnTo>
                      <a:pt x="1281" y="616"/>
                    </a:lnTo>
                    <a:lnTo>
                      <a:pt x="1281" y="619"/>
                    </a:lnTo>
                    <a:lnTo>
                      <a:pt x="1289" y="619"/>
                    </a:lnTo>
                    <a:lnTo>
                      <a:pt x="1292" y="619"/>
                    </a:lnTo>
                    <a:lnTo>
                      <a:pt x="1292" y="616"/>
                    </a:lnTo>
                    <a:lnTo>
                      <a:pt x="1295" y="616"/>
                    </a:lnTo>
                    <a:lnTo>
                      <a:pt x="1295" y="619"/>
                    </a:lnTo>
                    <a:lnTo>
                      <a:pt x="1298" y="621"/>
                    </a:lnTo>
                    <a:lnTo>
                      <a:pt x="1301" y="621"/>
                    </a:lnTo>
                    <a:lnTo>
                      <a:pt x="1303" y="621"/>
                    </a:lnTo>
                    <a:lnTo>
                      <a:pt x="1303" y="624"/>
                    </a:lnTo>
                    <a:lnTo>
                      <a:pt x="1303" y="627"/>
                    </a:lnTo>
                    <a:lnTo>
                      <a:pt x="1303" y="630"/>
                    </a:lnTo>
                    <a:lnTo>
                      <a:pt x="1301" y="630"/>
                    </a:lnTo>
                    <a:lnTo>
                      <a:pt x="1298" y="630"/>
                    </a:lnTo>
                    <a:lnTo>
                      <a:pt x="1295" y="630"/>
                    </a:lnTo>
                    <a:lnTo>
                      <a:pt x="1289" y="632"/>
                    </a:lnTo>
                    <a:lnTo>
                      <a:pt x="1287" y="635"/>
                    </a:lnTo>
                    <a:lnTo>
                      <a:pt x="1273" y="638"/>
                    </a:lnTo>
                    <a:lnTo>
                      <a:pt x="1270" y="641"/>
                    </a:lnTo>
                    <a:lnTo>
                      <a:pt x="1275" y="641"/>
                    </a:lnTo>
                    <a:lnTo>
                      <a:pt x="1281" y="638"/>
                    </a:lnTo>
                    <a:lnTo>
                      <a:pt x="1284" y="638"/>
                    </a:lnTo>
                    <a:lnTo>
                      <a:pt x="1270" y="644"/>
                    </a:lnTo>
                    <a:lnTo>
                      <a:pt x="1264" y="644"/>
                    </a:lnTo>
                    <a:lnTo>
                      <a:pt x="1262" y="649"/>
                    </a:lnTo>
                    <a:lnTo>
                      <a:pt x="1259" y="649"/>
                    </a:lnTo>
                    <a:lnTo>
                      <a:pt x="1253" y="646"/>
                    </a:lnTo>
                    <a:lnTo>
                      <a:pt x="1250" y="646"/>
                    </a:lnTo>
                    <a:lnTo>
                      <a:pt x="1248" y="646"/>
                    </a:lnTo>
                    <a:lnTo>
                      <a:pt x="1248" y="649"/>
                    </a:lnTo>
                    <a:lnTo>
                      <a:pt x="1256" y="652"/>
                    </a:lnTo>
                    <a:lnTo>
                      <a:pt x="1259" y="652"/>
                    </a:lnTo>
                    <a:lnTo>
                      <a:pt x="1259" y="660"/>
                    </a:lnTo>
                    <a:lnTo>
                      <a:pt x="1264" y="655"/>
                    </a:lnTo>
                    <a:lnTo>
                      <a:pt x="1267" y="652"/>
                    </a:lnTo>
                    <a:lnTo>
                      <a:pt x="1273" y="649"/>
                    </a:lnTo>
                    <a:lnTo>
                      <a:pt x="1278" y="646"/>
                    </a:lnTo>
                    <a:lnTo>
                      <a:pt x="1281" y="644"/>
                    </a:lnTo>
                    <a:lnTo>
                      <a:pt x="1284" y="641"/>
                    </a:lnTo>
                    <a:lnTo>
                      <a:pt x="1292" y="638"/>
                    </a:lnTo>
                    <a:lnTo>
                      <a:pt x="1298" y="638"/>
                    </a:lnTo>
                    <a:lnTo>
                      <a:pt x="1292" y="635"/>
                    </a:lnTo>
                    <a:lnTo>
                      <a:pt x="1287" y="638"/>
                    </a:lnTo>
                    <a:lnTo>
                      <a:pt x="1295" y="635"/>
                    </a:lnTo>
                    <a:lnTo>
                      <a:pt x="1306" y="635"/>
                    </a:lnTo>
                    <a:lnTo>
                      <a:pt x="1306" y="638"/>
                    </a:lnTo>
                    <a:lnTo>
                      <a:pt x="1306" y="641"/>
                    </a:lnTo>
                    <a:lnTo>
                      <a:pt x="1306" y="646"/>
                    </a:lnTo>
                    <a:lnTo>
                      <a:pt x="1306" y="649"/>
                    </a:lnTo>
                    <a:lnTo>
                      <a:pt x="1306" y="655"/>
                    </a:lnTo>
                    <a:lnTo>
                      <a:pt x="1309" y="649"/>
                    </a:lnTo>
                    <a:lnTo>
                      <a:pt x="1312" y="646"/>
                    </a:lnTo>
                    <a:lnTo>
                      <a:pt x="1317" y="646"/>
                    </a:lnTo>
                    <a:lnTo>
                      <a:pt x="1317" y="649"/>
                    </a:lnTo>
                    <a:lnTo>
                      <a:pt x="1328" y="652"/>
                    </a:lnTo>
                    <a:lnTo>
                      <a:pt x="1326" y="655"/>
                    </a:lnTo>
                    <a:lnTo>
                      <a:pt x="1328" y="658"/>
                    </a:lnTo>
                    <a:lnTo>
                      <a:pt x="1328" y="660"/>
                    </a:lnTo>
                    <a:lnTo>
                      <a:pt x="1331" y="660"/>
                    </a:lnTo>
                    <a:lnTo>
                      <a:pt x="1331" y="663"/>
                    </a:lnTo>
                    <a:lnTo>
                      <a:pt x="1328" y="663"/>
                    </a:lnTo>
                    <a:lnTo>
                      <a:pt x="1328" y="666"/>
                    </a:lnTo>
                    <a:lnTo>
                      <a:pt x="1320" y="663"/>
                    </a:lnTo>
                    <a:lnTo>
                      <a:pt x="1323" y="666"/>
                    </a:lnTo>
                    <a:lnTo>
                      <a:pt x="1326" y="666"/>
                    </a:lnTo>
                    <a:lnTo>
                      <a:pt x="1328" y="666"/>
                    </a:lnTo>
                    <a:lnTo>
                      <a:pt x="1328" y="669"/>
                    </a:lnTo>
                    <a:lnTo>
                      <a:pt x="1328" y="671"/>
                    </a:lnTo>
                    <a:lnTo>
                      <a:pt x="1328" y="677"/>
                    </a:lnTo>
                    <a:lnTo>
                      <a:pt x="1326" y="677"/>
                    </a:lnTo>
                    <a:lnTo>
                      <a:pt x="1331" y="680"/>
                    </a:lnTo>
                    <a:lnTo>
                      <a:pt x="1331" y="683"/>
                    </a:lnTo>
                    <a:lnTo>
                      <a:pt x="1326" y="683"/>
                    </a:lnTo>
                    <a:lnTo>
                      <a:pt x="1328" y="68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8" name="Freeform 977"/>
              <p:cNvSpPr>
                <a:spLocks noChangeAspect="1"/>
              </p:cNvSpPr>
              <p:nvPr>
                <p:custDataLst>
                  <p:tags r:id="rId286"/>
                </p:custDataLst>
              </p:nvPr>
            </p:nvSpPr>
            <p:spPr bwMode="gray">
              <a:xfrm>
                <a:off x="3969393" y="3082052"/>
                <a:ext cx="33406" cy="42572"/>
              </a:xfrm>
              <a:custGeom>
                <a:avLst/>
                <a:gdLst>
                  <a:gd name="T0" fmla="*/ 42935396 w 25"/>
                  <a:gd name="T1" fmla="*/ 32055025 h 33"/>
                  <a:gd name="T2" fmla="*/ 42935396 w 25"/>
                  <a:gd name="T3" fmla="*/ 26993297 h 33"/>
                  <a:gd name="T4" fmla="*/ 39032179 w 25"/>
                  <a:gd name="T5" fmla="*/ 37115454 h 33"/>
                  <a:gd name="T6" fmla="*/ 39032179 w 25"/>
                  <a:gd name="T7" fmla="*/ 32055025 h 33"/>
                  <a:gd name="T8" fmla="*/ 27322529 w 25"/>
                  <a:gd name="T9" fmla="*/ 37115454 h 33"/>
                  <a:gd name="T10" fmla="*/ 21467698 w 25"/>
                  <a:gd name="T11" fmla="*/ 37115454 h 33"/>
                  <a:gd name="T12" fmla="*/ 27322529 w 25"/>
                  <a:gd name="T13" fmla="*/ 26993297 h 33"/>
                  <a:gd name="T14" fmla="*/ 27322529 w 25"/>
                  <a:gd name="T15" fmla="*/ 26993297 h 33"/>
                  <a:gd name="T16" fmla="*/ 33177354 w 25"/>
                  <a:gd name="T17" fmla="*/ 8434917 h 33"/>
                  <a:gd name="T18" fmla="*/ 33177354 w 25"/>
                  <a:gd name="T19" fmla="*/ 3374487 h 33"/>
                  <a:gd name="T20" fmla="*/ 27322529 w 25"/>
                  <a:gd name="T21" fmla="*/ 0 h 33"/>
                  <a:gd name="T22" fmla="*/ 27322529 w 25"/>
                  <a:gd name="T23" fmla="*/ 0 h 33"/>
                  <a:gd name="T24" fmla="*/ 27322529 w 25"/>
                  <a:gd name="T25" fmla="*/ 3374487 h 33"/>
                  <a:gd name="T26" fmla="*/ 21467698 w 25"/>
                  <a:gd name="T27" fmla="*/ 0 h 33"/>
                  <a:gd name="T28" fmla="*/ 21467698 w 25"/>
                  <a:gd name="T29" fmla="*/ 3374487 h 33"/>
                  <a:gd name="T30" fmla="*/ 0 w 25"/>
                  <a:gd name="T31" fmla="*/ 32055025 h 33"/>
                  <a:gd name="T32" fmla="*/ 0 w 25"/>
                  <a:gd name="T33" fmla="*/ 47238921 h 33"/>
                  <a:gd name="T34" fmla="*/ 5854828 w 25"/>
                  <a:gd name="T35" fmla="*/ 55673836 h 33"/>
                  <a:gd name="T36" fmla="*/ 11709656 w 25"/>
                  <a:gd name="T37" fmla="*/ 55673836 h 33"/>
                  <a:gd name="T38" fmla="*/ 15612873 w 25"/>
                  <a:gd name="T39" fmla="*/ 50612108 h 33"/>
                  <a:gd name="T40" fmla="*/ 27322529 w 25"/>
                  <a:gd name="T41" fmla="*/ 50612108 h 33"/>
                  <a:gd name="T42" fmla="*/ 39032179 w 25"/>
                  <a:gd name="T43" fmla="*/ 47238921 h 33"/>
                  <a:gd name="T44" fmla="*/ 42935396 w 25"/>
                  <a:gd name="T45" fmla="*/ 42177183 h 33"/>
                  <a:gd name="T46" fmla="*/ 48790232 w 25"/>
                  <a:gd name="T47" fmla="*/ 42177183 h 33"/>
                  <a:gd name="T48" fmla="*/ 48790232 w 25"/>
                  <a:gd name="T49" fmla="*/ 37115454 h 33"/>
                  <a:gd name="T50" fmla="*/ 42935396 w 25"/>
                  <a:gd name="T51" fmla="*/ 37115454 h 33"/>
                  <a:gd name="T52" fmla="*/ 42935396 w 25"/>
                  <a:gd name="T53" fmla="*/ 32055025 h 3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5"/>
                  <a:gd name="T82" fmla="*/ 0 h 33"/>
                  <a:gd name="T83" fmla="*/ 25 w 25"/>
                  <a:gd name="T84" fmla="*/ 33 h 3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5" h="33">
                    <a:moveTo>
                      <a:pt x="22" y="19"/>
                    </a:moveTo>
                    <a:lnTo>
                      <a:pt x="22" y="16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4" y="22"/>
                    </a:lnTo>
                    <a:lnTo>
                      <a:pt x="11" y="22"/>
                    </a:lnTo>
                    <a:lnTo>
                      <a:pt x="14" y="16"/>
                    </a:lnTo>
                    <a:lnTo>
                      <a:pt x="17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0" y="19"/>
                    </a:lnTo>
                    <a:lnTo>
                      <a:pt x="0" y="28"/>
                    </a:lnTo>
                    <a:lnTo>
                      <a:pt x="3" y="33"/>
                    </a:lnTo>
                    <a:lnTo>
                      <a:pt x="6" y="33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2" y="25"/>
                    </a:lnTo>
                    <a:lnTo>
                      <a:pt x="25" y="25"/>
                    </a:lnTo>
                    <a:lnTo>
                      <a:pt x="25" y="22"/>
                    </a:lnTo>
                    <a:lnTo>
                      <a:pt x="22" y="22"/>
                    </a:lnTo>
                    <a:lnTo>
                      <a:pt x="22" y="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9" name="Freeform 978"/>
              <p:cNvSpPr>
                <a:spLocks noChangeAspect="1"/>
              </p:cNvSpPr>
              <p:nvPr>
                <p:custDataLst>
                  <p:tags r:id="rId287"/>
                </p:custDataLst>
              </p:nvPr>
            </p:nvSpPr>
            <p:spPr bwMode="gray">
              <a:xfrm>
                <a:off x="3969393" y="3082052"/>
                <a:ext cx="33406" cy="42572"/>
              </a:xfrm>
              <a:custGeom>
                <a:avLst/>
                <a:gdLst>
                  <a:gd name="T0" fmla="*/ 42935396 w 25"/>
                  <a:gd name="T1" fmla="*/ 32055025 h 33"/>
                  <a:gd name="T2" fmla="*/ 42935396 w 25"/>
                  <a:gd name="T3" fmla="*/ 26993297 h 33"/>
                  <a:gd name="T4" fmla="*/ 39032179 w 25"/>
                  <a:gd name="T5" fmla="*/ 37115454 h 33"/>
                  <a:gd name="T6" fmla="*/ 39032179 w 25"/>
                  <a:gd name="T7" fmla="*/ 32055025 h 33"/>
                  <a:gd name="T8" fmla="*/ 27322529 w 25"/>
                  <a:gd name="T9" fmla="*/ 37115454 h 33"/>
                  <a:gd name="T10" fmla="*/ 21467698 w 25"/>
                  <a:gd name="T11" fmla="*/ 37115454 h 33"/>
                  <a:gd name="T12" fmla="*/ 27322529 w 25"/>
                  <a:gd name="T13" fmla="*/ 26993297 h 33"/>
                  <a:gd name="T14" fmla="*/ 27322529 w 25"/>
                  <a:gd name="T15" fmla="*/ 26993297 h 33"/>
                  <a:gd name="T16" fmla="*/ 33177354 w 25"/>
                  <a:gd name="T17" fmla="*/ 8434917 h 33"/>
                  <a:gd name="T18" fmla="*/ 33177354 w 25"/>
                  <a:gd name="T19" fmla="*/ 3374487 h 33"/>
                  <a:gd name="T20" fmla="*/ 27322529 w 25"/>
                  <a:gd name="T21" fmla="*/ 0 h 33"/>
                  <a:gd name="T22" fmla="*/ 27322529 w 25"/>
                  <a:gd name="T23" fmla="*/ 0 h 33"/>
                  <a:gd name="T24" fmla="*/ 27322529 w 25"/>
                  <a:gd name="T25" fmla="*/ 3374487 h 33"/>
                  <a:gd name="T26" fmla="*/ 21467698 w 25"/>
                  <a:gd name="T27" fmla="*/ 0 h 33"/>
                  <a:gd name="T28" fmla="*/ 21467698 w 25"/>
                  <a:gd name="T29" fmla="*/ 3374487 h 33"/>
                  <a:gd name="T30" fmla="*/ 0 w 25"/>
                  <a:gd name="T31" fmla="*/ 32055025 h 33"/>
                  <a:gd name="T32" fmla="*/ 0 w 25"/>
                  <a:gd name="T33" fmla="*/ 47238921 h 33"/>
                  <a:gd name="T34" fmla="*/ 5854828 w 25"/>
                  <a:gd name="T35" fmla="*/ 55673836 h 33"/>
                  <a:gd name="T36" fmla="*/ 11709656 w 25"/>
                  <a:gd name="T37" fmla="*/ 55673836 h 33"/>
                  <a:gd name="T38" fmla="*/ 15612873 w 25"/>
                  <a:gd name="T39" fmla="*/ 50612108 h 33"/>
                  <a:gd name="T40" fmla="*/ 27322529 w 25"/>
                  <a:gd name="T41" fmla="*/ 50612108 h 33"/>
                  <a:gd name="T42" fmla="*/ 39032179 w 25"/>
                  <a:gd name="T43" fmla="*/ 47238921 h 33"/>
                  <a:gd name="T44" fmla="*/ 42935396 w 25"/>
                  <a:gd name="T45" fmla="*/ 42177183 h 33"/>
                  <a:gd name="T46" fmla="*/ 48790232 w 25"/>
                  <a:gd name="T47" fmla="*/ 42177183 h 33"/>
                  <a:gd name="T48" fmla="*/ 48790232 w 25"/>
                  <a:gd name="T49" fmla="*/ 37115454 h 33"/>
                  <a:gd name="T50" fmla="*/ 42935396 w 25"/>
                  <a:gd name="T51" fmla="*/ 37115454 h 33"/>
                  <a:gd name="T52" fmla="*/ 42935396 w 25"/>
                  <a:gd name="T53" fmla="*/ 32055025 h 3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5"/>
                  <a:gd name="T82" fmla="*/ 0 h 33"/>
                  <a:gd name="T83" fmla="*/ 25 w 25"/>
                  <a:gd name="T84" fmla="*/ 33 h 3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5" h="33">
                    <a:moveTo>
                      <a:pt x="22" y="19"/>
                    </a:moveTo>
                    <a:lnTo>
                      <a:pt x="22" y="16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4" y="22"/>
                    </a:lnTo>
                    <a:lnTo>
                      <a:pt x="11" y="22"/>
                    </a:lnTo>
                    <a:lnTo>
                      <a:pt x="14" y="16"/>
                    </a:lnTo>
                    <a:lnTo>
                      <a:pt x="17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0" y="19"/>
                    </a:lnTo>
                    <a:lnTo>
                      <a:pt x="0" y="28"/>
                    </a:lnTo>
                    <a:lnTo>
                      <a:pt x="3" y="33"/>
                    </a:lnTo>
                    <a:lnTo>
                      <a:pt x="6" y="33"/>
                    </a:lnTo>
                    <a:lnTo>
                      <a:pt x="8" y="30"/>
                    </a:lnTo>
                    <a:lnTo>
                      <a:pt x="14" y="30"/>
                    </a:lnTo>
                    <a:lnTo>
                      <a:pt x="20" y="28"/>
                    </a:lnTo>
                    <a:lnTo>
                      <a:pt x="22" y="25"/>
                    </a:lnTo>
                    <a:lnTo>
                      <a:pt x="25" y="25"/>
                    </a:lnTo>
                    <a:lnTo>
                      <a:pt x="25" y="22"/>
                    </a:lnTo>
                    <a:lnTo>
                      <a:pt x="22" y="22"/>
                    </a:lnTo>
                    <a:lnTo>
                      <a:pt x="22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0" name="Freeform 1007"/>
              <p:cNvSpPr>
                <a:spLocks noChangeAspect="1"/>
              </p:cNvSpPr>
              <p:nvPr>
                <p:custDataLst>
                  <p:tags r:id="rId288"/>
                </p:custDataLst>
              </p:nvPr>
            </p:nvSpPr>
            <p:spPr bwMode="gray">
              <a:xfrm>
                <a:off x="3589778" y="2773012"/>
                <a:ext cx="10628" cy="14192"/>
              </a:xfrm>
              <a:custGeom>
                <a:avLst/>
                <a:gdLst>
                  <a:gd name="T0" fmla="*/ 0 w 8"/>
                  <a:gd name="T1" fmla="*/ 18558812 h 11"/>
                  <a:gd name="T2" fmla="*/ 0 w 8"/>
                  <a:gd name="T3" fmla="*/ 15184247 h 11"/>
                  <a:gd name="T4" fmla="*/ 9646603 w 8"/>
                  <a:gd name="T5" fmla="*/ 10122398 h 11"/>
                  <a:gd name="T6" fmla="*/ 15434566 w 8"/>
                  <a:gd name="T7" fmla="*/ 0 h 11"/>
                  <a:gd name="T8" fmla="*/ 15434566 w 8"/>
                  <a:gd name="T9" fmla="*/ 0 h 11"/>
                  <a:gd name="T10" fmla="*/ 15434566 w 8"/>
                  <a:gd name="T11" fmla="*/ 0 h 11"/>
                  <a:gd name="T12" fmla="*/ 15434566 w 8"/>
                  <a:gd name="T13" fmla="*/ 5061848 h 11"/>
                  <a:gd name="T14" fmla="*/ 9646603 w 8"/>
                  <a:gd name="T15" fmla="*/ 10122398 h 11"/>
                  <a:gd name="T16" fmla="*/ 9646603 w 8"/>
                  <a:gd name="T17" fmla="*/ 10122398 h 11"/>
                  <a:gd name="T18" fmla="*/ 9646603 w 8"/>
                  <a:gd name="T19" fmla="*/ 10122398 h 11"/>
                  <a:gd name="T20" fmla="*/ 3858642 w 8"/>
                  <a:gd name="T21" fmla="*/ 10122398 h 11"/>
                  <a:gd name="T22" fmla="*/ 3858642 w 8"/>
                  <a:gd name="T23" fmla="*/ 10122398 h 11"/>
                  <a:gd name="T24" fmla="*/ 3858642 w 8"/>
                  <a:gd name="T25" fmla="*/ 10122398 h 11"/>
                  <a:gd name="T26" fmla="*/ 3858642 w 8"/>
                  <a:gd name="T27" fmla="*/ 10122398 h 11"/>
                  <a:gd name="T28" fmla="*/ 3858642 w 8"/>
                  <a:gd name="T29" fmla="*/ 10122398 h 11"/>
                  <a:gd name="T30" fmla="*/ 3858642 w 8"/>
                  <a:gd name="T31" fmla="*/ 10122398 h 11"/>
                  <a:gd name="T32" fmla="*/ 3858642 w 8"/>
                  <a:gd name="T33" fmla="*/ 10122398 h 11"/>
                  <a:gd name="T34" fmla="*/ 0 w 8"/>
                  <a:gd name="T35" fmla="*/ 10122398 h 11"/>
                  <a:gd name="T36" fmla="*/ 0 w 8"/>
                  <a:gd name="T37" fmla="*/ 10122398 h 11"/>
                  <a:gd name="T38" fmla="*/ 0 w 8"/>
                  <a:gd name="T39" fmla="*/ 15184247 h 11"/>
                  <a:gd name="T40" fmla="*/ 0 w 8"/>
                  <a:gd name="T41" fmla="*/ 15184247 h 11"/>
                  <a:gd name="T42" fmla="*/ 0 w 8"/>
                  <a:gd name="T43" fmla="*/ 15184247 h 11"/>
                  <a:gd name="T44" fmla="*/ 0 w 8"/>
                  <a:gd name="T45" fmla="*/ 15184247 h 11"/>
                  <a:gd name="T46" fmla="*/ 0 w 8"/>
                  <a:gd name="T47" fmla="*/ 18558812 h 11"/>
                  <a:gd name="T48" fmla="*/ 0 w 8"/>
                  <a:gd name="T49" fmla="*/ 18558812 h 1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"/>
                  <a:gd name="T76" fmla="*/ 0 h 11"/>
                  <a:gd name="T77" fmla="*/ 8 w 8"/>
                  <a:gd name="T78" fmla="*/ 11 h 1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" h="11">
                    <a:moveTo>
                      <a:pt x="0" y="11"/>
                    </a:moveTo>
                    <a:lnTo>
                      <a:pt x="0" y="9"/>
                    </a:lnTo>
                    <a:lnTo>
                      <a:pt x="5" y="6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1" name="Freeform 1008"/>
              <p:cNvSpPr>
                <a:spLocks noChangeAspect="1"/>
              </p:cNvSpPr>
              <p:nvPr>
                <p:custDataLst>
                  <p:tags r:id="rId289"/>
                </p:custDataLst>
              </p:nvPr>
            </p:nvSpPr>
            <p:spPr bwMode="gray">
              <a:xfrm>
                <a:off x="3589778" y="2773012"/>
                <a:ext cx="10628" cy="14192"/>
              </a:xfrm>
              <a:custGeom>
                <a:avLst/>
                <a:gdLst>
                  <a:gd name="T0" fmla="*/ 0 w 8"/>
                  <a:gd name="T1" fmla="*/ 18558812 h 11"/>
                  <a:gd name="T2" fmla="*/ 0 w 8"/>
                  <a:gd name="T3" fmla="*/ 15184247 h 11"/>
                  <a:gd name="T4" fmla="*/ 9646603 w 8"/>
                  <a:gd name="T5" fmla="*/ 10122398 h 11"/>
                  <a:gd name="T6" fmla="*/ 15434566 w 8"/>
                  <a:gd name="T7" fmla="*/ 0 h 11"/>
                  <a:gd name="T8" fmla="*/ 15434566 w 8"/>
                  <a:gd name="T9" fmla="*/ 0 h 11"/>
                  <a:gd name="T10" fmla="*/ 15434566 w 8"/>
                  <a:gd name="T11" fmla="*/ 0 h 11"/>
                  <a:gd name="T12" fmla="*/ 15434566 w 8"/>
                  <a:gd name="T13" fmla="*/ 5061848 h 11"/>
                  <a:gd name="T14" fmla="*/ 9646603 w 8"/>
                  <a:gd name="T15" fmla="*/ 10122398 h 11"/>
                  <a:gd name="T16" fmla="*/ 9646603 w 8"/>
                  <a:gd name="T17" fmla="*/ 10122398 h 11"/>
                  <a:gd name="T18" fmla="*/ 9646603 w 8"/>
                  <a:gd name="T19" fmla="*/ 10122398 h 11"/>
                  <a:gd name="T20" fmla="*/ 3858642 w 8"/>
                  <a:gd name="T21" fmla="*/ 10122398 h 11"/>
                  <a:gd name="T22" fmla="*/ 3858642 w 8"/>
                  <a:gd name="T23" fmla="*/ 10122398 h 11"/>
                  <a:gd name="T24" fmla="*/ 3858642 w 8"/>
                  <a:gd name="T25" fmla="*/ 10122398 h 11"/>
                  <a:gd name="T26" fmla="*/ 3858642 w 8"/>
                  <a:gd name="T27" fmla="*/ 10122398 h 11"/>
                  <a:gd name="T28" fmla="*/ 3858642 w 8"/>
                  <a:gd name="T29" fmla="*/ 10122398 h 11"/>
                  <a:gd name="T30" fmla="*/ 3858642 w 8"/>
                  <a:gd name="T31" fmla="*/ 10122398 h 11"/>
                  <a:gd name="T32" fmla="*/ 3858642 w 8"/>
                  <a:gd name="T33" fmla="*/ 10122398 h 11"/>
                  <a:gd name="T34" fmla="*/ 0 w 8"/>
                  <a:gd name="T35" fmla="*/ 10122398 h 11"/>
                  <a:gd name="T36" fmla="*/ 0 w 8"/>
                  <a:gd name="T37" fmla="*/ 10122398 h 11"/>
                  <a:gd name="T38" fmla="*/ 0 w 8"/>
                  <a:gd name="T39" fmla="*/ 15184247 h 11"/>
                  <a:gd name="T40" fmla="*/ 0 w 8"/>
                  <a:gd name="T41" fmla="*/ 15184247 h 11"/>
                  <a:gd name="T42" fmla="*/ 0 w 8"/>
                  <a:gd name="T43" fmla="*/ 15184247 h 11"/>
                  <a:gd name="T44" fmla="*/ 0 w 8"/>
                  <a:gd name="T45" fmla="*/ 15184247 h 11"/>
                  <a:gd name="T46" fmla="*/ 0 w 8"/>
                  <a:gd name="T47" fmla="*/ 18558812 h 11"/>
                  <a:gd name="T48" fmla="*/ 0 w 8"/>
                  <a:gd name="T49" fmla="*/ 18558812 h 1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"/>
                  <a:gd name="T76" fmla="*/ 0 h 11"/>
                  <a:gd name="T77" fmla="*/ 8 w 8"/>
                  <a:gd name="T78" fmla="*/ 11 h 1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" h="11">
                    <a:moveTo>
                      <a:pt x="0" y="11"/>
                    </a:moveTo>
                    <a:lnTo>
                      <a:pt x="0" y="9"/>
                    </a:lnTo>
                    <a:lnTo>
                      <a:pt x="5" y="6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2" name="Freeform 1009"/>
              <p:cNvSpPr>
                <a:spLocks noChangeAspect="1"/>
              </p:cNvSpPr>
              <p:nvPr>
                <p:custDataLst>
                  <p:tags r:id="rId290"/>
                </p:custDataLst>
              </p:nvPr>
            </p:nvSpPr>
            <p:spPr bwMode="gray">
              <a:xfrm>
                <a:off x="3589778" y="2768283"/>
                <a:ext cx="24295" cy="34688"/>
              </a:xfrm>
              <a:custGeom>
                <a:avLst/>
                <a:gdLst>
                  <a:gd name="T0" fmla="*/ 28593715 w 19"/>
                  <a:gd name="T1" fmla="*/ 21652156 h 26"/>
                  <a:gd name="T2" fmla="*/ 33955786 w 19"/>
                  <a:gd name="T3" fmla="*/ 16238782 h 26"/>
                  <a:gd name="T4" fmla="*/ 28593715 w 19"/>
                  <a:gd name="T5" fmla="*/ 16238782 h 26"/>
                  <a:gd name="T6" fmla="*/ 28593715 w 19"/>
                  <a:gd name="T7" fmla="*/ 16238782 h 26"/>
                  <a:gd name="T8" fmla="*/ 28593715 w 19"/>
                  <a:gd name="T9" fmla="*/ 10826749 h 26"/>
                  <a:gd name="T10" fmla="*/ 28593715 w 19"/>
                  <a:gd name="T11" fmla="*/ 10826749 h 26"/>
                  <a:gd name="T12" fmla="*/ 28593715 w 19"/>
                  <a:gd name="T13" fmla="*/ 10826749 h 26"/>
                  <a:gd name="T14" fmla="*/ 25020337 w 19"/>
                  <a:gd name="T15" fmla="*/ 5413375 h 26"/>
                  <a:gd name="T16" fmla="*/ 25020337 w 19"/>
                  <a:gd name="T17" fmla="*/ 5413375 h 26"/>
                  <a:gd name="T18" fmla="*/ 25020337 w 19"/>
                  <a:gd name="T19" fmla="*/ 5413375 h 26"/>
                  <a:gd name="T20" fmla="*/ 25020337 w 19"/>
                  <a:gd name="T21" fmla="*/ 0 h 26"/>
                  <a:gd name="T22" fmla="*/ 19658260 w 19"/>
                  <a:gd name="T23" fmla="*/ 21652156 h 26"/>
                  <a:gd name="T24" fmla="*/ 14297526 w 19"/>
                  <a:gd name="T25" fmla="*/ 25261524 h 26"/>
                  <a:gd name="T26" fmla="*/ 14297526 w 19"/>
                  <a:gd name="T27" fmla="*/ 25261524 h 26"/>
                  <a:gd name="T28" fmla="*/ 14297526 w 19"/>
                  <a:gd name="T29" fmla="*/ 25261524 h 26"/>
                  <a:gd name="T30" fmla="*/ 14297526 w 19"/>
                  <a:gd name="T31" fmla="*/ 16238782 h 26"/>
                  <a:gd name="T32" fmla="*/ 19658260 w 19"/>
                  <a:gd name="T33" fmla="*/ 10826749 h 26"/>
                  <a:gd name="T34" fmla="*/ 14297526 w 19"/>
                  <a:gd name="T35" fmla="*/ 5413375 h 26"/>
                  <a:gd name="T36" fmla="*/ 14297526 w 19"/>
                  <a:gd name="T37" fmla="*/ 10826749 h 26"/>
                  <a:gd name="T38" fmla="*/ 8935452 w 19"/>
                  <a:gd name="T39" fmla="*/ 21652156 h 26"/>
                  <a:gd name="T40" fmla="*/ 0 w 19"/>
                  <a:gd name="T41" fmla="*/ 36086928 h 26"/>
                  <a:gd name="T42" fmla="*/ 0 w 19"/>
                  <a:gd name="T43" fmla="*/ 41500301 h 26"/>
                  <a:gd name="T44" fmla="*/ 3574716 w 19"/>
                  <a:gd name="T45" fmla="*/ 41500301 h 26"/>
                  <a:gd name="T46" fmla="*/ 3574716 w 19"/>
                  <a:gd name="T47" fmla="*/ 41500301 h 26"/>
                  <a:gd name="T48" fmla="*/ 3574716 w 19"/>
                  <a:gd name="T49" fmla="*/ 41500301 h 26"/>
                  <a:gd name="T50" fmla="*/ 14297526 w 19"/>
                  <a:gd name="T51" fmla="*/ 25261524 h 26"/>
                  <a:gd name="T52" fmla="*/ 14297526 w 19"/>
                  <a:gd name="T53" fmla="*/ 25261524 h 26"/>
                  <a:gd name="T54" fmla="*/ 8935452 w 19"/>
                  <a:gd name="T55" fmla="*/ 46913685 h 26"/>
                  <a:gd name="T56" fmla="*/ 14297526 w 19"/>
                  <a:gd name="T57" fmla="*/ 36086928 h 26"/>
                  <a:gd name="T58" fmla="*/ 14297526 w 19"/>
                  <a:gd name="T59" fmla="*/ 41500301 h 26"/>
                  <a:gd name="T60" fmla="*/ 14297526 w 19"/>
                  <a:gd name="T61" fmla="*/ 41500301 h 26"/>
                  <a:gd name="T62" fmla="*/ 14297526 w 19"/>
                  <a:gd name="T63" fmla="*/ 41500301 h 26"/>
                  <a:gd name="T64" fmla="*/ 25020337 w 19"/>
                  <a:gd name="T65" fmla="*/ 21652156 h 26"/>
                  <a:gd name="T66" fmla="*/ 19658260 w 19"/>
                  <a:gd name="T67" fmla="*/ 41500301 h 26"/>
                  <a:gd name="T68" fmla="*/ 28593715 w 19"/>
                  <a:gd name="T69" fmla="*/ 21652156 h 26"/>
                  <a:gd name="T70" fmla="*/ 28593715 w 19"/>
                  <a:gd name="T71" fmla="*/ 21652156 h 26"/>
                  <a:gd name="T72" fmla="*/ 28593715 w 19"/>
                  <a:gd name="T73" fmla="*/ 16238782 h 26"/>
                  <a:gd name="T74" fmla="*/ 28593715 w 19"/>
                  <a:gd name="T75" fmla="*/ 16238782 h 26"/>
                  <a:gd name="T76" fmla="*/ 28593715 w 19"/>
                  <a:gd name="T77" fmla="*/ 16238782 h 26"/>
                  <a:gd name="T78" fmla="*/ 28593715 w 19"/>
                  <a:gd name="T79" fmla="*/ 16238782 h 26"/>
                  <a:gd name="T80" fmla="*/ 25020337 w 19"/>
                  <a:gd name="T81" fmla="*/ 36086928 h 26"/>
                  <a:gd name="T82" fmla="*/ 25020337 w 19"/>
                  <a:gd name="T83" fmla="*/ 41500301 h 2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9"/>
                  <a:gd name="T127" fmla="*/ 0 h 26"/>
                  <a:gd name="T128" fmla="*/ 19 w 19"/>
                  <a:gd name="T129" fmla="*/ 26 h 2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9" h="26">
                    <a:moveTo>
                      <a:pt x="14" y="20"/>
                    </a:moveTo>
                    <a:lnTo>
                      <a:pt x="16" y="12"/>
                    </a:lnTo>
                    <a:lnTo>
                      <a:pt x="19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1" y="12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9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9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8" y="14"/>
                    </a:lnTo>
                    <a:lnTo>
                      <a:pt x="5" y="26"/>
                    </a:lnTo>
                    <a:lnTo>
                      <a:pt x="5" y="23"/>
                    </a:lnTo>
                    <a:lnTo>
                      <a:pt x="8" y="20"/>
                    </a:lnTo>
                    <a:lnTo>
                      <a:pt x="8" y="23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1" y="23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4" y="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3" name="Freeform 1010"/>
              <p:cNvSpPr>
                <a:spLocks noChangeAspect="1"/>
              </p:cNvSpPr>
              <p:nvPr>
                <p:custDataLst>
                  <p:tags r:id="rId291"/>
                </p:custDataLst>
              </p:nvPr>
            </p:nvSpPr>
            <p:spPr bwMode="gray">
              <a:xfrm>
                <a:off x="3589778" y="2768283"/>
                <a:ext cx="24295" cy="34688"/>
              </a:xfrm>
              <a:custGeom>
                <a:avLst/>
                <a:gdLst>
                  <a:gd name="T0" fmla="*/ 28593715 w 19"/>
                  <a:gd name="T1" fmla="*/ 21652156 h 26"/>
                  <a:gd name="T2" fmla="*/ 33955786 w 19"/>
                  <a:gd name="T3" fmla="*/ 16238782 h 26"/>
                  <a:gd name="T4" fmla="*/ 28593715 w 19"/>
                  <a:gd name="T5" fmla="*/ 16238782 h 26"/>
                  <a:gd name="T6" fmla="*/ 28593715 w 19"/>
                  <a:gd name="T7" fmla="*/ 16238782 h 26"/>
                  <a:gd name="T8" fmla="*/ 28593715 w 19"/>
                  <a:gd name="T9" fmla="*/ 10826749 h 26"/>
                  <a:gd name="T10" fmla="*/ 28593715 w 19"/>
                  <a:gd name="T11" fmla="*/ 10826749 h 26"/>
                  <a:gd name="T12" fmla="*/ 28593715 w 19"/>
                  <a:gd name="T13" fmla="*/ 10826749 h 26"/>
                  <a:gd name="T14" fmla="*/ 25020337 w 19"/>
                  <a:gd name="T15" fmla="*/ 5413375 h 26"/>
                  <a:gd name="T16" fmla="*/ 25020337 w 19"/>
                  <a:gd name="T17" fmla="*/ 5413375 h 26"/>
                  <a:gd name="T18" fmla="*/ 25020337 w 19"/>
                  <a:gd name="T19" fmla="*/ 5413375 h 26"/>
                  <a:gd name="T20" fmla="*/ 25020337 w 19"/>
                  <a:gd name="T21" fmla="*/ 0 h 26"/>
                  <a:gd name="T22" fmla="*/ 19658260 w 19"/>
                  <a:gd name="T23" fmla="*/ 21652156 h 26"/>
                  <a:gd name="T24" fmla="*/ 14297526 w 19"/>
                  <a:gd name="T25" fmla="*/ 25261524 h 26"/>
                  <a:gd name="T26" fmla="*/ 14297526 w 19"/>
                  <a:gd name="T27" fmla="*/ 25261524 h 26"/>
                  <a:gd name="T28" fmla="*/ 14297526 w 19"/>
                  <a:gd name="T29" fmla="*/ 25261524 h 26"/>
                  <a:gd name="T30" fmla="*/ 14297526 w 19"/>
                  <a:gd name="T31" fmla="*/ 16238782 h 26"/>
                  <a:gd name="T32" fmla="*/ 19658260 w 19"/>
                  <a:gd name="T33" fmla="*/ 10826749 h 26"/>
                  <a:gd name="T34" fmla="*/ 14297526 w 19"/>
                  <a:gd name="T35" fmla="*/ 5413375 h 26"/>
                  <a:gd name="T36" fmla="*/ 14297526 w 19"/>
                  <a:gd name="T37" fmla="*/ 10826749 h 26"/>
                  <a:gd name="T38" fmla="*/ 8935452 w 19"/>
                  <a:gd name="T39" fmla="*/ 21652156 h 26"/>
                  <a:gd name="T40" fmla="*/ 0 w 19"/>
                  <a:gd name="T41" fmla="*/ 36086928 h 26"/>
                  <a:gd name="T42" fmla="*/ 0 w 19"/>
                  <a:gd name="T43" fmla="*/ 41500301 h 26"/>
                  <a:gd name="T44" fmla="*/ 3574716 w 19"/>
                  <a:gd name="T45" fmla="*/ 41500301 h 26"/>
                  <a:gd name="T46" fmla="*/ 3574716 w 19"/>
                  <a:gd name="T47" fmla="*/ 41500301 h 26"/>
                  <a:gd name="T48" fmla="*/ 3574716 w 19"/>
                  <a:gd name="T49" fmla="*/ 41500301 h 26"/>
                  <a:gd name="T50" fmla="*/ 14297526 w 19"/>
                  <a:gd name="T51" fmla="*/ 25261524 h 26"/>
                  <a:gd name="T52" fmla="*/ 14297526 w 19"/>
                  <a:gd name="T53" fmla="*/ 25261524 h 26"/>
                  <a:gd name="T54" fmla="*/ 8935452 w 19"/>
                  <a:gd name="T55" fmla="*/ 46913685 h 26"/>
                  <a:gd name="T56" fmla="*/ 14297526 w 19"/>
                  <a:gd name="T57" fmla="*/ 36086928 h 26"/>
                  <a:gd name="T58" fmla="*/ 14297526 w 19"/>
                  <a:gd name="T59" fmla="*/ 41500301 h 26"/>
                  <a:gd name="T60" fmla="*/ 14297526 w 19"/>
                  <a:gd name="T61" fmla="*/ 41500301 h 26"/>
                  <a:gd name="T62" fmla="*/ 14297526 w 19"/>
                  <a:gd name="T63" fmla="*/ 41500301 h 26"/>
                  <a:gd name="T64" fmla="*/ 25020337 w 19"/>
                  <a:gd name="T65" fmla="*/ 21652156 h 26"/>
                  <a:gd name="T66" fmla="*/ 19658260 w 19"/>
                  <a:gd name="T67" fmla="*/ 41500301 h 26"/>
                  <a:gd name="T68" fmla="*/ 28593715 w 19"/>
                  <a:gd name="T69" fmla="*/ 21652156 h 26"/>
                  <a:gd name="T70" fmla="*/ 28593715 w 19"/>
                  <a:gd name="T71" fmla="*/ 21652156 h 26"/>
                  <a:gd name="T72" fmla="*/ 28593715 w 19"/>
                  <a:gd name="T73" fmla="*/ 16238782 h 26"/>
                  <a:gd name="T74" fmla="*/ 28593715 w 19"/>
                  <a:gd name="T75" fmla="*/ 16238782 h 26"/>
                  <a:gd name="T76" fmla="*/ 28593715 w 19"/>
                  <a:gd name="T77" fmla="*/ 16238782 h 26"/>
                  <a:gd name="T78" fmla="*/ 28593715 w 19"/>
                  <a:gd name="T79" fmla="*/ 16238782 h 26"/>
                  <a:gd name="T80" fmla="*/ 25020337 w 19"/>
                  <a:gd name="T81" fmla="*/ 36086928 h 26"/>
                  <a:gd name="T82" fmla="*/ 25020337 w 19"/>
                  <a:gd name="T83" fmla="*/ 41500301 h 2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9"/>
                  <a:gd name="T127" fmla="*/ 0 h 26"/>
                  <a:gd name="T128" fmla="*/ 19 w 19"/>
                  <a:gd name="T129" fmla="*/ 26 h 2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9" h="26">
                    <a:moveTo>
                      <a:pt x="14" y="20"/>
                    </a:moveTo>
                    <a:lnTo>
                      <a:pt x="16" y="12"/>
                    </a:lnTo>
                    <a:lnTo>
                      <a:pt x="19" y="9"/>
                    </a:lnTo>
                    <a:lnTo>
                      <a:pt x="16" y="9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1" y="12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9"/>
                    </a:lnTo>
                    <a:lnTo>
                      <a:pt x="11" y="6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8" y="9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0" y="20"/>
                    </a:lnTo>
                    <a:lnTo>
                      <a:pt x="2" y="23"/>
                    </a:lnTo>
                    <a:lnTo>
                      <a:pt x="8" y="14"/>
                    </a:lnTo>
                    <a:lnTo>
                      <a:pt x="5" y="26"/>
                    </a:lnTo>
                    <a:lnTo>
                      <a:pt x="5" y="23"/>
                    </a:lnTo>
                    <a:lnTo>
                      <a:pt x="8" y="20"/>
                    </a:lnTo>
                    <a:lnTo>
                      <a:pt x="8" y="23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1" y="23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6" y="9"/>
                    </a:lnTo>
                    <a:lnTo>
                      <a:pt x="14" y="20"/>
                    </a:lnTo>
                    <a:lnTo>
                      <a:pt x="14" y="23"/>
                    </a:lnTo>
                    <a:lnTo>
                      <a:pt x="14" y="2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4" name="Freeform 1011"/>
              <p:cNvSpPr>
                <a:spLocks noChangeAspect="1"/>
              </p:cNvSpPr>
              <p:nvPr>
                <p:custDataLst>
                  <p:tags r:id="rId292"/>
                </p:custDataLst>
              </p:nvPr>
            </p:nvSpPr>
            <p:spPr bwMode="gray">
              <a:xfrm>
                <a:off x="3611036" y="2776165"/>
                <a:ext cx="7592" cy="11038"/>
              </a:xfrm>
              <a:custGeom>
                <a:avLst/>
                <a:gdLst>
                  <a:gd name="T0" fmla="*/ 5250325 w 6"/>
                  <a:gd name="T1" fmla="*/ 15437344 h 8"/>
                  <a:gd name="T2" fmla="*/ 5250325 w 6"/>
                  <a:gd name="T3" fmla="*/ 15437344 h 8"/>
                  <a:gd name="T4" fmla="*/ 5250325 w 6"/>
                  <a:gd name="T5" fmla="*/ 15437344 h 8"/>
                  <a:gd name="T6" fmla="*/ 5250325 w 6"/>
                  <a:gd name="T7" fmla="*/ 15437344 h 8"/>
                  <a:gd name="T8" fmla="*/ 5250325 w 6"/>
                  <a:gd name="T9" fmla="*/ 15437344 h 8"/>
                  <a:gd name="T10" fmla="*/ 10499327 w 6"/>
                  <a:gd name="T11" fmla="*/ 15437344 h 8"/>
                  <a:gd name="T12" fmla="*/ 10499327 w 6"/>
                  <a:gd name="T13" fmla="*/ 15437344 h 8"/>
                  <a:gd name="T14" fmla="*/ 10499327 w 6"/>
                  <a:gd name="T15" fmla="*/ 15437344 h 8"/>
                  <a:gd name="T16" fmla="*/ 10499327 w 6"/>
                  <a:gd name="T17" fmla="*/ 11578357 h 8"/>
                  <a:gd name="T18" fmla="*/ 10499327 w 6"/>
                  <a:gd name="T19" fmla="*/ 11578357 h 8"/>
                  <a:gd name="T20" fmla="*/ 10499327 w 6"/>
                  <a:gd name="T21" fmla="*/ 11578357 h 8"/>
                  <a:gd name="T22" fmla="*/ 10499327 w 6"/>
                  <a:gd name="T23" fmla="*/ 11578357 h 8"/>
                  <a:gd name="T24" fmla="*/ 10499327 w 6"/>
                  <a:gd name="T25" fmla="*/ 11578357 h 8"/>
                  <a:gd name="T26" fmla="*/ 10499327 w 6"/>
                  <a:gd name="T27" fmla="*/ 0 h 8"/>
                  <a:gd name="T28" fmla="*/ 10499327 w 6"/>
                  <a:gd name="T29" fmla="*/ 0 h 8"/>
                  <a:gd name="T30" fmla="*/ 10499327 w 6"/>
                  <a:gd name="T31" fmla="*/ 0 h 8"/>
                  <a:gd name="T32" fmla="*/ 5250325 w 6"/>
                  <a:gd name="T33" fmla="*/ 0 h 8"/>
                  <a:gd name="T34" fmla="*/ 5250325 w 6"/>
                  <a:gd name="T35" fmla="*/ 5788484 h 8"/>
                  <a:gd name="T36" fmla="*/ 5250325 w 6"/>
                  <a:gd name="T37" fmla="*/ 5788484 h 8"/>
                  <a:gd name="T38" fmla="*/ 5250325 w 6"/>
                  <a:gd name="T39" fmla="*/ 5788484 h 8"/>
                  <a:gd name="T40" fmla="*/ 5250325 w 6"/>
                  <a:gd name="T41" fmla="*/ 5788484 h 8"/>
                  <a:gd name="T42" fmla="*/ 5250325 w 6"/>
                  <a:gd name="T43" fmla="*/ 5788484 h 8"/>
                  <a:gd name="T44" fmla="*/ 5250325 w 6"/>
                  <a:gd name="T45" fmla="*/ 5788484 h 8"/>
                  <a:gd name="T46" fmla="*/ 5250325 w 6"/>
                  <a:gd name="T47" fmla="*/ 11578357 h 8"/>
                  <a:gd name="T48" fmla="*/ 5250325 w 6"/>
                  <a:gd name="T49" fmla="*/ 11578357 h 8"/>
                  <a:gd name="T50" fmla="*/ 5250325 w 6"/>
                  <a:gd name="T51" fmla="*/ 11578357 h 8"/>
                  <a:gd name="T52" fmla="*/ 0 w 6"/>
                  <a:gd name="T53" fmla="*/ 15437344 h 8"/>
                  <a:gd name="T54" fmla="*/ 0 w 6"/>
                  <a:gd name="T55" fmla="*/ 15437344 h 8"/>
                  <a:gd name="T56" fmla="*/ 5250325 w 6"/>
                  <a:gd name="T57" fmla="*/ 15437344 h 8"/>
                  <a:gd name="T58" fmla="*/ 5250325 w 6"/>
                  <a:gd name="T59" fmla="*/ 15437344 h 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"/>
                  <a:gd name="T91" fmla="*/ 0 h 8"/>
                  <a:gd name="T92" fmla="*/ 6 w 6"/>
                  <a:gd name="T93" fmla="*/ 8 h 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" h="8">
                    <a:moveTo>
                      <a:pt x="3" y="8"/>
                    </a:moveTo>
                    <a:lnTo>
                      <a:pt x="3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8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5" name="Freeform 1012"/>
              <p:cNvSpPr>
                <a:spLocks noChangeAspect="1"/>
              </p:cNvSpPr>
              <p:nvPr>
                <p:custDataLst>
                  <p:tags r:id="rId293"/>
                </p:custDataLst>
              </p:nvPr>
            </p:nvSpPr>
            <p:spPr bwMode="gray">
              <a:xfrm>
                <a:off x="3611036" y="2776165"/>
                <a:ext cx="7592" cy="11038"/>
              </a:xfrm>
              <a:custGeom>
                <a:avLst/>
                <a:gdLst>
                  <a:gd name="T0" fmla="*/ 5250325 w 6"/>
                  <a:gd name="T1" fmla="*/ 15437344 h 8"/>
                  <a:gd name="T2" fmla="*/ 5250325 w 6"/>
                  <a:gd name="T3" fmla="*/ 15437344 h 8"/>
                  <a:gd name="T4" fmla="*/ 5250325 w 6"/>
                  <a:gd name="T5" fmla="*/ 15437344 h 8"/>
                  <a:gd name="T6" fmla="*/ 5250325 w 6"/>
                  <a:gd name="T7" fmla="*/ 15437344 h 8"/>
                  <a:gd name="T8" fmla="*/ 5250325 w 6"/>
                  <a:gd name="T9" fmla="*/ 15437344 h 8"/>
                  <a:gd name="T10" fmla="*/ 10499327 w 6"/>
                  <a:gd name="T11" fmla="*/ 15437344 h 8"/>
                  <a:gd name="T12" fmla="*/ 10499327 w 6"/>
                  <a:gd name="T13" fmla="*/ 15437344 h 8"/>
                  <a:gd name="T14" fmla="*/ 10499327 w 6"/>
                  <a:gd name="T15" fmla="*/ 15437344 h 8"/>
                  <a:gd name="T16" fmla="*/ 10499327 w 6"/>
                  <a:gd name="T17" fmla="*/ 11578357 h 8"/>
                  <a:gd name="T18" fmla="*/ 10499327 w 6"/>
                  <a:gd name="T19" fmla="*/ 11578357 h 8"/>
                  <a:gd name="T20" fmla="*/ 10499327 w 6"/>
                  <a:gd name="T21" fmla="*/ 11578357 h 8"/>
                  <a:gd name="T22" fmla="*/ 10499327 w 6"/>
                  <a:gd name="T23" fmla="*/ 11578357 h 8"/>
                  <a:gd name="T24" fmla="*/ 10499327 w 6"/>
                  <a:gd name="T25" fmla="*/ 11578357 h 8"/>
                  <a:gd name="T26" fmla="*/ 10499327 w 6"/>
                  <a:gd name="T27" fmla="*/ 0 h 8"/>
                  <a:gd name="T28" fmla="*/ 10499327 w 6"/>
                  <a:gd name="T29" fmla="*/ 0 h 8"/>
                  <a:gd name="T30" fmla="*/ 10499327 w 6"/>
                  <a:gd name="T31" fmla="*/ 0 h 8"/>
                  <a:gd name="T32" fmla="*/ 5250325 w 6"/>
                  <a:gd name="T33" fmla="*/ 0 h 8"/>
                  <a:gd name="T34" fmla="*/ 5250325 w 6"/>
                  <a:gd name="T35" fmla="*/ 5788484 h 8"/>
                  <a:gd name="T36" fmla="*/ 5250325 w 6"/>
                  <a:gd name="T37" fmla="*/ 5788484 h 8"/>
                  <a:gd name="T38" fmla="*/ 5250325 w 6"/>
                  <a:gd name="T39" fmla="*/ 5788484 h 8"/>
                  <a:gd name="T40" fmla="*/ 5250325 w 6"/>
                  <a:gd name="T41" fmla="*/ 5788484 h 8"/>
                  <a:gd name="T42" fmla="*/ 5250325 w 6"/>
                  <a:gd name="T43" fmla="*/ 5788484 h 8"/>
                  <a:gd name="T44" fmla="*/ 5250325 w 6"/>
                  <a:gd name="T45" fmla="*/ 5788484 h 8"/>
                  <a:gd name="T46" fmla="*/ 5250325 w 6"/>
                  <a:gd name="T47" fmla="*/ 11578357 h 8"/>
                  <a:gd name="T48" fmla="*/ 5250325 w 6"/>
                  <a:gd name="T49" fmla="*/ 11578357 h 8"/>
                  <a:gd name="T50" fmla="*/ 5250325 w 6"/>
                  <a:gd name="T51" fmla="*/ 11578357 h 8"/>
                  <a:gd name="T52" fmla="*/ 0 w 6"/>
                  <a:gd name="T53" fmla="*/ 15437344 h 8"/>
                  <a:gd name="T54" fmla="*/ 0 w 6"/>
                  <a:gd name="T55" fmla="*/ 15437344 h 8"/>
                  <a:gd name="T56" fmla="*/ 5250325 w 6"/>
                  <a:gd name="T57" fmla="*/ 15437344 h 8"/>
                  <a:gd name="T58" fmla="*/ 5250325 w 6"/>
                  <a:gd name="T59" fmla="*/ 15437344 h 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"/>
                  <a:gd name="T91" fmla="*/ 0 h 8"/>
                  <a:gd name="T92" fmla="*/ 6 w 6"/>
                  <a:gd name="T93" fmla="*/ 8 h 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" h="8">
                    <a:moveTo>
                      <a:pt x="3" y="8"/>
                    </a:moveTo>
                    <a:lnTo>
                      <a:pt x="3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0" y="8"/>
                    </a:lnTo>
                    <a:lnTo>
                      <a:pt x="3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6" name="Freeform 1013"/>
              <p:cNvSpPr>
                <a:spLocks noChangeAspect="1"/>
              </p:cNvSpPr>
              <p:nvPr>
                <p:custDataLst>
                  <p:tags r:id="rId294"/>
                </p:custDataLst>
              </p:nvPr>
            </p:nvSpPr>
            <p:spPr bwMode="gray">
              <a:xfrm>
                <a:off x="3270902" y="1886885"/>
                <a:ext cx="112366" cy="149790"/>
              </a:xfrm>
              <a:custGeom>
                <a:avLst/>
                <a:gdLst>
                  <a:gd name="T0" fmla="*/ 67173842 w 86"/>
                  <a:gd name="T1" fmla="*/ 0 h 117"/>
                  <a:gd name="T2" fmla="*/ 61576023 w 86"/>
                  <a:gd name="T3" fmla="*/ 0 h 117"/>
                  <a:gd name="T4" fmla="*/ 55978205 w 86"/>
                  <a:gd name="T5" fmla="*/ 9969126 h 117"/>
                  <a:gd name="T6" fmla="*/ 52246326 w 86"/>
                  <a:gd name="T7" fmla="*/ 0 h 117"/>
                  <a:gd name="T8" fmla="*/ 35452860 w 86"/>
                  <a:gd name="T9" fmla="*/ 9969126 h 117"/>
                  <a:gd name="T10" fmla="*/ 20525339 w 86"/>
                  <a:gd name="T11" fmla="*/ 14953690 h 117"/>
                  <a:gd name="T12" fmla="*/ 14927521 w 86"/>
                  <a:gd name="T13" fmla="*/ 23261298 h 117"/>
                  <a:gd name="T14" fmla="*/ 20525339 w 86"/>
                  <a:gd name="T15" fmla="*/ 33230421 h 117"/>
                  <a:gd name="T16" fmla="*/ 26123163 w 86"/>
                  <a:gd name="T17" fmla="*/ 33230421 h 117"/>
                  <a:gd name="T18" fmla="*/ 20525339 w 86"/>
                  <a:gd name="T19" fmla="*/ 33230421 h 117"/>
                  <a:gd name="T20" fmla="*/ 26123163 w 86"/>
                  <a:gd name="T21" fmla="*/ 46522596 h 117"/>
                  <a:gd name="T22" fmla="*/ 29855042 w 86"/>
                  <a:gd name="T23" fmla="*/ 46522596 h 117"/>
                  <a:gd name="T24" fmla="*/ 26123163 w 86"/>
                  <a:gd name="T25" fmla="*/ 51507158 h 117"/>
                  <a:gd name="T26" fmla="*/ 14927521 w 86"/>
                  <a:gd name="T27" fmla="*/ 38214983 h 117"/>
                  <a:gd name="T28" fmla="*/ 9329700 w 86"/>
                  <a:gd name="T29" fmla="*/ 38214983 h 117"/>
                  <a:gd name="T30" fmla="*/ 0 w 86"/>
                  <a:gd name="T31" fmla="*/ 46522596 h 117"/>
                  <a:gd name="T32" fmla="*/ 3731880 w 86"/>
                  <a:gd name="T33" fmla="*/ 51507158 h 117"/>
                  <a:gd name="T34" fmla="*/ 3731880 w 86"/>
                  <a:gd name="T35" fmla="*/ 56491719 h 117"/>
                  <a:gd name="T36" fmla="*/ 3731880 w 86"/>
                  <a:gd name="T37" fmla="*/ 61476281 h 117"/>
                  <a:gd name="T38" fmla="*/ 3731880 w 86"/>
                  <a:gd name="T39" fmla="*/ 79753007 h 117"/>
                  <a:gd name="T40" fmla="*/ 9329700 w 86"/>
                  <a:gd name="T41" fmla="*/ 98029754 h 117"/>
                  <a:gd name="T42" fmla="*/ 3731880 w 86"/>
                  <a:gd name="T43" fmla="*/ 103014315 h 117"/>
                  <a:gd name="T44" fmla="*/ 3731880 w 86"/>
                  <a:gd name="T45" fmla="*/ 116306480 h 117"/>
                  <a:gd name="T46" fmla="*/ 3731880 w 86"/>
                  <a:gd name="T47" fmla="*/ 126275603 h 117"/>
                  <a:gd name="T48" fmla="*/ 3731880 w 86"/>
                  <a:gd name="T49" fmla="*/ 134583206 h 117"/>
                  <a:gd name="T50" fmla="*/ 14927521 w 86"/>
                  <a:gd name="T51" fmla="*/ 139567768 h 117"/>
                  <a:gd name="T52" fmla="*/ 20525339 w 86"/>
                  <a:gd name="T53" fmla="*/ 152859932 h 117"/>
                  <a:gd name="T54" fmla="*/ 14927521 w 86"/>
                  <a:gd name="T55" fmla="*/ 176121261 h 117"/>
                  <a:gd name="T56" fmla="*/ 26123163 w 86"/>
                  <a:gd name="T57" fmla="*/ 181105822 h 117"/>
                  <a:gd name="T58" fmla="*/ 20525339 w 86"/>
                  <a:gd name="T59" fmla="*/ 186090384 h 117"/>
                  <a:gd name="T60" fmla="*/ 20525339 w 86"/>
                  <a:gd name="T61" fmla="*/ 194397987 h 117"/>
                  <a:gd name="T62" fmla="*/ 35452860 w 86"/>
                  <a:gd name="T63" fmla="*/ 194397987 h 117"/>
                  <a:gd name="T64" fmla="*/ 46648508 w 86"/>
                  <a:gd name="T65" fmla="*/ 194397987 h 117"/>
                  <a:gd name="T66" fmla="*/ 52246326 w 86"/>
                  <a:gd name="T67" fmla="*/ 191074946 h 117"/>
                  <a:gd name="T68" fmla="*/ 46648508 w 86"/>
                  <a:gd name="T69" fmla="*/ 191074946 h 117"/>
                  <a:gd name="T70" fmla="*/ 52246326 w 86"/>
                  <a:gd name="T71" fmla="*/ 186090384 h 117"/>
                  <a:gd name="T72" fmla="*/ 55978205 w 86"/>
                  <a:gd name="T73" fmla="*/ 167813618 h 117"/>
                  <a:gd name="T74" fmla="*/ 61576023 w 86"/>
                  <a:gd name="T75" fmla="*/ 162829056 h 117"/>
                  <a:gd name="T76" fmla="*/ 61576023 w 86"/>
                  <a:gd name="T77" fmla="*/ 139567768 h 117"/>
                  <a:gd name="T78" fmla="*/ 55978205 w 86"/>
                  <a:gd name="T79" fmla="*/ 129598644 h 117"/>
                  <a:gd name="T80" fmla="*/ 46648508 w 86"/>
                  <a:gd name="T81" fmla="*/ 129598644 h 117"/>
                  <a:gd name="T82" fmla="*/ 41050679 w 86"/>
                  <a:gd name="T83" fmla="*/ 134583206 h 117"/>
                  <a:gd name="T84" fmla="*/ 46648508 w 86"/>
                  <a:gd name="T85" fmla="*/ 126275603 h 117"/>
                  <a:gd name="T86" fmla="*/ 67173842 w 86"/>
                  <a:gd name="T87" fmla="*/ 126275603 h 117"/>
                  <a:gd name="T88" fmla="*/ 72771660 w 86"/>
                  <a:gd name="T89" fmla="*/ 126275603 h 117"/>
                  <a:gd name="T90" fmla="*/ 76503539 w 86"/>
                  <a:gd name="T91" fmla="*/ 129598644 h 117"/>
                  <a:gd name="T92" fmla="*/ 87697810 w 86"/>
                  <a:gd name="T93" fmla="*/ 129598644 h 117"/>
                  <a:gd name="T94" fmla="*/ 102625347 w 86"/>
                  <a:gd name="T95" fmla="*/ 134583206 h 117"/>
                  <a:gd name="T96" fmla="*/ 113820983 w 86"/>
                  <a:gd name="T97" fmla="*/ 121291042 h 117"/>
                  <a:gd name="T98" fmla="*/ 119418802 w 86"/>
                  <a:gd name="T99" fmla="*/ 111321918 h 117"/>
                  <a:gd name="T100" fmla="*/ 128748499 w 86"/>
                  <a:gd name="T101" fmla="*/ 93045192 h 117"/>
                  <a:gd name="T102" fmla="*/ 119418802 w 86"/>
                  <a:gd name="T103" fmla="*/ 88060630 h 117"/>
                  <a:gd name="T104" fmla="*/ 128748499 w 86"/>
                  <a:gd name="T105" fmla="*/ 84737589 h 117"/>
                  <a:gd name="T106" fmla="*/ 139944136 w 86"/>
                  <a:gd name="T107" fmla="*/ 56491719 h 117"/>
                  <a:gd name="T108" fmla="*/ 154871651 w 86"/>
                  <a:gd name="T109" fmla="*/ 33230421 h 117"/>
                  <a:gd name="T110" fmla="*/ 160469470 w 86"/>
                  <a:gd name="T111" fmla="*/ 33230421 h 117"/>
                  <a:gd name="T112" fmla="*/ 160469470 w 86"/>
                  <a:gd name="T113" fmla="*/ 23261298 h 117"/>
                  <a:gd name="T114" fmla="*/ 128748499 w 86"/>
                  <a:gd name="T115" fmla="*/ 14953690 h 117"/>
                  <a:gd name="T116" fmla="*/ 113820983 w 86"/>
                  <a:gd name="T117" fmla="*/ 14953690 h 117"/>
                  <a:gd name="T118" fmla="*/ 102625347 w 86"/>
                  <a:gd name="T119" fmla="*/ 19938252 h 117"/>
                  <a:gd name="T120" fmla="*/ 98893468 w 86"/>
                  <a:gd name="T121" fmla="*/ 14953690 h 117"/>
                  <a:gd name="T122" fmla="*/ 87697810 w 86"/>
                  <a:gd name="T123" fmla="*/ 9969126 h 117"/>
                  <a:gd name="T124" fmla="*/ 72771660 w 86"/>
                  <a:gd name="T125" fmla="*/ 0 h 11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6"/>
                  <a:gd name="T190" fmla="*/ 0 h 117"/>
                  <a:gd name="T191" fmla="*/ 86 w 86"/>
                  <a:gd name="T192" fmla="*/ 117 h 11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6" h="117">
                    <a:moveTo>
                      <a:pt x="39" y="0"/>
                    </a:moveTo>
                    <a:lnTo>
                      <a:pt x="39" y="0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0" y="6"/>
                    </a:lnTo>
                    <a:lnTo>
                      <a:pt x="30" y="3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19" y="3"/>
                    </a:lnTo>
                    <a:lnTo>
                      <a:pt x="19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1" y="9"/>
                    </a:lnTo>
                    <a:lnTo>
                      <a:pt x="8" y="9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11" y="20"/>
                    </a:lnTo>
                    <a:lnTo>
                      <a:pt x="11" y="17"/>
                    </a:lnTo>
                    <a:lnTo>
                      <a:pt x="14" y="20"/>
                    </a:lnTo>
                    <a:lnTo>
                      <a:pt x="11" y="20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6" y="31"/>
                    </a:lnTo>
                    <a:lnTo>
                      <a:pt x="16" y="28"/>
                    </a:lnTo>
                    <a:lnTo>
                      <a:pt x="14" y="31"/>
                    </a:lnTo>
                    <a:lnTo>
                      <a:pt x="11" y="28"/>
                    </a:lnTo>
                    <a:lnTo>
                      <a:pt x="8" y="23"/>
                    </a:lnTo>
                    <a:lnTo>
                      <a:pt x="5" y="23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2" y="34"/>
                    </a:lnTo>
                    <a:lnTo>
                      <a:pt x="2" y="37"/>
                    </a:lnTo>
                    <a:lnTo>
                      <a:pt x="2" y="39"/>
                    </a:lnTo>
                    <a:lnTo>
                      <a:pt x="2" y="45"/>
                    </a:lnTo>
                    <a:lnTo>
                      <a:pt x="2" y="48"/>
                    </a:lnTo>
                    <a:lnTo>
                      <a:pt x="2" y="56"/>
                    </a:lnTo>
                    <a:lnTo>
                      <a:pt x="5" y="59"/>
                    </a:lnTo>
                    <a:lnTo>
                      <a:pt x="2" y="59"/>
                    </a:lnTo>
                    <a:lnTo>
                      <a:pt x="2" y="62"/>
                    </a:lnTo>
                    <a:lnTo>
                      <a:pt x="0" y="65"/>
                    </a:lnTo>
                    <a:lnTo>
                      <a:pt x="2" y="70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2" y="81"/>
                    </a:lnTo>
                    <a:lnTo>
                      <a:pt x="5" y="81"/>
                    </a:lnTo>
                    <a:lnTo>
                      <a:pt x="8" y="84"/>
                    </a:lnTo>
                    <a:lnTo>
                      <a:pt x="8" y="90"/>
                    </a:lnTo>
                    <a:lnTo>
                      <a:pt x="8" y="92"/>
                    </a:lnTo>
                    <a:lnTo>
                      <a:pt x="11" y="92"/>
                    </a:lnTo>
                    <a:lnTo>
                      <a:pt x="8" y="95"/>
                    </a:lnTo>
                    <a:lnTo>
                      <a:pt x="8" y="98"/>
                    </a:lnTo>
                    <a:lnTo>
                      <a:pt x="8" y="106"/>
                    </a:lnTo>
                    <a:lnTo>
                      <a:pt x="8" y="109"/>
                    </a:lnTo>
                    <a:lnTo>
                      <a:pt x="11" y="109"/>
                    </a:lnTo>
                    <a:lnTo>
                      <a:pt x="14" y="109"/>
                    </a:lnTo>
                    <a:lnTo>
                      <a:pt x="16" y="109"/>
                    </a:lnTo>
                    <a:lnTo>
                      <a:pt x="11" y="109"/>
                    </a:lnTo>
                    <a:lnTo>
                      <a:pt x="11" y="112"/>
                    </a:lnTo>
                    <a:lnTo>
                      <a:pt x="8" y="117"/>
                    </a:lnTo>
                    <a:lnTo>
                      <a:pt x="11" y="117"/>
                    </a:lnTo>
                    <a:lnTo>
                      <a:pt x="16" y="115"/>
                    </a:lnTo>
                    <a:lnTo>
                      <a:pt x="19" y="117"/>
                    </a:lnTo>
                    <a:lnTo>
                      <a:pt x="19" y="115"/>
                    </a:lnTo>
                    <a:lnTo>
                      <a:pt x="22" y="115"/>
                    </a:lnTo>
                    <a:lnTo>
                      <a:pt x="25" y="117"/>
                    </a:lnTo>
                    <a:lnTo>
                      <a:pt x="28" y="117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28" y="112"/>
                    </a:lnTo>
                    <a:lnTo>
                      <a:pt x="28" y="109"/>
                    </a:lnTo>
                    <a:lnTo>
                      <a:pt x="30" y="101"/>
                    </a:lnTo>
                    <a:lnTo>
                      <a:pt x="33" y="101"/>
                    </a:lnTo>
                    <a:lnTo>
                      <a:pt x="33" y="98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3" y="84"/>
                    </a:lnTo>
                    <a:lnTo>
                      <a:pt x="30" y="84"/>
                    </a:lnTo>
                    <a:lnTo>
                      <a:pt x="30" y="78"/>
                    </a:lnTo>
                    <a:lnTo>
                      <a:pt x="30" y="81"/>
                    </a:lnTo>
                    <a:lnTo>
                      <a:pt x="28" y="81"/>
                    </a:lnTo>
                    <a:lnTo>
                      <a:pt x="25" y="78"/>
                    </a:lnTo>
                    <a:lnTo>
                      <a:pt x="22" y="81"/>
                    </a:lnTo>
                    <a:lnTo>
                      <a:pt x="22" y="78"/>
                    </a:lnTo>
                    <a:lnTo>
                      <a:pt x="25" y="76"/>
                    </a:lnTo>
                    <a:lnTo>
                      <a:pt x="25" y="78"/>
                    </a:lnTo>
                    <a:lnTo>
                      <a:pt x="33" y="76"/>
                    </a:lnTo>
                    <a:lnTo>
                      <a:pt x="36" y="76"/>
                    </a:lnTo>
                    <a:lnTo>
                      <a:pt x="39" y="76"/>
                    </a:lnTo>
                    <a:lnTo>
                      <a:pt x="41" y="76"/>
                    </a:lnTo>
                    <a:lnTo>
                      <a:pt x="41" y="78"/>
                    </a:lnTo>
                    <a:lnTo>
                      <a:pt x="44" y="78"/>
                    </a:lnTo>
                    <a:lnTo>
                      <a:pt x="47" y="78"/>
                    </a:lnTo>
                    <a:lnTo>
                      <a:pt x="50" y="78"/>
                    </a:lnTo>
                    <a:lnTo>
                      <a:pt x="53" y="81"/>
                    </a:lnTo>
                    <a:lnTo>
                      <a:pt x="55" y="81"/>
                    </a:lnTo>
                    <a:lnTo>
                      <a:pt x="58" y="78"/>
                    </a:lnTo>
                    <a:lnTo>
                      <a:pt x="58" y="76"/>
                    </a:lnTo>
                    <a:lnTo>
                      <a:pt x="61" y="73"/>
                    </a:lnTo>
                    <a:lnTo>
                      <a:pt x="61" y="70"/>
                    </a:lnTo>
                    <a:lnTo>
                      <a:pt x="64" y="67"/>
                    </a:lnTo>
                    <a:lnTo>
                      <a:pt x="64" y="65"/>
                    </a:lnTo>
                    <a:lnTo>
                      <a:pt x="69" y="56"/>
                    </a:lnTo>
                    <a:lnTo>
                      <a:pt x="67" y="53"/>
                    </a:lnTo>
                    <a:lnTo>
                      <a:pt x="64" y="53"/>
                    </a:lnTo>
                    <a:lnTo>
                      <a:pt x="67" y="51"/>
                    </a:lnTo>
                    <a:lnTo>
                      <a:pt x="69" y="51"/>
                    </a:lnTo>
                    <a:lnTo>
                      <a:pt x="75" y="37"/>
                    </a:lnTo>
                    <a:lnTo>
                      <a:pt x="75" y="34"/>
                    </a:lnTo>
                    <a:lnTo>
                      <a:pt x="75" y="37"/>
                    </a:lnTo>
                    <a:lnTo>
                      <a:pt x="78" y="37"/>
                    </a:lnTo>
                    <a:lnTo>
                      <a:pt x="83" y="20"/>
                    </a:lnTo>
                    <a:lnTo>
                      <a:pt x="83" y="17"/>
                    </a:lnTo>
                    <a:lnTo>
                      <a:pt x="86" y="17"/>
                    </a:lnTo>
                    <a:lnTo>
                      <a:pt x="86" y="20"/>
                    </a:lnTo>
                    <a:lnTo>
                      <a:pt x="86" y="17"/>
                    </a:lnTo>
                    <a:lnTo>
                      <a:pt x="86" y="14"/>
                    </a:lnTo>
                    <a:lnTo>
                      <a:pt x="83" y="14"/>
                    </a:lnTo>
                    <a:lnTo>
                      <a:pt x="69" y="9"/>
                    </a:lnTo>
                    <a:lnTo>
                      <a:pt x="64" y="9"/>
                    </a:lnTo>
                    <a:lnTo>
                      <a:pt x="61" y="9"/>
                    </a:lnTo>
                    <a:lnTo>
                      <a:pt x="58" y="12"/>
                    </a:lnTo>
                    <a:lnTo>
                      <a:pt x="55" y="12"/>
                    </a:lnTo>
                    <a:lnTo>
                      <a:pt x="53" y="12"/>
                    </a:lnTo>
                    <a:lnTo>
                      <a:pt x="55" y="9"/>
                    </a:lnTo>
                    <a:lnTo>
                      <a:pt x="53" y="9"/>
                    </a:lnTo>
                    <a:lnTo>
                      <a:pt x="50" y="6"/>
                    </a:lnTo>
                    <a:lnTo>
                      <a:pt x="50" y="3"/>
                    </a:lnTo>
                    <a:lnTo>
                      <a:pt x="47" y="6"/>
                    </a:lnTo>
                    <a:lnTo>
                      <a:pt x="47" y="3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7" name="Freeform 1017"/>
              <p:cNvSpPr>
                <a:spLocks noChangeAspect="1"/>
              </p:cNvSpPr>
              <p:nvPr>
                <p:custDataLst>
                  <p:tags r:id="rId295"/>
                </p:custDataLst>
              </p:nvPr>
            </p:nvSpPr>
            <p:spPr bwMode="gray">
              <a:xfrm>
                <a:off x="3491078" y="3673331"/>
                <a:ext cx="218657" cy="72530"/>
              </a:xfrm>
              <a:custGeom>
                <a:avLst/>
                <a:gdLst>
                  <a:gd name="T0" fmla="*/ 222980824 w 167"/>
                  <a:gd name="T1" fmla="*/ 47613611 h 56"/>
                  <a:gd name="T2" fmla="*/ 243591776 w 167"/>
                  <a:gd name="T3" fmla="*/ 57816244 h 56"/>
                  <a:gd name="T4" fmla="*/ 266076700 w 167"/>
                  <a:gd name="T5" fmla="*/ 57816244 h 56"/>
                  <a:gd name="T6" fmla="*/ 269824643 w 167"/>
                  <a:gd name="T7" fmla="*/ 61217122 h 56"/>
                  <a:gd name="T8" fmla="*/ 266076700 w 167"/>
                  <a:gd name="T9" fmla="*/ 66318438 h 56"/>
                  <a:gd name="T10" fmla="*/ 266076700 w 167"/>
                  <a:gd name="T11" fmla="*/ 71419755 h 56"/>
                  <a:gd name="T12" fmla="*/ 290436964 w 167"/>
                  <a:gd name="T13" fmla="*/ 71419755 h 56"/>
                  <a:gd name="T14" fmla="*/ 296057510 w 167"/>
                  <a:gd name="T15" fmla="*/ 76521071 h 56"/>
                  <a:gd name="T16" fmla="*/ 312921887 w 167"/>
                  <a:gd name="T17" fmla="*/ 79921949 h 56"/>
                  <a:gd name="T18" fmla="*/ 286689020 w 167"/>
                  <a:gd name="T19" fmla="*/ 95225919 h 56"/>
                  <a:gd name="T20" fmla="*/ 207990419 w 167"/>
                  <a:gd name="T21" fmla="*/ 95225919 h 56"/>
                  <a:gd name="T22" fmla="*/ 213610966 w 167"/>
                  <a:gd name="T23" fmla="*/ 85023266 h 56"/>
                  <a:gd name="T24" fmla="*/ 228601371 w 167"/>
                  <a:gd name="T25" fmla="*/ 79921949 h 56"/>
                  <a:gd name="T26" fmla="*/ 213610966 w 167"/>
                  <a:gd name="T27" fmla="*/ 71419755 h 56"/>
                  <a:gd name="T28" fmla="*/ 187378099 w 167"/>
                  <a:gd name="T29" fmla="*/ 61217122 h 56"/>
                  <a:gd name="T30" fmla="*/ 181757552 w 167"/>
                  <a:gd name="T31" fmla="*/ 47613611 h 56"/>
                  <a:gd name="T32" fmla="*/ 134912322 w 167"/>
                  <a:gd name="T33" fmla="*/ 42510981 h 56"/>
                  <a:gd name="T34" fmla="*/ 114301370 w 167"/>
                  <a:gd name="T35" fmla="*/ 34008787 h 56"/>
                  <a:gd name="T36" fmla="*/ 108679455 w 167"/>
                  <a:gd name="T37" fmla="*/ 34008787 h 56"/>
                  <a:gd name="T38" fmla="*/ 97436993 w 167"/>
                  <a:gd name="T39" fmla="*/ 34008787 h 56"/>
                  <a:gd name="T40" fmla="*/ 82446566 w 167"/>
                  <a:gd name="T41" fmla="*/ 28907470 h 56"/>
                  <a:gd name="T42" fmla="*/ 82446566 w 167"/>
                  <a:gd name="T43" fmla="*/ 28907470 h 56"/>
                  <a:gd name="T44" fmla="*/ 88068481 w 167"/>
                  <a:gd name="T45" fmla="*/ 23806154 h 56"/>
                  <a:gd name="T46" fmla="*/ 93689049 w 167"/>
                  <a:gd name="T47" fmla="*/ 18704832 h 56"/>
                  <a:gd name="T48" fmla="*/ 88068481 w 167"/>
                  <a:gd name="T49" fmla="*/ 18704832 h 56"/>
                  <a:gd name="T50" fmla="*/ 50591784 w 167"/>
                  <a:gd name="T51" fmla="*/ 23806154 h 56"/>
                  <a:gd name="T52" fmla="*/ 29980821 w 167"/>
                  <a:gd name="T53" fmla="*/ 28907470 h 56"/>
                  <a:gd name="T54" fmla="*/ 20610957 w 167"/>
                  <a:gd name="T55" fmla="*/ 37409664 h 56"/>
                  <a:gd name="T56" fmla="*/ 9368493 w 167"/>
                  <a:gd name="T57" fmla="*/ 42510981 h 56"/>
                  <a:gd name="T58" fmla="*/ 9368493 w 167"/>
                  <a:gd name="T59" fmla="*/ 37409664 h 56"/>
                  <a:gd name="T60" fmla="*/ 0 w 167"/>
                  <a:gd name="T61" fmla="*/ 37409664 h 56"/>
                  <a:gd name="T62" fmla="*/ 9368493 w 167"/>
                  <a:gd name="T63" fmla="*/ 34008787 h 56"/>
                  <a:gd name="T64" fmla="*/ 14990411 w 167"/>
                  <a:gd name="T65" fmla="*/ 23806154 h 56"/>
                  <a:gd name="T66" fmla="*/ 67456161 w 167"/>
                  <a:gd name="T67" fmla="*/ 0 h 56"/>
                  <a:gd name="T68" fmla="*/ 123669860 w 167"/>
                  <a:gd name="T69" fmla="*/ 5101318 h 56"/>
                  <a:gd name="T70" fmla="*/ 140534237 w 167"/>
                  <a:gd name="T71" fmla="*/ 5101318 h 56"/>
                  <a:gd name="T72" fmla="*/ 149902727 w 167"/>
                  <a:gd name="T73" fmla="*/ 18704832 h 56"/>
                  <a:gd name="T74" fmla="*/ 161145189 w 167"/>
                  <a:gd name="T75" fmla="*/ 23806154 h 56"/>
                  <a:gd name="T76" fmla="*/ 176135594 w 167"/>
                  <a:gd name="T77" fmla="*/ 23806154 h 56"/>
                  <a:gd name="T78" fmla="*/ 181757552 w 167"/>
                  <a:gd name="T79" fmla="*/ 28907470 h 56"/>
                  <a:gd name="T80" fmla="*/ 181757552 w 167"/>
                  <a:gd name="T81" fmla="*/ 28907470 h 56"/>
                  <a:gd name="T82" fmla="*/ 193000014 w 167"/>
                  <a:gd name="T83" fmla="*/ 28907470 h 56"/>
                  <a:gd name="T84" fmla="*/ 202368504 w 167"/>
                  <a:gd name="T85" fmla="*/ 37409664 h 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67"/>
                  <a:gd name="T130" fmla="*/ 0 h 56"/>
                  <a:gd name="T131" fmla="*/ 167 w 167"/>
                  <a:gd name="T132" fmla="*/ 56 h 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67" h="56">
                    <a:moveTo>
                      <a:pt x="119" y="25"/>
                    </a:moveTo>
                    <a:lnTo>
                      <a:pt x="119" y="28"/>
                    </a:lnTo>
                    <a:lnTo>
                      <a:pt x="130" y="34"/>
                    </a:lnTo>
                    <a:lnTo>
                      <a:pt x="136" y="36"/>
                    </a:lnTo>
                    <a:lnTo>
                      <a:pt x="142" y="34"/>
                    </a:lnTo>
                    <a:lnTo>
                      <a:pt x="142" y="36"/>
                    </a:lnTo>
                    <a:lnTo>
                      <a:pt x="144" y="36"/>
                    </a:lnTo>
                    <a:lnTo>
                      <a:pt x="144" y="39"/>
                    </a:lnTo>
                    <a:lnTo>
                      <a:pt x="142" y="39"/>
                    </a:lnTo>
                    <a:lnTo>
                      <a:pt x="142" y="42"/>
                    </a:lnTo>
                    <a:lnTo>
                      <a:pt x="153" y="42"/>
                    </a:lnTo>
                    <a:lnTo>
                      <a:pt x="155" y="42"/>
                    </a:lnTo>
                    <a:lnTo>
                      <a:pt x="158" y="45"/>
                    </a:lnTo>
                    <a:lnTo>
                      <a:pt x="161" y="47"/>
                    </a:lnTo>
                    <a:lnTo>
                      <a:pt x="167" y="47"/>
                    </a:lnTo>
                    <a:lnTo>
                      <a:pt x="167" y="50"/>
                    </a:lnTo>
                    <a:lnTo>
                      <a:pt x="153" y="56"/>
                    </a:lnTo>
                    <a:lnTo>
                      <a:pt x="114" y="56"/>
                    </a:lnTo>
                    <a:lnTo>
                      <a:pt x="111" y="56"/>
                    </a:lnTo>
                    <a:lnTo>
                      <a:pt x="114" y="50"/>
                    </a:lnTo>
                    <a:lnTo>
                      <a:pt x="122" y="47"/>
                    </a:lnTo>
                    <a:lnTo>
                      <a:pt x="122" y="45"/>
                    </a:lnTo>
                    <a:lnTo>
                      <a:pt x="114" y="42"/>
                    </a:lnTo>
                    <a:lnTo>
                      <a:pt x="105" y="42"/>
                    </a:lnTo>
                    <a:lnTo>
                      <a:pt x="100" y="36"/>
                    </a:lnTo>
                    <a:lnTo>
                      <a:pt x="97" y="31"/>
                    </a:lnTo>
                    <a:lnTo>
                      <a:pt x="97" y="28"/>
                    </a:lnTo>
                    <a:lnTo>
                      <a:pt x="83" y="28"/>
                    </a:lnTo>
                    <a:lnTo>
                      <a:pt x="72" y="25"/>
                    </a:lnTo>
                    <a:lnTo>
                      <a:pt x="66" y="20"/>
                    </a:lnTo>
                    <a:lnTo>
                      <a:pt x="61" y="20"/>
                    </a:lnTo>
                    <a:lnTo>
                      <a:pt x="58" y="20"/>
                    </a:lnTo>
                    <a:lnTo>
                      <a:pt x="55" y="20"/>
                    </a:lnTo>
                    <a:lnTo>
                      <a:pt x="52" y="20"/>
                    </a:lnTo>
                    <a:lnTo>
                      <a:pt x="44" y="17"/>
                    </a:lnTo>
                    <a:lnTo>
                      <a:pt x="44" y="14"/>
                    </a:lnTo>
                    <a:lnTo>
                      <a:pt x="47" y="14"/>
                    </a:lnTo>
                    <a:lnTo>
                      <a:pt x="50" y="11"/>
                    </a:lnTo>
                    <a:lnTo>
                      <a:pt x="47" y="11"/>
                    </a:lnTo>
                    <a:lnTo>
                      <a:pt x="33" y="9"/>
                    </a:lnTo>
                    <a:lnTo>
                      <a:pt x="27" y="14"/>
                    </a:lnTo>
                    <a:lnTo>
                      <a:pt x="25" y="17"/>
                    </a:lnTo>
                    <a:lnTo>
                      <a:pt x="16" y="17"/>
                    </a:lnTo>
                    <a:lnTo>
                      <a:pt x="13" y="20"/>
                    </a:lnTo>
                    <a:lnTo>
                      <a:pt x="11" y="22"/>
                    </a:lnTo>
                    <a:lnTo>
                      <a:pt x="5" y="25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5" y="20"/>
                    </a:lnTo>
                    <a:lnTo>
                      <a:pt x="8" y="20"/>
                    </a:lnTo>
                    <a:lnTo>
                      <a:pt x="8" y="14"/>
                    </a:lnTo>
                    <a:lnTo>
                      <a:pt x="8" y="11"/>
                    </a:lnTo>
                    <a:lnTo>
                      <a:pt x="36" y="0"/>
                    </a:lnTo>
                    <a:lnTo>
                      <a:pt x="64" y="3"/>
                    </a:lnTo>
                    <a:lnTo>
                      <a:pt x="66" y="3"/>
                    </a:lnTo>
                    <a:lnTo>
                      <a:pt x="75" y="3"/>
                    </a:lnTo>
                    <a:lnTo>
                      <a:pt x="80" y="9"/>
                    </a:lnTo>
                    <a:lnTo>
                      <a:pt x="80" y="11"/>
                    </a:lnTo>
                    <a:lnTo>
                      <a:pt x="83" y="14"/>
                    </a:lnTo>
                    <a:lnTo>
                      <a:pt x="86" y="14"/>
                    </a:lnTo>
                    <a:lnTo>
                      <a:pt x="94" y="14"/>
                    </a:lnTo>
                    <a:lnTo>
                      <a:pt x="97" y="14"/>
                    </a:lnTo>
                    <a:lnTo>
                      <a:pt x="97" y="17"/>
                    </a:lnTo>
                    <a:lnTo>
                      <a:pt x="100" y="17"/>
                    </a:lnTo>
                    <a:lnTo>
                      <a:pt x="103" y="17"/>
                    </a:lnTo>
                    <a:lnTo>
                      <a:pt x="105" y="20"/>
                    </a:lnTo>
                    <a:lnTo>
                      <a:pt x="108" y="22"/>
                    </a:lnTo>
                    <a:lnTo>
                      <a:pt x="119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8" name="Freeform 1018"/>
              <p:cNvSpPr>
                <a:spLocks noChangeAspect="1"/>
              </p:cNvSpPr>
              <p:nvPr>
                <p:custDataLst>
                  <p:tags r:id="rId296"/>
                </p:custDataLst>
              </p:nvPr>
            </p:nvSpPr>
            <p:spPr bwMode="gray">
              <a:xfrm>
                <a:off x="3491078" y="3673331"/>
                <a:ext cx="218657" cy="72530"/>
              </a:xfrm>
              <a:custGeom>
                <a:avLst/>
                <a:gdLst>
                  <a:gd name="T0" fmla="*/ 222980824 w 167"/>
                  <a:gd name="T1" fmla="*/ 47613611 h 56"/>
                  <a:gd name="T2" fmla="*/ 243591776 w 167"/>
                  <a:gd name="T3" fmla="*/ 57816244 h 56"/>
                  <a:gd name="T4" fmla="*/ 266076700 w 167"/>
                  <a:gd name="T5" fmla="*/ 57816244 h 56"/>
                  <a:gd name="T6" fmla="*/ 269824643 w 167"/>
                  <a:gd name="T7" fmla="*/ 61217122 h 56"/>
                  <a:gd name="T8" fmla="*/ 266076700 w 167"/>
                  <a:gd name="T9" fmla="*/ 66318438 h 56"/>
                  <a:gd name="T10" fmla="*/ 266076700 w 167"/>
                  <a:gd name="T11" fmla="*/ 71419755 h 56"/>
                  <a:gd name="T12" fmla="*/ 290436964 w 167"/>
                  <a:gd name="T13" fmla="*/ 71419755 h 56"/>
                  <a:gd name="T14" fmla="*/ 296057510 w 167"/>
                  <a:gd name="T15" fmla="*/ 76521071 h 56"/>
                  <a:gd name="T16" fmla="*/ 312921887 w 167"/>
                  <a:gd name="T17" fmla="*/ 79921949 h 56"/>
                  <a:gd name="T18" fmla="*/ 286689020 w 167"/>
                  <a:gd name="T19" fmla="*/ 95225919 h 56"/>
                  <a:gd name="T20" fmla="*/ 207990419 w 167"/>
                  <a:gd name="T21" fmla="*/ 95225919 h 56"/>
                  <a:gd name="T22" fmla="*/ 213610966 w 167"/>
                  <a:gd name="T23" fmla="*/ 85023266 h 56"/>
                  <a:gd name="T24" fmla="*/ 228601371 w 167"/>
                  <a:gd name="T25" fmla="*/ 79921949 h 56"/>
                  <a:gd name="T26" fmla="*/ 213610966 w 167"/>
                  <a:gd name="T27" fmla="*/ 71419755 h 56"/>
                  <a:gd name="T28" fmla="*/ 187378099 w 167"/>
                  <a:gd name="T29" fmla="*/ 61217122 h 56"/>
                  <a:gd name="T30" fmla="*/ 181757552 w 167"/>
                  <a:gd name="T31" fmla="*/ 47613611 h 56"/>
                  <a:gd name="T32" fmla="*/ 134912322 w 167"/>
                  <a:gd name="T33" fmla="*/ 42510981 h 56"/>
                  <a:gd name="T34" fmla="*/ 114301370 w 167"/>
                  <a:gd name="T35" fmla="*/ 34008787 h 56"/>
                  <a:gd name="T36" fmla="*/ 108679455 w 167"/>
                  <a:gd name="T37" fmla="*/ 34008787 h 56"/>
                  <a:gd name="T38" fmla="*/ 97436993 w 167"/>
                  <a:gd name="T39" fmla="*/ 34008787 h 56"/>
                  <a:gd name="T40" fmla="*/ 82446566 w 167"/>
                  <a:gd name="T41" fmla="*/ 28907470 h 56"/>
                  <a:gd name="T42" fmla="*/ 82446566 w 167"/>
                  <a:gd name="T43" fmla="*/ 28907470 h 56"/>
                  <a:gd name="T44" fmla="*/ 88068481 w 167"/>
                  <a:gd name="T45" fmla="*/ 23806154 h 56"/>
                  <a:gd name="T46" fmla="*/ 93689049 w 167"/>
                  <a:gd name="T47" fmla="*/ 18704832 h 56"/>
                  <a:gd name="T48" fmla="*/ 88068481 w 167"/>
                  <a:gd name="T49" fmla="*/ 18704832 h 56"/>
                  <a:gd name="T50" fmla="*/ 50591784 w 167"/>
                  <a:gd name="T51" fmla="*/ 23806154 h 56"/>
                  <a:gd name="T52" fmla="*/ 29980821 w 167"/>
                  <a:gd name="T53" fmla="*/ 28907470 h 56"/>
                  <a:gd name="T54" fmla="*/ 20610957 w 167"/>
                  <a:gd name="T55" fmla="*/ 37409664 h 56"/>
                  <a:gd name="T56" fmla="*/ 9368493 w 167"/>
                  <a:gd name="T57" fmla="*/ 42510981 h 56"/>
                  <a:gd name="T58" fmla="*/ 9368493 w 167"/>
                  <a:gd name="T59" fmla="*/ 37409664 h 56"/>
                  <a:gd name="T60" fmla="*/ 0 w 167"/>
                  <a:gd name="T61" fmla="*/ 37409664 h 56"/>
                  <a:gd name="T62" fmla="*/ 9368493 w 167"/>
                  <a:gd name="T63" fmla="*/ 34008787 h 56"/>
                  <a:gd name="T64" fmla="*/ 14990411 w 167"/>
                  <a:gd name="T65" fmla="*/ 23806154 h 56"/>
                  <a:gd name="T66" fmla="*/ 67456161 w 167"/>
                  <a:gd name="T67" fmla="*/ 0 h 56"/>
                  <a:gd name="T68" fmla="*/ 123669860 w 167"/>
                  <a:gd name="T69" fmla="*/ 5101318 h 56"/>
                  <a:gd name="T70" fmla="*/ 140534237 w 167"/>
                  <a:gd name="T71" fmla="*/ 5101318 h 56"/>
                  <a:gd name="T72" fmla="*/ 149902727 w 167"/>
                  <a:gd name="T73" fmla="*/ 18704832 h 56"/>
                  <a:gd name="T74" fmla="*/ 161145189 w 167"/>
                  <a:gd name="T75" fmla="*/ 23806154 h 56"/>
                  <a:gd name="T76" fmla="*/ 176135594 w 167"/>
                  <a:gd name="T77" fmla="*/ 23806154 h 56"/>
                  <a:gd name="T78" fmla="*/ 181757552 w 167"/>
                  <a:gd name="T79" fmla="*/ 28907470 h 56"/>
                  <a:gd name="T80" fmla="*/ 181757552 w 167"/>
                  <a:gd name="T81" fmla="*/ 28907470 h 56"/>
                  <a:gd name="T82" fmla="*/ 193000014 w 167"/>
                  <a:gd name="T83" fmla="*/ 28907470 h 56"/>
                  <a:gd name="T84" fmla="*/ 202368504 w 167"/>
                  <a:gd name="T85" fmla="*/ 37409664 h 5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67"/>
                  <a:gd name="T130" fmla="*/ 0 h 56"/>
                  <a:gd name="T131" fmla="*/ 167 w 167"/>
                  <a:gd name="T132" fmla="*/ 56 h 5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67" h="56">
                    <a:moveTo>
                      <a:pt x="119" y="25"/>
                    </a:moveTo>
                    <a:lnTo>
                      <a:pt x="119" y="28"/>
                    </a:lnTo>
                    <a:lnTo>
                      <a:pt x="130" y="34"/>
                    </a:lnTo>
                    <a:lnTo>
                      <a:pt x="136" y="36"/>
                    </a:lnTo>
                    <a:lnTo>
                      <a:pt x="142" y="34"/>
                    </a:lnTo>
                    <a:lnTo>
                      <a:pt x="142" y="36"/>
                    </a:lnTo>
                    <a:lnTo>
                      <a:pt x="144" y="36"/>
                    </a:lnTo>
                    <a:lnTo>
                      <a:pt x="144" y="39"/>
                    </a:lnTo>
                    <a:lnTo>
                      <a:pt x="142" y="39"/>
                    </a:lnTo>
                    <a:lnTo>
                      <a:pt x="142" y="42"/>
                    </a:lnTo>
                    <a:lnTo>
                      <a:pt x="153" y="42"/>
                    </a:lnTo>
                    <a:lnTo>
                      <a:pt x="155" y="42"/>
                    </a:lnTo>
                    <a:lnTo>
                      <a:pt x="158" y="45"/>
                    </a:lnTo>
                    <a:lnTo>
                      <a:pt x="161" y="47"/>
                    </a:lnTo>
                    <a:lnTo>
                      <a:pt x="167" y="47"/>
                    </a:lnTo>
                    <a:lnTo>
                      <a:pt x="167" y="50"/>
                    </a:lnTo>
                    <a:lnTo>
                      <a:pt x="153" y="56"/>
                    </a:lnTo>
                    <a:lnTo>
                      <a:pt x="114" y="56"/>
                    </a:lnTo>
                    <a:lnTo>
                      <a:pt x="111" y="56"/>
                    </a:lnTo>
                    <a:lnTo>
                      <a:pt x="114" y="50"/>
                    </a:lnTo>
                    <a:lnTo>
                      <a:pt x="122" y="47"/>
                    </a:lnTo>
                    <a:lnTo>
                      <a:pt x="122" y="45"/>
                    </a:lnTo>
                    <a:lnTo>
                      <a:pt x="114" y="42"/>
                    </a:lnTo>
                    <a:lnTo>
                      <a:pt x="105" y="42"/>
                    </a:lnTo>
                    <a:lnTo>
                      <a:pt x="100" y="36"/>
                    </a:lnTo>
                    <a:lnTo>
                      <a:pt x="97" y="31"/>
                    </a:lnTo>
                    <a:lnTo>
                      <a:pt x="97" y="28"/>
                    </a:lnTo>
                    <a:lnTo>
                      <a:pt x="83" y="28"/>
                    </a:lnTo>
                    <a:lnTo>
                      <a:pt x="72" y="25"/>
                    </a:lnTo>
                    <a:lnTo>
                      <a:pt x="66" y="20"/>
                    </a:lnTo>
                    <a:lnTo>
                      <a:pt x="61" y="20"/>
                    </a:lnTo>
                    <a:lnTo>
                      <a:pt x="58" y="20"/>
                    </a:lnTo>
                    <a:lnTo>
                      <a:pt x="55" y="20"/>
                    </a:lnTo>
                    <a:lnTo>
                      <a:pt x="52" y="20"/>
                    </a:lnTo>
                    <a:lnTo>
                      <a:pt x="44" y="17"/>
                    </a:lnTo>
                    <a:lnTo>
                      <a:pt x="44" y="14"/>
                    </a:lnTo>
                    <a:lnTo>
                      <a:pt x="47" y="14"/>
                    </a:lnTo>
                    <a:lnTo>
                      <a:pt x="50" y="11"/>
                    </a:lnTo>
                    <a:lnTo>
                      <a:pt x="47" y="11"/>
                    </a:lnTo>
                    <a:lnTo>
                      <a:pt x="33" y="9"/>
                    </a:lnTo>
                    <a:lnTo>
                      <a:pt x="27" y="14"/>
                    </a:lnTo>
                    <a:lnTo>
                      <a:pt x="25" y="17"/>
                    </a:lnTo>
                    <a:lnTo>
                      <a:pt x="16" y="17"/>
                    </a:lnTo>
                    <a:lnTo>
                      <a:pt x="13" y="20"/>
                    </a:lnTo>
                    <a:lnTo>
                      <a:pt x="11" y="22"/>
                    </a:lnTo>
                    <a:lnTo>
                      <a:pt x="5" y="25"/>
                    </a:lnTo>
                    <a:lnTo>
                      <a:pt x="5" y="22"/>
                    </a:lnTo>
                    <a:lnTo>
                      <a:pt x="0" y="22"/>
                    </a:lnTo>
                    <a:lnTo>
                      <a:pt x="2" y="20"/>
                    </a:lnTo>
                    <a:lnTo>
                      <a:pt x="5" y="20"/>
                    </a:lnTo>
                    <a:lnTo>
                      <a:pt x="8" y="20"/>
                    </a:lnTo>
                    <a:lnTo>
                      <a:pt x="8" y="14"/>
                    </a:lnTo>
                    <a:lnTo>
                      <a:pt x="8" y="11"/>
                    </a:lnTo>
                    <a:lnTo>
                      <a:pt x="36" y="0"/>
                    </a:lnTo>
                    <a:lnTo>
                      <a:pt x="64" y="3"/>
                    </a:lnTo>
                    <a:lnTo>
                      <a:pt x="66" y="3"/>
                    </a:lnTo>
                    <a:lnTo>
                      <a:pt x="75" y="3"/>
                    </a:lnTo>
                    <a:lnTo>
                      <a:pt x="80" y="9"/>
                    </a:lnTo>
                    <a:lnTo>
                      <a:pt x="80" y="11"/>
                    </a:lnTo>
                    <a:lnTo>
                      <a:pt x="83" y="14"/>
                    </a:lnTo>
                    <a:lnTo>
                      <a:pt x="86" y="14"/>
                    </a:lnTo>
                    <a:lnTo>
                      <a:pt x="94" y="14"/>
                    </a:lnTo>
                    <a:lnTo>
                      <a:pt x="97" y="14"/>
                    </a:lnTo>
                    <a:lnTo>
                      <a:pt x="97" y="17"/>
                    </a:lnTo>
                    <a:lnTo>
                      <a:pt x="100" y="17"/>
                    </a:lnTo>
                    <a:lnTo>
                      <a:pt x="103" y="17"/>
                    </a:lnTo>
                    <a:lnTo>
                      <a:pt x="105" y="20"/>
                    </a:lnTo>
                    <a:lnTo>
                      <a:pt x="108" y="22"/>
                    </a:lnTo>
                    <a:lnTo>
                      <a:pt x="119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9" name="Freeform 1019"/>
              <p:cNvSpPr>
                <a:spLocks noChangeAspect="1"/>
              </p:cNvSpPr>
              <p:nvPr>
                <p:custDataLst>
                  <p:tags r:id="rId297"/>
                </p:custDataLst>
              </p:nvPr>
            </p:nvSpPr>
            <p:spPr bwMode="gray">
              <a:xfrm>
                <a:off x="3524484" y="3701712"/>
                <a:ext cx="10630" cy="11037"/>
              </a:xfrm>
              <a:custGeom>
                <a:avLst/>
                <a:gdLst>
                  <a:gd name="T0" fmla="*/ 15437344 w 8"/>
                  <a:gd name="T1" fmla="*/ 0 h 9"/>
                  <a:gd name="T2" fmla="*/ 15437344 w 8"/>
                  <a:gd name="T3" fmla="*/ 4573205 h 9"/>
                  <a:gd name="T4" fmla="*/ 15437344 w 8"/>
                  <a:gd name="T5" fmla="*/ 4573205 h 9"/>
                  <a:gd name="T6" fmla="*/ 15437344 w 8"/>
                  <a:gd name="T7" fmla="*/ 9146409 h 9"/>
                  <a:gd name="T8" fmla="*/ 9648860 w 8"/>
                  <a:gd name="T9" fmla="*/ 13719615 h 9"/>
                  <a:gd name="T10" fmla="*/ 3858989 w 8"/>
                  <a:gd name="T11" fmla="*/ 13719615 h 9"/>
                  <a:gd name="T12" fmla="*/ 3858989 w 8"/>
                  <a:gd name="T13" fmla="*/ 9146409 h 9"/>
                  <a:gd name="T14" fmla="*/ 0 w 8"/>
                  <a:gd name="T15" fmla="*/ 9146409 h 9"/>
                  <a:gd name="T16" fmla="*/ 3858989 w 8"/>
                  <a:gd name="T17" fmla="*/ 9146409 h 9"/>
                  <a:gd name="T18" fmla="*/ 9648860 w 8"/>
                  <a:gd name="T19" fmla="*/ 9146409 h 9"/>
                  <a:gd name="T20" fmla="*/ 3858989 w 8"/>
                  <a:gd name="T21" fmla="*/ 4573205 h 9"/>
                  <a:gd name="T22" fmla="*/ 3858989 w 8"/>
                  <a:gd name="T23" fmla="*/ 4573205 h 9"/>
                  <a:gd name="T24" fmla="*/ 3858989 w 8"/>
                  <a:gd name="T25" fmla="*/ 0 h 9"/>
                  <a:gd name="T26" fmla="*/ 9648860 w 8"/>
                  <a:gd name="T27" fmla="*/ 0 h 9"/>
                  <a:gd name="T28" fmla="*/ 15437344 w 8"/>
                  <a:gd name="T29" fmla="*/ 0 h 9"/>
                  <a:gd name="T30" fmla="*/ 15437344 w 8"/>
                  <a:gd name="T31" fmla="*/ 0 h 9"/>
                  <a:gd name="T32" fmla="*/ 15437344 w 8"/>
                  <a:gd name="T33" fmla="*/ 0 h 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"/>
                  <a:gd name="T52" fmla="*/ 0 h 9"/>
                  <a:gd name="T53" fmla="*/ 8 w 8"/>
                  <a:gd name="T54" fmla="*/ 9 h 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" h="9">
                    <a:moveTo>
                      <a:pt x="8" y="0"/>
                    </a:moveTo>
                    <a:lnTo>
                      <a:pt x="8" y="3"/>
                    </a:lnTo>
                    <a:lnTo>
                      <a:pt x="8" y="6"/>
                    </a:lnTo>
                    <a:lnTo>
                      <a:pt x="5" y="9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0" name="Freeform 1020"/>
              <p:cNvSpPr>
                <a:spLocks noChangeAspect="1"/>
              </p:cNvSpPr>
              <p:nvPr>
                <p:custDataLst>
                  <p:tags r:id="rId298"/>
                </p:custDataLst>
              </p:nvPr>
            </p:nvSpPr>
            <p:spPr bwMode="gray">
              <a:xfrm>
                <a:off x="3618628" y="3687522"/>
                <a:ext cx="19741" cy="14192"/>
              </a:xfrm>
              <a:custGeom>
                <a:avLst/>
                <a:gdLst>
                  <a:gd name="T0" fmla="*/ 23904700 w 14"/>
                  <a:gd name="T1" fmla="*/ 10122398 h 11"/>
                  <a:gd name="T2" fmla="*/ 30423364 w 14"/>
                  <a:gd name="T3" fmla="*/ 10122398 h 11"/>
                  <a:gd name="T4" fmla="*/ 30423364 w 14"/>
                  <a:gd name="T5" fmla="*/ 15184247 h 11"/>
                  <a:gd name="T6" fmla="*/ 30423364 w 14"/>
                  <a:gd name="T7" fmla="*/ 18558812 h 11"/>
                  <a:gd name="T8" fmla="*/ 30423364 w 14"/>
                  <a:gd name="T9" fmla="*/ 18558812 h 11"/>
                  <a:gd name="T10" fmla="*/ 17384568 w 14"/>
                  <a:gd name="T11" fmla="*/ 15184247 h 11"/>
                  <a:gd name="T12" fmla="*/ 17384568 w 14"/>
                  <a:gd name="T13" fmla="*/ 10122398 h 11"/>
                  <a:gd name="T14" fmla="*/ 13038796 w 14"/>
                  <a:gd name="T15" fmla="*/ 5061848 h 11"/>
                  <a:gd name="T16" fmla="*/ 6518661 w 14"/>
                  <a:gd name="T17" fmla="*/ 5061848 h 11"/>
                  <a:gd name="T18" fmla="*/ 0 w 14"/>
                  <a:gd name="T19" fmla="*/ 5061848 h 11"/>
                  <a:gd name="T20" fmla="*/ 0 w 14"/>
                  <a:gd name="T21" fmla="*/ 0 h 11"/>
                  <a:gd name="T22" fmla="*/ 0 w 14"/>
                  <a:gd name="T23" fmla="*/ 0 h 11"/>
                  <a:gd name="T24" fmla="*/ 6518661 w 14"/>
                  <a:gd name="T25" fmla="*/ 0 h 11"/>
                  <a:gd name="T26" fmla="*/ 23904700 w 14"/>
                  <a:gd name="T27" fmla="*/ 10122398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1"/>
                  <a:gd name="T44" fmla="*/ 14 w 14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1">
                    <a:moveTo>
                      <a:pt x="11" y="6"/>
                    </a:moveTo>
                    <a:lnTo>
                      <a:pt x="14" y="6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8" y="9"/>
                    </a:lnTo>
                    <a:lnTo>
                      <a:pt x="8" y="6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1" name="Freeform 1021"/>
              <p:cNvSpPr>
                <a:spLocks noChangeAspect="1"/>
              </p:cNvSpPr>
              <p:nvPr>
                <p:custDataLst>
                  <p:tags r:id="rId299"/>
                </p:custDataLst>
              </p:nvPr>
            </p:nvSpPr>
            <p:spPr bwMode="gray">
              <a:xfrm>
                <a:off x="3618628" y="3687522"/>
                <a:ext cx="19741" cy="14192"/>
              </a:xfrm>
              <a:custGeom>
                <a:avLst/>
                <a:gdLst>
                  <a:gd name="T0" fmla="*/ 23904700 w 14"/>
                  <a:gd name="T1" fmla="*/ 10122398 h 11"/>
                  <a:gd name="T2" fmla="*/ 30423364 w 14"/>
                  <a:gd name="T3" fmla="*/ 10122398 h 11"/>
                  <a:gd name="T4" fmla="*/ 30423364 w 14"/>
                  <a:gd name="T5" fmla="*/ 15184247 h 11"/>
                  <a:gd name="T6" fmla="*/ 30423364 w 14"/>
                  <a:gd name="T7" fmla="*/ 18558812 h 11"/>
                  <a:gd name="T8" fmla="*/ 30423364 w 14"/>
                  <a:gd name="T9" fmla="*/ 18558812 h 11"/>
                  <a:gd name="T10" fmla="*/ 17384568 w 14"/>
                  <a:gd name="T11" fmla="*/ 15184247 h 11"/>
                  <a:gd name="T12" fmla="*/ 17384568 w 14"/>
                  <a:gd name="T13" fmla="*/ 10122398 h 11"/>
                  <a:gd name="T14" fmla="*/ 13038796 w 14"/>
                  <a:gd name="T15" fmla="*/ 5061848 h 11"/>
                  <a:gd name="T16" fmla="*/ 6518661 w 14"/>
                  <a:gd name="T17" fmla="*/ 5061848 h 11"/>
                  <a:gd name="T18" fmla="*/ 0 w 14"/>
                  <a:gd name="T19" fmla="*/ 5061848 h 11"/>
                  <a:gd name="T20" fmla="*/ 0 w 14"/>
                  <a:gd name="T21" fmla="*/ 0 h 11"/>
                  <a:gd name="T22" fmla="*/ 0 w 14"/>
                  <a:gd name="T23" fmla="*/ 0 h 11"/>
                  <a:gd name="T24" fmla="*/ 6518661 w 14"/>
                  <a:gd name="T25" fmla="*/ 0 h 11"/>
                  <a:gd name="T26" fmla="*/ 23904700 w 14"/>
                  <a:gd name="T27" fmla="*/ 10122398 h 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11"/>
                  <a:gd name="T44" fmla="*/ 14 w 14"/>
                  <a:gd name="T45" fmla="*/ 11 h 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11">
                    <a:moveTo>
                      <a:pt x="11" y="6"/>
                    </a:moveTo>
                    <a:lnTo>
                      <a:pt x="14" y="6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8" y="9"/>
                    </a:lnTo>
                    <a:lnTo>
                      <a:pt x="8" y="6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11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2" name="Freeform 1022"/>
              <p:cNvSpPr>
                <a:spLocks noChangeAspect="1"/>
              </p:cNvSpPr>
              <p:nvPr>
                <p:custDataLst>
                  <p:tags r:id="rId300"/>
                </p:custDataLst>
              </p:nvPr>
            </p:nvSpPr>
            <p:spPr bwMode="gray">
              <a:xfrm>
                <a:off x="3904098" y="5462928"/>
                <a:ext cx="19741" cy="7884"/>
              </a:xfrm>
              <a:custGeom>
                <a:avLst/>
                <a:gdLst>
                  <a:gd name="T0" fmla="*/ 6518661 w 14"/>
                  <a:gd name="T1" fmla="*/ 5040630 h 5"/>
                  <a:gd name="T2" fmla="*/ 10865907 w 14"/>
                  <a:gd name="T3" fmla="*/ 0 h 5"/>
                  <a:gd name="T4" fmla="*/ 17384568 w 14"/>
                  <a:gd name="T5" fmla="*/ 0 h 5"/>
                  <a:gd name="T6" fmla="*/ 30423364 w 14"/>
                  <a:gd name="T7" fmla="*/ 0 h 5"/>
                  <a:gd name="T8" fmla="*/ 30423364 w 14"/>
                  <a:gd name="T9" fmla="*/ 0 h 5"/>
                  <a:gd name="T10" fmla="*/ 30423364 w 14"/>
                  <a:gd name="T11" fmla="*/ 5040630 h 5"/>
                  <a:gd name="T12" fmla="*/ 30423364 w 14"/>
                  <a:gd name="T13" fmla="*/ 5040630 h 5"/>
                  <a:gd name="T14" fmla="*/ 17384568 w 14"/>
                  <a:gd name="T15" fmla="*/ 5040630 h 5"/>
                  <a:gd name="T16" fmla="*/ 17384568 w 14"/>
                  <a:gd name="T17" fmla="*/ 5040630 h 5"/>
                  <a:gd name="T18" fmla="*/ 17384568 w 14"/>
                  <a:gd name="T19" fmla="*/ 12602367 h 5"/>
                  <a:gd name="T20" fmla="*/ 10865907 w 14"/>
                  <a:gd name="T21" fmla="*/ 5040630 h 5"/>
                  <a:gd name="T22" fmla="*/ 6518661 w 14"/>
                  <a:gd name="T23" fmla="*/ 12602367 h 5"/>
                  <a:gd name="T24" fmla="*/ 0 w 14"/>
                  <a:gd name="T25" fmla="*/ 12602367 h 5"/>
                  <a:gd name="T26" fmla="*/ 0 w 14"/>
                  <a:gd name="T27" fmla="*/ 5040630 h 5"/>
                  <a:gd name="T28" fmla="*/ 0 w 14"/>
                  <a:gd name="T29" fmla="*/ 0 h 5"/>
                  <a:gd name="T30" fmla="*/ 6518661 w 14"/>
                  <a:gd name="T31" fmla="*/ 5040630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4"/>
                  <a:gd name="T49" fmla="*/ 0 h 5"/>
                  <a:gd name="T50" fmla="*/ 14 w 14"/>
                  <a:gd name="T51" fmla="*/ 5 h 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4" h="5">
                    <a:moveTo>
                      <a:pt x="3" y="2"/>
                    </a:moveTo>
                    <a:lnTo>
                      <a:pt x="5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3" name="Freeform 1023"/>
              <p:cNvSpPr>
                <a:spLocks noChangeAspect="1"/>
              </p:cNvSpPr>
              <p:nvPr>
                <p:custDataLst>
                  <p:tags r:id="rId301"/>
                </p:custDataLst>
              </p:nvPr>
            </p:nvSpPr>
            <p:spPr bwMode="gray">
              <a:xfrm>
                <a:off x="3904098" y="5462928"/>
                <a:ext cx="19741" cy="7884"/>
              </a:xfrm>
              <a:custGeom>
                <a:avLst/>
                <a:gdLst>
                  <a:gd name="T0" fmla="*/ 6518661 w 14"/>
                  <a:gd name="T1" fmla="*/ 5040630 h 5"/>
                  <a:gd name="T2" fmla="*/ 10865907 w 14"/>
                  <a:gd name="T3" fmla="*/ 0 h 5"/>
                  <a:gd name="T4" fmla="*/ 17384568 w 14"/>
                  <a:gd name="T5" fmla="*/ 0 h 5"/>
                  <a:gd name="T6" fmla="*/ 30423364 w 14"/>
                  <a:gd name="T7" fmla="*/ 0 h 5"/>
                  <a:gd name="T8" fmla="*/ 30423364 w 14"/>
                  <a:gd name="T9" fmla="*/ 0 h 5"/>
                  <a:gd name="T10" fmla="*/ 30423364 w 14"/>
                  <a:gd name="T11" fmla="*/ 5040630 h 5"/>
                  <a:gd name="T12" fmla="*/ 30423364 w 14"/>
                  <a:gd name="T13" fmla="*/ 5040630 h 5"/>
                  <a:gd name="T14" fmla="*/ 17384568 w 14"/>
                  <a:gd name="T15" fmla="*/ 5040630 h 5"/>
                  <a:gd name="T16" fmla="*/ 17384568 w 14"/>
                  <a:gd name="T17" fmla="*/ 5040630 h 5"/>
                  <a:gd name="T18" fmla="*/ 17384568 w 14"/>
                  <a:gd name="T19" fmla="*/ 12602367 h 5"/>
                  <a:gd name="T20" fmla="*/ 10865907 w 14"/>
                  <a:gd name="T21" fmla="*/ 5040630 h 5"/>
                  <a:gd name="T22" fmla="*/ 6518661 w 14"/>
                  <a:gd name="T23" fmla="*/ 12602367 h 5"/>
                  <a:gd name="T24" fmla="*/ 0 w 14"/>
                  <a:gd name="T25" fmla="*/ 12602367 h 5"/>
                  <a:gd name="T26" fmla="*/ 0 w 14"/>
                  <a:gd name="T27" fmla="*/ 5040630 h 5"/>
                  <a:gd name="T28" fmla="*/ 0 w 14"/>
                  <a:gd name="T29" fmla="*/ 0 h 5"/>
                  <a:gd name="T30" fmla="*/ 6518661 w 14"/>
                  <a:gd name="T31" fmla="*/ 5040630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4"/>
                  <a:gd name="T49" fmla="*/ 0 h 5"/>
                  <a:gd name="T50" fmla="*/ 14 w 14"/>
                  <a:gd name="T51" fmla="*/ 5 h 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4" h="5">
                    <a:moveTo>
                      <a:pt x="3" y="2"/>
                    </a:moveTo>
                    <a:lnTo>
                      <a:pt x="5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4" name="Freeform 1037"/>
              <p:cNvSpPr>
                <a:spLocks noChangeAspect="1"/>
              </p:cNvSpPr>
              <p:nvPr>
                <p:custDataLst>
                  <p:tags r:id="rId302"/>
                </p:custDataLst>
              </p:nvPr>
            </p:nvSpPr>
            <p:spPr bwMode="gray">
              <a:xfrm>
                <a:off x="3399970" y="3827850"/>
                <a:ext cx="124514" cy="61492"/>
              </a:xfrm>
              <a:custGeom>
                <a:avLst/>
                <a:gdLst>
                  <a:gd name="T0" fmla="*/ 172740842 w 95"/>
                  <a:gd name="T1" fmla="*/ 24293217 h 47"/>
                  <a:gd name="T2" fmla="*/ 161475912 w 95"/>
                  <a:gd name="T3" fmla="*/ 32968798 h 47"/>
                  <a:gd name="T4" fmla="*/ 152086872 w 95"/>
                  <a:gd name="T5" fmla="*/ 32968798 h 47"/>
                  <a:gd name="T6" fmla="*/ 140821942 w 95"/>
                  <a:gd name="T7" fmla="*/ 32968798 h 47"/>
                  <a:gd name="T8" fmla="*/ 135188792 w 95"/>
                  <a:gd name="T9" fmla="*/ 32968798 h 47"/>
                  <a:gd name="T10" fmla="*/ 131432902 w 95"/>
                  <a:gd name="T11" fmla="*/ 32968798 h 47"/>
                  <a:gd name="T12" fmla="*/ 131432902 w 95"/>
                  <a:gd name="T13" fmla="*/ 32968798 h 47"/>
                  <a:gd name="T14" fmla="*/ 125801122 w 95"/>
                  <a:gd name="T15" fmla="*/ 43380559 h 47"/>
                  <a:gd name="T16" fmla="*/ 120167972 w 95"/>
                  <a:gd name="T17" fmla="*/ 48586435 h 47"/>
                  <a:gd name="T18" fmla="*/ 114534822 w 95"/>
                  <a:gd name="T19" fmla="*/ 53792310 h 47"/>
                  <a:gd name="T20" fmla="*/ 108901672 w 95"/>
                  <a:gd name="T21" fmla="*/ 53792310 h 47"/>
                  <a:gd name="T22" fmla="*/ 108901672 w 95"/>
                  <a:gd name="T23" fmla="*/ 57262016 h 47"/>
                  <a:gd name="T24" fmla="*/ 105147152 w 95"/>
                  <a:gd name="T25" fmla="*/ 57262016 h 47"/>
                  <a:gd name="T26" fmla="*/ 93880852 w 95"/>
                  <a:gd name="T27" fmla="*/ 53792310 h 47"/>
                  <a:gd name="T28" fmla="*/ 78860011 w 95"/>
                  <a:gd name="T29" fmla="*/ 62467891 h 47"/>
                  <a:gd name="T30" fmla="*/ 78860011 w 95"/>
                  <a:gd name="T31" fmla="*/ 72879642 h 47"/>
                  <a:gd name="T32" fmla="*/ 73226861 w 95"/>
                  <a:gd name="T33" fmla="*/ 76349347 h 47"/>
                  <a:gd name="T34" fmla="*/ 67593711 w 95"/>
                  <a:gd name="T35" fmla="*/ 81555223 h 47"/>
                  <a:gd name="T36" fmla="*/ 58206041 w 95"/>
                  <a:gd name="T37" fmla="*/ 81555223 h 47"/>
                  <a:gd name="T38" fmla="*/ 58206041 w 95"/>
                  <a:gd name="T39" fmla="*/ 72879642 h 47"/>
                  <a:gd name="T40" fmla="*/ 52572891 w 95"/>
                  <a:gd name="T41" fmla="*/ 72879642 h 47"/>
                  <a:gd name="T42" fmla="*/ 46941111 w 95"/>
                  <a:gd name="T43" fmla="*/ 67673766 h 47"/>
                  <a:gd name="T44" fmla="*/ 46941111 w 95"/>
                  <a:gd name="T45" fmla="*/ 57262016 h 47"/>
                  <a:gd name="T46" fmla="*/ 35674801 w 95"/>
                  <a:gd name="T47" fmla="*/ 57262016 h 47"/>
                  <a:gd name="T48" fmla="*/ 31918910 w 95"/>
                  <a:gd name="T49" fmla="*/ 57262016 h 47"/>
                  <a:gd name="T50" fmla="*/ 26287131 w 95"/>
                  <a:gd name="T51" fmla="*/ 57262016 h 47"/>
                  <a:gd name="T52" fmla="*/ 26287131 w 95"/>
                  <a:gd name="T53" fmla="*/ 57262016 h 47"/>
                  <a:gd name="T54" fmla="*/ 20653975 w 95"/>
                  <a:gd name="T55" fmla="*/ 53792310 h 47"/>
                  <a:gd name="T56" fmla="*/ 20653975 w 95"/>
                  <a:gd name="T57" fmla="*/ 53792310 h 47"/>
                  <a:gd name="T58" fmla="*/ 9387673 w 95"/>
                  <a:gd name="T59" fmla="*/ 48586435 h 47"/>
                  <a:gd name="T60" fmla="*/ 0 w 95"/>
                  <a:gd name="T61" fmla="*/ 43380559 h 47"/>
                  <a:gd name="T62" fmla="*/ 0 w 95"/>
                  <a:gd name="T63" fmla="*/ 43380559 h 47"/>
                  <a:gd name="T64" fmla="*/ 5633153 w 95"/>
                  <a:gd name="T65" fmla="*/ 32968798 h 47"/>
                  <a:gd name="T66" fmla="*/ 5633153 w 95"/>
                  <a:gd name="T67" fmla="*/ 32968798 h 47"/>
                  <a:gd name="T68" fmla="*/ 5633153 w 95"/>
                  <a:gd name="T69" fmla="*/ 29499093 h 47"/>
                  <a:gd name="T70" fmla="*/ 9387673 w 95"/>
                  <a:gd name="T71" fmla="*/ 24293217 h 47"/>
                  <a:gd name="T72" fmla="*/ 9387673 w 95"/>
                  <a:gd name="T73" fmla="*/ 24293217 h 47"/>
                  <a:gd name="T74" fmla="*/ 31918910 w 95"/>
                  <a:gd name="T75" fmla="*/ 5205877 h 47"/>
                  <a:gd name="T76" fmla="*/ 41307951 w 95"/>
                  <a:gd name="T77" fmla="*/ 5205877 h 47"/>
                  <a:gd name="T78" fmla="*/ 99514002 w 95"/>
                  <a:gd name="T79" fmla="*/ 0 h 47"/>
                  <a:gd name="T80" fmla="*/ 108901672 w 95"/>
                  <a:gd name="T81" fmla="*/ 0 h 47"/>
                  <a:gd name="T82" fmla="*/ 114534822 w 95"/>
                  <a:gd name="T83" fmla="*/ 0 h 47"/>
                  <a:gd name="T84" fmla="*/ 131432902 w 95"/>
                  <a:gd name="T85" fmla="*/ 0 h 47"/>
                  <a:gd name="T86" fmla="*/ 146455092 w 95"/>
                  <a:gd name="T87" fmla="*/ 5205877 h 47"/>
                  <a:gd name="T88" fmla="*/ 178373992 w 95"/>
                  <a:gd name="T89" fmla="*/ 24293217 h 4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95"/>
                  <a:gd name="T136" fmla="*/ 0 h 47"/>
                  <a:gd name="T137" fmla="*/ 95 w 95"/>
                  <a:gd name="T138" fmla="*/ 47 h 4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95" h="47">
                    <a:moveTo>
                      <a:pt x="95" y="14"/>
                    </a:moveTo>
                    <a:lnTo>
                      <a:pt x="92" y="14"/>
                    </a:lnTo>
                    <a:lnTo>
                      <a:pt x="89" y="17"/>
                    </a:lnTo>
                    <a:lnTo>
                      <a:pt x="86" y="19"/>
                    </a:lnTo>
                    <a:lnTo>
                      <a:pt x="83" y="19"/>
                    </a:lnTo>
                    <a:lnTo>
                      <a:pt x="81" y="19"/>
                    </a:lnTo>
                    <a:lnTo>
                      <a:pt x="78" y="22"/>
                    </a:lnTo>
                    <a:lnTo>
                      <a:pt x="75" y="19"/>
                    </a:lnTo>
                    <a:lnTo>
                      <a:pt x="72" y="19"/>
                    </a:lnTo>
                    <a:lnTo>
                      <a:pt x="70" y="19"/>
                    </a:lnTo>
                    <a:lnTo>
                      <a:pt x="67" y="22"/>
                    </a:lnTo>
                    <a:lnTo>
                      <a:pt x="67" y="25"/>
                    </a:lnTo>
                    <a:lnTo>
                      <a:pt x="67" y="28"/>
                    </a:lnTo>
                    <a:lnTo>
                      <a:pt x="64" y="28"/>
                    </a:lnTo>
                    <a:lnTo>
                      <a:pt x="61" y="28"/>
                    </a:lnTo>
                    <a:lnTo>
                      <a:pt x="61" y="31"/>
                    </a:lnTo>
                    <a:lnTo>
                      <a:pt x="58" y="31"/>
                    </a:lnTo>
                    <a:lnTo>
                      <a:pt x="58" y="33"/>
                    </a:lnTo>
                    <a:lnTo>
                      <a:pt x="56" y="33"/>
                    </a:lnTo>
                    <a:lnTo>
                      <a:pt x="53" y="31"/>
                    </a:lnTo>
                    <a:lnTo>
                      <a:pt x="50" y="31"/>
                    </a:lnTo>
                    <a:lnTo>
                      <a:pt x="47" y="36"/>
                    </a:lnTo>
                    <a:lnTo>
                      <a:pt x="42" y="36"/>
                    </a:lnTo>
                    <a:lnTo>
                      <a:pt x="42" y="39"/>
                    </a:lnTo>
                    <a:lnTo>
                      <a:pt x="42" y="42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36" y="44"/>
                    </a:lnTo>
                    <a:lnTo>
                      <a:pt x="36" y="47"/>
                    </a:lnTo>
                    <a:lnTo>
                      <a:pt x="31" y="47"/>
                    </a:lnTo>
                    <a:lnTo>
                      <a:pt x="31" y="44"/>
                    </a:lnTo>
                    <a:lnTo>
                      <a:pt x="31" y="42"/>
                    </a:lnTo>
                    <a:lnTo>
                      <a:pt x="28" y="42"/>
                    </a:lnTo>
                    <a:lnTo>
                      <a:pt x="25" y="42"/>
                    </a:lnTo>
                    <a:lnTo>
                      <a:pt x="25" y="39"/>
                    </a:lnTo>
                    <a:lnTo>
                      <a:pt x="25" y="36"/>
                    </a:lnTo>
                    <a:lnTo>
                      <a:pt x="25" y="33"/>
                    </a:lnTo>
                    <a:lnTo>
                      <a:pt x="22" y="33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17" y="33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1" y="31"/>
                    </a:lnTo>
                    <a:lnTo>
                      <a:pt x="8" y="31"/>
                    </a:lnTo>
                    <a:lnTo>
                      <a:pt x="5" y="28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14" y="5"/>
                    </a:lnTo>
                    <a:lnTo>
                      <a:pt x="17" y="3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1" y="0"/>
                    </a:lnTo>
                    <a:lnTo>
                      <a:pt x="64" y="0"/>
                    </a:lnTo>
                    <a:lnTo>
                      <a:pt x="70" y="0"/>
                    </a:lnTo>
                    <a:lnTo>
                      <a:pt x="72" y="3"/>
                    </a:lnTo>
                    <a:lnTo>
                      <a:pt x="78" y="3"/>
                    </a:lnTo>
                    <a:lnTo>
                      <a:pt x="95" y="11"/>
                    </a:lnTo>
                    <a:lnTo>
                      <a:pt x="95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5" name="Freeform 1038"/>
              <p:cNvSpPr>
                <a:spLocks noChangeAspect="1"/>
              </p:cNvSpPr>
              <p:nvPr>
                <p:custDataLst>
                  <p:tags r:id="rId303"/>
                </p:custDataLst>
              </p:nvPr>
            </p:nvSpPr>
            <p:spPr bwMode="gray">
              <a:xfrm>
                <a:off x="3563964" y="4149507"/>
                <a:ext cx="253583" cy="368957"/>
              </a:xfrm>
              <a:custGeom>
                <a:avLst/>
                <a:gdLst>
                  <a:gd name="T0" fmla="*/ 164506006 w 195"/>
                  <a:gd name="T1" fmla="*/ 5025913 h 287"/>
                  <a:gd name="T2" fmla="*/ 170051625 w 195"/>
                  <a:gd name="T3" fmla="*/ 10051827 h 287"/>
                  <a:gd name="T4" fmla="*/ 175597243 w 195"/>
                  <a:gd name="T5" fmla="*/ 23454699 h 287"/>
                  <a:gd name="T6" fmla="*/ 160809381 w 195"/>
                  <a:gd name="T7" fmla="*/ 46908103 h 287"/>
                  <a:gd name="T8" fmla="*/ 92419765 w 195"/>
                  <a:gd name="T9" fmla="*/ 85440548 h 287"/>
                  <a:gd name="T10" fmla="*/ 88723118 w 195"/>
                  <a:gd name="T11" fmla="*/ 93817500 h 287"/>
                  <a:gd name="T12" fmla="*/ 83177500 w 195"/>
                  <a:gd name="T13" fmla="*/ 93817500 h 287"/>
                  <a:gd name="T14" fmla="*/ 77631881 w 195"/>
                  <a:gd name="T15" fmla="*/ 122298101 h 287"/>
                  <a:gd name="T16" fmla="*/ 66542004 w 195"/>
                  <a:gd name="T17" fmla="*/ 127324013 h 287"/>
                  <a:gd name="T18" fmla="*/ 46209882 w 195"/>
                  <a:gd name="T19" fmla="*/ 122298101 h 287"/>
                  <a:gd name="T20" fmla="*/ 36967628 w 195"/>
                  <a:gd name="T21" fmla="*/ 117272189 h 287"/>
                  <a:gd name="T22" fmla="*/ 25877750 w 195"/>
                  <a:gd name="T23" fmla="*/ 117272189 h 287"/>
                  <a:gd name="T24" fmla="*/ 20332127 w 195"/>
                  <a:gd name="T25" fmla="*/ 108895237 h 287"/>
                  <a:gd name="T26" fmla="*/ 31422009 w 195"/>
                  <a:gd name="T27" fmla="*/ 103869325 h 287"/>
                  <a:gd name="T28" fmla="*/ 31422009 w 195"/>
                  <a:gd name="T29" fmla="*/ 98843413 h 287"/>
                  <a:gd name="T30" fmla="*/ 31422009 w 195"/>
                  <a:gd name="T31" fmla="*/ 88791588 h 287"/>
                  <a:gd name="T32" fmla="*/ 5545620 w 195"/>
                  <a:gd name="T33" fmla="*/ 127324013 h 287"/>
                  <a:gd name="T34" fmla="*/ 16635501 w 195"/>
                  <a:gd name="T35" fmla="*/ 145751495 h 287"/>
                  <a:gd name="T36" fmla="*/ 5545620 w 195"/>
                  <a:gd name="T37" fmla="*/ 154128447 h 287"/>
                  <a:gd name="T38" fmla="*/ 46209882 w 195"/>
                  <a:gd name="T39" fmla="*/ 182609088 h 287"/>
                  <a:gd name="T40" fmla="*/ 57299760 w 195"/>
                  <a:gd name="T41" fmla="*/ 206063777 h 287"/>
                  <a:gd name="T42" fmla="*/ 112751886 w 195"/>
                  <a:gd name="T43" fmla="*/ 308256894 h 287"/>
                  <a:gd name="T44" fmla="*/ 144173885 w 195"/>
                  <a:gd name="T45" fmla="*/ 365218177 h 287"/>
                  <a:gd name="T46" fmla="*/ 175597243 w 195"/>
                  <a:gd name="T47" fmla="*/ 402074435 h 287"/>
                  <a:gd name="T48" fmla="*/ 256925771 w 195"/>
                  <a:gd name="T49" fmla="*/ 443957900 h 287"/>
                  <a:gd name="T50" fmla="*/ 308681251 w 195"/>
                  <a:gd name="T51" fmla="*/ 480814158 h 287"/>
                  <a:gd name="T52" fmla="*/ 329013372 w 195"/>
                  <a:gd name="T53" fmla="*/ 477463118 h 287"/>
                  <a:gd name="T54" fmla="*/ 334557631 w 195"/>
                  <a:gd name="T55" fmla="*/ 462385382 h 287"/>
                  <a:gd name="T56" fmla="*/ 334557631 w 195"/>
                  <a:gd name="T57" fmla="*/ 462385382 h 287"/>
                  <a:gd name="T58" fmla="*/ 354889753 w 195"/>
                  <a:gd name="T59" fmla="*/ 430555036 h 287"/>
                  <a:gd name="T60" fmla="*/ 351193127 w 195"/>
                  <a:gd name="T61" fmla="*/ 425529123 h 287"/>
                  <a:gd name="T62" fmla="*/ 345648868 w 195"/>
                  <a:gd name="T63" fmla="*/ 415477299 h 287"/>
                  <a:gd name="T64" fmla="*/ 351193127 w 195"/>
                  <a:gd name="T65" fmla="*/ 402074435 h 287"/>
                  <a:gd name="T66" fmla="*/ 345648868 w 195"/>
                  <a:gd name="T67" fmla="*/ 388671571 h 287"/>
                  <a:gd name="T68" fmla="*/ 354889753 w 195"/>
                  <a:gd name="T69" fmla="*/ 378619746 h 287"/>
                  <a:gd name="T70" fmla="*/ 354889753 w 195"/>
                  <a:gd name="T71" fmla="*/ 331711583 h 287"/>
                  <a:gd name="T72" fmla="*/ 334557631 w 195"/>
                  <a:gd name="T73" fmla="*/ 284802206 h 287"/>
                  <a:gd name="T74" fmla="*/ 325315387 w 195"/>
                  <a:gd name="T75" fmla="*/ 289828118 h 287"/>
                  <a:gd name="T76" fmla="*/ 314225510 w 195"/>
                  <a:gd name="T77" fmla="*/ 284802206 h 287"/>
                  <a:gd name="T78" fmla="*/ 282803511 w 195"/>
                  <a:gd name="T79" fmla="*/ 261348811 h 287"/>
                  <a:gd name="T80" fmla="*/ 262471390 w 195"/>
                  <a:gd name="T81" fmla="*/ 257997772 h 287"/>
                  <a:gd name="T82" fmla="*/ 256925771 w 195"/>
                  <a:gd name="T83" fmla="*/ 247945947 h 287"/>
                  <a:gd name="T84" fmla="*/ 242139268 w 195"/>
                  <a:gd name="T85" fmla="*/ 237894123 h 287"/>
                  <a:gd name="T86" fmla="*/ 227351406 w 195"/>
                  <a:gd name="T87" fmla="*/ 216115601 h 287"/>
                  <a:gd name="T88" fmla="*/ 216261528 w 195"/>
                  <a:gd name="T89" fmla="*/ 196011952 h 287"/>
                  <a:gd name="T90" fmla="*/ 236593650 w 195"/>
                  <a:gd name="T91" fmla="*/ 174232136 h 287"/>
                  <a:gd name="T92" fmla="*/ 268015649 w 195"/>
                  <a:gd name="T93" fmla="*/ 122298101 h 287"/>
                  <a:gd name="T94" fmla="*/ 329013372 w 195"/>
                  <a:gd name="T95" fmla="*/ 108895237 h 287"/>
                  <a:gd name="T96" fmla="*/ 319771128 w 195"/>
                  <a:gd name="T97" fmla="*/ 98843413 h 287"/>
                  <a:gd name="T98" fmla="*/ 308681251 w 195"/>
                  <a:gd name="T99" fmla="*/ 93817500 h 287"/>
                  <a:gd name="T100" fmla="*/ 319771128 w 195"/>
                  <a:gd name="T101" fmla="*/ 70362792 h 287"/>
                  <a:gd name="T102" fmla="*/ 293893388 w 195"/>
                  <a:gd name="T103" fmla="*/ 61987134 h 287"/>
                  <a:gd name="T104" fmla="*/ 282803511 w 195"/>
                  <a:gd name="T105" fmla="*/ 61987134 h 287"/>
                  <a:gd name="T106" fmla="*/ 268015649 w 195"/>
                  <a:gd name="T107" fmla="*/ 61987134 h 287"/>
                  <a:gd name="T108" fmla="*/ 262471390 w 195"/>
                  <a:gd name="T109" fmla="*/ 65336879 h 287"/>
                  <a:gd name="T110" fmla="*/ 247683527 w 195"/>
                  <a:gd name="T111" fmla="*/ 65336879 h 287"/>
                  <a:gd name="T112" fmla="*/ 236593650 w 195"/>
                  <a:gd name="T113" fmla="*/ 61987134 h 287"/>
                  <a:gd name="T114" fmla="*/ 227351406 w 195"/>
                  <a:gd name="T115" fmla="*/ 46908103 h 287"/>
                  <a:gd name="T116" fmla="*/ 221805787 w 195"/>
                  <a:gd name="T117" fmla="*/ 33506523 h 287"/>
                  <a:gd name="T118" fmla="*/ 216261528 w 195"/>
                  <a:gd name="T119" fmla="*/ 28480611 h 287"/>
                  <a:gd name="T120" fmla="*/ 207019284 w 195"/>
                  <a:gd name="T121" fmla="*/ 28480611 h 287"/>
                  <a:gd name="T122" fmla="*/ 195929407 w 195"/>
                  <a:gd name="T123" fmla="*/ 15077742 h 287"/>
                  <a:gd name="T124" fmla="*/ 175597243 w 195"/>
                  <a:gd name="T125" fmla="*/ 0 h 28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95"/>
                  <a:gd name="T190" fmla="*/ 0 h 287"/>
                  <a:gd name="T191" fmla="*/ 195 w 195"/>
                  <a:gd name="T192" fmla="*/ 287 h 28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95" h="287">
                    <a:moveTo>
                      <a:pt x="95" y="0"/>
                    </a:moveTo>
                    <a:lnTo>
                      <a:pt x="95" y="3"/>
                    </a:lnTo>
                    <a:lnTo>
                      <a:pt x="89" y="3"/>
                    </a:lnTo>
                    <a:lnTo>
                      <a:pt x="89" y="6"/>
                    </a:lnTo>
                    <a:lnTo>
                      <a:pt x="92" y="6"/>
                    </a:lnTo>
                    <a:lnTo>
                      <a:pt x="95" y="9"/>
                    </a:lnTo>
                    <a:lnTo>
                      <a:pt x="95" y="12"/>
                    </a:lnTo>
                    <a:lnTo>
                      <a:pt x="95" y="14"/>
                    </a:lnTo>
                    <a:lnTo>
                      <a:pt x="95" y="17"/>
                    </a:lnTo>
                    <a:lnTo>
                      <a:pt x="87" y="28"/>
                    </a:lnTo>
                    <a:lnTo>
                      <a:pt x="73" y="42"/>
                    </a:lnTo>
                    <a:lnTo>
                      <a:pt x="53" y="51"/>
                    </a:lnTo>
                    <a:lnTo>
                      <a:pt x="50" y="51"/>
                    </a:lnTo>
                    <a:lnTo>
                      <a:pt x="50" y="53"/>
                    </a:lnTo>
                    <a:lnTo>
                      <a:pt x="50" y="56"/>
                    </a:lnTo>
                    <a:lnTo>
                      <a:pt x="48" y="56"/>
                    </a:lnTo>
                    <a:lnTo>
                      <a:pt x="45" y="56"/>
                    </a:lnTo>
                    <a:lnTo>
                      <a:pt x="42" y="62"/>
                    </a:lnTo>
                    <a:lnTo>
                      <a:pt x="42" y="73"/>
                    </a:lnTo>
                    <a:lnTo>
                      <a:pt x="39" y="73"/>
                    </a:lnTo>
                    <a:lnTo>
                      <a:pt x="36" y="76"/>
                    </a:lnTo>
                    <a:lnTo>
                      <a:pt x="34" y="78"/>
                    </a:lnTo>
                    <a:lnTo>
                      <a:pt x="31" y="78"/>
                    </a:lnTo>
                    <a:lnTo>
                      <a:pt x="25" y="73"/>
                    </a:lnTo>
                    <a:lnTo>
                      <a:pt x="22" y="73"/>
                    </a:lnTo>
                    <a:lnTo>
                      <a:pt x="22" y="70"/>
                    </a:lnTo>
                    <a:lnTo>
                      <a:pt x="20" y="70"/>
                    </a:lnTo>
                    <a:lnTo>
                      <a:pt x="17" y="70"/>
                    </a:lnTo>
                    <a:lnTo>
                      <a:pt x="14" y="70"/>
                    </a:lnTo>
                    <a:lnTo>
                      <a:pt x="14" y="67"/>
                    </a:lnTo>
                    <a:lnTo>
                      <a:pt x="11" y="65"/>
                    </a:lnTo>
                    <a:lnTo>
                      <a:pt x="14" y="65"/>
                    </a:lnTo>
                    <a:lnTo>
                      <a:pt x="17" y="62"/>
                    </a:lnTo>
                    <a:lnTo>
                      <a:pt x="17" y="59"/>
                    </a:lnTo>
                    <a:lnTo>
                      <a:pt x="17" y="56"/>
                    </a:lnTo>
                    <a:lnTo>
                      <a:pt x="17" y="53"/>
                    </a:lnTo>
                    <a:lnTo>
                      <a:pt x="3" y="67"/>
                    </a:lnTo>
                    <a:lnTo>
                      <a:pt x="0" y="70"/>
                    </a:lnTo>
                    <a:lnTo>
                      <a:pt x="3" y="76"/>
                    </a:lnTo>
                    <a:lnTo>
                      <a:pt x="3" y="78"/>
                    </a:lnTo>
                    <a:lnTo>
                      <a:pt x="3" y="81"/>
                    </a:lnTo>
                    <a:lnTo>
                      <a:pt x="9" y="87"/>
                    </a:lnTo>
                    <a:lnTo>
                      <a:pt x="6" y="90"/>
                    </a:lnTo>
                    <a:lnTo>
                      <a:pt x="3" y="92"/>
                    </a:lnTo>
                    <a:lnTo>
                      <a:pt x="6" y="92"/>
                    </a:lnTo>
                    <a:lnTo>
                      <a:pt x="22" y="106"/>
                    </a:lnTo>
                    <a:lnTo>
                      <a:pt x="25" y="109"/>
                    </a:lnTo>
                    <a:lnTo>
                      <a:pt x="25" y="112"/>
                    </a:lnTo>
                    <a:lnTo>
                      <a:pt x="31" y="123"/>
                    </a:lnTo>
                    <a:lnTo>
                      <a:pt x="39" y="131"/>
                    </a:lnTo>
                    <a:lnTo>
                      <a:pt x="59" y="179"/>
                    </a:lnTo>
                    <a:lnTo>
                      <a:pt x="61" y="184"/>
                    </a:lnTo>
                    <a:lnTo>
                      <a:pt x="78" y="209"/>
                    </a:lnTo>
                    <a:lnTo>
                      <a:pt x="81" y="215"/>
                    </a:lnTo>
                    <a:lnTo>
                      <a:pt x="78" y="218"/>
                    </a:lnTo>
                    <a:lnTo>
                      <a:pt x="78" y="223"/>
                    </a:lnTo>
                    <a:lnTo>
                      <a:pt x="95" y="240"/>
                    </a:lnTo>
                    <a:lnTo>
                      <a:pt x="137" y="265"/>
                    </a:lnTo>
                    <a:lnTo>
                      <a:pt x="139" y="265"/>
                    </a:lnTo>
                    <a:lnTo>
                      <a:pt x="167" y="287"/>
                    </a:lnTo>
                    <a:lnTo>
                      <a:pt x="170" y="285"/>
                    </a:lnTo>
                    <a:lnTo>
                      <a:pt x="178" y="285"/>
                    </a:lnTo>
                    <a:lnTo>
                      <a:pt x="178" y="282"/>
                    </a:lnTo>
                    <a:lnTo>
                      <a:pt x="181" y="279"/>
                    </a:lnTo>
                    <a:lnTo>
                      <a:pt x="181" y="276"/>
                    </a:lnTo>
                    <a:lnTo>
                      <a:pt x="184" y="276"/>
                    </a:lnTo>
                    <a:lnTo>
                      <a:pt x="181" y="276"/>
                    </a:lnTo>
                    <a:lnTo>
                      <a:pt x="181" y="273"/>
                    </a:lnTo>
                    <a:lnTo>
                      <a:pt x="192" y="259"/>
                    </a:lnTo>
                    <a:lnTo>
                      <a:pt x="192" y="257"/>
                    </a:lnTo>
                    <a:lnTo>
                      <a:pt x="190" y="254"/>
                    </a:lnTo>
                    <a:lnTo>
                      <a:pt x="187" y="251"/>
                    </a:lnTo>
                    <a:lnTo>
                      <a:pt x="187" y="248"/>
                    </a:lnTo>
                    <a:lnTo>
                      <a:pt x="187" y="243"/>
                    </a:lnTo>
                    <a:lnTo>
                      <a:pt x="187" y="240"/>
                    </a:lnTo>
                    <a:lnTo>
                      <a:pt x="190" y="240"/>
                    </a:lnTo>
                    <a:lnTo>
                      <a:pt x="190" y="237"/>
                    </a:lnTo>
                    <a:lnTo>
                      <a:pt x="190" y="234"/>
                    </a:lnTo>
                    <a:lnTo>
                      <a:pt x="187" y="232"/>
                    </a:lnTo>
                    <a:lnTo>
                      <a:pt x="187" y="229"/>
                    </a:lnTo>
                    <a:lnTo>
                      <a:pt x="192" y="226"/>
                    </a:lnTo>
                    <a:lnTo>
                      <a:pt x="192" y="201"/>
                    </a:lnTo>
                    <a:lnTo>
                      <a:pt x="192" y="198"/>
                    </a:lnTo>
                    <a:lnTo>
                      <a:pt x="195" y="195"/>
                    </a:lnTo>
                    <a:lnTo>
                      <a:pt x="195" y="193"/>
                    </a:lnTo>
                    <a:lnTo>
                      <a:pt x="181" y="170"/>
                    </a:lnTo>
                    <a:lnTo>
                      <a:pt x="178" y="170"/>
                    </a:lnTo>
                    <a:lnTo>
                      <a:pt x="176" y="173"/>
                    </a:lnTo>
                    <a:lnTo>
                      <a:pt x="173" y="173"/>
                    </a:lnTo>
                    <a:lnTo>
                      <a:pt x="170" y="170"/>
                    </a:lnTo>
                    <a:lnTo>
                      <a:pt x="170" y="145"/>
                    </a:lnTo>
                    <a:lnTo>
                      <a:pt x="153" y="156"/>
                    </a:lnTo>
                    <a:lnTo>
                      <a:pt x="148" y="156"/>
                    </a:lnTo>
                    <a:lnTo>
                      <a:pt x="145" y="154"/>
                    </a:lnTo>
                    <a:lnTo>
                      <a:pt x="142" y="154"/>
                    </a:lnTo>
                    <a:lnTo>
                      <a:pt x="142" y="151"/>
                    </a:lnTo>
                    <a:lnTo>
                      <a:pt x="142" y="148"/>
                    </a:lnTo>
                    <a:lnTo>
                      <a:pt x="139" y="148"/>
                    </a:lnTo>
                    <a:lnTo>
                      <a:pt x="131" y="145"/>
                    </a:lnTo>
                    <a:lnTo>
                      <a:pt x="131" y="142"/>
                    </a:lnTo>
                    <a:lnTo>
                      <a:pt x="131" y="140"/>
                    </a:lnTo>
                    <a:lnTo>
                      <a:pt x="128" y="140"/>
                    </a:lnTo>
                    <a:lnTo>
                      <a:pt x="123" y="129"/>
                    </a:lnTo>
                    <a:lnTo>
                      <a:pt x="120" y="126"/>
                    </a:lnTo>
                    <a:lnTo>
                      <a:pt x="117" y="117"/>
                    </a:lnTo>
                    <a:lnTo>
                      <a:pt x="123" y="104"/>
                    </a:lnTo>
                    <a:lnTo>
                      <a:pt x="128" y="104"/>
                    </a:lnTo>
                    <a:lnTo>
                      <a:pt x="128" y="95"/>
                    </a:lnTo>
                    <a:lnTo>
                      <a:pt x="139" y="78"/>
                    </a:lnTo>
                    <a:lnTo>
                      <a:pt x="145" y="73"/>
                    </a:lnTo>
                    <a:lnTo>
                      <a:pt x="170" y="67"/>
                    </a:lnTo>
                    <a:lnTo>
                      <a:pt x="176" y="67"/>
                    </a:lnTo>
                    <a:lnTo>
                      <a:pt x="178" y="65"/>
                    </a:lnTo>
                    <a:lnTo>
                      <a:pt x="176" y="65"/>
                    </a:lnTo>
                    <a:lnTo>
                      <a:pt x="173" y="59"/>
                    </a:lnTo>
                    <a:lnTo>
                      <a:pt x="167" y="59"/>
                    </a:lnTo>
                    <a:lnTo>
                      <a:pt x="167" y="56"/>
                    </a:lnTo>
                    <a:lnTo>
                      <a:pt x="176" y="45"/>
                    </a:lnTo>
                    <a:lnTo>
                      <a:pt x="173" y="42"/>
                    </a:lnTo>
                    <a:lnTo>
                      <a:pt x="164" y="37"/>
                    </a:lnTo>
                    <a:lnTo>
                      <a:pt x="162" y="37"/>
                    </a:lnTo>
                    <a:lnTo>
                      <a:pt x="159" y="37"/>
                    </a:lnTo>
                    <a:lnTo>
                      <a:pt x="156" y="37"/>
                    </a:lnTo>
                    <a:lnTo>
                      <a:pt x="153" y="37"/>
                    </a:lnTo>
                    <a:lnTo>
                      <a:pt x="148" y="37"/>
                    </a:lnTo>
                    <a:lnTo>
                      <a:pt x="145" y="37"/>
                    </a:lnTo>
                    <a:lnTo>
                      <a:pt x="145" y="39"/>
                    </a:lnTo>
                    <a:lnTo>
                      <a:pt x="142" y="39"/>
                    </a:lnTo>
                    <a:lnTo>
                      <a:pt x="139" y="39"/>
                    </a:lnTo>
                    <a:lnTo>
                      <a:pt x="137" y="39"/>
                    </a:lnTo>
                    <a:lnTo>
                      <a:pt x="134" y="39"/>
                    </a:lnTo>
                    <a:lnTo>
                      <a:pt x="131" y="39"/>
                    </a:lnTo>
                    <a:lnTo>
                      <a:pt x="128" y="39"/>
                    </a:lnTo>
                    <a:lnTo>
                      <a:pt x="128" y="37"/>
                    </a:lnTo>
                    <a:lnTo>
                      <a:pt x="128" y="28"/>
                    </a:lnTo>
                    <a:lnTo>
                      <a:pt x="125" y="28"/>
                    </a:lnTo>
                    <a:lnTo>
                      <a:pt x="123" y="28"/>
                    </a:lnTo>
                    <a:lnTo>
                      <a:pt x="120" y="20"/>
                    </a:lnTo>
                    <a:lnTo>
                      <a:pt x="117" y="17"/>
                    </a:lnTo>
                    <a:lnTo>
                      <a:pt x="114" y="17"/>
                    </a:lnTo>
                    <a:lnTo>
                      <a:pt x="112" y="17"/>
                    </a:lnTo>
                    <a:lnTo>
                      <a:pt x="112" y="14"/>
                    </a:lnTo>
                    <a:lnTo>
                      <a:pt x="109" y="9"/>
                    </a:lnTo>
                    <a:lnTo>
                      <a:pt x="106" y="9"/>
                    </a:lnTo>
                    <a:lnTo>
                      <a:pt x="103" y="6"/>
                    </a:lnTo>
                    <a:lnTo>
                      <a:pt x="103" y="3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6" name="Freeform 1039"/>
              <p:cNvSpPr>
                <a:spLocks noChangeAspect="1"/>
              </p:cNvSpPr>
              <p:nvPr>
                <p:custDataLst>
                  <p:tags r:id="rId304"/>
                </p:custDataLst>
              </p:nvPr>
            </p:nvSpPr>
            <p:spPr bwMode="gray">
              <a:xfrm>
                <a:off x="3727957" y="4595723"/>
                <a:ext cx="399354" cy="785217"/>
              </a:xfrm>
              <a:custGeom>
                <a:avLst/>
                <a:gdLst>
                  <a:gd name="T0" fmla="*/ 72131823 w 307"/>
                  <a:gd name="T1" fmla="*/ 1014526671 h 610"/>
                  <a:gd name="T2" fmla="*/ 25893966 w 307"/>
                  <a:gd name="T3" fmla="*/ 959097018 h 610"/>
                  <a:gd name="T4" fmla="*/ 11097412 w 307"/>
                  <a:gd name="T5" fmla="*/ 959097018 h 610"/>
                  <a:gd name="T6" fmla="*/ 0 w 307"/>
                  <a:gd name="T7" fmla="*/ 954058076 h 610"/>
                  <a:gd name="T8" fmla="*/ 25893966 w 307"/>
                  <a:gd name="T9" fmla="*/ 878472656 h 610"/>
                  <a:gd name="T10" fmla="*/ 25893966 w 307"/>
                  <a:gd name="T11" fmla="*/ 851597005 h 610"/>
                  <a:gd name="T12" fmla="*/ 48087436 w 307"/>
                  <a:gd name="T13" fmla="*/ 752496524 h 610"/>
                  <a:gd name="T14" fmla="*/ 42538721 w 307"/>
                  <a:gd name="T15" fmla="*/ 728981464 h 610"/>
                  <a:gd name="T16" fmla="*/ 51786572 w 307"/>
                  <a:gd name="T17" fmla="*/ 715542990 h 610"/>
                  <a:gd name="T18" fmla="*/ 42538721 w 307"/>
                  <a:gd name="T19" fmla="*/ 686988988 h 610"/>
                  <a:gd name="T20" fmla="*/ 36991376 w 307"/>
                  <a:gd name="T21" fmla="*/ 634918467 h 610"/>
                  <a:gd name="T22" fmla="*/ 42538721 w 307"/>
                  <a:gd name="T23" fmla="*/ 603005170 h 610"/>
                  <a:gd name="T24" fmla="*/ 68432687 w 307"/>
                  <a:gd name="T25" fmla="*/ 443436094 h 610"/>
                  <a:gd name="T26" fmla="*/ 77680528 w 307"/>
                  <a:gd name="T27" fmla="*/ 435036562 h 610"/>
                  <a:gd name="T28" fmla="*/ 88777938 w 307"/>
                  <a:gd name="T29" fmla="*/ 396404677 h 610"/>
                  <a:gd name="T30" fmla="*/ 94326664 w 307"/>
                  <a:gd name="T31" fmla="*/ 327537764 h 610"/>
                  <a:gd name="T32" fmla="*/ 83229233 w 307"/>
                  <a:gd name="T33" fmla="*/ 270428464 h 610"/>
                  <a:gd name="T34" fmla="*/ 98025800 w 307"/>
                  <a:gd name="T35" fmla="*/ 246913403 h 610"/>
                  <a:gd name="T36" fmla="*/ 144263646 w 307"/>
                  <a:gd name="T37" fmla="*/ 144452291 h 610"/>
                  <a:gd name="T38" fmla="*/ 140564510 w 307"/>
                  <a:gd name="T39" fmla="*/ 78944735 h 610"/>
                  <a:gd name="T40" fmla="*/ 175706307 w 307"/>
                  <a:gd name="T41" fmla="*/ 31913307 h 610"/>
                  <a:gd name="T42" fmla="*/ 186803759 w 307"/>
                  <a:gd name="T43" fmla="*/ 23515071 h 610"/>
                  <a:gd name="T44" fmla="*/ 247838151 w 307"/>
                  <a:gd name="T45" fmla="*/ 13437183 h 610"/>
                  <a:gd name="T46" fmla="*/ 258935561 w 307"/>
                  <a:gd name="T47" fmla="*/ 26874365 h 610"/>
                  <a:gd name="T48" fmla="*/ 319969953 w 307"/>
                  <a:gd name="T49" fmla="*/ 18476124 h 610"/>
                  <a:gd name="T50" fmla="*/ 360660540 w 307"/>
                  <a:gd name="T51" fmla="*/ 60468615 h 610"/>
                  <a:gd name="T52" fmla="*/ 438341047 w 307"/>
                  <a:gd name="T53" fmla="*/ 92381932 h 610"/>
                  <a:gd name="T54" fmla="*/ 449437096 w 307"/>
                  <a:gd name="T55" fmla="*/ 112538995 h 610"/>
                  <a:gd name="T56" fmla="*/ 475331052 w 307"/>
                  <a:gd name="T57" fmla="*/ 162928411 h 610"/>
                  <a:gd name="T58" fmla="*/ 495676302 w 307"/>
                  <a:gd name="T59" fmla="*/ 162928411 h 610"/>
                  <a:gd name="T60" fmla="*/ 541914149 w 307"/>
                  <a:gd name="T61" fmla="*/ 107500053 h 610"/>
                  <a:gd name="T62" fmla="*/ 562259400 w 307"/>
                  <a:gd name="T63" fmla="*/ 154530175 h 610"/>
                  <a:gd name="T64" fmla="*/ 490127598 w 307"/>
                  <a:gd name="T65" fmla="*/ 209959869 h 610"/>
                  <a:gd name="T66" fmla="*/ 454985801 w 307"/>
                  <a:gd name="T67" fmla="*/ 246913403 h 610"/>
                  <a:gd name="T68" fmla="*/ 438341047 w 307"/>
                  <a:gd name="T69" fmla="*/ 330897059 h 610"/>
                  <a:gd name="T70" fmla="*/ 464233642 w 307"/>
                  <a:gd name="T71" fmla="*/ 406482560 h 610"/>
                  <a:gd name="T72" fmla="*/ 475331052 w 307"/>
                  <a:gd name="T73" fmla="*/ 435036562 h 610"/>
                  <a:gd name="T74" fmla="*/ 449437096 w 307"/>
                  <a:gd name="T75" fmla="*/ 500544099 h 610"/>
                  <a:gd name="T76" fmla="*/ 319969953 w 307"/>
                  <a:gd name="T77" fmla="*/ 532458692 h 610"/>
                  <a:gd name="T78" fmla="*/ 319969953 w 307"/>
                  <a:gd name="T79" fmla="*/ 550934811 h 610"/>
                  <a:gd name="T80" fmla="*/ 305173407 w 307"/>
                  <a:gd name="T81" fmla="*/ 592927287 h 610"/>
                  <a:gd name="T82" fmla="*/ 238590310 w 307"/>
                  <a:gd name="T83" fmla="*/ 589567992 h 610"/>
                  <a:gd name="T84" fmla="*/ 253386856 w 307"/>
                  <a:gd name="T85" fmla="*/ 634918467 h 610"/>
                  <a:gd name="T86" fmla="*/ 262634697 w 307"/>
                  <a:gd name="T87" fmla="*/ 634918467 h 610"/>
                  <a:gd name="T88" fmla="*/ 279280812 w 307"/>
                  <a:gd name="T89" fmla="*/ 655075529 h 610"/>
                  <a:gd name="T90" fmla="*/ 262634697 w 307"/>
                  <a:gd name="T91" fmla="*/ 650035291 h 610"/>
                  <a:gd name="T92" fmla="*/ 242289446 w 307"/>
                  <a:gd name="T93" fmla="*/ 650035291 h 610"/>
                  <a:gd name="T94" fmla="*/ 242289446 w 307"/>
                  <a:gd name="T95" fmla="*/ 673551648 h 610"/>
                  <a:gd name="T96" fmla="*/ 227492900 w 307"/>
                  <a:gd name="T97" fmla="*/ 720581932 h 610"/>
                  <a:gd name="T98" fmla="*/ 201598945 w 307"/>
                  <a:gd name="T99" fmla="*/ 739059347 h 610"/>
                  <a:gd name="T100" fmla="*/ 166458465 w 307"/>
                  <a:gd name="T101" fmla="*/ 781050527 h 610"/>
                  <a:gd name="T102" fmla="*/ 221944196 w 307"/>
                  <a:gd name="T103" fmla="*/ 818004061 h 610"/>
                  <a:gd name="T104" fmla="*/ 212696354 w 307"/>
                  <a:gd name="T105" fmla="*/ 851597005 h 610"/>
                  <a:gd name="T106" fmla="*/ 166458465 w 307"/>
                  <a:gd name="T107" fmla="*/ 901987717 h 610"/>
                  <a:gd name="T108" fmla="*/ 140564510 w 307"/>
                  <a:gd name="T109" fmla="*/ 930543015 h 610"/>
                  <a:gd name="T110" fmla="*/ 140564510 w 307"/>
                  <a:gd name="T111" fmla="*/ 935581957 h 610"/>
                  <a:gd name="T112" fmla="*/ 120220619 w 307"/>
                  <a:gd name="T113" fmla="*/ 972534195 h 610"/>
                  <a:gd name="T114" fmla="*/ 120220619 w 307"/>
                  <a:gd name="T115" fmla="*/ 1001089494 h 6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07"/>
                  <a:gd name="T175" fmla="*/ 0 h 610"/>
                  <a:gd name="T176" fmla="*/ 307 w 307"/>
                  <a:gd name="T177" fmla="*/ 610 h 6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07" h="610">
                    <a:moveTo>
                      <a:pt x="78" y="610"/>
                    </a:moveTo>
                    <a:lnTo>
                      <a:pt x="76" y="610"/>
                    </a:lnTo>
                    <a:lnTo>
                      <a:pt x="73" y="607"/>
                    </a:lnTo>
                    <a:lnTo>
                      <a:pt x="56" y="604"/>
                    </a:lnTo>
                    <a:lnTo>
                      <a:pt x="39" y="604"/>
                    </a:lnTo>
                    <a:lnTo>
                      <a:pt x="23" y="604"/>
                    </a:lnTo>
                    <a:lnTo>
                      <a:pt x="20" y="604"/>
                    </a:lnTo>
                    <a:lnTo>
                      <a:pt x="17" y="598"/>
                    </a:lnTo>
                    <a:lnTo>
                      <a:pt x="14" y="571"/>
                    </a:lnTo>
                    <a:lnTo>
                      <a:pt x="14" y="568"/>
                    </a:lnTo>
                    <a:lnTo>
                      <a:pt x="12" y="571"/>
                    </a:lnTo>
                    <a:lnTo>
                      <a:pt x="6" y="571"/>
                    </a:lnTo>
                    <a:lnTo>
                      <a:pt x="3" y="571"/>
                    </a:lnTo>
                    <a:lnTo>
                      <a:pt x="3" y="573"/>
                    </a:lnTo>
                    <a:lnTo>
                      <a:pt x="0" y="573"/>
                    </a:lnTo>
                    <a:lnTo>
                      <a:pt x="0" y="568"/>
                    </a:lnTo>
                    <a:lnTo>
                      <a:pt x="3" y="543"/>
                    </a:lnTo>
                    <a:lnTo>
                      <a:pt x="3" y="540"/>
                    </a:lnTo>
                    <a:lnTo>
                      <a:pt x="6" y="540"/>
                    </a:lnTo>
                    <a:lnTo>
                      <a:pt x="14" y="523"/>
                    </a:lnTo>
                    <a:lnTo>
                      <a:pt x="14" y="515"/>
                    </a:lnTo>
                    <a:lnTo>
                      <a:pt x="14" y="512"/>
                    </a:lnTo>
                    <a:lnTo>
                      <a:pt x="14" y="509"/>
                    </a:lnTo>
                    <a:lnTo>
                      <a:pt x="14" y="507"/>
                    </a:lnTo>
                    <a:lnTo>
                      <a:pt x="14" y="504"/>
                    </a:lnTo>
                    <a:lnTo>
                      <a:pt x="14" y="498"/>
                    </a:lnTo>
                    <a:lnTo>
                      <a:pt x="26" y="476"/>
                    </a:lnTo>
                    <a:lnTo>
                      <a:pt x="26" y="448"/>
                    </a:lnTo>
                    <a:lnTo>
                      <a:pt x="28" y="445"/>
                    </a:lnTo>
                    <a:lnTo>
                      <a:pt x="28" y="443"/>
                    </a:lnTo>
                    <a:lnTo>
                      <a:pt x="26" y="437"/>
                    </a:lnTo>
                    <a:lnTo>
                      <a:pt x="23" y="437"/>
                    </a:lnTo>
                    <a:lnTo>
                      <a:pt x="23" y="434"/>
                    </a:lnTo>
                    <a:lnTo>
                      <a:pt x="31" y="434"/>
                    </a:lnTo>
                    <a:lnTo>
                      <a:pt x="31" y="431"/>
                    </a:lnTo>
                    <a:lnTo>
                      <a:pt x="31" y="429"/>
                    </a:lnTo>
                    <a:lnTo>
                      <a:pt x="28" y="426"/>
                    </a:lnTo>
                    <a:lnTo>
                      <a:pt x="26" y="426"/>
                    </a:lnTo>
                    <a:lnTo>
                      <a:pt x="23" y="426"/>
                    </a:lnTo>
                    <a:lnTo>
                      <a:pt x="23" y="423"/>
                    </a:lnTo>
                    <a:lnTo>
                      <a:pt x="23" y="415"/>
                    </a:lnTo>
                    <a:lnTo>
                      <a:pt x="23" y="409"/>
                    </a:lnTo>
                    <a:lnTo>
                      <a:pt x="23" y="398"/>
                    </a:lnTo>
                    <a:lnTo>
                      <a:pt x="20" y="395"/>
                    </a:lnTo>
                    <a:lnTo>
                      <a:pt x="20" y="378"/>
                    </a:lnTo>
                    <a:lnTo>
                      <a:pt x="26" y="373"/>
                    </a:lnTo>
                    <a:lnTo>
                      <a:pt x="26" y="367"/>
                    </a:lnTo>
                    <a:lnTo>
                      <a:pt x="23" y="365"/>
                    </a:lnTo>
                    <a:lnTo>
                      <a:pt x="23" y="359"/>
                    </a:lnTo>
                    <a:lnTo>
                      <a:pt x="31" y="312"/>
                    </a:lnTo>
                    <a:lnTo>
                      <a:pt x="34" y="306"/>
                    </a:lnTo>
                    <a:lnTo>
                      <a:pt x="37" y="303"/>
                    </a:lnTo>
                    <a:lnTo>
                      <a:pt x="34" y="298"/>
                    </a:lnTo>
                    <a:lnTo>
                      <a:pt x="37" y="264"/>
                    </a:lnTo>
                    <a:lnTo>
                      <a:pt x="37" y="262"/>
                    </a:lnTo>
                    <a:lnTo>
                      <a:pt x="39" y="262"/>
                    </a:lnTo>
                    <a:lnTo>
                      <a:pt x="39" y="259"/>
                    </a:lnTo>
                    <a:lnTo>
                      <a:pt x="42" y="259"/>
                    </a:lnTo>
                    <a:lnTo>
                      <a:pt x="42" y="256"/>
                    </a:lnTo>
                    <a:lnTo>
                      <a:pt x="45" y="256"/>
                    </a:lnTo>
                    <a:lnTo>
                      <a:pt x="42" y="239"/>
                    </a:lnTo>
                    <a:lnTo>
                      <a:pt x="48" y="236"/>
                    </a:lnTo>
                    <a:lnTo>
                      <a:pt x="48" y="228"/>
                    </a:lnTo>
                    <a:lnTo>
                      <a:pt x="53" y="220"/>
                    </a:lnTo>
                    <a:lnTo>
                      <a:pt x="51" y="203"/>
                    </a:lnTo>
                    <a:lnTo>
                      <a:pt x="51" y="200"/>
                    </a:lnTo>
                    <a:lnTo>
                      <a:pt x="51" y="195"/>
                    </a:lnTo>
                    <a:lnTo>
                      <a:pt x="45" y="184"/>
                    </a:lnTo>
                    <a:lnTo>
                      <a:pt x="45" y="175"/>
                    </a:lnTo>
                    <a:lnTo>
                      <a:pt x="42" y="172"/>
                    </a:lnTo>
                    <a:lnTo>
                      <a:pt x="45" y="161"/>
                    </a:lnTo>
                    <a:lnTo>
                      <a:pt x="48" y="153"/>
                    </a:lnTo>
                    <a:lnTo>
                      <a:pt x="51" y="150"/>
                    </a:lnTo>
                    <a:lnTo>
                      <a:pt x="51" y="147"/>
                    </a:lnTo>
                    <a:lnTo>
                      <a:pt x="53" y="147"/>
                    </a:lnTo>
                    <a:lnTo>
                      <a:pt x="59" y="108"/>
                    </a:lnTo>
                    <a:lnTo>
                      <a:pt x="67" y="100"/>
                    </a:lnTo>
                    <a:lnTo>
                      <a:pt x="67" y="94"/>
                    </a:lnTo>
                    <a:lnTo>
                      <a:pt x="73" y="89"/>
                    </a:lnTo>
                    <a:lnTo>
                      <a:pt x="78" y="86"/>
                    </a:lnTo>
                    <a:lnTo>
                      <a:pt x="73" y="58"/>
                    </a:lnTo>
                    <a:lnTo>
                      <a:pt x="76" y="58"/>
                    </a:lnTo>
                    <a:lnTo>
                      <a:pt x="76" y="55"/>
                    </a:lnTo>
                    <a:lnTo>
                      <a:pt x="76" y="47"/>
                    </a:lnTo>
                    <a:lnTo>
                      <a:pt x="95" y="39"/>
                    </a:lnTo>
                    <a:lnTo>
                      <a:pt x="98" y="22"/>
                    </a:lnTo>
                    <a:lnTo>
                      <a:pt x="95" y="19"/>
                    </a:lnTo>
                    <a:lnTo>
                      <a:pt x="98" y="16"/>
                    </a:lnTo>
                    <a:lnTo>
                      <a:pt x="98" y="14"/>
                    </a:lnTo>
                    <a:lnTo>
                      <a:pt x="101" y="14"/>
                    </a:lnTo>
                    <a:lnTo>
                      <a:pt x="112" y="0"/>
                    </a:lnTo>
                    <a:lnTo>
                      <a:pt x="117" y="5"/>
                    </a:lnTo>
                    <a:lnTo>
                      <a:pt x="134" y="8"/>
                    </a:lnTo>
                    <a:lnTo>
                      <a:pt x="137" y="11"/>
                    </a:lnTo>
                    <a:lnTo>
                      <a:pt x="140" y="16"/>
                    </a:lnTo>
                    <a:lnTo>
                      <a:pt x="142" y="5"/>
                    </a:lnTo>
                    <a:lnTo>
                      <a:pt x="159" y="5"/>
                    </a:lnTo>
                    <a:lnTo>
                      <a:pt x="165" y="8"/>
                    </a:lnTo>
                    <a:lnTo>
                      <a:pt x="170" y="11"/>
                    </a:lnTo>
                    <a:lnTo>
                      <a:pt x="173" y="11"/>
                    </a:lnTo>
                    <a:lnTo>
                      <a:pt x="176" y="19"/>
                    </a:lnTo>
                    <a:lnTo>
                      <a:pt x="179" y="22"/>
                    </a:lnTo>
                    <a:lnTo>
                      <a:pt x="190" y="30"/>
                    </a:lnTo>
                    <a:lnTo>
                      <a:pt x="195" y="36"/>
                    </a:lnTo>
                    <a:lnTo>
                      <a:pt x="195" y="39"/>
                    </a:lnTo>
                    <a:lnTo>
                      <a:pt x="212" y="42"/>
                    </a:lnTo>
                    <a:lnTo>
                      <a:pt x="232" y="53"/>
                    </a:lnTo>
                    <a:lnTo>
                      <a:pt x="234" y="55"/>
                    </a:lnTo>
                    <a:lnTo>
                      <a:pt x="237" y="55"/>
                    </a:lnTo>
                    <a:lnTo>
                      <a:pt x="240" y="58"/>
                    </a:lnTo>
                    <a:lnTo>
                      <a:pt x="240" y="61"/>
                    </a:lnTo>
                    <a:lnTo>
                      <a:pt x="243" y="61"/>
                    </a:lnTo>
                    <a:lnTo>
                      <a:pt x="243" y="67"/>
                    </a:lnTo>
                    <a:lnTo>
                      <a:pt x="232" y="86"/>
                    </a:lnTo>
                    <a:lnTo>
                      <a:pt x="232" y="92"/>
                    </a:lnTo>
                    <a:lnTo>
                      <a:pt x="248" y="92"/>
                    </a:lnTo>
                    <a:lnTo>
                      <a:pt x="257" y="97"/>
                    </a:lnTo>
                    <a:lnTo>
                      <a:pt x="259" y="97"/>
                    </a:lnTo>
                    <a:lnTo>
                      <a:pt x="262" y="97"/>
                    </a:lnTo>
                    <a:lnTo>
                      <a:pt x="265" y="97"/>
                    </a:lnTo>
                    <a:lnTo>
                      <a:pt x="268" y="97"/>
                    </a:lnTo>
                    <a:lnTo>
                      <a:pt x="268" y="94"/>
                    </a:lnTo>
                    <a:lnTo>
                      <a:pt x="273" y="94"/>
                    </a:lnTo>
                    <a:lnTo>
                      <a:pt x="276" y="94"/>
                    </a:lnTo>
                    <a:lnTo>
                      <a:pt x="290" y="81"/>
                    </a:lnTo>
                    <a:lnTo>
                      <a:pt x="293" y="64"/>
                    </a:lnTo>
                    <a:lnTo>
                      <a:pt x="301" y="64"/>
                    </a:lnTo>
                    <a:lnTo>
                      <a:pt x="304" y="67"/>
                    </a:lnTo>
                    <a:lnTo>
                      <a:pt x="307" y="78"/>
                    </a:lnTo>
                    <a:lnTo>
                      <a:pt x="307" y="89"/>
                    </a:lnTo>
                    <a:lnTo>
                      <a:pt x="304" y="92"/>
                    </a:lnTo>
                    <a:lnTo>
                      <a:pt x="298" y="97"/>
                    </a:lnTo>
                    <a:lnTo>
                      <a:pt x="290" y="97"/>
                    </a:lnTo>
                    <a:lnTo>
                      <a:pt x="273" y="114"/>
                    </a:lnTo>
                    <a:lnTo>
                      <a:pt x="273" y="117"/>
                    </a:lnTo>
                    <a:lnTo>
                      <a:pt x="265" y="125"/>
                    </a:lnTo>
                    <a:lnTo>
                      <a:pt x="265" y="128"/>
                    </a:lnTo>
                    <a:lnTo>
                      <a:pt x="251" y="142"/>
                    </a:lnTo>
                    <a:lnTo>
                      <a:pt x="246" y="147"/>
                    </a:lnTo>
                    <a:lnTo>
                      <a:pt x="243" y="150"/>
                    </a:lnTo>
                    <a:lnTo>
                      <a:pt x="240" y="170"/>
                    </a:lnTo>
                    <a:lnTo>
                      <a:pt x="237" y="178"/>
                    </a:lnTo>
                    <a:lnTo>
                      <a:pt x="237" y="195"/>
                    </a:lnTo>
                    <a:lnTo>
                      <a:pt x="237" y="197"/>
                    </a:lnTo>
                    <a:lnTo>
                      <a:pt x="234" y="200"/>
                    </a:lnTo>
                    <a:lnTo>
                      <a:pt x="232" y="220"/>
                    </a:lnTo>
                    <a:lnTo>
                      <a:pt x="232" y="223"/>
                    </a:lnTo>
                    <a:lnTo>
                      <a:pt x="234" y="228"/>
                    </a:lnTo>
                    <a:lnTo>
                      <a:pt x="251" y="242"/>
                    </a:lnTo>
                    <a:lnTo>
                      <a:pt x="251" y="245"/>
                    </a:lnTo>
                    <a:lnTo>
                      <a:pt x="248" y="250"/>
                    </a:lnTo>
                    <a:lnTo>
                      <a:pt x="248" y="253"/>
                    </a:lnTo>
                    <a:lnTo>
                      <a:pt x="251" y="259"/>
                    </a:lnTo>
                    <a:lnTo>
                      <a:pt x="257" y="259"/>
                    </a:lnTo>
                    <a:lnTo>
                      <a:pt x="259" y="259"/>
                    </a:lnTo>
                    <a:lnTo>
                      <a:pt x="259" y="270"/>
                    </a:lnTo>
                    <a:lnTo>
                      <a:pt x="246" y="289"/>
                    </a:lnTo>
                    <a:lnTo>
                      <a:pt x="246" y="295"/>
                    </a:lnTo>
                    <a:lnTo>
                      <a:pt x="243" y="298"/>
                    </a:lnTo>
                    <a:lnTo>
                      <a:pt x="193" y="312"/>
                    </a:lnTo>
                    <a:lnTo>
                      <a:pt x="176" y="312"/>
                    </a:lnTo>
                    <a:lnTo>
                      <a:pt x="173" y="306"/>
                    </a:lnTo>
                    <a:lnTo>
                      <a:pt x="170" y="309"/>
                    </a:lnTo>
                    <a:lnTo>
                      <a:pt x="173" y="317"/>
                    </a:lnTo>
                    <a:lnTo>
                      <a:pt x="173" y="320"/>
                    </a:lnTo>
                    <a:lnTo>
                      <a:pt x="176" y="323"/>
                    </a:lnTo>
                    <a:lnTo>
                      <a:pt x="173" y="328"/>
                    </a:lnTo>
                    <a:lnTo>
                      <a:pt x="170" y="337"/>
                    </a:lnTo>
                    <a:lnTo>
                      <a:pt x="173" y="345"/>
                    </a:lnTo>
                    <a:lnTo>
                      <a:pt x="170" y="351"/>
                    </a:lnTo>
                    <a:lnTo>
                      <a:pt x="170" y="353"/>
                    </a:lnTo>
                    <a:lnTo>
                      <a:pt x="165" y="353"/>
                    </a:lnTo>
                    <a:lnTo>
                      <a:pt x="159" y="356"/>
                    </a:lnTo>
                    <a:lnTo>
                      <a:pt x="148" y="356"/>
                    </a:lnTo>
                    <a:lnTo>
                      <a:pt x="134" y="351"/>
                    </a:lnTo>
                    <a:lnTo>
                      <a:pt x="131" y="345"/>
                    </a:lnTo>
                    <a:lnTo>
                      <a:pt x="129" y="351"/>
                    </a:lnTo>
                    <a:lnTo>
                      <a:pt x="129" y="356"/>
                    </a:lnTo>
                    <a:lnTo>
                      <a:pt x="129" y="362"/>
                    </a:lnTo>
                    <a:lnTo>
                      <a:pt x="129" y="376"/>
                    </a:lnTo>
                    <a:lnTo>
                      <a:pt x="134" y="378"/>
                    </a:lnTo>
                    <a:lnTo>
                      <a:pt x="137" y="378"/>
                    </a:lnTo>
                    <a:lnTo>
                      <a:pt x="137" y="381"/>
                    </a:lnTo>
                    <a:lnTo>
                      <a:pt x="137" y="384"/>
                    </a:lnTo>
                    <a:lnTo>
                      <a:pt x="145" y="381"/>
                    </a:lnTo>
                    <a:lnTo>
                      <a:pt x="142" y="378"/>
                    </a:lnTo>
                    <a:lnTo>
                      <a:pt x="145" y="378"/>
                    </a:lnTo>
                    <a:lnTo>
                      <a:pt x="148" y="376"/>
                    </a:lnTo>
                    <a:lnTo>
                      <a:pt x="151" y="378"/>
                    </a:lnTo>
                    <a:lnTo>
                      <a:pt x="154" y="387"/>
                    </a:lnTo>
                    <a:lnTo>
                      <a:pt x="151" y="390"/>
                    </a:lnTo>
                    <a:lnTo>
                      <a:pt x="145" y="392"/>
                    </a:lnTo>
                    <a:lnTo>
                      <a:pt x="142" y="390"/>
                    </a:lnTo>
                    <a:lnTo>
                      <a:pt x="142" y="387"/>
                    </a:lnTo>
                    <a:lnTo>
                      <a:pt x="140" y="387"/>
                    </a:lnTo>
                    <a:lnTo>
                      <a:pt x="137" y="384"/>
                    </a:lnTo>
                    <a:lnTo>
                      <a:pt x="134" y="387"/>
                    </a:lnTo>
                    <a:lnTo>
                      <a:pt x="131" y="387"/>
                    </a:lnTo>
                    <a:lnTo>
                      <a:pt x="129" y="390"/>
                    </a:lnTo>
                    <a:lnTo>
                      <a:pt x="142" y="395"/>
                    </a:lnTo>
                    <a:lnTo>
                      <a:pt x="131" y="401"/>
                    </a:lnTo>
                    <a:lnTo>
                      <a:pt x="126" y="409"/>
                    </a:lnTo>
                    <a:lnTo>
                      <a:pt x="126" y="423"/>
                    </a:lnTo>
                    <a:lnTo>
                      <a:pt x="126" y="429"/>
                    </a:lnTo>
                    <a:lnTo>
                      <a:pt x="123" y="429"/>
                    </a:lnTo>
                    <a:lnTo>
                      <a:pt x="120" y="431"/>
                    </a:lnTo>
                    <a:lnTo>
                      <a:pt x="123" y="437"/>
                    </a:lnTo>
                    <a:lnTo>
                      <a:pt x="120" y="440"/>
                    </a:lnTo>
                    <a:lnTo>
                      <a:pt x="112" y="440"/>
                    </a:lnTo>
                    <a:lnTo>
                      <a:pt x="109" y="440"/>
                    </a:lnTo>
                    <a:lnTo>
                      <a:pt x="106" y="443"/>
                    </a:lnTo>
                    <a:lnTo>
                      <a:pt x="104" y="443"/>
                    </a:lnTo>
                    <a:lnTo>
                      <a:pt x="101" y="445"/>
                    </a:lnTo>
                    <a:lnTo>
                      <a:pt x="90" y="459"/>
                    </a:lnTo>
                    <a:lnTo>
                      <a:pt x="90" y="465"/>
                    </a:lnTo>
                    <a:lnTo>
                      <a:pt x="95" y="473"/>
                    </a:lnTo>
                    <a:lnTo>
                      <a:pt x="104" y="484"/>
                    </a:lnTo>
                    <a:lnTo>
                      <a:pt x="109" y="487"/>
                    </a:lnTo>
                    <a:lnTo>
                      <a:pt x="117" y="484"/>
                    </a:lnTo>
                    <a:lnTo>
                      <a:pt x="120" y="487"/>
                    </a:lnTo>
                    <a:lnTo>
                      <a:pt x="120" y="495"/>
                    </a:lnTo>
                    <a:lnTo>
                      <a:pt x="117" y="498"/>
                    </a:lnTo>
                    <a:lnTo>
                      <a:pt x="117" y="507"/>
                    </a:lnTo>
                    <a:lnTo>
                      <a:pt x="115" y="507"/>
                    </a:lnTo>
                    <a:lnTo>
                      <a:pt x="115" y="509"/>
                    </a:lnTo>
                    <a:lnTo>
                      <a:pt x="90" y="529"/>
                    </a:lnTo>
                    <a:lnTo>
                      <a:pt x="87" y="540"/>
                    </a:lnTo>
                    <a:lnTo>
                      <a:pt x="90" y="537"/>
                    </a:lnTo>
                    <a:lnTo>
                      <a:pt x="87" y="551"/>
                    </a:lnTo>
                    <a:lnTo>
                      <a:pt x="84" y="554"/>
                    </a:lnTo>
                    <a:lnTo>
                      <a:pt x="81" y="557"/>
                    </a:lnTo>
                    <a:lnTo>
                      <a:pt x="78" y="557"/>
                    </a:lnTo>
                    <a:lnTo>
                      <a:pt x="76" y="554"/>
                    </a:lnTo>
                    <a:lnTo>
                      <a:pt x="73" y="548"/>
                    </a:lnTo>
                    <a:lnTo>
                      <a:pt x="73" y="554"/>
                    </a:lnTo>
                    <a:lnTo>
                      <a:pt x="76" y="554"/>
                    </a:lnTo>
                    <a:lnTo>
                      <a:pt x="76" y="557"/>
                    </a:lnTo>
                    <a:lnTo>
                      <a:pt x="67" y="565"/>
                    </a:lnTo>
                    <a:lnTo>
                      <a:pt x="65" y="576"/>
                    </a:lnTo>
                    <a:lnTo>
                      <a:pt x="62" y="579"/>
                    </a:lnTo>
                    <a:lnTo>
                      <a:pt x="65" y="579"/>
                    </a:lnTo>
                    <a:lnTo>
                      <a:pt x="67" y="590"/>
                    </a:lnTo>
                    <a:lnTo>
                      <a:pt x="67" y="593"/>
                    </a:lnTo>
                    <a:lnTo>
                      <a:pt x="65" y="593"/>
                    </a:lnTo>
                    <a:lnTo>
                      <a:pt x="62" y="593"/>
                    </a:lnTo>
                    <a:lnTo>
                      <a:pt x="65" y="596"/>
                    </a:lnTo>
                    <a:lnTo>
                      <a:pt x="65" y="593"/>
                    </a:lnTo>
                    <a:lnTo>
                      <a:pt x="67" y="596"/>
                    </a:lnTo>
                    <a:lnTo>
                      <a:pt x="78" y="61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7" name="Freeform 1040"/>
              <p:cNvSpPr>
                <a:spLocks noChangeAspect="1"/>
              </p:cNvSpPr>
              <p:nvPr>
                <p:custDataLst>
                  <p:tags r:id="rId305"/>
                </p:custDataLst>
              </p:nvPr>
            </p:nvSpPr>
            <p:spPr bwMode="gray">
              <a:xfrm>
                <a:off x="3822101" y="5391976"/>
                <a:ext cx="72886" cy="80413"/>
              </a:xfrm>
              <a:custGeom>
                <a:avLst/>
                <a:gdLst>
                  <a:gd name="T0" fmla="*/ 0 w 56"/>
                  <a:gd name="T1" fmla="*/ 97618659 h 64"/>
                  <a:gd name="T2" fmla="*/ 0 w 56"/>
                  <a:gd name="T3" fmla="*/ 0 h 64"/>
                  <a:gd name="T4" fmla="*/ 14812737 w 56"/>
                  <a:gd name="T5" fmla="*/ 22403703 h 64"/>
                  <a:gd name="T6" fmla="*/ 14812737 w 56"/>
                  <a:gd name="T7" fmla="*/ 22403703 h 64"/>
                  <a:gd name="T8" fmla="*/ 14812737 w 56"/>
                  <a:gd name="T9" fmla="*/ 22403703 h 64"/>
                  <a:gd name="T10" fmla="*/ 9258300 w 56"/>
                  <a:gd name="T11" fmla="*/ 17602906 h 64"/>
                  <a:gd name="T12" fmla="*/ 5554436 w 56"/>
                  <a:gd name="T13" fmla="*/ 22403703 h 64"/>
                  <a:gd name="T14" fmla="*/ 5554436 w 56"/>
                  <a:gd name="T15" fmla="*/ 22403703 h 64"/>
                  <a:gd name="T16" fmla="*/ 5554436 w 56"/>
                  <a:gd name="T17" fmla="*/ 27205759 h 64"/>
                  <a:gd name="T18" fmla="*/ 9258300 w 56"/>
                  <a:gd name="T19" fmla="*/ 30406287 h 64"/>
                  <a:gd name="T20" fmla="*/ 14812737 w 56"/>
                  <a:gd name="T21" fmla="*/ 30406287 h 64"/>
                  <a:gd name="T22" fmla="*/ 20367171 w 56"/>
                  <a:gd name="T23" fmla="*/ 44808670 h 64"/>
                  <a:gd name="T24" fmla="*/ 40734342 w 56"/>
                  <a:gd name="T25" fmla="*/ 62411572 h 64"/>
                  <a:gd name="T26" fmla="*/ 40734342 w 56"/>
                  <a:gd name="T27" fmla="*/ 62411572 h 64"/>
                  <a:gd name="T28" fmla="*/ 46288787 w 56"/>
                  <a:gd name="T29" fmla="*/ 62411572 h 64"/>
                  <a:gd name="T30" fmla="*/ 51843221 w 56"/>
                  <a:gd name="T31" fmla="*/ 62411572 h 64"/>
                  <a:gd name="T32" fmla="*/ 51843221 w 56"/>
                  <a:gd name="T33" fmla="*/ 67212363 h 64"/>
                  <a:gd name="T34" fmla="*/ 57397656 w 56"/>
                  <a:gd name="T35" fmla="*/ 70412891 h 64"/>
                  <a:gd name="T36" fmla="*/ 81467324 w 56"/>
                  <a:gd name="T37" fmla="*/ 89617341 h 64"/>
                  <a:gd name="T38" fmla="*/ 98132009 w 56"/>
                  <a:gd name="T39" fmla="*/ 89617341 h 64"/>
                  <a:gd name="T40" fmla="*/ 103686443 w 56"/>
                  <a:gd name="T41" fmla="*/ 84816549 h 64"/>
                  <a:gd name="T42" fmla="*/ 103686443 w 56"/>
                  <a:gd name="T43" fmla="*/ 92817868 h 64"/>
                  <a:gd name="T44" fmla="*/ 98132009 w 56"/>
                  <a:gd name="T45" fmla="*/ 97618659 h 64"/>
                  <a:gd name="T46" fmla="*/ 92577574 w 56"/>
                  <a:gd name="T47" fmla="*/ 97618659 h 64"/>
                  <a:gd name="T48" fmla="*/ 81467324 w 56"/>
                  <a:gd name="T49" fmla="*/ 97618659 h 64"/>
                  <a:gd name="T50" fmla="*/ 66655953 w 56"/>
                  <a:gd name="T51" fmla="*/ 102419451 h 64"/>
                  <a:gd name="T52" fmla="*/ 66655953 w 56"/>
                  <a:gd name="T53" fmla="*/ 102419451 h 64"/>
                  <a:gd name="T54" fmla="*/ 61101519 w 56"/>
                  <a:gd name="T55" fmla="*/ 102419451 h 64"/>
                  <a:gd name="T56" fmla="*/ 51843221 w 56"/>
                  <a:gd name="T57" fmla="*/ 97618659 h 64"/>
                  <a:gd name="T58" fmla="*/ 25921611 w 56"/>
                  <a:gd name="T59" fmla="*/ 92817868 h 64"/>
                  <a:gd name="T60" fmla="*/ 20367171 w 56"/>
                  <a:gd name="T61" fmla="*/ 92817868 h 64"/>
                  <a:gd name="T62" fmla="*/ 14812737 w 56"/>
                  <a:gd name="T63" fmla="*/ 92817868 h 64"/>
                  <a:gd name="T64" fmla="*/ 5554436 w 56"/>
                  <a:gd name="T65" fmla="*/ 97618659 h 64"/>
                  <a:gd name="T66" fmla="*/ 0 w 56"/>
                  <a:gd name="T67" fmla="*/ 97618659 h 6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6"/>
                  <a:gd name="T103" fmla="*/ 0 h 64"/>
                  <a:gd name="T104" fmla="*/ 56 w 56"/>
                  <a:gd name="T105" fmla="*/ 64 h 6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6" h="64">
                    <a:moveTo>
                      <a:pt x="0" y="61"/>
                    </a:moveTo>
                    <a:lnTo>
                      <a:pt x="0" y="0"/>
                    </a:lnTo>
                    <a:lnTo>
                      <a:pt x="8" y="14"/>
                    </a:lnTo>
                    <a:lnTo>
                      <a:pt x="5" y="11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5" y="19"/>
                    </a:lnTo>
                    <a:lnTo>
                      <a:pt x="8" y="19"/>
                    </a:lnTo>
                    <a:lnTo>
                      <a:pt x="11" y="28"/>
                    </a:lnTo>
                    <a:lnTo>
                      <a:pt x="22" y="39"/>
                    </a:lnTo>
                    <a:lnTo>
                      <a:pt x="25" y="39"/>
                    </a:lnTo>
                    <a:lnTo>
                      <a:pt x="28" y="39"/>
                    </a:lnTo>
                    <a:lnTo>
                      <a:pt x="28" y="42"/>
                    </a:lnTo>
                    <a:lnTo>
                      <a:pt x="31" y="44"/>
                    </a:lnTo>
                    <a:lnTo>
                      <a:pt x="44" y="56"/>
                    </a:lnTo>
                    <a:lnTo>
                      <a:pt x="53" y="56"/>
                    </a:lnTo>
                    <a:lnTo>
                      <a:pt x="56" y="53"/>
                    </a:lnTo>
                    <a:lnTo>
                      <a:pt x="56" y="58"/>
                    </a:lnTo>
                    <a:lnTo>
                      <a:pt x="53" y="61"/>
                    </a:lnTo>
                    <a:lnTo>
                      <a:pt x="50" y="61"/>
                    </a:lnTo>
                    <a:lnTo>
                      <a:pt x="44" y="61"/>
                    </a:lnTo>
                    <a:lnTo>
                      <a:pt x="36" y="64"/>
                    </a:lnTo>
                    <a:lnTo>
                      <a:pt x="33" y="64"/>
                    </a:lnTo>
                    <a:lnTo>
                      <a:pt x="28" y="61"/>
                    </a:lnTo>
                    <a:lnTo>
                      <a:pt x="14" y="58"/>
                    </a:lnTo>
                    <a:lnTo>
                      <a:pt x="11" y="58"/>
                    </a:lnTo>
                    <a:lnTo>
                      <a:pt x="8" y="58"/>
                    </a:lnTo>
                    <a:lnTo>
                      <a:pt x="3" y="61"/>
                    </a:lnTo>
                    <a:lnTo>
                      <a:pt x="0" y="6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8" name="Freeform 1041"/>
              <p:cNvSpPr>
                <a:spLocks noChangeAspect="1"/>
              </p:cNvSpPr>
              <p:nvPr>
                <p:custDataLst>
                  <p:tags r:id="rId306"/>
                </p:custDataLst>
              </p:nvPr>
            </p:nvSpPr>
            <p:spPr bwMode="gray">
              <a:xfrm>
                <a:off x="4034685" y="4032827"/>
                <a:ext cx="83515" cy="81991"/>
              </a:xfrm>
              <a:custGeom>
                <a:avLst/>
                <a:gdLst>
                  <a:gd name="T0" fmla="*/ 109812459 w 64"/>
                  <a:gd name="T1" fmla="*/ 91502802 h 64"/>
                  <a:gd name="T2" fmla="*/ 93060649 w 64"/>
                  <a:gd name="T3" fmla="*/ 88176297 h 64"/>
                  <a:gd name="T4" fmla="*/ 83754977 w 64"/>
                  <a:gd name="T5" fmla="*/ 91502802 h 64"/>
                  <a:gd name="T6" fmla="*/ 78171040 w 64"/>
                  <a:gd name="T7" fmla="*/ 91502802 h 64"/>
                  <a:gd name="T8" fmla="*/ 72587104 w 64"/>
                  <a:gd name="T9" fmla="*/ 88176297 h 64"/>
                  <a:gd name="T10" fmla="*/ 67004531 w 64"/>
                  <a:gd name="T11" fmla="*/ 88176297 h 64"/>
                  <a:gd name="T12" fmla="*/ 67004531 w 64"/>
                  <a:gd name="T13" fmla="*/ 91502802 h 64"/>
                  <a:gd name="T14" fmla="*/ 67004531 w 64"/>
                  <a:gd name="T15" fmla="*/ 101484898 h 64"/>
                  <a:gd name="T16" fmla="*/ 67004531 w 64"/>
                  <a:gd name="T17" fmla="*/ 106476591 h 64"/>
                  <a:gd name="T18" fmla="*/ 57697516 w 64"/>
                  <a:gd name="T19" fmla="*/ 106476591 h 64"/>
                  <a:gd name="T20" fmla="*/ 52113579 w 64"/>
                  <a:gd name="T21" fmla="*/ 101484898 h 64"/>
                  <a:gd name="T22" fmla="*/ 52113579 w 64"/>
                  <a:gd name="T23" fmla="*/ 101484898 h 64"/>
                  <a:gd name="T24" fmla="*/ 46531007 w 64"/>
                  <a:gd name="T25" fmla="*/ 101484898 h 64"/>
                  <a:gd name="T26" fmla="*/ 31641408 w 64"/>
                  <a:gd name="T27" fmla="*/ 78194181 h 64"/>
                  <a:gd name="T28" fmla="*/ 31641408 w 64"/>
                  <a:gd name="T29" fmla="*/ 73202488 h 64"/>
                  <a:gd name="T30" fmla="*/ 26057472 w 64"/>
                  <a:gd name="T31" fmla="*/ 73202488 h 64"/>
                  <a:gd name="T32" fmla="*/ 26057472 w 64"/>
                  <a:gd name="T33" fmla="*/ 68212085 h 64"/>
                  <a:gd name="T34" fmla="*/ 26057472 w 64"/>
                  <a:gd name="T35" fmla="*/ 64884289 h 64"/>
                  <a:gd name="T36" fmla="*/ 16750451 w 64"/>
                  <a:gd name="T37" fmla="*/ 64884289 h 64"/>
                  <a:gd name="T38" fmla="*/ 16750451 w 64"/>
                  <a:gd name="T39" fmla="*/ 64884289 h 64"/>
                  <a:gd name="T40" fmla="*/ 16750451 w 64"/>
                  <a:gd name="T41" fmla="*/ 64884289 h 64"/>
                  <a:gd name="T42" fmla="*/ 16750451 w 64"/>
                  <a:gd name="T43" fmla="*/ 59892596 h 64"/>
                  <a:gd name="T44" fmla="*/ 11167876 w 64"/>
                  <a:gd name="T45" fmla="*/ 59892596 h 64"/>
                  <a:gd name="T46" fmla="*/ 11167876 w 64"/>
                  <a:gd name="T47" fmla="*/ 54902193 h 64"/>
                  <a:gd name="T48" fmla="*/ 0 w 64"/>
                  <a:gd name="T49" fmla="*/ 44920097 h 64"/>
                  <a:gd name="T50" fmla="*/ 0 w 64"/>
                  <a:gd name="T51" fmla="*/ 44920097 h 64"/>
                  <a:gd name="T52" fmla="*/ 5583938 w 64"/>
                  <a:gd name="T53" fmla="*/ 36601889 h 64"/>
                  <a:gd name="T54" fmla="*/ 5583938 w 64"/>
                  <a:gd name="T55" fmla="*/ 26619793 h 64"/>
                  <a:gd name="T56" fmla="*/ 5583938 w 64"/>
                  <a:gd name="T57" fmla="*/ 26619793 h 64"/>
                  <a:gd name="T58" fmla="*/ 16750451 w 64"/>
                  <a:gd name="T59" fmla="*/ 23291997 h 64"/>
                  <a:gd name="T60" fmla="*/ 20473530 w 64"/>
                  <a:gd name="T61" fmla="*/ 23291997 h 64"/>
                  <a:gd name="T62" fmla="*/ 20473530 w 64"/>
                  <a:gd name="T63" fmla="*/ 23291997 h 64"/>
                  <a:gd name="T64" fmla="*/ 26057472 w 64"/>
                  <a:gd name="T65" fmla="*/ 18300299 h 64"/>
                  <a:gd name="T66" fmla="*/ 26057472 w 64"/>
                  <a:gd name="T67" fmla="*/ 13309896 h 64"/>
                  <a:gd name="T68" fmla="*/ 26057472 w 64"/>
                  <a:gd name="T69" fmla="*/ 13309896 h 64"/>
                  <a:gd name="T70" fmla="*/ 26057472 w 64"/>
                  <a:gd name="T71" fmla="*/ 13309896 h 64"/>
                  <a:gd name="T72" fmla="*/ 26057472 w 64"/>
                  <a:gd name="T73" fmla="*/ 13309896 h 64"/>
                  <a:gd name="T74" fmla="*/ 31641408 w 64"/>
                  <a:gd name="T75" fmla="*/ 3327797 h 64"/>
                  <a:gd name="T76" fmla="*/ 37223980 w 64"/>
                  <a:gd name="T77" fmla="*/ 3327797 h 64"/>
                  <a:gd name="T78" fmla="*/ 37223980 w 64"/>
                  <a:gd name="T79" fmla="*/ 0 h 64"/>
                  <a:gd name="T80" fmla="*/ 40947060 w 64"/>
                  <a:gd name="T81" fmla="*/ 0 h 64"/>
                  <a:gd name="T82" fmla="*/ 52113579 w 64"/>
                  <a:gd name="T83" fmla="*/ 3327797 h 64"/>
                  <a:gd name="T84" fmla="*/ 87476691 w 64"/>
                  <a:gd name="T85" fmla="*/ 0 h 64"/>
                  <a:gd name="T86" fmla="*/ 87476691 w 64"/>
                  <a:gd name="T87" fmla="*/ 0 h 64"/>
                  <a:gd name="T88" fmla="*/ 119118110 w 64"/>
                  <a:gd name="T89" fmla="*/ 3327797 h 64"/>
                  <a:gd name="T90" fmla="*/ 119118110 w 64"/>
                  <a:gd name="T91" fmla="*/ 3327797 h 64"/>
                  <a:gd name="T92" fmla="*/ 119118110 w 64"/>
                  <a:gd name="T93" fmla="*/ 8318201 h 64"/>
                  <a:gd name="T94" fmla="*/ 119118110 w 64"/>
                  <a:gd name="T95" fmla="*/ 13309896 h 64"/>
                  <a:gd name="T96" fmla="*/ 119118110 w 64"/>
                  <a:gd name="T97" fmla="*/ 13309896 h 64"/>
                  <a:gd name="T98" fmla="*/ 113534174 w 64"/>
                  <a:gd name="T99" fmla="*/ 18300299 h 64"/>
                  <a:gd name="T100" fmla="*/ 109812459 w 64"/>
                  <a:gd name="T101" fmla="*/ 23291997 h 64"/>
                  <a:gd name="T102" fmla="*/ 109812459 w 64"/>
                  <a:gd name="T103" fmla="*/ 41592292 h 64"/>
                  <a:gd name="T104" fmla="*/ 119118110 w 64"/>
                  <a:gd name="T105" fmla="*/ 54902193 h 64"/>
                  <a:gd name="T106" fmla="*/ 119118110 w 64"/>
                  <a:gd name="T107" fmla="*/ 54902193 h 64"/>
                  <a:gd name="T108" fmla="*/ 119118110 w 64"/>
                  <a:gd name="T109" fmla="*/ 54902193 h 64"/>
                  <a:gd name="T110" fmla="*/ 119118110 w 64"/>
                  <a:gd name="T111" fmla="*/ 59892596 h 64"/>
                  <a:gd name="T112" fmla="*/ 113534174 w 64"/>
                  <a:gd name="T113" fmla="*/ 88176297 h 64"/>
                  <a:gd name="T114" fmla="*/ 109812459 w 64"/>
                  <a:gd name="T115" fmla="*/ 91502802 h 6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4"/>
                  <a:gd name="T175" fmla="*/ 0 h 64"/>
                  <a:gd name="T176" fmla="*/ 64 w 64"/>
                  <a:gd name="T177" fmla="*/ 64 h 6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4" h="64">
                    <a:moveTo>
                      <a:pt x="59" y="55"/>
                    </a:moveTo>
                    <a:lnTo>
                      <a:pt x="50" y="53"/>
                    </a:lnTo>
                    <a:lnTo>
                      <a:pt x="45" y="55"/>
                    </a:lnTo>
                    <a:lnTo>
                      <a:pt x="42" y="55"/>
                    </a:lnTo>
                    <a:lnTo>
                      <a:pt x="39" y="53"/>
                    </a:lnTo>
                    <a:lnTo>
                      <a:pt x="36" y="53"/>
                    </a:lnTo>
                    <a:lnTo>
                      <a:pt x="36" y="55"/>
                    </a:lnTo>
                    <a:lnTo>
                      <a:pt x="36" y="61"/>
                    </a:lnTo>
                    <a:lnTo>
                      <a:pt x="36" y="64"/>
                    </a:lnTo>
                    <a:lnTo>
                      <a:pt x="31" y="64"/>
                    </a:lnTo>
                    <a:lnTo>
                      <a:pt x="28" y="61"/>
                    </a:lnTo>
                    <a:lnTo>
                      <a:pt x="25" y="61"/>
                    </a:lnTo>
                    <a:lnTo>
                      <a:pt x="17" y="47"/>
                    </a:lnTo>
                    <a:lnTo>
                      <a:pt x="17" y="44"/>
                    </a:lnTo>
                    <a:lnTo>
                      <a:pt x="14" y="44"/>
                    </a:lnTo>
                    <a:lnTo>
                      <a:pt x="14" y="41"/>
                    </a:lnTo>
                    <a:lnTo>
                      <a:pt x="14" y="39"/>
                    </a:lnTo>
                    <a:lnTo>
                      <a:pt x="9" y="39"/>
                    </a:lnTo>
                    <a:lnTo>
                      <a:pt x="9" y="36"/>
                    </a:lnTo>
                    <a:lnTo>
                      <a:pt x="6" y="36"/>
                    </a:lnTo>
                    <a:lnTo>
                      <a:pt x="6" y="33"/>
                    </a:lnTo>
                    <a:lnTo>
                      <a:pt x="0" y="27"/>
                    </a:lnTo>
                    <a:lnTo>
                      <a:pt x="3" y="22"/>
                    </a:lnTo>
                    <a:lnTo>
                      <a:pt x="3" y="16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4" y="11"/>
                    </a:lnTo>
                    <a:lnTo>
                      <a:pt x="14" y="8"/>
                    </a:lnTo>
                    <a:lnTo>
                      <a:pt x="17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8" y="2"/>
                    </a:lnTo>
                    <a:lnTo>
                      <a:pt x="47" y="0"/>
                    </a:lnTo>
                    <a:lnTo>
                      <a:pt x="64" y="2"/>
                    </a:lnTo>
                    <a:lnTo>
                      <a:pt x="64" y="5"/>
                    </a:lnTo>
                    <a:lnTo>
                      <a:pt x="64" y="8"/>
                    </a:lnTo>
                    <a:lnTo>
                      <a:pt x="61" y="11"/>
                    </a:lnTo>
                    <a:lnTo>
                      <a:pt x="59" y="14"/>
                    </a:lnTo>
                    <a:lnTo>
                      <a:pt x="59" y="25"/>
                    </a:lnTo>
                    <a:lnTo>
                      <a:pt x="64" y="33"/>
                    </a:lnTo>
                    <a:lnTo>
                      <a:pt x="64" y="36"/>
                    </a:lnTo>
                    <a:lnTo>
                      <a:pt x="61" y="53"/>
                    </a:lnTo>
                    <a:lnTo>
                      <a:pt x="59" y="5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9" name="Freeform 1166"/>
              <p:cNvSpPr>
                <a:spLocks noChangeAspect="1"/>
              </p:cNvSpPr>
              <p:nvPr>
                <p:custDataLst>
                  <p:tags r:id="rId307"/>
                </p:custDataLst>
              </p:nvPr>
            </p:nvSpPr>
            <p:spPr bwMode="gray">
              <a:xfrm>
                <a:off x="4702806" y="3801046"/>
                <a:ext cx="7593" cy="4731"/>
              </a:xfrm>
              <a:custGeom>
                <a:avLst/>
                <a:gdLst>
                  <a:gd name="T0" fmla="*/ 10501973 w 6"/>
                  <a:gd name="T1" fmla="*/ 0 h 3"/>
                  <a:gd name="T2" fmla="*/ 0 w 6"/>
                  <a:gd name="T3" fmla="*/ 0 h 3"/>
                  <a:gd name="T4" fmla="*/ 0 w 6"/>
                  <a:gd name="T5" fmla="*/ 7562057 h 3"/>
                  <a:gd name="T6" fmla="*/ 0 w 6"/>
                  <a:gd name="T7" fmla="*/ 7562057 h 3"/>
                  <a:gd name="T8" fmla="*/ 5250987 w 6"/>
                  <a:gd name="T9" fmla="*/ 7562057 h 3"/>
                  <a:gd name="T10" fmla="*/ 10501973 w 6"/>
                  <a:gd name="T11" fmla="*/ 7562057 h 3"/>
                  <a:gd name="T12" fmla="*/ 10501973 w 6"/>
                  <a:gd name="T13" fmla="*/ 0 h 3"/>
                  <a:gd name="T14" fmla="*/ 10501973 w 6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3"/>
                  <a:gd name="T26" fmla="*/ 6 w 6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3">
                    <a:moveTo>
                      <a:pt x="6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0" name="Freeform 1167"/>
              <p:cNvSpPr>
                <a:spLocks noChangeAspect="1"/>
              </p:cNvSpPr>
              <p:nvPr>
                <p:custDataLst>
                  <p:tags r:id="rId308"/>
                </p:custDataLst>
              </p:nvPr>
            </p:nvSpPr>
            <p:spPr bwMode="gray">
              <a:xfrm>
                <a:off x="4702806" y="3801046"/>
                <a:ext cx="7593" cy="4731"/>
              </a:xfrm>
              <a:custGeom>
                <a:avLst/>
                <a:gdLst>
                  <a:gd name="T0" fmla="*/ 10501973 w 6"/>
                  <a:gd name="T1" fmla="*/ 0 h 3"/>
                  <a:gd name="T2" fmla="*/ 0 w 6"/>
                  <a:gd name="T3" fmla="*/ 0 h 3"/>
                  <a:gd name="T4" fmla="*/ 0 w 6"/>
                  <a:gd name="T5" fmla="*/ 7562057 h 3"/>
                  <a:gd name="T6" fmla="*/ 0 w 6"/>
                  <a:gd name="T7" fmla="*/ 7562057 h 3"/>
                  <a:gd name="T8" fmla="*/ 5250987 w 6"/>
                  <a:gd name="T9" fmla="*/ 7562057 h 3"/>
                  <a:gd name="T10" fmla="*/ 10501973 w 6"/>
                  <a:gd name="T11" fmla="*/ 7562057 h 3"/>
                  <a:gd name="T12" fmla="*/ 10501973 w 6"/>
                  <a:gd name="T13" fmla="*/ 0 h 3"/>
                  <a:gd name="T14" fmla="*/ 10501973 w 6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3"/>
                  <a:gd name="T26" fmla="*/ 6 w 6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3">
                    <a:moveTo>
                      <a:pt x="6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1" name="Freeform 1191"/>
              <p:cNvSpPr>
                <a:spLocks noChangeAspect="1"/>
              </p:cNvSpPr>
              <p:nvPr>
                <p:custDataLst>
                  <p:tags r:id="rId309"/>
                </p:custDataLst>
              </p:nvPr>
            </p:nvSpPr>
            <p:spPr bwMode="gray">
              <a:xfrm>
                <a:off x="3937504" y="3794739"/>
                <a:ext cx="4557" cy="4731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7562057 h 3"/>
                  <a:gd name="T6" fmla="*/ 7562057 w 3"/>
                  <a:gd name="T7" fmla="*/ 7562057 h 3"/>
                  <a:gd name="T8" fmla="*/ 7562057 w 3"/>
                  <a:gd name="T9" fmla="*/ 7562057 h 3"/>
                  <a:gd name="T10" fmla="*/ 7562057 w 3"/>
                  <a:gd name="T11" fmla="*/ 7562057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2" name="Freeform 1192"/>
              <p:cNvSpPr>
                <a:spLocks noChangeAspect="1"/>
              </p:cNvSpPr>
              <p:nvPr>
                <p:custDataLst>
                  <p:tags r:id="rId310"/>
                </p:custDataLst>
              </p:nvPr>
            </p:nvSpPr>
            <p:spPr bwMode="gray">
              <a:xfrm>
                <a:off x="3937504" y="3794739"/>
                <a:ext cx="4557" cy="4731"/>
              </a:xfrm>
              <a:custGeom>
                <a:avLst/>
                <a:gdLst>
                  <a:gd name="T0" fmla="*/ 7562057 w 3"/>
                  <a:gd name="T1" fmla="*/ 0 h 3"/>
                  <a:gd name="T2" fmla="*/ 0 w 3"/>
                  <a:gd name="T3" fmla="*/ 0 h 3"/>
                  <a:gd name="T4" fmla="*/ 7562057 w 3"/>
                  <a:gd name="T5" fmla="*/ 7562057 h 3"/>
                  <a:gd name="T6" fmla="*/ 7562057 w 3"/>
                  <a:gd name="T7" fmla="*/ 7562057 h 3"/>
                  <a:gd name="T8" fmla="*/ 7562057 w 3"/>
                  <a:gd name="T9" fmla="*/ 7562057 h 3"/>
                  <a:gd name="T10" fmla="*/ 7562057 w 3"/>
                  <a:gd name="T11" fmla="*/ 7562057 h 3"/>
                  <a:gd name="T12" fmla="*/ 7562057 w 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3" name="Freeform 1193"/>
              <p:cNvSpPr>
                <a:spLocks noChangeAspect="1"/>
              </p:cNvSpPr>
              <p:nvPr>
                <p:custDataLst>
                  <p:tags r:id="rId311"/>
                </p:custDataLst>
              </p:nvPr>
            </p:nvSpPr>
            <p:spPr bwMode="gray">
              <a:xfrm>
                <a:off x="3980021" y="3867268"/>
                <a:ext cx="0" cy="6307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8064499 h 5"/>
                  <a:gd name="T4" fmla="*/ 0 w 2"/>
                  <a:gd name="T5" fmla="*/ 8064499 h 5"/>
                  <a:gd name="T6" fmla="*/ 0 w 2"/>
                  <a:gd name="T7" fmla="*/ 8064499 h 5"/>
                  <a:gd name="T8" fmla="*/ 0 w 2"/>
                  <a:gd name="T9" fmla="*/ 0 h 5"/>
                  <a:gd name="T10" fmla="*/ 0 w 2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5"/>
                  <a:gd name="T20" fmla="*/ 0 w 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5">
                    <a:moveTo>
                      <a:pt x="0" y="0"/>
                    </a:moveTo>
                    <a:lnTo>
                      <a:pt x="0" y="5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4" name="Freeform 1194"/>
              <p:cNvSpPr>
                <a:spLocks noChangeAspect="1"/>
              </p:cNvSpPr>
              <p:nvPr>
                <p:custDataLst>
                  <p:tags r:id="rId312"/>
                </p:custDataLst>
              </p:nvPr>
            </p:nvSpPr>
            <p:spPr bwMode="gray">
              <a:xfrm>
                <a:off x="3980021" y="3867268"/>
                <a:ext cx="0" cy="6307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8064499 h 5"/>
                  <a:gd name="T4" fmla="*/ 0 w 2"/>
                  <a:gd name="T5" fmla="*/ 8064499 h 5"/>
                  <a:gd name="T6" fmla="*/ 0 w 2"/>
                  <a:gd name="T7" fmla="*/ 8064499 h 5"/>
                  <a:gd name="T8" fmla="*/ 0 w 2"/>
                  <a:gd name="T9" fmla="*/ 0 h 5"/>
                  <a:gd name="T10" fmla="*/ 0 w 2"/>
                  <a:gd name="T11" fmla="*/ 0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5"/>
                  <a:gd name="T20" fmla="*/ 0 w 2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5">
                    <a:moveTo>
                      <a:pt x="0" y="0"/>
                    </a:moveTo>
                    <a:lnTo>
                      <a:pt x="0" y="5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5" name="Freeform 1196"/>
              <p:cNvSpPr>
                <a:spLocks noChangeAspect="1"/>
              </p:cNvSpPr>
              <p:nvPr>
                <p:custDataLst>
                  <p:tags r:id="rId313"/>
                </p:custDataLst>
              </p:nvPr>
            </p:nvSpPr>
            <p:spPr bwMode="gray">
              <a:xfrm>
                <a:off x="3778068" y="3238151"/>
                <a:ext cx="7592" cy="4730"/>
              </a:xfrm>
              <a:custGeom>
                <a:avLst/>
                <a:gdLst>
                  <a:gd name="T0" fmla="*/ 5250325 w 6"/>
                  <a:gd name="T1" fmla="*/ 0 h 3"/>
                  <a:gd name="T2" fmla="*/ 5250325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7558882 h 3"/>
                  <a:gd name="T10" fmla="*/ 5250325 w 6"/>
                  <a:gd name="T11" fmla="*/ 7558882 h 3"/>
                  <a:gd name="T12" fmla="*/ 10499327 w 6"/>
                  <a:gd name="T13" fmla="*/ 7558882 h 3"/>
                  <a:gd name="T14" fmla="*/ 10499327 w 6"/>
                  <a:gd name="T15" fmla="*/ 7558882 h 3"/>
                  <a:gd name="T16" fmla="*/ 10499327 w 6"/>
                  <a:gd name="T17" fmla="*/ 0 h 3"/>
                  <a:gd name="T18" fmla="*/ 5250325 w 6"/>
                  <a:gd name="T19" fmla="*/ 0 h 3"/>
                  <a:gd name="T20" fmla="*/ 5250325 w 6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3"/>
                  <a:gd name="T35" fmla="*/ 6 w 6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6" name="Freeform 1197"/>
              <p:cNvSpPr>
                <a:spLocks noChangeAspect="1"/>
              </p:cNvSpPr>
              <p:nvPr>
                <p:custDataLst>
                  <p:tags r:id="rId314"/>
                </p:custDataLst>
              </p:nvPr>
            </p:nvSpPr>
            <p:spPr bwMode="gray">
              <a:xfrm>
                <a:off x="3778068" y="3238151"/>
                <a:ext cx="7592" cy="4730"/>
              </a:xfrm>
              <a:custGeom>
                <a:avLst/>
                <a:gdLst>
                  <a:gd name="T0" fmla="*/ 5250325 w 6"/>
                  <a:gd name="T1" fmla="*/ 0 h 3"/>
                  <a:gd name="T2" fmla="*/ 5250325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7558882 h 3"/>
                  <a:gd name="T10" fmla="*/ 5250325 w 6"/>
                  <a:gd name="T11" fmla="*/ 7558882 h 3"/>
                  <a:gd name="T12" fmla="*/ 10499327 w 6"/>
                  <a:gd name="T13" fmla="*/ 7558882 h 3"/>
                  <a:gd name="T14" fmla="*/ 10499327 w 6"/>
                  <a:gd name="T15" fmla="*/ 7558882 h 3"/>
                  <a:gd name="T16" fmla="*/ 10499327 w 6"/>
                  <a:gd name="T17" fmla="*/ 0 h 3"/>
                  <a:gd name="T18" fmla="*/ 5250325 w 6"/>
                  <a:gd name="T19" fmla="*/ 0 h 3"/>
                  <a:gd name="T20" fmla="*/ 5250325 w 6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3"/>
                  <a:gd name="T35" fmla="*/ 6 w 6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7" name="Freeform 1198"/>
              <p:cNvSpPr>
                <a:spLocks noChangeAspect="1"/>
              </p:cNvSpPr>
              <p:nvPr>
                <p:custDataLst>
                  <p:tags r:id="rId315"/>
                </p:custDataLst>
              </p:nvPr>
            </p:nvSpPr>
            <p:spPr bwMode="gray">
              <a:xfrm>
                <a:off x="3790214" y="3238151"/>
                <a:ext cx="4555" cy="4730"/>
              </a:xfrm>
              <a:custGeom>
                <a:avLst/>
                <a:gdLst>
                  <a:gd name="T0" fmla="*/ 2721007 w 5"/>
                  <a:gd name="T1" fmla="*/ 7558882 h 3"/>
                  <a:gd name="T2" fmla="*/ 2721007 w 5"/>
                  <a:gd name="T3" fmla="*/ 7558882 h 3"/>
                  <a:gd name="T4" fmla="*/ 0 w 5"/>
                  <a:gd name="T5" fmla="*/ 7558882 h 3"/>
                  <a:gd name="T6" fmla="*/ 0 w 5"/>
                  <a:gd name="T7" fmla="*/ 7558882 h 3"/>
                  <a:gd name="T8" fmla="*/ 2721007 w 5"/>
                  <a:gd name="T9" fmla="*/ 7558882 h 3"/>
                  <a:gd name="T10" fmla="*/ 2721007 w 5"/>
                  <a:gd name="T11" fmla="*/ 7558882 h 3"/>
                  <a:gd name="T12" fmla="*/ 4535329 w 5"/>
                  <a:gd name="T13" fmla="*/ 7558882 h 3"/>
                  <a:gd name="T14" fmla="*/ 2721007 w 5"/>
                  <a:gd name="T15" fmla="*/ 0 h 3"/>
                  <a:gd name="T16" fmla="*/ 2721007 w 5"/>
                  <a:gd name="T17" fmla="*/ 7558882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8" name="Freeform 1199"/>
              <p:cNvSpPr>
                <a:spLocks noChangeAspect="1"/>
              </p:cNvSpPr>
              <p:nvPr>
                <p:custDataLst>
                  <p:tags r:id="rId316"/>
                </p:custDataLst>
              </p:nvPr>
            </p:nvSpPr>
            <p:spPr bwMode="gray">
              <a:xfrm>
                <a:off x="3790214" y="3238151"/>
                <a:ext cx="4555" cy="4730"/>
              </a:xfrm>
              <a:custGeom>
                <a:avLst/>
                <a:gdLst>
                  <a:gd name="T0" fmla="*/ 2721007 w 5"/>
                  <a:gd name="T1" fmla="*/ 7558882 h 3"/>
                  <a:gd name="T2" fmla="*/ 2721007 w 5"/>
                  <a:gd name="T3" fmla="*/ 7558882 h 3"/>
                  <a:gd name="T4" fmla="*/ 0 w 5"/>
                  <a:gd name="T5" fmla="*/ 7558882 h 3"/>
                  <a:gd name="T6" fmla="*/ 0 w 5"/>
                  <a:gd name="T7" fmla="*/ 7558882 h 3"/>
                  <a:gd name="T8" fmla="*/ 2721007 w 5"/>
                  <a:gd name="T9" fmla="*/ 7558882 h 3"/>
                  <a:gd name="T10" fmla="*/ 2721007 w 5"/>
                  <a:gd name="T11" fmla="*/ 7558882 h 3"/>
                  <a:gd name="T12" fmla="*/ 4535329 w 5"/>
                  <a:gd name="T13" fmla="*/ 7558882 h 3"/>
                  <a:gd name="T14" fmla="*/ 2721007 w 5"/>
                  <a:gd name="T15" fmla="*/ 0 h 3"/>
                  <a:gd name="T16" fmla="*/ 2721007 w 5"/>
                  <a:gd name="T17" fmla="*/ 7558882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"/>
                  <a:gd name="T29" fmla="*/ 5 w 5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">
                    <a:moveTo>
                      <a:pt x="3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9" name="Freeform 1200"/>
              <p:cNvSpPr>
                <a:spLocks noChangeAspect="1"/>
              </p:cNvSpPr>
              <p:nvPr>
                <p:custDataLst>
                  <p:tags r:id="rId317"/>
                </p:custDataLst>
              </p:nvPr>
            </p:nvSpPr>
            <p:spPr bwMode="gray">
              <a:xfrm>
                <a:off x="2684778" y="3009522"/>
                <a:ext cx="1173767" cy="621235"/>
              </a:xfrm>
              <a:custGeom>
                <a:avLst/>
                <a:gdLst>
                  <a:gd name="T0" fmla="*/ 1630424907 w 900"/>
                  <a:gd name="T1" fmla="*/ 84196460 h 482"/>
                  <a:gd name="T2" fmla="*/ 1563496873 w 900"/>
                  <a:gd name="T3" fmla="*/ 159973666 h 482"/>
                  <a:gd name="T4" fmla="*/ 1398037605 w 900"/>
                  <a:gd name="T5" fmla="*/ 207124388 h 482"/>
                  <a:gd name="T6" fmla="*/ 1372010036 w 900"/>
                  <a:gd name="T7" fmla="*/ 234067820 h 482"/>
                  <a:gd name="T8" fmla="*/ 1232578677 w 900"/>
                  <a:gd name="T9" fmla="*/ 294689568 h 482"/>
                  <a:gd name="T10" fmla="*/ 1212129127 w 900"/>
                  <a:gd name="T11" fmla="*/ 257642512 h 482"/>
                  <a:gd name="T12" fmla="*/ 1180523540 w 900"/>
                  <a:gd name="T13" fmla="*/ 210491830 h 482"/>
                  <a:gd name="T14" fmla="*/ 1174946886 w 900"/>
                  <a:gd name="T15" fmla="*/ 154921854 h 482"/>
                  <a:gd name="T16" fmla="*/ 1128469766 w 900"/>
                  <a:gd name="T17" fmla="*/ 178497884 h 482"/>
                  <a:gd name="T18" fmla="*/ 1108020215 w 900"/>
                  <a:gd name="T19" fmla="*/ 257642512 h 482"/>
                  <a:gd name="T20" fmla="*/ 1067119750 w 900"/>
                  <a:gd name="T21" fmla="*/ 178497884 h 482"/>
                  <a:gd name="T22" fmla="*/ 1154497335 w 900"/>
                  <a:gd name="T23" fmla="*/ 141450787 h 482"/>
                  <a:gd name="T24" fmla="*/ 1165652007 w 900"/>
                  <a:gd name="T25" fmla="*/ 117876095 h 482"/>
                  <a:gd name="T26" fmla="*/ 1072696404 w 900"/>
                  <a:gd name="T27" fmla="*/ 107772470 h 482"/>
                  <a:gd name="T28" fmla="*/ 1005769734 w 900"/>
                  <a:gd name="T29" fmla="*/ 102720658 h 482"/>
                  <a:gd name="T30" fmla="*/ 1009487958 w 900"/>
                  <a:gd name="T31" fmla="*/ 55569956 h 482"/>
                  <a:gd name="T32" fmla="*/ 901659459 w 900"/>
                  <a:gd name="T33" fmla="*/ 33678327 h 482"/>
                  <a:gd name="T34" fmla="*/ 52055159 w 900"/>
                  <a:gd name="T35" fmla="*/ 18522885 h 482"/>
                  <a:gd name="T36" fmla="*/ 63209831 w 900"/>
                  <a:gd name="T37" fmla="*/ 42098879 h 482"/>
                  <a:gd name="T38" fmla="*/ 52055159 w 900"/>
                  <a:gd name="T39" fmla="*/ 60621769 h 482"/>
                  <a:gd name="T40" fmla="*/ 16731332 w 900"/>
                  <a:gd name="T41" fmla="*/ 94300105 h 482"/>
                  <a:gd name="T42" fmla="*/ 22309350 w 900"/>
                  <a:gd name="T43" fmla="*/ 112824283 h 482"/>
                  <a:gd name="T44" fmla="*/ 22309350 w 900"/>
                  <a:gd name="T45" fmla="*/ 154921854 h 482"/>
                  <a:gd name="T46" fmla="*/ 26027579 w 900"/>
                  <a:gd name="T47" fmla="*/ 360363210 h 482"/>
                  <a:gd name="T48" fmla="*/ 72504710 w 900"/>
                  <a:gd name="T49" fmla="*/ 412564406 h 482"/>
                  <a:gd name="T50" fmla="*/ 78081364 w 900"/>
                  <a:gd name="T51" fmla="*/ 449611462 h 482"/>
                  <a:gd name="T52" fmla="*/ 135713177 w 900"/>
                  <a:gd name="T53" fmla="*/ 530440460 h 482"/>
                  <a:gd name="T54" fmla="*/ 191486581 w 900"/>
                  <a:gd name="T55" fmla="*/ 554015152 h 482"/>
                  <a:gd name="T56" fmla="*/ 570741434 w 900"/>
                  <a:gd name="T57" fmla="*/ 651683957 h 482"/>
                  <a:gd name="T58" fmla="*/ 741778550 w 900"/>
                  <a:gd name="T59" fmla="*/ 772927616 h 482"/>
                  <a:gd name="T60" fmla="*/ 788255669 w 900"/>
                  <a:gd name="T61" fmla="*/ 754403439 h 482"/>
                  <a:gd name="T62" fmla="*/ 803128566 w 900"/>
                  <a:gd name="T63" fmla="*/ 727461304 h 482"/>
                  <a:gd name="T64" fmla="*/ 818001462 w 900"/>
                  <a:gd name="T65" fmla="*/ 707254055 h 482"/>
                  <a:gd name="T66" fmla="*/ 823578117 w 900"/>
                  <a:gd name="T67" fmla="*/ 717357680 h 482"/>
                  <a:gd name="T68" fmla="*/ 936983270 w 900"/>
                  <a:gd name="T69" fmla="*/ 680310461 h 482"/>
                  <a:gd name="T70" fmla="*/ 989037044 w 900"/>
                  <a:gd name="T71" fmla="*/ 693781690 h 482"/>
                  <a:gd name="T72" fmla="*/ 1009487958 w 900"/>
                  <a:gd name="T73" fmla="*/ 685362436 h 482"/>
                  <a:gd name="T74" fmla="*/ 994615062 w 900"/>
                  <a:gd name="T75" fmla="*/ 665155024 h 482"/>
                  <a:gd name="T76" fmla="*/ 1078274422 w 900"/>
                  <a:gd name="T77" fmla="*/ 656735769 h 482"/>
                  <a:gd name="T78" fmla="*/ 1139624438 w 900"/>
                  <a:gd name="T79" fmla="*/ 675258649 h 482"/>
                  <a:gd name="T80" fmla="*/ 1212129127 w 900"/>
                  <a:gd name="T81" fmla="*/ 693781690 h 482"/>
                  <a:gd name="T82" fmla="*/ 1232578677 w 900"/>
                  <a:gd name="T83" fmla="*/ 769558876 h 482"/>
                  <a:gd name="T84" fmla="*/ 1284633815 w 900"/>
                  <a:gd name="T85" fmla="*/ 806605932 h 482"/>
                  <a:gd name="T86" fmla="*/ 1273479142 w 900"/>
                  <a:gd name="T87" fmla="*/ 599481463 h 482"/>
                  <a:gd name="T88" fmla="*/ 1316238038 w 900"/>
                  <a:gd name="T89" fmla="*/ 567486219 h 482"/>
                  <a:gd name="T90" fmla="*/ 1398037605 w 900"/>
                  <a:gd name="T91" fmla="*/ 515285023 h 482"/>
                  <a:gd name="T92" fmla="*/ 1398037605 w 900"/>
                  <a:gd name="T93" fmla="*/ 501813956 h 482"/>
                  <a:gd name="T94" fmla="*/ 1388742726 w 900"/>
                  <a:gd name="T95" fmla="*/ 473186154 h 482"/>
                  <a:gd name="T96" fmla="*/ 1414770295 w 900"/>
                  <a:gd name="T97" fmla="*/ 459715087 h 482"/>
                  <a:gd name="T98" fmla="*/ 1403615623 w 900"/>
                  <a:gd name="T99" fmla="*/ 436140395 h 482"/>
                  <a:gd name="T100" fmla="*/ 1372010036 w 900"/>
                  <a:gd name="T101" fmla="*/ 399093339 h 482"/>
                  <a:gd name="T102" fmla="*/ 1392460950 w 900"/>
                  <a:gd name="T103" fmla="*/ 394041526 h 482"/>
                  <a:gd name="T104" fmla="*/ 1403615623 w 900"/>
                  <a:gd name="T105" fmla="*/ 380570459 h 482"/>
                  <a:gd name="T106" fmla="*/ 1414770295 w 900"/>
                  <a:gd name="T107" fmla="*/ 417616218 h 482"/>
                  <a:gd name="T108" fmla="*/ 1418488519 w 900"/>
                  <a:gd name="T109" fmla="*/ 365415022 h 482"/>
                  <a:gd name="T110" fmla="*/ 1464965979 w 900"/>
                  <a:gd name="T111" fmla="*/ 351942658 h 482"/>
                  <a:gd name="T112" fmla="*/ 1507724875 w 900"/>
                  <a:gd name="T113" fmla="*/ 304793193 h 482"/>
                  <a:gd name="T114" fmla="*/ 1580229563 w 900"/>
                  <a:gd name="T115" fmla="*/ 294689568 h 482"/>
                  <a:gd name="T116" fmla="*/ 1554201994 w 900"/>
                  <a:gd name="T117" fmla="*/ 272797949 h 482"/>
                  <a:gd name="T118" fmla="*/ 1589524442 w 900"/>
                  <a:gd name="T119" fmla="*/ 215543643 h 482"/>
                  <a:gd name="T120" fmla="*/ 1609975356 w 900"/>
                  <a:gd name="T121" fmla="*/ 202072576 h 482"/>
                  <a:gd name="T122" fmla="*/ 1641579579 w 900"/>
                  <a:gd name="T123" fmla="*/ 191968951 h 48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00"/>
                  <a:gd name="T187" fmla="*/ 0 h 482"/>
                  <a:gd name="T188" fmla="*/ 900 w 900"/>
                  <a:gd name="T189" fmla="*/ 482 h 48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00" h="482">
                    <a:moveTo>
                      <a:pt x="900" y="106"/>
                    </a:moveTo>
                    <a:lnTo>
                      <a:pt x="897" y="106"/>
                    </a:lnTo>
                    <a:lnTo>
                      <a:pt x="897" y="103"/>
                    </a:lnTo>
                    <a:lnTo>
                      <a:pt x="897" y="97"/>
                    </a:lnTo>
                    <a:lnTo>
                      <a:pt x="894" y="97"/>
                    </a:lnTo>
                    <a:lnTo>
                      <a:pt x="891" y="97"/>
                    </a:lnTo>
                    <a:lnTo>
                      <a:pt x="889" y="95"/>
                    </a:lnTo>
                    <a:lnTo>
                      <a:pt x="889" y="89"/>
                    </a:lnTo>
                    <a:lnTo>
                      <a:pt x="886" y="86"/>
                    </a:lnTo>
                    <a:lnTo>
                      <a:pt x="886" y="56"/>
                    </a:lnTo>
                    <a:lnTo>
                      <a:pt x="877" y="50"/>
                    </a:lnTo>
                    <a:lnTo>
                      <a:pt x="875" y="53"/>
                    </a:lnTo>
                    <a:lnTo>
                      <a:pt x="869" y="53"/>
                    </a:lnTo>
                    <a:lnTo>
                      <a:pt x="866" y="53"/>
                    </a:lnTo>
                    <a:lnTo>
                      <a:pt x="864" y="50"/>
                    </a:lnTo>
                    <a:lnTo>
                      <a:pt x="864" y="47"/>
                    </a:lnTo>
                    <a:lnTo>
                      <a:pt x="861" y="47"/>
                    </a:lnTo>
                    <a:lnTo>
                      <a:pt x="858" y="47"/>
                    </a:lnTo>
                    <a:lnTo>
                      <a:pt x="847" y="78"/>
                    </a:lnTo>
                    <a:lnTo>
                      <a:pt x="844" y="89"/>
                    </a:lnTo>
                    <a:lnTo>
                      <a:pt x="841" y="92"/>
                    </a:lnTo>
                    <a:lnTo>
                      <a:pt x="841" y="95"/>
                    </a:lnTo>
                    <a:lnTo>
                      <a:pt x="838" y="95"/>
                    </a:lnTo>
                    <a:lnTo>
                      <a:pt x="838" y="97"/>
                    </a:lnTo>
                    <a:lnTo>
                      <a:pt x="836" y="95"/>
                    </a:lnTo>
                    <a:lnTo>
                      <a:pt x="833" y="97"/>
                    </a:lnTo>
                    <a:lnTo>
                      <a:pt x="830" y="97"/>
                    </a:lnTo>
                    <a:lnTo>
                      <a:pt x="827" y="97"/>
                    </a:lnTo>
                    <a:lnTo>
                      <a:pt x="827" y="103"/>
                    </a:lnTo>
                    <a:lnTo>
                      <a:pt x="772" y="103"/>
                    </a:lnTo>
                    <a:lnTo>
                      <a:pt x="763" y="109"/>
                    </a:lnTo>
                    <a:lnTo>
                      <a:pt x="761" y="117"/>
                    </a:lnTo>
                    <a:lnTo>
                      <a:pt x="755" y="120"/>
                    </a:lnTo>
                    <a:lnTo>
                      <a:pt x="752" y="123"/>
                    </a:lnTo>
                    <a:lnTo>
                      <a:pt x="755" y="123"/>
                    </a:lnTo>
                    <a:lnTo>
                      <a:pt x="755" y="125"/>
                    </a:lnTo>
                    <a:lnTo>
                      <a:pt x="752" y="125"/>
                    </a:lnTo>
                    <a:lnTo>
                      <a:pt x="755" y="128"/>
                    </a:lnTo>
                    <a:lnTo>
                      <a:pt x="755" y="131"/>
                    </a:lnTo>
                    <a:lnTo>
                      <a:pt x="755" y="134"/>
                    </a:lnTo>
                    <a:lnTo>
                      <a:pt x="749" y="134"/>
                    </a:lnTo>
                    <a:lnTo>
                      <a:pt x="747" y="139"/>
                    </a:lnTo>
                    <a:lnTo>
                      <a:pt x="744" y="139"/>
                    </a:lnTo>
                    <a:lnTo>
                      <a:pt x="738" y="139"/>
                    </a:lnTo>
                    <a:lnTo>
                      <a:pt x="735" y="139"/>
                    </a:lnTo>
                    <a:lnTo>
                      <a:pt x="733" y="139"/>
                    </a:lnTo>
                    <a:lnTo>
                      <a:pt x="730" y="136"/>
                    </a:lnTo>
                    <a:lnTo>
                      <a:pt x="724" y="136"/>
                    </a:lnTo>
                    <a:lnTo>
                      <a:pt x="710" y="139"/>
                    </a:lnTo>
                    <a:lnTo>
                      <a:pt x="713" y="148"/>
                    </a:lnTo>
                    <a:lnTo>
                      <a:pt x="710" y="153"/>
                    </a:lnTo>
                    <a:lnTo>
                      <a:pt x="708" y="153"/>
                    </a:lnTo>
                    <a:lnTo>
                      <a:pt x="708" y="156"/>
                    </a:lnTo>
                    <a:lnTo>
                      <a:pt x="696" y="162"/>
                    </a:lnTo>
                    <a:lnTo>
                      <a:pt x="694" y="162"/>
                    </a:lnTo>
                    <a:lnTo>
                      <a:pt x="666" y="175"/>
                    </a:lnTo>
                    <a:lnTo>
                      <a:pt x="663" y="175"/>
                    </a:lnTo>
                    <a:lnTo>
                      <a:pt x="658" y="178"/>
                    </a:lnTo>
                    <a:lnTo>
                      <a:pt x="652" y="178"/>
                    </a:lnTo>
                    <a:lnTo>
                      <a:pt x="652" y="175"/>
                    </a:lnTo>
                    <a:lnTo>
                      <a:pt x="649" y="175"/>
                    </a:lnTo>
                    <a:lnTo>
                      <a:pt x="646" y="175"/>
                    </a:lnTo>
                    <a:lnTo>
                      <a:pt x="646" y="173"/>
                    </a:lnTo>
                    <a:lnTo>
                      <a:pt x="641" y="173"/>
                    </a:lnTo>
                    <a:lnTo>
                      <a:pt x="646" y="167"/>
                    </a:lnTo>
                    <a:lnTo>
                      <a:pt x="646" y="164"/>
                    </a:lnTo>
                    <a:lnTo>
                      <a:pt x="649" y="159"/>
                    </a:lnTo>
                    <a:lnTo>
                      <a:pt x="649" y="156"/>
                    </a:lnTo>
                    <a:lnTo>
                      <a:pt x="652" y="153"/>
                    </a:lnTo>
                    <a:lnTo>
                      <a:pt x="655" y="153"/>
                    </a:lnTo>
                    <a:lnTo>
                      <a:pt x="658" y="142"/>
                    </a:lnTo>
                    <a:lnTo>
                      <a:pt x="658" y="145"/>
                    </a:lnTo>
                    <a:lnTo>
                      <a:pt x="655" y="139"/>
                    </a:lnTo>
                    <a:lnTo>
                      <a:pt x="655" y="131"/>
                    </a:lnTo>
                    <a:lnTo>
                      <a:pt x="649" y="123"/>
                    </a:lnTo>
                    <a:lnTo>
                      <a:pt x="646" y="123"/>
                    </a:lnTo>
                    <a:lnTo>
                      <a:pt x="644" y="125"/>
                    </a:lnTo>
                    <a:lnTo>
                      <a:pt x="641" y="125"/>
                    </a:lnTo>
                    <a:lnTo>
                      <a:pt x="641" y="128"/>
                    </a:lnTo>
                    <a:lnTo>
                      <a:pt x="635" y="131"/>
                    </a:lnTo>
                    <a:lnTo>
                      <a:pt x="632" y="131"/>
                    </a:lnTo>
                    <a:lnTo>
                      <a:pt x="635" y="125"/>
                    </a:lnTo>
                    <a:lnTo>
                      <a:pt x="641" y="120"/>
                    </a:lnTo>
                    <a:lnTo>
                      <a:pt x="641" y="117"/>
                    </a:lnTo>
                    <a:lnTo>
                      <a:pt x="644" y="117"/>
                    </a:lnTo>
                    <a:lnTo>
                      <a:pt x="644" y="114"/>
                    </a:lnTo>
                    <a:lnTo>
                      <a:pt x="641" y="106"/>
                    </a:lnTo>
                    <a:lnTo>
                      <a:pt x="641" y="103"/>
                    </a:lnTo>
                    <a:lnTo>
                      <a:pt x="641" y="100"/>
                    </a:lnTo>
                    <a:lnTo>
                      <a:pt x="644" y="100"/>
                    </a:lnTo>
                    <a:lnTo>
                      <a:pt x="641" y="97"/>
                    </a:lnTo>
                    <a:lnTo>
                      <a:pt x="638" y="95"/>
                    </a:lnTo>
                    <a:lnTo>
                      <a:pt x="635" y="92"/>
                    </a:lnTo>
                    <a:lnTo>
                      <a:pt x="632" y="92"/>
                    </a:lnTo>
                    <a:lnTo>
                      <a:pt x="627" y="89"/>
                    </a:lnTo>
                    <a:lnTo>
                      <a:pt x="627" y="86"/>
                    </a:lnTo>
                    <a:lnTo>
                      <a:pt x="624" y="89"/>
                    </a:lnTo>
                    <a:lnTo>
                      <a:pt x="624" y="86"/>
                    </a:lnTo>
                    <a:lnTo>
                      <a:pt x="621" y="86"/>
                    </a:lnTo>
                    <a:lnTo>
                      <a:pt x="619" y="86"/>
                    </a:lnTo>
                    <a:lnTo>
                      <a:pt x="616" y="89"/>
                    </a:lnTo>
                    <a:lnTo>
                      <a:pt x="616" y="92"/>
                    </a:lnTo>
                    <a:lnTo>
                      <a:pt x="619" y="95"/>
                    </a:lnTo>
                    <a:lnTo>
                      <a:pt x="616" y="95"/>
                    </a:lnTo>
                    <a:lnTo>
                      <a:pt x="610" y="97"/>
                    </a:lnTo>
                    <a:lnTo>
                      <a:pt x="610" y="103"/>
                    </a:lnTo>
                    <a:lnTo>
                      <a:pt x="607" y="103"/>
                    </a:lnTo>
                    <a:lnTo>
                      <a:pt x="607" y="106"/>
                    </a:lnTo>
                    <a:lnTo>
                      <a:pt x="607" y="100"/>
                    </a:lnTo>
                    <a:lnTo>
                      <a:pt x="605" y="100"/>
                    </a:lnTo>
                    <a:lnTo>
                      <a:pt x="602" y="103"/>
                    </a:lnTo>
                    <a:lnTo>
                      <a:pt x="599" y="106"/>
                    </a:lnTo>
                    <a:lnTo>
                      <a:pt x="596" y="109"/>
                    </a:lnTo>
                    <a:lnTo>
                      <a:pt x="596" y="117"/>
                    </a:lnTo>
                    <a:lnTo>
                      <a:pt x="596" y="120"/>
                    </a:lnTo>
                    <a:lnTo>
                      <a:pt x="593" y="131"/>
                    </a:lnTo>
                    <a:lnTo>
                      <a:pt x="596" y="142"/>
                    </a:lnTo>
                    <a:lnTo>
                      <a:pt x="596" y="153"/>
                    </a:lnTo>
                    <a:lnTo>
                      <a:pt x="591" y="167"/>
                    </a:lnTo>
                    <a:lnTo>
                      <a:pt x="582" y="173"/>
                    </a:lnTo>
                    <a:lnTo>
                      <a:pt x="580" y="173"/>
                    </a:lnTo>
                    <a:lnTo>
                      <a:pt x="577" y="173"/>
                    </a:lnTo>
                    <a:lnTo>
                      <a:pt x="574" y="162"/>
                    </a:lnTo>
                    <a:lnTo>
                      <a:pt x="571" y="139"/>
                    </a:lnTo>
                    <a:lnTo>
                      <a:pt x="585" y="100"/>
                    </a:lnTo>
                    <a:lnTo>
                      <a:pt x="585" y="97"/>
                    </a:lnTo>
                    <a:lnTo>
                      <a:pt x="580" y="100"/>
                    </a:lnTo>
                    <a:lnTo>
                      <a:pt x="580" y="106"/>
                    </a:lnTo>
                    <a:lnTo>
                      <a:pt x="577" y="106"/>
                    </a:lnTo>
                    <a:lnTo>
                      <a:pt x="571" y="111"/>
                    </a:lnTo>
                    <a:lnTo>
                      <a:pt x="574" y="106"/>
                    </a:lnTo>
                    <a:lnTo>
                      <a:pt x="574" y="103"/>
                    </a:lnTo>
                    <a:lnTo>
                      <a:pt x="585" y="86"/>
                    </a:lnTo>
                    <a:lnTo>
                      <a:pt x="588" y="86"/>
                    </a:lnTo>
                    <a:lnTo>
                      <a:pt x="591" y="84"/>
                    </a:lnTo>
                    <a:lnTo>
                      <a:pt x="591" y="89"/>
                    </a:lnTo>
                    <a:lnTo>
                      <a:pt x="593" y="89"/>
                    </a:lnTo>
                    <a:lnTo>
                      <a:pt x="599" y="84"/>
                    </a:lnTo>
                    <a:lnTo>
                      <a:pt x="607" y="81"/>
                    </a:lnTo>
                    <a:lnTo>
                      <a:pt x="607" y="78"/>
                    </a:lnTo>
                    <a:lnTo>
                      <a:pt x="613" y="78"/>
                    </a:lnTo>
                    <a:lnTo>
                      <a:pt x="616" y="78"/>
                    </a:lnTo>
                    <a:lnTo>
                      <a:pt x="619" y="81"/>
                    </a:lnTo>
                    <a:lnTo>
                      <a:pt x="621" y="84"/>
                    </a:lnTo>
                    <a:lnTo>
                      <a:pt x="621" y="81"/>
                    </a:lnTo>
                    <a:lnTo>
                      <a:pt x="624" y="81"/>
                    </a:lnTo>
                    <a:lnTo>
                      <a:pt x="627" y="81"/>
                    </a:lnTo>
                    <a:lnTo>
                      <a:pt x="632" y="81"/>
                    </a:lnTo>
                    <a:lnTo>
                      <a:pt x="632" y="78"/>
                    </a:lnTo>
                    <a:lnTo>
                      <a:pt x="630" y="78"/>
                    </a:lnTo>
                    <a:lnTo>
                      <a:pt x="630" y="75"/>
                    </a:lnTo>
                    <a:lnTo>
                      <a:pt x="630" y="72"/>
                    </a:lnTo>
                    <a:lnTo>
                      <a:pt x="627" y="72"/>
                    </a:lnTo>
                    <a:lnTo>
                      <a:pt x="627" y="70"/>
                    </a:lnTo>
                    <a:lnTo>
                      <a:pt x="621" y="70"/>
                    </a:lnTo>
                    <a:lnTo>
                      <a:pt x="616" y="67"/>
                    </a:lnTo>
                    <a:lnTo>
                      <a:pt x="616" y="64"/>
                    </a:lnTo>
                    <a:lnTo>
                      <a:pt x="613" y="64"/>
                    </a:lnTo>
                    <a:lnTo>
                      <a:pt x="610" y="64"/>
                    </a:lnTo>
                    <a:lnTo>
                      <a:pt x="599" y="64"/>
                    </a:lnTo>
                    <a:lnTo>
                      <a:pt x="593" y="67"/>
                    </a:lnTo>
                    <a:lnTo>
                      <a:pt x="591" y="70"/>
                    </a:lnTo>
                    <a:lnTo>
                      <a:pt x="582" y="70"/>
                    </a:lnTo>
                    <a:lnTo>
                      <a:pt x="580" y="70"/>
                    </a:lnTo>
                    <a:lnTo>
                      <a:pt x="577" y="64"/>
                    </a:lnTo>
                    <a:lnTo>
                      <a:pt x="571" y="61"/>
                    </a:lnTo>
                    <a:lnTo>
                      <a:pt x="566" y="61"/>
                    </a:lnTo>
                    <a:lnTo>
                      <a:pt x="563" y="64"/>
                    </a:lnTo>
                    <a:lnTo>
                      <a:pt x="563" y="58"/>
                    </a:lnTo>
                    <a:lnTo>
                      <a:pt x="563" y="56"/>
                    </a:lnTo>
                    <a:lnTo>
                      <a:pt x="566" y="56"/>
                    </a:lnTo>
                    <a:lnTo>
                      <a:pt x="571" y="50"/>
                    </a:lnTo>
                    <a:lnTo>
                      <a:pt x="574" y="47"/>
                    </a:lnTo>
                    <a:lnTo>
                      <a:pt x="568" y="47"/>
                    </a:lnTo>
                    <a:lnTo>
                      <a:pt x="563" y="50"/>
                    </a:lnTo>
                    <a:lnTo>
                      <a:pt x="549" y="61"/>
                    </a:lnTo>
                    <a:lnTo>
                      <a:pt x="541" y="61"/>
                    </a:lnTo>
                    <a:lnTo>
                      <a:pt x="535" y="67"/>
                    </a:lnTo>
                    <a:lnTo>
                      <a:pt x="527" y="67"/>
                    </a:lnTo>
                    <a:lnTo>
                      <a:pt x="527" y="64"/>
                    </a:lnTo>
                    <a:lnTo>
                      <a:pt x="527" y="61"/>
                    </a:lnTo>
                    <a:lnTo>
                      <a:pt x="524" y="58"/>
                    </a:lnTo>
                    <a:lnTo>
                      <a:pt x="513" y="67"/>
                    </a:lnTo>
                    <a:lnTo>
                      <a:pt x="510" y="67"/>
                    </a:lnTo>
                    <a:lnTo>
                      <a:pt x="507" y="67"/>
                    </a:lnTo>
                    <a:lnTo>
                      <a:pt x="507" y="64"/>
                    </a:lnTo>
                    <a:lnTo>
                      <a:pt x="532" y="42"/>
                    </a:lnTo>
                    <a:lnTo>
                      <a:pt x="538" y="42"/>
                    </a:lnTo>
                    <a:lnTo>
                      <a:pt x="543" y="33"/>
                    </a:lnTo>
                    <a:lnTo>
                      <a:pt x="541" y="33"/>
                    </a:lnTo>
                    <a:lnTo>
                      <a:pt x="538" y="33"/>
                    </a:lnTo>
                    <a:lnTo>
                      <a:pt x="529" y="33"/>
                    </a:lnTo>
                    <a:lnTo>
                      <a:pt x="527" y="31"/>
                    </a:lnTo>
                    <a:lnTo>
                      <a:pt x="524" y="31"/>
                    </a:lnTo>
                    <a:lnTo>
                      <a:pt x="518" y="33"/>
                    </a:lnTo>
                    <a:lnTo>
                      <a:pt x="516" y="31"/>
                    </a:lnTo>
                    <a:lnTo>
                      <a:pt x="513" y="28"/>
                    </a:lnTo>
                    <a:lnTo>
                      <a:pt x="502" y="25"/>
                    </a:lnTo>
                    <a:lnTo>
                      <a:pt x="502" y="22"/>
                    </a:lnTo>
                    <a:lnTo>
                      <a:pt x="496" y="20"/>
                    </a:lnTo>
                    <a:lnTo>
                      <a:pt x="488" y="20"/>
                    </a:lnTo>
                    <a:lnTo>
                      <a:pt x="485" y="20"/>
                    </a:lnTo>
                    <a:lnTo>
                      <a:pt x="482" y="20"/>
                    </a:lnTo>
                    <a:lnTo>
                      <a:pt x="479" y="20"/>
                    </a:lnTo>
                    <a:lnTo>
                      <a:pt x="474" y="17"/>
                    </a:lnTo>
                    <a:lnTo>
                      <a:pt x="471" y="17"/>
                    </a:lnTo>
                    <a:lnTo>
                      <a:pt x="468" y="17"/>
                    </a:lnTo>
                    <a:lnTo>
                      <a:pt x="465" y="11"/>
                    </a:lnTo>
                    <a:lnTo>
                      <a:pt x="463" y="3"/>
                    </a:lnTo>
                    <a:lnTo>
                      <a:pt x="460" y="0"/>
                    </a:lnTo>
                    <a:lnTo>
                      <a:pt x="460" y="11"/>
                    </a:lnTo>
                    <a:lnTo>
                      <a:pt x="28" y="11"/>
                    </a:lnTo>
                    <a:lnTo>
                      <a:pt x="28" y="14"/>
                    </a:lnTo>
                    <a:lnTo>
                      <a:pt x="31" y="17"/>
                    </a:lnTo>
                    <a:lnTo>
                      <a:pt x="34" y="17"/>
                    </a:lnTo>
                    <a:lnTo>
                      <a:pt x="37" y="17"/>
                    </a:lnTo>
                    <a:lnTo>
                      <a:pt x="34" y="17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1" y="22"/>
                    </a:lnTo>
                    <a:lnTo>
                      <a:pt x="34" y="25"/>
                    </a:lnTo>
                    <a:lnTo>
                      <a:pt x="37" y="31"/>
                    </a:lnTo>
                    <a:lnTo>
                      <a:pt x="37" y="39"/>
                    </a:lnTo>
                    <a:lnTo>
                      <a:pt x="34" y="36"/>
                    </a:lnTo>
                    <a:lnTo>
                      <a:pt x="31" y="42"/>
                    </a:lnTo>
                    <a:lnTo>
                      <a:pt x="28" y="45"/>
                    </a:lnTo>
                    <a:lnTo>
                      <a:pt x="28" y="47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8" y="36"/>
                    </a:lnTo>
                    <a:lnTo>
                      <a:pt x="31" y="36"/>
                    </a:lnTo>
                    <a:lnTo>
                      <a:pt x="31" y="33"/>
                    </a:lnTo>
                    <a:lnTo>
                      <a:pt x="31" y="31"/>
                    </a:lnTo>
                    <a:lnTo>
                      <a:pt x="25" y="31"/>
                    </a:lnTo>
                    <a:lnTo>
                      <a:pt x="23" y="31"/>
                    </a:lnTo>
                    <a:lnTo>
                      <a:pt x="12" y="28"/>
                    </a:lnTo>
                    <a:lnTo>
                      <a:pt x="0" y="25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0" y="36"/>
                    </a:lnTo>
                    <a:lnTo>
                      <a:pt x="3" y="39"/>
                    </a:lnTo>
                    <a:lnTo>
                      <a:pt x="9" y="56"/>
                    </a:lnTo>
                    <a:lnTo>
                      <a:pt x="12" y="56"/>
                    </a:lnTo>
                    <a:lnTo>
                      <a:pt x="12" y="58"/>
                    </a:lnTo>
                    <a:lnTo>
                      <a:pt x="9" y="58"/>
                    </a:lnTo>
                    <a:lnTo>
                      <a:pt x="9" y="61"/>
                    </a:lnTo>
                    <a:lnTo>
                      <a:pt x="12" y="64"/>
                    </a:lnTo>
                    <a:lnTo>
                      <a:pt x="12" y="61"/>
                    </a:lnTo>
                    <a:lnTo>
                      <a:pt x="12" y="64"/>
                    </a:lnTo>
                    <a:lnTo>
                      <a:pt x="12" y="70"/>
                    </a:lnTo>
                    <a:lnTo>
                      <a:pt x="12" y="67"/>
                    </a:lnTo>
                    <a:lnTo>
                      <a:pt x="9" y="64"/>
                    </a:lnTo>
                    <a:lnTo>
                      <a:pt x="9" y="72"/>
                    </a:lnTo>
                    <a:lnTo>
                      <a:pt x="12" y="72"/>
                    </a:lnTo>
                    <a:lnTo>
                      <a:pt x="17" y="72"/>
                    </a:lnTo>
                    <a:lnTo>
                      <a:pt x="23" y="75"/>
                    </a:lnTo>
                    <a:lnTo>
                      <a:pt x="17" y="75"/>
                    </a:lnTo>
                    <a:lnTo>
                      <a:pt x="12" y="75"/>
                    </a:lnTo>
                    <a:lnTo>
                      <a:pt x="12" y="84"/>
                    </a:lnTo>
                    <a:lnTo>
                      <a:pt x="12" y="86"/>
                    </a:lnTo>
                    <a:lnTo>
                      <a:pt x="12" y="89"/>
                    </a:lnTo>
                    <a:lnTo>
                      <a:pt x="12" y="92"/>
                    </a:lnTo>
                    <a:lnTo>
                      <a:pt x="6" y="134"/>
                    </a:lnTo>
                    <a:lnTo>
                      <a:pt x="9" y="134"/>
                    </a:lnTo>
                    <a:lnTo>
                      <a:pt x="9" y="136"/>
                    </a:lnTo>
                    <a:lnTo>
                      <a:pt x="6" y="136"/>
                    </a:lnTo>
                    <a:lnTo>
                      <a:pt x="6" y="139"/>
                    </a:lnTo>
                    <a:lnTo>
                      <a:pt x="3" y="148"/>
                    </a:lnTo>
                    <a:lnTo>
                      <a:pt x="9" y="178"/>
                    </a:lnTo>
                    <a:lnTo>
                      <a:pt x="9" y="192"/>
                    </a:lnTo>
                    <a:lnTo>
                      <a:pt x="6" y="198"/>
                    </a:lnTo>
                    <a:lnTo>
                      <a:pt x="6" y="200"/>
                    </a:lnTo>
                    <a:lnTo>
                      <a:pt x="6" y="203"/>
                    </a:lnTo>
                    <a:lnTo>
                      <a:pt x="14" y="214"/>
                    </a:lnTo>
                    <a:lnTo>
                      <a:pt x="14" y="220"/>
                    </a:lnTo>
                    <a:lnTo>
                      <a:pt x="17" y="231"/>
                    </a:lnTo>
                    <a:lnTo>
                      <a:pt x="25" y="239"/>
                    </a:lnTo>
                    <a:lnTo>
                      <a:pt x="25" y="242"/>
                    </a:lnTo>
                    <a:lnTo>
                      <a:pt x="25" y="245"/>
                    </a:lnTo>
                    <a:lnTo>
                      <a:pt x="28" y="245"/>
                    </a:lnTo>
                    <a:lnTo>
                      <a:pt x="28" y="248"/>
                    </a:lnTo>
                    <a:lnTo>
                      <a:pt x="31" y="248"/>
                    </a:lnTo>
                    <a:lnTo>
                      <a:pt x="34" y="251"/>
                    </a:lnTo>
                    <a:lnTo>
                      <a:pt x="34" y="248"/>
                    </a:lnTo>
                    <a:lnTo>
                      <a:pt x="34" y="245"/>
                    </a:lnTo>
                    <a:lnTo>
                      <a:pt x="39" y="245"/>
                    </a:lnTo>
                    <a:lnTo>
                      <a:pt x="42" y="245"/>
                    </a:lnTo>
                    <a:lnTo>
                      <a:pt x="39" y="248"/>
                    </a:lnTo>
                    <a:lnTo>
                      <a:pt x="37" y="248"/>
                    </a:lnTo>
                    <a:lnTo>
                      <a:pt x="37" y="251"/>
                    </a:lnTo>
                    <a:lnTo>
                      <a:pt x="39" y="256"/>
                    </a:lnTo>
                    <a:lnTo>
                      <a:pt x="37" y="253"/>
                    </a:lnTo>
                    <a:lnTo>
                      <a:pt x="37" y="251"/>
                    </a:lnTo>
                    <a:lnTo>
                      <a:pt x="34" y="251"/>
                    </a:lnTo>
                    <a:lnTo>
                      <a:pt x="34" y="253"/>
                    </a:lnTo>
                    <a:lnTo>
                      <a:pt x="37" y="265"/>
                    </a:lnTo>
                    <a:lnTo>
                      <a:pt x="39" y="267"/>
                    </a:lnTo>
                    <a:lnTo>
                      <a:pt x="42" y="267"/>
                    </a:lnTo>
                    <a:lnTo>
                      <a:pt x="45" y="270"/>
                    </a:lnTo>
                    <a:lnTo>
                      <a:pt x="45" y="273"/>
                    </a:lnTo>
                    <a:lnTo>
                      <a:pt x="42" y="276"/>
                    </a:lnTo>
                    <a:lnTo>
                      <a:pt x="42" y="278"/>
                    </a:lnTo>
                    <a:lnTo>
                      <a:pt x="59" y="295"/>
                    </a:lnTo>
                    <a:lnTo>
                      <a:pt x="59" y="298"/>
                    </a:lnTo>
                    <a:lnTo>
                      <a:pt x="59" y="301"/>
                    </a:lnTo>
                    <a:lnTo>
                      <a:pt x="62" y="301"/>
                    </a:lnTo>
                    <a:lnTo>
                      <a:pt x="64" y="304"/>
                    </a:lnTo>
                    <a:lnTo>
                      <a:pt x="62" y="306"/>
                    </a:lnTo>
                    <a:lnTo>
                      <a:pt x="64" y="312"/>
                    </a:lnTo>
                    <a:lnTo>
                      <a:pt x="64" y="315"/>
                    </a:lnTo>
                    <a:lnTo>
                      <a:pt x="73" y="315"/>
                    </a:lnTo>
                    <a:lnTo>
                      <a:pt x="76" y="317"/>
                    </a:lnTo>
                    <a:lnTo>
                      <a:pt x="78" y="317"/>
                    </a:lnTo>
                    <a:lnTo>
                      <a:pt x="84" y="320"/>
                    </a:lnTo>
                    <a:lnTo>
                      <a:pt x="92" y="323"/>
                    </a:lnTo>
                    <a:lnTo>
                      <a:pt x="92" y="326"/>
                    </a:lnTo>
                    <a:lnTo>
                      <a:pt x="92" y="323"/>
                    </a:lnTo>
                    <a:lnTo>
                      <a:pt x="95" y="323"/>
                    </a:lnTo>
                    <a:lnTo>
                      <a:pt x="98" y="326"/>
                    </a:lnTo>
                    <a:lnTo>
                      <a:pt x="98" y="329"/>
                    </a:lnTo>
                    <a:lnTo>
                      <a:pt x="103" y="329"/>
                    </a:lnTo>
                    <a:lnTo>
                      <a:pt x="115" y="340"/>
                    </a:lnTo>
                    <a:lnTo>
                      <a:pt x="115" y="343"/>
                    </a:lnTo>
                    <a:lnTo>
                      <a:pt x="117" y="351"/>
                    </a:lnTo>
                    <a:lnTo>
                      <a:pt x="154" y="348"/>
                    </a:lnTo>
                    <a:lnTo>
                      <a:pt x="154" y="351"/>
                    </a:lnTo>
                    <a:lnTo>
                      <a:pt x="212" y="373"/>
                    </a:lnTo>
                    <a:lnTo>
                      <a:pt x="254" y="373"/>
                    </a:lnTo>
                    <a:lnTo>
                      <a:pt x="254" y="365"/>
                    </a:lnTo>
                    <a:lnTo>
                      <a:pt x="279" y="365"/>
                    </a:lnTo>
                    <a:lnTo>
                      <a:pt x="284" y="368"/>
                    </a:lnTo>
                    <a:lnTo>
                      <a:pt x="287" y="370"/>
                    </a:lnTo>
                    <a:lnTo>
                      <a:pt x="290" y="373"/>
                    </a:lnTo>
                    <a:lnTo>
                      <a:pt x="293" y="376"/>
                    </a:lnTo>
                    <a:lnTo>
                      <a:pt x="307" y="387"/>
                    </a:lnTo>
                    <a:lnTo>
                      <a:pt x="309" y="401"/>
                    </a:lnTo>
                    <a:lnTo>
                      <a:pt x="326" y="415"/>
                    </a:lnTo>
                    <a:lnTo>
                      <a:pt x="332" y="415"/>
                    </a:lnTo>
                    <a:lnTo>
                      <a:pt x="340" y="401"/>
                    </a:lnTo>
                    <a:lnTo>
                      <a:pt x="343" y="401"/>
                    </a:lnTo>
                    <a:lnTo>
                      <a:pt x="346" y="401"/>
                    </a:lnTo>
                    <a:lnTo>
                      <a:pt x="360" y="401"/>
                    </a:lnTo>
                    <a:lnTo>
                      <a:pt x="371" y="412"/>
                    </a:lnTo>
                    <a:lnTo>
                      <a:pt x="376" y="426"/>
                    </a:lnTo>
                    <a:lnTo>
                      <a:pt x="382" y="432"/>
                    </a:lnTo>
                    <a:lnTo>
                      <a:pt x="385" y="437"/>
                    </a:lnTo>
                    <a:lnTo>
                      <a:pt x="390" y="440"/>
                    </a:lnTo>
                    <a:lnTo>
                      <a:pt x="393" y="454"/>
                    </a:lnTo>
                    <a:lnTo>
                      <a:pt x="399" y="459"/>
                    </a:lnTo>
                    <a:lnTo>
                      <a:pt x="404" y="465"/>
                    </a:lnTo>
                    <a:lnTo>
                      <a:pt x="407" y="465"/>
                    </a:lnTo>
                    <a:lnTo>
                      <a:pt x="412" y="468"/>
                    </a:lnTo>
                    <a:lnTo>
                      <a:pt x="418" y="468"/>
                    </a:lnTo>
                    <a:lnTo>
                      <a:pt x="424" y="471"/>
                    </a:lnTo>
                    <a:lnTo>
                      <a:pt x="429" y="471"/>
                    </a:lnTo>
                    <a:lnTo>
                      <a:pt x="429" y="468"/>
                    </a:lnTo>
                    <a:lnTo>
                      <a:pt x="426" y="462"/>
                    </a:lnTo>
                    <a:lnTo>
                      <a:pt x="424" y="454"/>
                    </a:lnTo>
                    <a:lnTo>
                      <a:pt x="426" y="451"/>
                    </a:lnTo>
                    <a:lnTo>
                      <a:pt x="426" y="448"/>
                    </a:lnTo>
                    <a:lnTo>
                      <a:pt x="424" y="448"/>
                    </a:lnTo>
                    <a:lnTo>
                      <a:pt x="421" y="448"/>
                    </a:lnTo>
                    <a:lnTo>
                      <a:pt x="424" y="446"/>
                    </a:lnTo>
                    <a:lnTo>
                      <a:pt x="426" y="446"/>
                    </a:lnTo>
                    <a:lnTo>
                      <a:pt x="426" y="440"/>
                    </a:lnTo>
                    <a:lnTo>
                      <a:pt x="426" y="437"/>
                    </a:lnTo>
                    <a:lnTo>
                      <a:pt x="429" y="437"/>
                    </a:lnTo>
                    <a:lnTo>
                      <a:pt x="432" y="434"/>
                    </a:lnTo>
                    <a:lnTo>
                      <a:pt x="432" y="432"/>
                    </a:lnTo>
                    <a:lnTo>
                      <a:pt x="429" y="434"/>
                    </a:lnTo>
                    <a:lnTo>
                      <a:pt x="429" y="432"/>
                    </a:lnTo>
                    <a:lnTo>
                      <a:pt x="432" y="432"/>
                    </a:lnTo>
                    <a:lnTo>
                      <a:pt x="435" y="429"/>
                    </a:lnTo>
                    <a:lnTo>
                      <a:pt x="435" y="426"/>
                    </a:lnTo>
                    <a:lnTo>
                      <a:pt x="438" y="426"/>
                    </a:lnTo>
                    <a:lnTo>
                      <a:pt x="440" y="426"/>
                    </a:lnTo>
                    <a:lnTo>
                      <a:pt x="438" y="423"/>
                    </a:lnTo>
                    <a:lnTo>
                      <a:pt x="438" y="420"/>
                    </a:lnTo>
                    <a:lnTo>
                      <a:pt x="440" y="420"/>
                    </a:lnTo>
                    <a:lnTo>
                      <a:pt x="440" y="423"/>
                    </a:lnTo>
                    <a:lnTo>
                      <a:pt x="440" y="420"/>
                    </a:lnTo>
                    <a:lnTo>
                      <a:pt x="443" y="420"/>
                    </a:lnTo>
                    <a:lnTo>
                      <a:pt x="443" y="423"/>
                    </a:lnTo>
                    <a:lnTo>
                      <a:pt x="446" y="420"/>
                    </a:lnTo>
                    <a:lnTo>
                      <a:pt x="446" y="423"/>
                    </a:lnTo>
                    <a:lnTo>
                      <a:pt x="451" y="420"/>
                    </a:lnTo>
                    <a:lnTo>
                      <a:pt x="451" y="423"/>
                    </a:lnTo>
                    <a:lnTo>
                      <a:pt x="443" y="426"/>
                    </a:lnTo>
                    <a:lnTo>
                      <a:pt x="460" y="418"/>
                    </a:lnTo>
                    <a:lnTo>
                      <a:pt x="463" y="412"/>
                    </a:lnTo>
                    <a:lnTo>
                      <a:pt x="463" y="404"/>
                    </a:lnTo>
                    <a:lnTo>
                      <a:pt x="463" y="401"/>
                    </a:lnTo>
                    <a:lnTo>
                      <a:pt x="465" y="401"/>
                    </a:lnTo>
                    <a:lnTo>
                      <a:pt x="465" y="404"/>
                    </a:lnTo>
                    <a:lnTo>
                      <a:pt x="465" y="407"/>
                    </a:lnTo>
                    <a:lnTo>
                      <a:pt x="474" y="404"/>
                    </a:lnTo>
                    <a:lnTo>
                      <a:pt x="488" y="401"/>
                    </a:lnTo>
                    <a:lnTo>
                      <a:pt x="504" y="404"/>
                    </a:lnTo>
                    <a:lnTo>
                      <a:pt x="504" y="401"/>
                    </a:lnTo>
                    <a:lnTo>
                      <a:pt x="507" y="401"/>
                    </a:lnTo>
                    <a:lnTo>
                      <a:pt x="510" y="401"/>
                    </a:lnTo>
                    <a:lnTo>
                      <a:pt x="513" y="404"/>
                    </a:lnTo>
                    <a:lnTo>
                      <a:pt x="516" y="407"/>
                    </a:lnTo>
                    <a:lnTo>
                      <a:pt x="518" y="407"/>
                    </a:lnTo>
                    <a:lnTo>
                      <a:pt x="521" y="409"/>
                    </a:lnTo>
                    <a:lnTo>
                      <a:pt x="524" y="409"/>
                    </a:lnTo>
                    <a:lnTo>
                      <a:pt x="524" y="412"/>
                    </a:lnTo>
                    <a:lnTo>
                      <a:pt x="527" y="412"/>
                    </a:lnTo>
                    <a:lnTo>
                      <a:pt x="529" y="412"/>
                    </a:lnTo>
                    <a:lnTo>
                      <a:pt x="532" y="412"/>
                    </a:lnTo>
                    <a:lnTo>
                      <a:pt x="535" y="412"/>
                    </a:lnTo>
                    <a:lnTo>
                      <a:pt x="538" y="409"/>
                    </a:lnTo>
                    <a:lnTo>
                      <a:pt x="538" y="407"/>
                    </a:lnTo>
                    <a:lnTo>
                      <a:pt x="541" y="407"/>
                    </a:lnTo>
                    <a:lnTo>
                      <a:pt x="543" y="409"/>
                    </a:lnTo>
                    <a:lnTo>
                      <a:pt x="546" y="409"/>
                    </a:lnTo>
                    <a:lnTo>
                      <a:pt x="549" y="415"/>
                    </a:lnTo>
                    <a:lnTo>
                      <a:pt x="552" y="412"/>
                    </a:lnTo>
                    <a:lnTo>
                      <a:pt x="552" y="409"/>
                    </a:lnTo>
                    <a:lnTo>
                      <a:pt x="546" y="407"/>
                    </a:lnTo>
                    <a:lnTo>
                      <a:pt x="543" y="407"/>
                    </a:lnTo>
                    <a:lnTo>
                      <a:pt x="543" y="404"/>
                    </a:lnTo>
                    <a:lnTo>
                      <a:pt x="546" y="401"/>
                    </a:lnTo>
                    <a:lnTo>
                      <a:pt x="549" y="401"/>
                    </a:lnTo>
                    <a:lnTo>
                      <a:pt x="549" y="395"/>
                    </a:lnTo>
                    <a:lnTo>
                      <a:pt x="546" y="395"/>
                    </a:lnTo>
                    <a:lnTo>
                      <a:pt x="543" y="398"/>
                    </a:lnTo>
                    <a:lnTo>
                      <a:pt x="541" y="395"/>
                    </a:lnTo>
                    <a:lnTo>
                      <a:pt x="538" y="395"/>
                    </a:lnTo>
                    <a:lnTo>
                      <a:pt x="535" y="395"/>
                    </a:lnTo>
                    <a:lnTo>
                      <a:pt x="532" y="395"/>
                    </a:lnTo>
                    <a:lnTo>
                      <a:pt x="532" y="390"/>
                    </a:lnTo>
                    <a:lnTo>
                      <a:pt x="538" y="390"/>
                    </a:lnTo>
                    <a:lnTo>
                      <a:pt x="546" y="393"/>
                    </a:lnTo>
                    <a:lnTo>
                      <a:pt x="549" y="390"/>
                    </a:lnTo>
                    <a:lnTo>
                      <a:pt x="552" y="393"/>
                    </a:lnTo>
                    <a:lnTo>
                      <a:pt x="554" y="390"/>
                    </a:lnTo>
                    <a:lnTo>
                      <a:pt x="566" y="390"/>
                    </a:lnTo>
                    <a:lnTo>
                      <a:pt x="568" y="390"/>
                    </a:lnTo>
                    <a:lnTo>
                      <a:pt x="571" y="381"/>
                    </a:lnTo>
                    <a:lnTo>
                      <a:pt x="571" y="390"/>
                    </a:lnTo>
                    <a:lnTo>
                      <a:pt x="571" y="393"/>
                    </a:lnTo>
                    <a:lnTo>
                      <a:pt x="580" y="390"/>
                    </a:lnTo>
                    <a:lnTo>
                      <a:pt x="582" y="387"/>
                    </a:lnTo>
                    <a:lnTo>
                      <a:pt x="585" y="387"/>
                    </a:lnTo>
                    <a:lnTo>
                      <a:pt x="585" y="390"/>
                    </a:lnTo>
                    <a:lnTo>
                      <a:pt x="596" y="387"/>
                    </a:lnTo>
                    <a:lnTo>
                      <a:pt x="596" y="390"/>
                    </a:lnTo>
                    <a:lnTo>
                      <a:pt x="607" y="398"/>
                    </a:lnTo>
                    <a:lnTo>
                      <a:pt x="610" y="401"/>
                    </a:lnTo>
                    <a:lnTo>
                      <a:pt x="613" y="401"/>
                    </a:lnTo>
                    <a:lnTo>
                      <a:pt x="621" y="401"/>
                    </a:lnTo>
                    <a:lnTo>
                      <a:pt x="624" y="398"/>
                    </a:lnTo>
                    <a:lnTo>
                      <a:pt x="627" y="398"/>
                    </a:lnTo>
                    <a:lnTo>
                      <a:pt x="627" y="395"/>
                    </a:lnTo>
                    <a:lnTo>
                      <a:pt x="630" y="395"/>
                    </a:lnTo>
                    <a:lnTo>
                      <a:pt x="635" y="398"/>
                    </a:lnTo>
                    <a:lnTo>
                      <a:pt x="641" y="401"/>
                    </a:lnTo>
                    <a:lnTo>
                      <a:pt x="641" y="404"/>
                    </a:lnTo>
                    <a:lnTo>
                      <a:pt x="641" y="407"/>
                    </a:lnTo>
                    <a:lnTo>
                      <a:pt x="644" y="407"/>
                    </a:lnTo>
                    <a:lnTo>
                      <a:pt x="646" y="412"/>
                    </a:lnTo>
                    <a:lnTo>
                      <a:pt x="652" y="412"/>
                    </a:lnTo>
                    <a:lnTo>
                      <a:pt x="652" y="415"/>
                    </a:lnTo>
                    <a:lnTo>
                      <a:pt x="652" y="434"/>
                    </a:lnTo>
                    <a:lnTo>
                      <a:pt x="655" y="434"/>
                    </a:lnTo>
                    <a:lnTo>
                      <a:pt x="655" y="440"/>
                    </a:lnTo>
                    <a:lnTo>
                      <a:pt x="655" y="443"/>
                    </a:lnTo>
                    <a:lnTo>
                      <a:pt x="660" y="451"/>
                    </a:lnTo>
                    <a:lnTo>
                      <a:pt x="660" y="454"/>
                    </a:lnTo>
                    <a:lnTo>
                      <a:pt x="663" y="451"/>
                    </a:lnTo>
                    <a:lnTo>
                      <a:pt x="663" y="457"/>
                    </a:lnTo>
                    <a:lnTo>
                      <a:pt x="663" y="459"/>
                    </a:lnTo>
                    <a:lnTo>
                      <a:pt x="669" y="468"/>
                    </a:lnTo>
                    <a:lnTo>
                      <a:pt x="669" y="471"/>
                    </a:lnTo>
                    <a:lnTo>
                      <a:pt x="671" y="471"/>
                    </a:lnTo>
                    <a:lnTo>
                      <a:pt x="674" y="471"/>
                    </a:lnTo>
                    <a:lnTo>
                      <a:pt x="677" y="476"/>
                    </a:lnTo>
                    <a:lnTo>
                      <a:pt x="677" y="482"/>
                    </a:lnTo>
                    <a:lnTo>
                      <a:pt x="683" y="482"/>
                    </a:lnTo>
                    <a:lnTo>
                      <a:pt x="688" y="479"/>
                    </a:lnTo>
                    <a:lnTo>
                      <a:pt x="688" y="482"/>
                    </a:lnTo>
                    <a:lnTo>
                      <a:pt x="691" y="479"/>
                    </a:lnTo>
                    <a:lnTo>
                      <a:pt x="688" y="479"/>
                    </a:lnTo>
                    <a:lnTo>
                      <a:pt x="694" y="468"/>
                    </a:lnTo>
                    <a:lnTo>
                      <a:pt x="694" y="451"/>
                    </a:lnTo>
                    <a:lnTo>
                      <a:pt x="685" y="432"/>
                    </a:lnTo>
                    <a:lnTo>
                      <a:pt x="685" y="423"/>
                    </a:lnTo>
                    <a:lnTo>
                      <a:pt x="671" y="387"/>
                    </a:lnTo>
                    <a:lnTo>
                      <a:pt x="671" y="384"/>
                    </a:lnTo>
                    <a:lnTo>
                      <a:pt x="671" y="379"/>
                    </a:lnTo>
                    <a:lnTo>
                      <a:pt x="680" y="362"/>
                    </a:lnTo>
                    <a:lnTo>
                      <a:pt x="680" y="359"/>
                    </a:lnTo>
                    <a:lnTo>
                      <a:pt x="683" y="356"/>
                    </a:lnTo>
                    <a:lnTo>
                      <a:pt x="685" y="356"/>
                    </a:lnTo>
                    <a:lnTo>
                      <a:pt x="683" y="351"/>
                    </a:lnTo>
                    <a:lnTo>
                      <a:pt x="685" y="351"/>
                    </a:lnTo>
                    <a:lnTo>
                      <a:pt x="694" y="351"/>
                    </a:lnTo>
                    <a:lnTo>
                      <a:pt x="702" y="345"/>
                    </a:lnTo>
                    <a:lnTo>
                      <a:pt x="702" y="343"/>
                    </a:lnTo>
                    <a:lnTo>
                      <a:pt x="705" y="343"/>
                    </a:lnTo>
                    <a:lnTo>
                      <a:pt x="708" y="340"/>
                    </a:lnTo>
                    <a:lnTo>
                      <a:pt x="708" y="337"/>
                    </a:lnTo>
                    <a:lnTo>
                      <a:pt x="710" y="334"/>
                    </a:lnTo>
                    <a:lnTo>
                      <a:pt x="710" y="331"/>
                    </a:lnTo>
                    <a:lnTo>
                      <a:pt x="713" y="331"/>
                    </a:lnTo>
                    <a:lnTo>
                      <a:pt x="716" y="329"/>
                    </a:lnTo>
                    <a:lnTo>
                      <a:pt x="719" y="326"/>
                    </a:lnTo>
                    <a:lnTo>
                      <a:pt x="724" y="326"/>
                    </a:lnTo>
                    <a:lnTo>
                      <a:pt x="730" y="323"/>
                    </a:lnTo>
                    <a:lnTo>
                      <a:pt x="730" y="320"/>
                    </a:lnTo>
                    <a:lnTo>
                      <a:pt x="733" y="317"/>
                    </a:lnTo>
                    <a:lnTo>
                      <a:pt x="741" y="312"/>
                    </a:lnTo>
                    <a:lnTo>
                      <a:pt x="747" y="312"/>
                    </a:lnTo>
                    <a:lnTo>
                      <a:pt x="752" y="309"/>
                    </a:lnTo>
                    <a:lnTo>
                      <a:pt x="752" y="306"/>
                    </a:lnTo>
                    <a:lnTo>
                      <a:pt x="749" y="306"/>
                    </a:lnTo>
                    <a:lnTo>
                      <a:pt x="747" y="306"/>
                    </a:lnTo>
                    <a:lnTo>
                      <a:pt x="747" y="304"/>
                    </a:lnTo>
                    <a:lnTo>
                      <a:pt x="749" y="304"/>
                    </a:lnTo>
                    <a:lnTo>
                      <a:pt x="749" y="301"/>
                    </a:lnTo>
                    <a:lnTo>
                      <a:pt x="752" y="301"/>
                    </a:lnTo>
                    <a:lnTo>
                      <a:pt x="749" y="301"/>
                    </a:lnTo>
                    <a:lnTo>
                      <a:pt x="747" y="298"/>
                    </a:lnTo>
                    <a:lnTo>
                      <a:pt x="749" y="298"/>
                    </a:lnTo>
                    <a:lnTo>
                      <a:pt x="752" y="295"/>
                    </a:lnTo>
                    <a:lnTo>
                      <a:pt x="752" y="298"/>
                    </a:lnTo>
                    <a:lnTo>
                      <a:pt x="758" y="298"/>
                    </a:lnTo>
                    <a:lnTo>
                      <a:pt x="761" y="295"/>
                    </a:lnTo>
                    <a:lnTo>
                      <a:pt x="763" y="295"/>
                    </a:lnTo>
                    <a:lnTo>
                      <a:pt x="763" y="290"/>
                    </a:lnTo>
                    <a:lnTo>
                      <a:pt x="761" y="287"/>
                    </a:lnTo>
                    <a:lnTo>
                      <a:pt x="758" y="292"/>
                    </a:lnTo>
                    <a:lnTo>
                      <a:pt x="758" y="290"/>
                    </a:lnTo>
                    <a:lnTo>
                      <a:pt x="758" y="287"/>
                    </a:lnTo>
                    <a:lnTo>
                      <a:pt x="749" y="290"/>
                    </a:lnTo>
                    <a:lnTo>
                      <a:pt x="749" y="287"/>
                    </a:lnTo>
                    <a:lnTo>
                      <a:pt x="747" y="281"/>
                    </a:lnTo>
                    <a:lnTo>
                      <a:pt x="749" y="281"/>
                    </a:lnTo>
                    <a:lnTo>
                      <a:pt x="749" y="284"/>
                    </a:lnTo>
                    <a:lnTo>
                      <a:pt x="749" y="287"/>
                    </a:lnTo>
                    <a:lnTo>
                      <a:pt x="752" y="287"/>
                    </a:lnTo>
                    <a:lnTo>
                      <a:pt x="755" y="284"/>
                    </a:lnTo>
                    <a:lnTo>
                      <a:pt x="758" y="284"/>
                    </a:lnTo>
                    <a:lnTo>
                      <a:pt x="758" y="281"/>
                    </a:lnTo>
                    <a:lnTo>
                      <a:pt x="758" y="284"/>
                    </a:lnTo>
                    <a:lnTo>
                      <a:pt x="761" y="284"/>
                    </a:lnTo>
                    <a:lnTo>
                      <a:pt x="761" y="278"/>
                    </a:lnTo>
                    <a:lnTo>
                      <a:pt x="758" y="278"/>
                    </a:lnTo>
                    <a:lnTo>
                      <a:pt x="761" y="273"/>
                    </a:lnTo>
                    <a:lnTo>
                      <a:pt x="761" y="270"/>
                    </a:lnTo>
                    <a:lnTo>
                      <a:pt x="755" y="267"/>
                    </a:lnTo>
                    <a:lnTo>
                      <a:pt x="752" y="270"/>
                    </a:lnTo>
                    <a:lnTo>
                      <a:pt x="749" y="267"/>
                    </a:lnTo>
                    <a:lnTo>
                      <a:pt x="752" y="267"/>
                    </a:lnTo>
                    <a:lnTo>
                      <a:pt x="755" y="265"/>
                    </a:lnTo>
                    <a:lnTo>
                      <a:pt x="752" y="265"/>
                    </a:lnTo>
                    <a:lnTo>
                      <a:pt x="752" y="262"/>
                    </a:lnTo>
                    <a:lnTo>
                      <a:pt x="752" y="259"/>
                    </a:lnTo>
                    <a:lnTo>
                      <a:pt x="755" y="259"/>
                    </a:lnTo>
                    <a:lnTo>
                      <a:pt x="752" y="259"/>
                    </a:lnTo>
                    <a:lnTo>
                      <a:pt x="752" y="256"/>
                    </a:lnTo>
                    <a:lnTo>
                      <a:pt x="752" y="253"/>
                    </a:lnTo>
                    <a:lnTo>
                      <a:pt x="752" y="251"/>
                    </a:lnTo>
                    <a:lnTo>
                      <a:pt x="752" y="248"/>
                    </a:lnTo>
                    <a:lnTo>
                      <a:pt x="747" y="245"/>
                    </a:lnTo>
                    <a:lnTo>
                      <a:pt x="744" y="242"/>
                    </a:lnTo>
                    <a:lnTo>
                      <a:pt x="738" y="239"/>
                    </a:lnTo>
                    <a:lnTo>
                      <a:pt x="738" y="237"/>
                    </a:lnTo>
                    <a:lnTo>
                      <a:pt x="738" y="239"/>
                    </a:lnTo>
                    <a:lnTo>
                      <a:pt x="744" y="242"/>
                    </a:lnTo>
                    <a:lnTo>
                      <a:pt x="747" y="242"/>
                    </a:lnTo>
                    <a:lnTo>
                      <a:pt x="749" y="242"/>
                    </a:lnTo>
                    <a:lnTo>
                      <a:pt x="749" y="245"/>
                    </a:lnTo>
                    <a:lnTo>
                      <a:pt x="752" y="245"/>
                    </a:lnTo>
                    <a:lnTo>
                      <a:pt x="752" y="239"/>
                    </a:lnTo>
                    <a:lnTo>
                      <a:pt x="749" y="239"/>
                    </a:lnTo>
                    <a:lnTo>
                      <a:pt x="752" y="239"/>
                    </a:lnTo>
                    <a:lnTo>
                      <a:pt x="749" y="234"/>
                    </a:lnTo>
                    <a:lnTo>
                      <a:pt x="749" y="226"/>
                    </a:lnTo>
                    <a:lnTo>
                      <a:pt x="749" y="223"/>
                    </a:lnTo>
                    <a:lnTo>
                      <a:pt x="752" y="223"/>
                    </a:lnTo>
                    <a:lnTo>
                      <a:pt x="755" y="220"/>
                    </a:lnTo>
                    <a:lnTo>
                      <a:pt x="758" y="217"/>
                    </a:lnTo>
                    <a:lnTo>
                      <a:pt x="761" y="217"/>
                    </a:lnTo>
                    <a:lnTo>
                      <a:pt x="758" y="220"/>
                    </a:lnTo>
                    <a:lnTo>
                      <a:pt x="755" y="223"/>
                    </a:lnTo>
                    <a:lnTo>
                      <a:pt x="755" y="226"/>
                    </a:lnTo>
                    <a:lnTo>
                      <a:pt x="755" y="228"/>
                    </a:lnTo>
                    <a:lnTo>
                      <a:pt x="755" y="231"/>
                    </a:lnTo>
                    <a:lnTo>
                      <a:pt x="755" y="234"/>
                    </a:lnTo>
                    <a:lnTo>
                      <a:pt x="755" y="237"/>
                    </a:lnTo>
                    <a:lnTo>
                      <a:pt x="755" y="239"/>
                    </a:lnTo>
                    <a:lnTo>
                      <a:pt x="755" y="242"/>
                    </a:lnTo>
                    <a:lnTo>
                      <a:pt x="758" y="242"/>
                    </a:lnTo>
                    <a:lnTo>
                      <a:pt x="761" y="242"/>
                    </a:lnTo>
                    <a:lnTo>
                      <a:pt x="761" y="245"/>
                    </a:lnTo>
                    <a:lnTo>
                      <a:pt x="761" y="248"/>
                    </a:lnTo>
                    <a:lnTo>
                      <a:pt x="763" y="248"/>
                    </a:lnTo>
                    <a:lnTo>
                      <a:pt x="763" y="251"/>
                    </a:lnTo>
                    <a:lnTo>
                      <a:pt x="761" y="251"/>
                    </a:lnTo>
                    <a:lnTo>
                      <a:pt x="758" y="259"/>
                    </a:lnTo>
                    <a:lnTo>
                      <a:pt x="758" y="265"/>
                    </a:lnTo>
                    <a:lnTo>
                      <a:pt x="761" y="265"/>
                    </a:lnTo>
                    <a:lnTo>
                      <a:pt x="769" y="248"/>
                    </a:lnTo>
                    <a:lnTo>
                      <a:pt x="769" y="245"/>
                    </a:lnTo>
                    <a:lnTo>
                      <a:pt x="772" y="239"/>
                    </a:lnTo>
                    <a:lnTo>
                      <a:pt x="772" y="237"/>
                    </a:lnTo>
                    <a:lnTo>
                      <a:pt x="763" y="217"/>
                    </a:lnTo>
                    <a:lnTo>
                      <a:pt x="766" y="217"/>
                    </a:lnTo>
                    <a:lnTo>
                      <a:pt x="769" y="220"/>
                    </a:lnTo>
                    <a:lnTo>
                      <a:pt x="772" y="223"/>
                    </a:lnTo>
                    <a:lnTo>
                      <a:pt x="774" y="223"/>
                    </a:lnTo>
                    <a:lnTo>
                      <a:pt x="774" y="228"/>
                    </a:lnTo>
                    <a:lnTo>
                      <a:pt x="777" y="228"/>
                    </a:lnTo>
                    <a:lnTo>
                      <a:pt x="783" y="217"/>
                    </a:lnTo>
                    <a:lnTo>
                      <a:pt x="786" y="214"/>
                    </a:lnTo>
                    <a:lnTo>
                      <a:pt x="788" y="209"/>
                    </a:lnTo>
                    <a:lnTo>
                      <a:pt x="791" y="203"/>
                    </a:lnTo>
                    <a:lnTo>
                      <a:pt x="791" y="200"/>
                    </a:lnTo>
                    <a:lnTo>
                      <a:pt x="788" y="200"/>
                    </a:lnTo>
                    <a:lnTo>
                      <a:pt x="786" y="198"/>
                    </a:lnTo>
                    <a:lnTo>
                      <a:pt x="791" y="189"/>
                    </a:lnTo>
                    <a:lnTo>
                      <a:pt x="794" y="187"/>
                    </a:lnTo>
                    <a:lnTo>
                      <a:pt x="802" y="184"/>
                    </a:lnTo>
                    <a:lnTo>
                      <a:pt x="805" y="181"/>
                    </a:lnTo>
                    <a:lnTo>
                      <a:pt x="808" y="181"/>
                    </a:lnTo>
                    <a:lnTo>
                      <a:pt x="811" y="181"/>
                    </a:lnTo>
                    <a:lnTo>
                      <a:pt x="827" y="178"/>
                    </a:lnTo>
                    <a:lnTo>
                      <a:pt x="830" y="178"/>
                    </a:lnTo>
                    <a:lnTo>
                      <a:pt x="833" y="173"/>
                    </a:lnTo>
                    <a:lnTo>
                      <a:pt x="833" y="175"/>
                    </a:lnTo>
                    <a:lnTo>
                      <a:pt x="836" y="175"/>
                    </a:lnTo>
                    <a:lnTo>
                      <a:pt x="838" y="175"/>
                    </a:lnTo>
                    <a:lnTo>
                      <a:pt x="841" y="173"/>
                    </a:lnTo>
                    <a:lnTo>
                      <a:pt x="844" y="175"/>
                    </a:lnTo>
                    <a:lnTo>
                      <a:pt x="847" y="175"/>
                    </a:lnTo>
                    <a:lnTo>
                      <a:pt x="850" y="175"/>
                    </a:lnTo>
                    <a:lnTo>
                      <a:pt x="852" y="173"/>
                    </a:lnTo>
                    <a:lnTo>
                      <a:pt x="852" y="167"/>
                    </a:lnTo>
                    <a:lnTo>
                      <a:pt x="852" y="170"/>
                    </a:lnTo>
                    <a:lnTo>
                      <a:pt x="852" y="173"/>
                    </a:lnTo>
                    <a:lnTo>
                      <a:pt x="850" y="173"/>
                    </a:lnTo>
                    <a:lnTo>
                      <a:pt x="844" y="170"/>
                    </a:lnTo>
                    <a:lnTo>
                      <a:pt x="841" y="167"/>
                    </a:lnTo>
                    <a:lnTo>
                      <a:pt x="841" y="164"/>
                    </a:lnTo>
                    <a:lnTo>
                      <a:pt x="838" y="162"/>
                    </a:lnTo>
                    <a:lnTo>
                      <a:pt x="836" y="162"/>
                    </a:lnTo>
                    <a:lnTo>
                      <a:pt x="836" y="159"/>
                    </a:lnTo>
                    <a:lnTo>
                      <a:pt x="838" y="156"/>
                    </a:lnTo>
                    <a:lnTo>
                      <a:pt x="838" y="153"/>
                    </a:lnTo>
                    <a:lnTo>
                      <a:pt x="841" y="153"/>
                    </a:lnTo>
                    <a:lnTo>
                      <a:pt x="838" y="148"/>
                    </a:lnTo>
                    <a:lnTo>
                      <a:pt x="838" y="145"/>
                    </a:lnTo>
                    <a:lnTo>
                      <a:pt x="844" y="139"/>
                    </a:lnTo>
                    <a:lnTo>
                      <a:pt x="847" y="134"/>
                    </a:lnTo>
                    <a:lnTo>
                      <a:pt x="850" y="131"/>
                    </a:lnTo>
                    <a:lnTo>
                      <a:pt x="850" y="128"/>
                    </a:lnTo>
                    <a:lnTo>
                      <a:pt x="852" y="128"/>
                    </a:lnTo>
                    <a:lnTo>
                      <a:pt x="855" y="128"/>
                    </a:lnTo>
                    <a:lnTo>
                      <a:pt x="855" y="131"/>
                    </a:lnTo>
                    <a:lnTo>
                      <a:pt x="858" y="128"/>
                    </a:lnTo>
                    <a:lnTo>
                      <a:pt x="858" y="125"/>
                    </a:lnTo>
                    <a:lnTo>
                      <a:pt x="858" y="128"/>
                    </a:lnTo>
                    <a:lnTo>
                      <a:pt x="861" y="128"/>
                    </a:lnTo>
                    <a:lnTo>
                      <a:pt x="861" y="125"/>
                    </a:lnTo>
                    <a:lnTo>
                      <a:pt x="864" y="123"/>
                    </a:lnTo>
                    <a:lnTo>
                      <a:pt x="866" y="123"/>
                    </a:lnTo>
                    <a:lnTo>
                      <a:pt x="866" y="120"/>
                    </a:lnTo>
                    <a:lnTo>
                      <a:pt x="869" y="117"/>
                    </a:lnTo>
                    <a:lnTo>
                      <a:pt x="869" y="114"/>
                    </a:lnTo>
                    <a:lnTo>
                      <a:pt x="872" y="114"/>
                    </a:lnTo>
                    <a:lnTo>
                      <a:pt x="872" y="117"/>
                    </a:lnTo>
                    <a:lnTo>
                      <a:pt x="875" y="117"/>
                    </a:lnTo>
                    <a:lnTo>
                      <a:pt x="877" y="120"/>
                    </a:lnTo>
                    <a:lnTo>
                      <a:pt x="880" y="117"/>
                    </a:lnTo>
                    <a:lnTo>
                      <a:pt x="883" y="114"/>
                    </a:lnTo>
                    <a:lnTo>
                      <a:pt x="886" y="114"/>
                    </a:lnTo>
                    <a:lnTo>
                      <a:pt x="886" y="111"/>
                    </a:lnTo>
                    <a:lnTo>
                      <a:pt x="891" y="111"/>
                    </a:lnTo>
                    <a:lnTo>
                      <a:pt x="894" y="111"/>
                    </a:lnTo>
                    <a:lnTo>
                      <a:pt x="894" y="109"/>
                    </a:lnTo>
                    <a:lnTo>
                      <a:pt x="897" y="109"/>
                    </a:lnTo>
                    <a:lnTo>
                      <a:pt x="900" y="109"/>
                    </a:lnTo>
                    <a:lnTo>
                      <a:pt x="900" y="10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0" name="Freeform 1201"/>
              <p:cNvSpPr>
                <a:spLocks noChangeAspect="1"/>
              </p:cNvSpPr>
              <p:nvPr>
                <p:custDataLst>
                  <p:tags r:id="rId318"/>
                </p:custDataLst>
              </p:nvPr>
            </p:nvSpPr>
            <p:spPr bwMode="gray">
              <a:xfrm>
                <a:off x="3652034" y="3307527"/>
                <a:ext cx="0" cy="3154"/>
              </a:xfrm>
              <a:custGeom>
                <a:avLst/>
                <a:gdLst>
                  <a:gd name="T0" fmla="*/ 3360208 h 3"/>
                  <a:gd name="T1" fmla="*/ 0 h 3"/>
                  <a:gd name="T2" fmla="*/ 3360208 h 3"/>
                  <a:gd name="T3" fmla="*/ 0 60000 65536"/>
                  <a:gd name="T4" fmla="*/ 0 60000 65536"/>
                  <a:gd name="T5" fmla="*/ 0 60000 65536"/>
                  <a:gd name="T6" fmla="*/ 0 h 3"/>
                  <a:gd name="T7" fmla="*/ 3 h 3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1" name="Freeform 1202"/>
              <p:cNvSpPr>
                <a:spLocks noChangeAspect="1"/>
              </p:cNvSpPr>
              <p:nvPr>
                <p:custDataLst>
                  <p:tags r:id="rId319"/>
                </p:custDataLst>
              </p:nvPr>
            </p:nvSpPr>
            <p:spPr bwMode="gray">
              <a:xfrm>
                <a:off x="3652034" y="3307527"/>
                <a:ext cx="0" cy="3154"/>
              </a:xfrm>
              <a:custGeom>
                <a:avLst/>
                <a:gdLst>
                  <a:gd name="T0" fmla="*/ 3360208 h 3"/>
                  <a:gd name="T1" fmla="*/ 0 h 3"/>
                  <a:gd name="T2" fmla="*/ 3360208 h 3"/>
                  <a:gd name="T3" fmla="*/ 0 60000 65536"/>
                  <a:gd name="T4" fmla="*/ 0 60000 65536"/>
                  <a:gd name="T5" fmla="*/ 0 60000 65536"/>
                  <a:gd name="T6" fmla="*/ 0 h 3"/>
                  <a:gd name="T7" fmla="*/ 3 h 3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2" name="Freeform 1203"/>
              <p:cNvSpPr>
                <a:spLocks noChangeAspect="1"/>
              </p:cNvSpPr>
              <p:nvPr>
                <p:custDataLst>
                  <p:tags r:id="rId320"/>
                </p:custDataLst>
              </p:nvPr>
            </p:nvSpPr>
            <p:spPr bwMode="gray">
              <a:xfrm>
                <a:off x="3647479" y="3302796"/>
                <a:ext cx="4555" cy="4731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62057 h 3"/>
                  <a:gd name="T8" fmla="*/ 7558882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3" name="Freeform 1204"/>
              <p:cNvSpPr>
                <a:spLocks noChangeAspect="1"/>
              </p:cNvSpPr>
              <p:nvPr>
                <p:custDataLst>
                  <p:tags r:id="rId321"/>
                </p:custDataLst>
              </p:nvPr>
            </p:nvSpPr>
            <p:spPr bwMode="gray">
              <a:xfrm>
                <a:off x="3647479" y="3302796"/>
                <a:ext cx="4555" cy="4731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62057 h 3"/>
                  <a:gd name="T8" fmla="*/ 7558882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4" name="Freeform 1205"/>
              <p:cNvSpPr>
                <a:spLocks noChangeAspect="1"/>
              </p:cNvSpPr>
              <p:nvPr>
                <p:custDataLst>
                  <p:tags r:id="rId322"/>
                </p:custDataLst>
              </p:nvPr>
            </p:nvSpPr>
            <p:spPr bwMode="gray">
              <a:xfrm>
                <a:off x="1972622" y="3698558"/>
                <a:ext cx="10630" cy="6307"/>
              </a:xfrm>
              <a:custGeom>
                <a:avLst/>
                <a:gdLst>
                  <a:gd name="T0" fmla="*/ 5788484 w 8"/>
                  <a:gd name="T1" fmla="*/ 0 h 5"/>
                  <a:gd name="T2" fmla="*/ 11578357 w 8"/>
                  <a:gd name="T3" fmla="*/ 0 h 5"/>
                  <a:gd name="T4" fmla="*/ 11578357 w 8"/>
                  <a:gd name="T5" fmla="*/ 0 h 5"/>
                  <a:gd name="T6" fmla="*/ 15437344 w 8"/>
                  <a:gd name="T7" fmla="*/ 3225800 h 5"/>
                  <a:gd name="T8" fmla="*/ 15437344 w 8"/>
                  <a:gd name="T9" fmla="*/ 3225800 h 5"/>
                  <a:gd name="T10" fmla="*/ 11578357 w 8"/>
                  <a:gd name="T11" fmla="*/ 8064499 h 5"/>
                  <a:gd name="T12" fmla="*/ 5788484 w 8"/>
                  <a:gd name="T13" fmla="*/ 8064499 h 5"/>
                  <a:gd name="T14" fmla="*/ 5788484 w 8"/>
                  <a:gd name="T15" fmla="*/ 8064499 h 5"/>
                  <a:gd name="T16" fmla="*/ 0 w 8"/>
                  <a:gd name="T17" fmla="*/ 3225800 h 5"/>
                  <a:gd name="T18" fmla="*/ 0 w 8"/>
                  <a:gd name="T19" fmla="*/ 3225800 h 5"/>
                  <a:gd name="T20" fmla="*/ 5788484 w 8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5"/>
                  <a:gd name="T35" fmla="*/ 8 w 8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5">
                    <a:moveTo>
                      <a:pt x="3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5" name="Freeform 1206"/>
              <p:cNvSpPr>
                <a:spLocks noChangeAspect="1"/>
              </p:cNvSpPr>
              <p:nvPr>
                <p:custDataLst>
                  <p:tags r:id="rId323"/>
                </p:custDataLst>
              </p:nvPr>
            </p:nvSpPr>
            <p:spPr bwMode="gray">
              <a:xfrm>
                <a:off x="1972622" y="3698558"/>
                <a:ext cx="10630" cy="6307"/>
              </a:xfrm>
              <a:custGeom>
                <a:avLst/>
                <a:gdLst>
                  <a:gd name="T0" fmla="*/ 5788484 w 8"/>
                  <a:gd name="T1" fmla="*/ 0 h 5"/>
                  <a:gd name="T2" fmla="*/ 11578357 w 8"/>
                  <a:gd name="T3" fmla="*/ 0 h 5"/>
                  <a:gd name="T4" fmla="*/ 11578357 w 8"/>
                  <a:gd name="T5" fmla="*/ 0 h 5"/>
                  <a:gd name="T6" fmla="*/ 15437344 w 8"/>
                  <a:gd name="T7" fmla="*/ 3225800 h 5"/>
                  <a:gd name="T8" fmla="*/ 15437344 w 8"/>
                  <a:gd name="T9" fmla="*/ 3225800 h 5"/>
                  <a:gd name="T10" fmla="*/ 11578357 w 8"/>
                  <a:gd name="T11" fmla="*/ 8064499 h 5"/>
                  <a:gd name="T12" fmla="*/ 5788484 w 8"/>
                  <a:gd name="T13" fmla="*/ 8064499 h 5"/>
                  <a:gd name="T14" fmla="*/ 5788484 w 8"/>
                  <a:gd name="T15" fmla="*/ 8064499 h 5"/>
                  <a:gd name="T16" fmla="*/ 0 w 8"/>
                  <a:gd name="T17" fmla="*/ 3225800 h 5"/>
                  <a:gd name="T18" fmla="*/ 0 w 8"/>
                  <a:gd name="T19" fmla="*/ 3225800 h 5"/>
                  <a:gd name="T20" fmla="*/ 5788484 w 8"/>
                  <a:gd name="T21" fmla="*/ 0 h 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5"/>
                  <a:gd name="T35" fmla="*/ 8 w 8"/>
                  <a:gd name="T36" fmla="*/ 5 h 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5">
                    <a:moveTo>
                      <a:pt x="3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6" name="Freeform 1207"/>
              <p:cNvSpPr>
                <a:spLocks noChangeAspect="1"/>
              </p:cNvSpPr>
              <p:nvPr>
                <p:custDataLst>
                  <p:tags r:id="rId324"/>
                </p:custDataLst>
              </p:nvPr>
            </p:nvSpPr>
            <p:spPr bwMode="gray">
              <a:xfrm>
                <a:off x="2004509" y="3709595"/>
                <a:ext cx="10628" cy="7884"/>
              </a:xfrm>
              <a:custGeom>
                <a:avLst/>
                <a:gdLst>
                  <a:gd name="T0" fmla="*/ 0 w 8"/>
                  <a:gd name="T1" fmla="*/ 5250987 h 6"/>
                  <a:gd name="T2" fmla="*/ 0 w 8"/>
                  <a:gd name="T3" fmla="*/ 5250987 h 6"/>
                  <a:gd name="T4" fmla="*/ 5787963 w 8"/>
                  <a:gd name="T5" fmla="*/ 0 h 6"/>
                  <a:gd name="T6" fmla="*/ 15434566 w 8"/>
                  <a:gd name="T7" fmla="*/ 10501973 h 6"/>
                  <a:gd name="T8" fmla="*/ 5787963 w 8"/>
                  <a:gd name="T9" fmla="*/ 10501973 h 6"/>
                  <a:gd name="T10" fmla="*/ 5787963 w 8"/>
                  <a:gd name="T11" fmla="*/ 10501973 h 6"/>
                  <a:gd name="T12" fmla="*/ 0 w 8"/>
                  <a:gd name="T13" fmla="*/ 5250987 h 6"/>
                  <a:gd name="T14" fmla="*/ 0 w 8"/>
                  <a:gd name="T15" fmla="*/ 5250987 h 6"/>
                  <a:gd name="T16" fmla="*/ 0 w 8"/>
                  <a:gd name="T17" fmla="*/ 525098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6"/>
                  <a:gd name="T29" fmla="*/ 8 w 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6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7" name="Freeform 1208"/>
              <p:cNvSpPr>
                <a:spLocks noChangeAspect="1"/>
              </p:cNvSpPr>
              <p:nvPr>
                <p:custDataLst>
                  <p:tags r:id="rId325"/>
                </p:custDataLst>
              </p:nvPr>
            </p:nvSpPr>
            <p:spPr bwMode="gray">
              <a:xfrm>
                <a:off x="2004509" y="3709595"/>
                <a:ext cx="10628" cy="7884"/>
              </a:xfrm>
              <a:custGeom>
                <a:avLst/>
                <a:gdLst>
                  <a:gd name="T0" fmla="*/ 0 w 8"/>
                  <a:gd name="T1" fmla="*/ 5250987 h 6"/>
                  <a:gd name="T2" fmla="*/ 0 w 8"/>
                  <a:gd name="T3" fmla="*/ 5250987 h 6"/>
                  <a:gd name="T4" fmla="*/ 5787963 w 8"/>
                  <a:gd name="T5" fmla="*/ 0 h 6"/>
                  <a:gd name="T6" fmla="*/ 15434566 w 8"/>
                  <a:gd name="T7" fmla="*/ 10501973 h 6"/>
                  <a:gd name="T8" fmla="*/ 5787963 w 8"/>
                  <a:gd name="T9" fmla="*/ 10501973 h 6"/>
                  <a:gd name="T10" fmla="*/ 5787963 w 8"/>
                  <a:gd name="T11" fmla="*/ 10501973 h 6"/>
                  <a:gd name="T12" fmla="*/ 0 w 8"/>
                  <a:gd name="T13" fmla="*/ 5250987 h 6"/>
                  <a:gd name="T14" fmla="*/ 0 w 8"/>
                  <a:gd name="T15" fmla="*/ 5250987 h 6"/>
                  <a:gd name="T16" fmla="*/ 0 w 8"/>
                  <a:gd name="T17" fmla="*/ 525098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6"/>
                  <a:gd name="T29" fmla="*/ 8 w 8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6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8" name="Freeform 1209"/>
              <p:cNvSpPr>
                <a:spLocks noChangeAspect="1"/>
              </p:cNvSpPr>
              <p:nvPr>
                <p:custDataLst>
                  <p:tags r:id="rId326"/>
                </p:custDataLst>
              </p:nvPr>
            </p:nvSpPr>
            <p:spPr bwMode="gray">
              <a:xfrm>
                <a:off x="2022730" y="3720634"/>
                <a:ext cx="10628" cy="1577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0 w 8"/>
                  <a:gd name="T5" fmla="*/ 0 h 3"/>
                  <a:gd name="T6" fmla="*/ 15434566 w 8"/>
                  <a:gd name="T7" fmla="*/ 0 h 3"/>
                  <a:gd name="T8" fmla="*/ 15434566 w 8"/>
                  <a:gd name="T9" fmla="*/ 0 h 3"/>
                  <a:gd name="T10" fmla="*/ 15434566 w 8"/>
                  <a:gd name="T11" fmla="*/ 839523 h 3"/>
                  <a:gd name="T12" fmla="*/ 11575926 w 8"/>
                  <a:gd name="T13" fmla="*/ 839523 h 3"/>
                  <a:gd name="T14" fmla="*/ 5787963 w 8"/>
                  <a:gd name="T15" fmla="*/ 839523 h 3"/>
                  <a:gd name="T16" fmla="*/ 0 w 8"/>
                  <a:gd name="T17" fmla="*/ 839523 h 3"/>
                  <a:gd name="T18" fmla="*/ 0 w 8"/>
                  <a:gd name="T19" fmla="*/ 0 h 3"/>
                  <a:gd name="T20" fmla="*/ 0 w 8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3"/>
                  <a:gd name="T35" fmla="*/ 8 w 8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9" name="Freeform 1210"/>
              <p:cNvSpPr>
                <a:spLocks noChangeAspect="1"/>
              </p:cNvSpPr>
              <p:nvPr>
                <p:custDataLst>
                  <p:tags r:id="rId327"/>
                </p:custDataLst>
              </p:nvPr>
            </p:nvSpPr>
            <p:spPr bwMode="gray">
              <a:xfrm>
                <a:off x="2022730" y="3720634"/>
                <a:ext cx="10628" cy="1577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0 h 3"/>
                  <a:gd name="T4" fmla="*/ 0 w 8"/>
                  <a:gd name="T5" fmla="*/ 0 h 3"/>
                  <a:gd name="T6" fmla="*/ 15434566 w 8"/>
                  <a:gd name="T7" fmla="*/ 0 h 3"/>
                  <a:gd name="T8" fmla="*/ 15434566 w 8"/>
                  <a:gd name="T9" fmla="*/ 0 h 3"/>
                  <a:gd name="T10" fmla="*/ 15434566 w 8"/>
                  <a:gd name="T11" fmla="*/ 839523 h 3"/>
                  <a:gd name="T12" fmla="*/ 11575926 w 8"/>
                  <a:gd name="T13" fmla="*/ 839523 h 3"/>
                  <a:gd name="T14" fmla="*/ 5787963 w 8"/>
                  <a:gd name="T15" fmla="*/ 839523 h 3"/>
                  <a:gd name="T16" fmla="*/ 0 w 8"/>
                  <a:gd name="T17" fmla="*/ 839523 h 3"/>
                  <a:gd name="T18" fmla="*/ 0 w 8"/>
                  <a:gd name="T19" fmla="*/ 0 h 3"/>
                  <a:gd name="T20" fmla="*/ 0 w 8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3"/>
                  <a:gd name="T35" fmla="*/ 8 w 8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3">
                    <a:moveTo>
                      <a:pt x="0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0" name="Freeform 1211"/>
              <p:cNvSpPr>
                <a:spLocks noChangeAspect="1"/>
              </p:cNvSpPr>
              <p:nvPr>
                <p:custDataLst>
                  <p:tags r:id="rId328"/>
                </p:custDataLst>
              </p:nvPr>
            </p:nvSpPr>
            <p:spPr bwMode="gray">
              <a:xfrm>
                <a:off x="2033360" y="3722209"/>
                <a:ext cx="15185" cy="11038"/>
              </a:xfrm>
              <a:custGeom>
                <a:avLst/>
                <a:gdLst>
                  <a:gd name="T0" fmla="*/ 12496513 w 11"/>
                  <a:gd name="T1" fmla="*/ 5788484 h 8"/>
                  <a:gd name="T2" fmla="*/ 12496513 w 11"/>
                  <a:gd name="T3" fmla="*/ 5788484 h 8"/>
                  <a:gd name="T4" fmla="*/ 12496513 w 11"/>
                  <a:gd name="T5" fmla="*/ 0 h 8"/>
                  <a:gd name="T6" fmla="*/ 22910509 w 11"/>
                  <a:gd name="T7" fmla="*/ 11578357 h 8"/>
                  <a:gd name="T8" fmla="*/ 22910509 w 11"/>
                  <a:gd name="T9" fmla="*/ 11578357 h 8"/>
                  <a:gd name="T10" fmla="*/ 18745488 w 11"/>
                  <a:gd name="T11" fmla="*/ 15437344 h 8"/>
                  <a:gd name="T12" fmla="*/ 18745488 w 11"/>
                  <a:gd name="T13" fmla="*/ 15437344 h 8"/>
                  <a:gd name="T14" fmla="*/ 12496513 w 11"/>
                  <a:gd name="T15" fmla="*/ 15437344 h 8"/>
                  <a:gd name="T16" fmla="*/ 6248978 w 11"/>
                  <a:gd name="T17" fmla="*/ 5788484 h 8"/>
                  <a:gd name="T18" fmla="*/ 6248978 w 11"/>
                  <a:gd name="T19" fmla="*/ 5788484 h 8"/>
                  <a:gd name="T20" fmla="*/ 0 w 11"/>
                  <a:gd name="T21" fmla="*/ 0 h 8"/>
                  <a:gd name="T22" fmla="*/ 6248978 w 11"/>
                  <a:gd name="T23" fmla="*/ 0 h 8"/>
                  <a:gd name="T24" fmla="*/ 6248978 w 11"/>
                  <a:gd name="T25" fmla="*/ 0 h 8"/>
                  <a:gd name="T26" fmla="*/ 12496513 w 11"/>
                  <a:gd name="T27" fmla="*/ 5788484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8"/>
                  <a:gd name="T44" fmla="*/ 11 w 11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8">
                    <a:moveTo>
                      <a:pt x="6" y="3"/>
                    </a:moveTo>
                    <a:lnTo>
                      <a:pt x="6" y="3"/>
                    </a:lnTo>
                    <a:lnTo>
                      <a:pt x="6" y="0"/>
                    </a:lnTo>
                    <a:lnTo>
                      <a:pt x="11" y="6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1" name="Freeform 1212"/>
              <p:cNvSpPr>
                <a:spLocks noChangeAspect="1"/>
              </p:cNvSpPr>
              <p:nvPr>
                <p:custDataLst>
                  <p:tags r:id="rId329"/>
                </p:custDataLst>
              </p:nvPr>
            </p:nvSpPr>
            <p:spPr bwMode="gray">
              <a:xfrm>
                <a:off x="2033360" y="3722209"/>
                <a:ext cx="15185" cy="11038"/>
              </a:xfrm>
              <a:custGeom>
                <a:avLst/>
                <a:gdLst>
                  <a:gd name="T0" fmla="*/ 12496513 w 11"/>
                  <a:gd name="T1" fmla="*/ 5788484 h 8"/>
                  <a:gd name="T2" fmla="*/ 12496513 w 11"/>
                  <a:gd name="T3" fmla="*/ 5788484 h 8"/>
                  <a:gd name="T4" fmla="*/ 12496513 w 11"/>
                  <a:gd name="T5" fmla="*/ 0 h 8"/>
                  <a:gd name="T6" fmla="*/ 22910509 w 11"/>
                  <a:gd name="T7" fmla="*/ 11578357 h 8"/>
                  <a:gd name="T8" fmla="*/ 22910509 w 11"/>
                  <a:gd name="T9" fmla="*/ 11578357 h 8"/>
                  <a:gd name="T10" fmla="*/ 18745488 w 11"/>
                  <a:gd name="T11" fmla="*/ 15437344 h 8"/>
                  <a:gd name="T12" fmla="*/ 18745488 w 11"/>
                  <a:gd name="T13" fmla="*/ 15437344 h 8"/>
                  <a:gd name="T14" fmla="*/ 12496513 w 11"/>
                  <a:gd name="T15" fmla="*/ 15437344 h 8"/>
                  <a:gd name="T16" fmla="*/ 6248978 w 11"/>
                  <a:gd name="T17" fmla="*/ 5788484 h 8"/>
                  <a:gd name="T18" fmla="*/ 6248978 w 11"/>
                  <a:gd name="T19" fmla="*/ 5788484 h 8"/>
                  <a:gd name="T20" fmla="*/ 0 w 11"/>
                  <a:gd name="T21" fmla="*/ 0 h 8"/>
                  <a:gd name="T22" fmla="*/ 6248978 w 11"/>
                  <a:gd name="T23" fmla="*/ 0 h 8"/>
                  <a:gd name="T24" fmla="*/ 6248978 w 11"/>
                  <a:gd name="T25" fmla="*/ 0 h 8"/>
                  <a:gd name="T26" fmla="*/ 12496513 w 11"/>
                  <a:gd name="T27" fmla="*/ 5788484 h 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"/>
                  <a:gd name="T43" fmla="*/ 0 h 8"/>
                  <a:gd name="T44" fmla="*/ 11 w 11"/>
                  <a:gd name="T45" fmla="*/ 8 h 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" h="8">
                    <a:moveTo>
                      <a:pt x="6" y="3"/>
                    </a:moveTo>
                    <a:lnTo>
                      <a:pt x="6" y="3"/>
                    </a:lnTo>
                    <a:lnTo>
                      <a:pt x="6" y="0"/>
                    </a:lnTo>
                    <a:lnTo>
                      <a:pt x="11" y="6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2" name="Freeform 1213"/>
              <p:cNvSpPr>
                <a:spLocks noChangeAspect="1"/>
              </p:cNvSpPr>
              <p:nvPr>
                <p:custDataLst>
                  <p:tags r:id="rId330"/>
                </p:custDataLst>
              </p:nvPr>
            </p:nvSpPr>
            <p:spPr bwMode="gray">
              <a:xfrm>
                <a:off x="2048545" y="3741130"/>
                <a:ext cx="25814" cy="28381"/>
              </a:xfrm>
              <a:custGeom>
                <a:avLst/>
                <a:gdLst>
                  <a:gd name="T0" fmla="*/ 5462370 w 20"/>
                  <a:gd name="T1" fmla="*/ 0 h 22"/>
                  <a:gd name="T2" fmla="*/ 5462370 w 20"/>
                  <a:gd name="T3" fmla="*/ 0 h 22"/>
                  <a:gd name="T4" fmla="*/ 5462370 w 20"/>
                  <a:gd name="T5" fmla="*/ 0 h 22"/>
                  <a:gd name="T6" fmla="*/ 5462370 w 20"/>
                  <a:gd name="T7" fmla="*/ 0 h 22"/>
                  <a:gd name="T8" fmla="*/ 10924741 w 20"/>
                  <a:gd name="T9" fmla="*/ 0 h 22"/>
                  <a:gd name="T10" fmla="*/ 10924741 w 20"/>
                  <a:gd name="T11" fmla="*/ 0 h 22"/>
                  <a:gd name="T12" fmla="*/ 21850831 w 20"/>
                  <a:gd name="T13" fmla="*/ 5061671 h 22"/>
                  <a:gd name="T14" fmla="*/ 25492866 w 20"/>
                  <a:gd name="T15" fmla="*/ 5061671 h 22"/>
                  <a:gd name="T16" fmla="*/ 25492866 w 20"/>
                  <a:gd name="T17" fmla="*/ 10122043 h 22"/>
                  <a:gd name="T18" fmla="*/ 30955235 w 20"/>
                  <a:gd name="T19" fmla="*/ 13496492 h 22"/>
                  <a:gd name="T20" fmla="*/ 30955235 w 20"/>
                  <a:gd name="T21" fmla="*/ 13496492 h 22"/>
                  <a:gd name="T22" fmla="*/ 36417604 w 20"/>
                  <a:gd name="T23" fmla="*/ 18558162 h 22"/>
                  <a:gd name="T24" fmla="*/ 36417604 w 20"/>
                  <a:gd name="T25" fmla="*/ 18558162 h 22"/>
                  <a:gd name="T26" fmla="*/ 30955235 w 20"/>
                  <a:gd name="T27" fmla="*/ 23618538 h 22"/>
                  <a:gd name="T28" fmla="*/ 25492866 w 20"/>
                  <a:gd name="T29" fmla="*/ 23618538 h 22"/>
                  <a:gd name="T30" fmla="*/ 21850831 w 20"/>
                  <a:gd name="T31" fmla="*/ 23618538 h 22"/>
                  <a:gd name="T32" fmla="*/ 16388462 w 20"/>
                  <a:gd name="T33" fmla="*/ 33740579 h 22"/>
                  <a:gd name="T34" fmla="*/ 16388462 w 20"/>
                  <a:gd name="T35" fmla="*/ 33740579 h 22"/>
                  <a:gd name="T36" fmla="*/ 10924741 w 20"/>
                  <a:gd name="T37" fmla="*/ 37115026 h 22"/>
                  <a:gd name="T38" fmla="*/ 5462370 w 20"/>
                  <a:gd name="T39" fmla="*/ 33740579 h 22"/>
                  <a:gd name="T40" fmla="*/ 5462370 w 20"/>
                  <a:gd name="T41" fmla="*/ 28680208 h 22"/>
                  <a:gd name="T42" fmla="*/ 0 w 20"/>
                  <a:gd name="T43" fmla="*/ 13496492 h 22"/>
                  <a:gd name="T44" fmla="*/ 5462370 w 20"/>
                  <a:gd name="T45" fmla="*/ 5061671 h 22"/>
                  <a:gd name="T46" fmla="*/ 5462370 w 20"/>
                  <a:gd name="T47" fmla="*/ 5061671 h 22"/>
                  <a:gd name="T48" fmla="*/ 5462370 w 20"/>
                  <a:gd name="T49" fmla="*/ 0 h 2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"/>
                  <a:gd name="T76" fmla="*/ 0 h 22"/>
                  <a:gd name="T77" fmla="*/ 20 w 20"/>
                  <a:gd name="T78" fmla="*/ 22 h 2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" h="22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12" y="3"/>
                    </a:lnTo>
                    <a:lnTo>
                      <a:pt x="14" y="3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1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2" y="14"/>
                    </a:lnTo>
                    <a:lnTo>
                      <a:pt x="9" y="20"/>
                    </a:lnTo>
                    <a:lnTo>
                      <a:pt x="6" y="22"/>
                    </a:lnTo>
                    <a:lnTo>
                      <a:pt x="3" y="20"/>
                    </a:lnTo>
                    <a:lnTo>
                      <a:pt x="3" y="17"/>
                    </a:lnTo>
                    <a:lnTo>
                      <a:pt x="0" y="8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3" name="Freeform 1214"/>
              <p:cNvSpPr>
                <a:spLocks noChangeAspect="1"/>
              </p:cNvSpPr>
              <p:nvPr>
                <p:custDataLst>
                  <p:tags r:id="rId331"/>
                </p:custDataLst>
              </p:nvPr>
            </p:nvSpPr>
            <p:spPr bwMode="gray">
              <a:xfrm>
                <a:off x="2048545" y="3741130"/>
                <a:ext cx="25814" cy="28381"/>
              </a:xfrm>
              <a:custGeom>
                <a:avLst/>
                <a:gdLst>
                  <a:gd name="T0" fmla="*/ 5462370 w 20"/>
                  <a:gd name="T1" fmla="*/ 0 h 22"/>
                  <a:gd name="T2" fmla="*/ 5462370 w 20"/>
                  <a:gd name="T3" fmla="*/ 0 h 22"/>
                  <a:gd name="T4" fmla="*/ 5462370 w 20"/>
                  <a:gd name="T5" fmla="*/ 0 h 22"/>
                  <a:gd name="T6" fmla="*/ 5462370 w 20"/>
                  <a:gd name="T7" fmla="*/ 0 h 22"/>
                  <a:gd name="T8" fmla="*/ 10924741 w 20"/>
                  <a:gd name="T9" fmla="*/ 0 h 22"/>
                  <a:gd name="T10" fmla="*/ 10924741 w 20"/>
                  <a:gd name="T11" fmla="*/ 0 h 22"/>
                  <a:gd name="T12" fmla="*/ 21850831 w 20"/>
                  <a:gd name="T13" fmla="*/ 5061671 h 22"/>
                  <a:gd name="T14" fmla="*/ 25492866 w 20"/>
                  <a:gd name="T15" fmla="*/ 5061671 h 22"/>
                  <a:gd name="T16" fmla="*/ 25492866 w 20"/>
                  <a:gd name="T17" fmla="*/ 10122043 h 22"/>
                  <a:gd name="T18" fmla="*/ 30955235 w 20"/>
                  <a:gd name="T19" fmla="*/ 13496492 h 22"/>
                  <a:gd name="T20" fmla="*/ 30955235 w 20"/>
                  <a:gd name="T21" fmla="*/ 13496492 h 22"/>
                  <a:gd name="T22" fmla="*/ 36417604 w 20"/>
                  <a:gd name="T23" fmla="*/ 18558162 h 22"/>
                  <a:gd name="T24" fmla="*/ 36417604 w 20"/>
                  <a:gd name="T25" fmla="*/ 18558162 h 22"/>
                  <a:gd name="T26" fmla="*/ 30955235 w 20"/>
                  <a:gd name="T27" fmla="*/ 23618538 h 22"/>
                  <a:gd name="T28" fmla="*/ 25492866 w 20"/>
                  <a:gd name="T29" fmla="*/ 23618538 h 22"/>
                  <a:gd name="T30" fmla="*/ 21850831 w 20"/>
                  <a:gd name="T31" fmla="*/ 23618538 h 22"/>
                  <a:gd name="T32" fmla="*/ 16388462 w 20"/>
                  <a:gd name="T33" fmla="*/ 33740579 h 22"/>
                  <a:gd name="T34" fmla="*/ 16388462 w 20"/>
                  <a:gd name="T35" fmla="*/ 33740579 h 22"/>
                  <a:gd name="T36" fmla="*/ 10924741 w 20"/>
                  <a:gd name="T37" fmla="*/ 37115026 h 22"/>
                  <a:gd name="T38" fmla="*/ 5462370 w 20"/>
                  <a:gd name="T39" fmla="*/ 33740579 h 22"/>
                  <a:gd name="T40" fmla="*/ 5462370 w 20"/>
                  <a:gd name="T41" fmla="*/ 28680208 h 22"/>
                  <a:gd name="T42" fmla="*/ 0 w 20"/>
                  <a:gd name="T43" fmla="*/ 13496492 h 22"/>
                  <a:gd name="T44" fmla="*/ 5462370 w 20"/>
                  <a:gd name="T45" fmla="*/ 5061671 h 22"/>
                  <a:gd name="T46" fmla="*/ 5462370 w 20"/>
                  <a:gd name="T47" fmla="*/ 5061671 h 22"/>
                  <a:gd name="T48" fmla="*/ 5462370 w 20"/>
                  <a:gd name="T49" fmla="*/ 0 h 2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0"/>
                  <a:gd name="T76" fmla="*/ 0 h 22"/>
                  <a:gd name="T77" fmla="*/ 20 w 20"/>
                  <a:gd name="T78" fmla="*/ 22 h 2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0" h="22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12" y="3"/>
                    </a:lnTo>
                    <a:lnTo>
                      <a:pt x="14" y="3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1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2" y="14"/>
                    </a:lnTo>
                    <a:lnTo>
                      <a:pt x="9" y="20"/>
                    </a:lnTo>
                    <a:lnTo>
                      <a:pt x="6" y="22"/>
                    </a:lnTo>
                    <a:lnTo>
                      <a:pt x="3" y="20"/>
                    </a:lnTo>
                    <a:lnTo>
                      <a:pt x="3" y="17"/>
                    </a:lnTo>
                    <a:lnTo>
                      <a:pt x="0" y="8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4" name="Freeform 1215"/>
              <p:cNvSpPr>
                <a:spLocks noChangeAspect="1"/>
              </p:cNvSpPr>
              <p:nvPr>
                <p:custDataLst>
                  <p:tags r:id="rId332"/>
                </p:custDataLst>
              </p:nvPr>
            </p:nvSpPr>
            <p:spPr bwMode="gray">
              <a:xfrm>
                <a:off x="2027286" y="3726939"/>
                <a:ext cx="6074" cy="4730"/>
              </a:xfrm>
              <a:custGeom>
                <a:avLst/>
                <a:gdLst>
                  <a:gd name="T0" fmla="*/ 4838699 w 5"/>
                  <a:gd name="T1" fmla="*/ 0 h 3"/>
                  <a:gd name="T2" fmla="*/ 0 w 5"/>
                  <a:gd name="T3" fmla="*/ 0 h 3"/>
                  <a:gd name="T4" fmla="*/ 4838699 w 5"/>
                  <a:gd name="T5" fmla="*/ 0 h 3"/>
                  <a:gd name="T6" fmla="*/ 8064499 w 5"/>
                  <a:gd name="T7" fmla="*/ 0 h 3"/>
                  <a:gd name="T8" fmla="*/ 4838699 w 5"/>
                  <a:gd name="T9" fmla="*/ 7558882 h 3"/>
                  <a:gd name="T10" fmla="*/ 4838699 w 5"/>
                  <a:gd name="T11" fmla="*/ 7558882 h 3"/>
                  <a:gd name="T12" fmla="*/ 4838699 w 5"/>
                  <a:gd name="T13" fmla="*/ 0 h 3"/>
                  <a:gd name="T14" fmla="*/ 4838699 w 5"/>
                  <a:gd name="T15" fmla="*/ 0 h 3"/>
                  <a:gd name="T16" fmla="*/ 4838699 w 5"/>
                  <a:gd name="T17" fmla="*/ 0 h 3"/>
                  <a:gd name="T18" fmla="*/ 4838699 w 5"/>
                  <a:gd name="T19" fmla="*/ 0 h 3"/>
                  <a:gd name="T20" fmla="*/ 4838699 w 5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3"/>
                  <a:gd name="T35" fmla="*/ 5 w 5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5" name="Freeform 1216"/>
              <p:cNvSpPr>
                <a:spLocks noChangeAspect="1"/>
              </p:cNvSpPr>
              <p:nvPr>
                <p:custDataLst>
                  <p:tags r:id="rId333"/>
                </p:custDataLst>
              </p:nvPr>
            </p:nvSpPr>
            <p:spPr bwMode="gray">
              <a:xfrm>
                <a:off x="2027286" y="3726939"/>
                <a:ext cx="6074" cy="4730"/>
              </a:xfrm>
              <a:custGeom>
                <a:avLst/>
                <a:gdLst>
                  <a:gd name="T0" fmla="*/ 4838699 w 5"/>
                  <a:gd name="T1" fmla="*/ 0 h 3"/>
                  <a:gd name="T2" fmla="*/ 0 w 5"/>
                  <a:gd name="T3" fmla="*/ 0 h 3"/>
                  <a:gd name="T4" fmla="*/ 4838699 w 5"/>
                  <a:gd name="T5" fmla="*/ 0 h 3"/>
                  <a:gd name="T6" fmla="*/ 8064499 w 5"/>
                  <a:gd name="T7" fmla="*/ 0 h 3"/>
                  <a:gd name="T8" fmla="*/ 4838699 w 5"/>
                  <a:gd name="T9" fmla="*/ 7558882 h 3"/>
                  <a:gd name="T10" fmla="*/ 4838699 w 5"/>
                  <a:gd name="T11" fmla="*/ 7558882 h 3"/>
                  <a:gd name="T12" fmla="*/ 4838699 w 5"/>
                  <a:gd name="T13" fmla="*/ 0 h 3"/>
                  <a:gd name="T14" fmla="*/ 4838699 w 5"/>
                  <a:gd name="T15" fmla="*/ 0 h 3"/>
                  <a:gd name="T16" fmla="*/ 4838699 w 5"/>
                  <a:gd name="T17" fmla="*/ 0 h 3"/>
                  <a:gd name="T18" fmla="*/ 4838699 w 5"/>
                  <a:gd name="T19" fmla="*/ 0 h 3"/>
                  <a:gd name="T20" fmla="*/ 4838699 w 5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3"/>
                  <a:gd name="T35" fmla="*/ 5 w 5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6" name="Freeform 1217"/>
              <p:cNvSpPr>
                <a:spLocks noChangeAspect="1"/>
              </p:cNvSpPr>
              <p:nvPr>
                <p:custDataLst>
                  <p:tags r:id="rId334"/>
                </p:custDataLst>
              </p:nvPr>
            </p:nvSpPr>
            <p:spPr bwMode="gray">
              <a:xfrm>
                <a:off x="1913402" y="2328370"/>
                <a:ext cx="12148" cy="9460"/>
              </a:xfrm>
              <a:custGeom>
                <a:avLst/>
                <a:gdLst>
                  <a:gd name="T0" fmla="*/ 5973234 w 9"/>
                  <a:gd name="T1" fmla="*/ 0 h 8"/>
                  <a:gd name="T2" fmla="*/ 5973234 w 9"/>
                  <a:gd name="T3" fmla="*/ 0 h 8"/>
                  <a:gd name="T4" fmla="*/ 11947878 w 9"/>
                  <a:gd name="T5" fmla="*/ 0 h 8"/>
                  <a:gd name="T6" fmla="*/ 11947878 w 9"/>
                  <a:gd name="T7" fmla="*/ 0 h 8"/>
                  <a:gd name="T8" fmla="*/ 11947878 w 9"/>
                  <a:gd name="T9" fmla="*/ 0 h 8"/>
                  <a:gd name="T10" fmla="*/ 17921109 w 9"/>
                  <a:gd name="T11" fmla="*/ 8505823 h 8"/>
                  <a:gd name="T12" fmla="*/ 17921109 w 9"/>
                  <a:gd name="T13" fmla="*/ 11340702 h 8"/>
                  <a:gd name="T14" fmla="*/ 11947878 w 9"/>
                  <a:gd name="T15" fmla="*/ 11340702 h 8"/>
                  <a:gd name="T16" fmla="*/ 5973234 w 9"/>
                  <a:gd name="T17" fmla="*/ 8505823 h 8"/>
                  <a:gd name="T18" fmla="*/ 0 w 9"/>
                  <a:gd name="T19" fmla="*/ 4252912 h 8"/>
                  <a:gd name="T20" fmla="*/ 5973234 w 9"/>
                  <a:gd name="T21" fmla="*/ 0 h 8"/>
                  <a:gd name="T22" fmla="*/ 5973234 w 9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8"/>
                  <a:gd name="T38" fmla="*/ 9 w 9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8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7" name="Freeform 1218"/>
              <p:cNvSpPr>
                <a:spLocks noChangeAspect="1"/>
              </p:cNvSpPr>
              <p:nvPr>
                <p:custDataLst>
                  <p:tags r:id="rId335"/>
                </p:custDataLst>
              </p:nvPr>
            </p:nvSpPr>
            <p:spPr bwMode="gray">
              <a:xfrm>
                <a:off x="1913402" y="2328370"/>
                <a:ext cx="12148" cy="9460"/>
              </a:xfrm>
              <a:custGeom>
                <a:avLst/>
                <a:gdLst>
                  <a:gd name="T0" fmla="*/ 5973234 w 9"/>
                  <a:gd name="T1" fmla="*/ 0 h 8"/>
                  <a:gd name="T2" fmla="*/ 5973234 w 9"/>
                  <a:gd name="T3" fmla="*/ 0 h 8"/>
                  <a:gd name="T4" fmla="*/ 11947878 w 9"/>
                  <a:gd name="T5" fmla="*/ 0 h 8"/>
                  <a:gd name="T6" fmla="*/ 11947878 w 9"/>
                  <a:gd name="T7" fmla="*/ 0 h 8"/>
                  <a:gd name="T8" fmla="*/ 11947878 w 9"/>
                  <a:gd name="T9" fmla="*/ 0 h 8"/>
                  <a:gd name="T10" fmla="*/ 17921109 w 9"/>
                  <a:gd name="T11" fmla="*/ 8505823 h 8"/>
                  <a:gd name="T12" fmla="*/ 17921109 w 9"/>
                  <a:gd name="T13" fmla="*/ 11340702 h 8"/>
                  <a:gd name="T14" fmla="*/ 11947878 w 9"/>
                  <a:gd name="T15" fmla="*/ 11340702 h 8"/>
                  <a:gd name="T16" fmla="*/ 5973234 w 9"/>
                  <a:gd name="T17" fmla="*/ 8505823 h 8"/>
                  <a:gd name="T18" fmla="*/ 0 w 9"/>
                  <a:gd name="T19" fmla="*/ 4252912 h 8"/>
                  <a:gd name="T20" fmla="*/ 5973234 w 9"/>
                  <a:gd name="T21" fmla="*/ 0 h 8"/>
                  <a:gd name="T22" fmla="*/ 5973234 w 9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8"/>
                  <a:gd name="T38" fmla="*/ 9 w 9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8">
                    <a:moveTo>
                      <a:pt x="3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3" y="6"/>
                    </a:lnTo>
                    <a:lnTo>
                      <a:pt x="0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8" name="Freeform 1219"/>
              <p:cNvSpPr>
                <a:spLocks noChangeAspect="1"/>
              </p:cNvSpPr>
              <p:nvPr>
                <p:custDataLst>
                  <p:tags r:id="rId336"/>
                </p:custDataLst>
              </p:nvPr>
            </p:nvSpPr>
            <p:spPr bwMode="gray">
              <a:xfrm>
                <a:off x="1725113" y="2478162"/>
                <a:ext cx="62256" cy="37842"/>
              </a:xfrm>
              <a:custGeom>
                <a:avLst/>
                <a:gdLst>
                  <a:gd name="T0" fmla="*/ 63285338 w 47"/>
                  <a:gd name="T1" fmla="*/ 51843221 h 28"/>
                  <a:gd name="T2" fmla="*/ 63285338 w 47"/>
                  <a:gd name="T3" fmla="*/ 46288787 h 28"/>
                  <a:gd name="T4" fmla="*/ 57532756 w 47"/>
                  <a:gd name="T5" fmla="*/ 46288787 h 28"/>
                  <a:gd name="T6" fmla="*/ 47944198 w 47"/>
                  <a:gd name="T7" fmla="*/ 40734342 h 28"/>
                  <a:gd name="T8" fmla="*/ 30683674 w 47"/>
                  <a:gd name="T9" fmla="*/ 31476045 h 28"/>
                  <a:gd name="T10" fmla="*/ 26849082 w 47"/>
                  <a:gd name="T11" fmla="*/ 25921611 h 28"/>
                  <a:gd name="T12" fmla="*/ 21095111 w 47"/>
                  <a:gd name="T13" fmla="*/ 25921611 h 28"/>
                  <a:gd name="T14" fmla="*/ 15342530 w 47"/>
                  <a:gd name="T15" fmla="*/ 31476045 h 28"/>
                  <a:gd name="T16" fmla="*/ 9588561 w 47"/>
                  <a:gd name="T17" fmla="*/ 31476045 h 28"/>
                  <a:gd name="T18" fmla="*/ 3835979 w 47"/>
                  <a:gd name="T19" fmla="*/ 31476045 h 28"/>
                  <a:gd name="T20" fmla="*/ 3835979 w 47"/>
                  <a:gd name="T21" fmla="*/ 25921611 h 28"/>
                  <a:gd name="T22" fmla="*/ 0 w 47"/>
                  <a:gd name="T23" fmla="*/ 20367171 h 28"/>
                  <a:gd name="T24" fmla="*/ 0 w 47"/>
                  <a:gd name="T25" fmla="*/ 20367171 h 28"/>
                  <a:gd name="T26" fmla="*/ 0 w 47"/>
                  <a:gd name="T27" fmla="*/ 5554436 h 28"/>
                  <a:gd name="T28" fmla="*/ 0 w 47"/>
                  <a:gd name="T29" fmla="*/ 0 h 28"/>
                  <a:gd name="T30" fmla="*/ 3835979 w 47"/>
                  <a:gd name="T31" fmla="*/ 5554436 h 28"/>
                  <a:gd name="T32" fmla="*/ 21095111 w 47"/>
                  <a:gd name="T33" fmla="*/ 9258300 h 28"/>
                  <a:gd name="T34" fmla="*/ 26849082 w 47"/>
                  <a:gd name="T35" fmla="*/ 14812737 h 28"/>
                  <a:gd name="T36" fmla="*/ 30683674 w 47"/>
                  <a:gd name="T37" fmla="*/ 14812737 h 28"/>
                  <a:gd name="T38" fmla="*/ 30683674 w 47"/>
                  <a:gd name="T39" fmla="*/ 9258300 h 28"/>
                  <a:gd name="T40" fmla="*/ 36437640 w 47"/>
                  <a:gd name="T41" fmla="*/ 9258300 h 28"/>
                  <a:gd name="T42" fmla="*/ 36437640 w 47"/>
                  <a:gd name="T43" fmla="*/ 5554436 h 28"/>
                  <a:gd name="T44" fmla="*/ 42190221 w 47"/>
                  <a:gd name="T45" fmla="*/ 5554436 h 28"/>
                  <a:gd name="T46" fmla="*/ 47944198 w 47"/>
                  <a:gd name="T47" fmla="*/ 9258300 h 28"/>
                  <a:gd name="T48" fmla="*/ 47944198 w 47"/>
                  <a:gd name="T49" fmla="*/ 9258300 h 28"/>
                  <a:gd name="T50" fmla="*/ 51778791 w 47"/>
                  <a:gd name="T51" fmla="*/ 9258300 h 28"/>
                  <a:gd name="T52" fmla="*/ 51778791 w 47"/>
                  <a:gd name="T53" fmla="*/ 14812737 h 28"/>
                  <a:gd name="T54" fmla="*/ 51778791 w 47"/>
                  <a:gd name="T55" fmla="*/ 20367171 h 28"/>
                  <a:gd name="T56" fmla="*/ 69039303 w 47"/>
                  <a:gd name="T57" fmla="*/ 25921611 h 28"/>
                  <a:gd name="T58" fmla="*/ 69039303 w 47"/>
                  <a:gd name="T59" fmla="*/ 31476045 h 28"/>
                  <a:gd name="T60" fmla="*/ 78627862 w 47"/>
                  <a:gd name="T61" fmla="*/ 31476045 h 28"/>
                  <a:gd name="T62" fmla="*/ 78627862 w 47"/>
                  <a:gd name="T63" fmla="*/ 31476045 h 28"/>
                  <a:gd name="T64" fmla="*/ 84381828 w 47"/>
                  <a:gd name="T65" fmla="*/ 31476045 h 28"/>
                  <a:gd name="T66" fmla="*/ 90134409 w 47"/>
                  <a:gd name="T67" fmla="*/ 31476045 h 28"/>
                  <a:gd name="T68" fmla="*/ 90134409 w 47"/>
                  <a:gd name="T69" fmla="*/ 31476045 h 28"/>
                  <a:gd name="T70" fmla="*/ 90134409 w 47"/>
                  <a:gd name="T71" fmla="*/ 35179908 h 28"/>
                  <a:gd name="T72" fmla="*/ 90134409 w 47"/>
                  <a:gd name="T73" fmla="*/ 35179908 h 28"/>
                  <a:gd name="T74" fmla="*/ 90134409 w 47"/>
                  <a:gd name="T75" fmla="*/ 40734342 h 28"/>
                  <a:gd name="T76" fmla="*/ 84381828 w 47"/>
                  <a:gd name="T77" fmla="*/ 40734342 h 28"/>
                  <a:gd name="T78" fmla="*/ 78627862 w 47"/>
                  <a:gd name="T79" fmla="*/ 40734342 h 28"/>
                  <a:gd name="T80" fmla="*/ 74791885 w 47"/>
                  <a:gd name="T81" fmla="*/ 40734342 h 28"/>
                  <a:gd name="T82" fmla="*/ 69039303 w 47"/>
                  <a:gd name="T83" fmla="*/ 46288787 h 28"/>
                  <a:gd name="T84" fmla="*/ 63285338 w 47"/>
                  <a:gd name="T85" fmla="*/ 51843221 h 2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7"/>
                  <a:gd name="T130" fmla="*/ 0 h 28"/>
                  <a:gd name="T131" fmla="*/ 47 w 47"/>
                  <a:gd name="T132" fmla="*/ 28 h 2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7" h="28">
                    <a:moveTo>
                      <a:pt x="33" y="28"/>
                    </a:moveTo>
                    <a:lnTo>
                      <a:pt x="33" y="25"/>
                    </a:lnTo>
                    <a:lnTo>
                      <a:pt x="30" y="25"/>
                    </a:lnTo>
                    <a:lnTo>
                      <a:pt x="25" y="22"/>
                    </a:lnTo>
                    <a:lnTo>
                      <a:pt x="16" y="17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5" y="17"/>
                    </a:lnTo>
                    <a:lnTo>
                      <a:pt x="2" y="17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25" y="5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7" y="11"/>
                    </a:lnTo>
                    <a:lnTo>
                      <a:pt x="36" y="14"/>
                    </a:lnTo>
                    <a:lnTo>
                      <a:pt x="36" y="17"/>
                    </a:lnTo>
                    <a:lnTo>
                      <a:pt x="41" y="17"/>
                    </a:lnTo>
                    <a:lnTo>
                      <a:pt x="44" y="17"/>
                    </a:lnTo>
                    <a:lnTo>
                      <a:pt x="47" y="17"/>
                    </a:lnTo>
                    <a:lnTo>
                      <a:pt x="47" y="19"/>
                    </a:lnTo>
                    <a:lnTo>
                      <a:pt x="47" y="22"/>
                    </a:lnTo>
                    <a:lnTo>
                      <a:pt x="44" y="22"/>
                    </a:lnTo>
                    <a:lnTo>
                      <a:pt x="41" y="22"/>
                    </a:lnTo>
                    <a:lnTo>
                      <a:pt x="39" y="22"/>
                    </a:lnTo>
                    <a:lnTo>
                      <a:pt x="36" y="25"/>
                    </a:lnTo>
                    <a:lnTo>
                      <a:pt x="33" y="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9" name="Freeform 1220"/>
              <p:cNvSpPr>
                <a:spLocks noChangeAspect="1"/>
              </p:cNvSpPr>
              <p:nvPr>
                <p:custDataLst>
                  <p:tags r:id="rId337"/>
                </p:custDataLst>
              </p:nvPr>
            </p:nvSpPr>
            <p:spPr bwMode="gray">
              <a:xfrm>
                <a:off x="1725113" y="2478162"/>
                <a:ext cx="62256" cy="37842"/>
              </a:xfrm>
              <a:custGeom>
                <a:avLst/>
                <a:gdLst>
                  <a:gd name="T0" fmla="*/ 63285338 w 47"/>
                  <a:gd name="T1" fmla="*/ 51843221 h 28"/>
                  <a:gd name="T2" fmla="*/ 63285338 w 47"/>
                  <a:gd name="T3" fmla="*/ 46288787 h 28"/>
                  <a:gd name="T4" fmla="*/ 57532756 w 47"/>
                  <a:gd name="T5" fmla="*/ 46288787 h 28"/>
                  <a:gd name="T6" fmla="*/ 47944198 w 47"/>
                  <a:gd name="T7" fmla="*/ 40734342 h 28"/>
                  <a:gd name="T8" fmla="*/ 30683674 w 47"/>
                  <a:gd name="T9" fmla="*/ 31476045 h 28"/>
                  <a:gd name="T10" fmla="*/ 26849082 w 47"/>
                  <a:gd name="T11" fmla="*/ 25921611 h 28"/>
                  <a:gd name="T12" fmla="*/ 21095111 w 47"/>
                  <a:gd name="T13" fmla="*/ 25921611 h 28"/>
                  <a:gd name="T14" fmla="*/ 15342530 w 47"/>
                  <a:gd name="T15" fmla="*/ 31476045 h 28"/>
                  <a:gd name="T16" fmla="*/ 9588561 w 47"/>
                  <a:gd name="T17" fmla="*/ 31476045 h 28"/>
                  <a:gd name="T18" fmla="*/ 3835979 w 47"/>
                  <a:gd name="T19" fmla="*/ 31476045 h 28"/>
                  <a:gd name="T20" fmla="*/ 3835979 w 47"/>
                  <a:gd name="T21" fmla="*/ 25921611 h 28"/>
                  <a:gd name="T22" fmla="*/ 0 w 47"/>
                  <a:gd name="T23" fmla="*/ 20367171 h 28"/>
                  <a:gd name="T24" fmla="*/ 0 w 47"/>
                  <a:gd name="T25" fmla="*/ 20367171 h 28"/>
                  <a:gd name="T26" fmla="*/ 0 w 47"/>
                  <a:gd name="T27" fmla="*/ 5554436 h 28"/>
                  <a:gd name="T28" fmla="*/ 0 w 47"/>
                  <a:gd name="T29" fmla="*/ 0 h 28"/>
                  <a:gd name="T30" fmla="*/ 3835979 w 47"/>
                  <a:gd name="T31" fmla="*/ 5554436 h 28"/>
                  <a:gd name="T32" fmla="*/ 21095111 w 47"/>
                  <a:gd name="T33" fmla="*/ 9258300 h 28"/>
                  <a:gd name="T34" fmla="*/ 26849082 w 47"/>
                  <a:gd name="T35" fmla="*/ 14812737 h 28"/>
                  <a:gd name="T36" fmla="*/ 30683674 w 47"/>
                  <a:gd name="T37" fmla="*/ 14812737 h 28"/>
                  <a:gd name="T38" fmla="*/ 30683674 w 47"/>
                  <a:gd name="T39" fmla="*/ 9258300 h 28"/>
                  <a:gd name="T40" fmla="*/ 36437640 w 47"/>
                  <a:gd name="T41" fmla="*/ 9258300 h 28"/>
                  <a:gd name="T42" fmla="*/ 36437640 w 47"/>
                  <a:gd name="T43" fmla="*/ 5554436 h 28"/>
                  <a:gd name="T44" fmla="*/ 42190221 w 47"/>
                  <a:gd name="T45" fmla="*/ 5554436 h 28"/>
                  <a:gd name="T46" fmla="*/ 47944198 w 47"/>
                  <a:gd name="T47" fmla="*/ 9258300 h 28"/>
                  <a:gd name="T48" fmla="*/ 47944198 w 47"/>
                  <a:gd name="T49" fmla="*/ 9258300 h 28"/>
                  <a:gd name="T50" fmla="*/ 51778791 w 47"/>
                  <a:gd name="T51" fmla="*/ 9258300 h 28"/>
                  <a:gd name="T52" fmla="*/ 51778791 w 47"/>
                  <a:gd name="T53" fmla="*/ 14812737 h 28"/>
                  <a:gd name="T54" fmla="*/ 51778791 w 47"/>
                  <a:gd name="T55" fmla="*/ 20367171 h 28"/>
                  <a:gd name="T56" fmla="*/ 69039303 w 47"/>
                  <a:gd name="T57" fmla="*/ 25921611 h 28"/>
                  <a:gd name="T58" fmla="*/ 69039303 w 47"/>
                  <a:gd name="T59" fmla="*/ 31476045 h 28"/>
                  <a:gd name="T60" fmla="*/ 78627862 w 47"/>
                  <a:gd name="T61" fmla="*/ 31476045 h 28"/>
                  <a:gd name="T62" fmla="*/ 78627862 w 47"/>
                  <a:gd name="T63" fmla="*/ 31476045 h 28"/>
                  <a:gd name="T64" fmla="*/ 84381828 w 47"/>
                  <a:gd name="T65" fmla="*/ 31476045 h 28"/>
                  <a:gd name="T66" fmla="*/ 90134409 w 47"/>
                  <a:gd name="T67" fmla="*/ 31476045 h 28"/>
                  <a:gd name="T68" fmla="*/ 90134409 w 47"/>
                  <a:gd name="T69" fmla="*/ 31476045 h 28"/>
                  <a:gd name="T70" fmla="*/ 90134409 w 47"/>
                  <a:gd name="T71" fmla="*/ 35179908 h 28"/>
                  <a:gd name="T72" fmla="*/ 90134409 w 47"/>
                  <a:gd name="T73" fmla="*/ 35179908 h 28"/>
                  <a:gd name="T74" fmla="*/ 90134409 w 47"/>
                  <a:gd name="T75" fmla="*/ 40734342 h 28"/>
                  <a:gd name="T76" fmla="*/ 84381828 w 47"/>
                  <a:gd name="T77" fmla="*/ 40734342 h 28"/>
                  <a:gd name="T78" fmla="*/ 78627862 w 47"/>
                  <a:gd name="T79" fmla="*/ 40734342 h 28"/>
                  <a:gd name="T80" fmla="*/ 74791885 w 47"/>
                  <a:gd name="T81" fmla="*/ 40734342 h 28"/>
                  <a:gd name="T82" fmla="*/ 69039303 w 47"/>
                  <a:gd name="T83" fmla="*/ 46288787 h 28"/>
                  <a:gd name="T84" fmla="*/ 63285338 w 47"/>
                  <a:gd name="T85" fmla="*/ 51843221 h 2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7"/>
                  <a:gd name="T130" fmla="*/ 0 h 28"/>
                  <a:gd name="T131" fmla="*/ 47 w 47"/>
                  <a:gd name="T132" fmla="*/ 28 h 2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7" h="28">
                    <a:moveTo>
                      <a:pt x="33" y="28"/>
                    </a:moveTo>
                    <a:lnTo>
                      <a:pt x="33" y="25"/>
                    </a:lnTo>
                    <a:lnTo>
                      <a:pt x="30" y="25"/>
                    </a:lnTo>
                    <a:lnTo>
                      <a:pt x="25" y="22"/>
                    </a:lnTo>
                    <a:lnTo>
                      <a:pt x="16" y="17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5" y="17"/>
                    </a:lnTo>
                    <a:lnTo>
                      <a:pt x="2" y="17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25" y="5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7" y="11"/>
                    </a:lnTo>
                    <a:lnTo>
                      <a:pt x="36" y="14"/>
                    </a:lnTo>
                    <a:lnTo>
                      <a:pt x="36" y="17"/>
                    </a:lnTo>
                    <a:lnTo>
                      <a:pt x="41" y="17"/>
                    </a:lnTo>
                    <a:lnTo>
                      <a:pt x="44" y="17"/>
                    </a:lnTo>
                    <a:lnTo>
                      <a:pt x="47" y="17"/>
                    </a:lnTo>
                    <a:lnTo>
                      <a:pt x="47" y="19"/>
                    </a:lnTo>
                    <a:lnTo>
                      <a:pt x="47" y="22"/>
                    </a:lnTo>
                    <a:lnTo>
                      <a:pt x="44" y="22"/>
                    </a:lnTo>
                    <a:lnTo>
                      <a:pt x="41" y="22"/>
                    </a:lnTo>
                    <a:lnTo>
                      <a:pt x="39" y="22"/>
                    </a:lnTo>
                    <a:lnTo>
                      <a:pt x="36" y="25"/>
                    </a:lnTo>
                    <a:lnTo>
                      <a:pt x="33" y="2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0" name="Freeform 1221"/>
              <p:cNvSpPr>
                <a:spLocks noChangeAspect="1"/>
              </p:cNvSpPr>
              <p:nvPr>
                <p:custDataLst>
                  <p:tags r:id="rId338"/>
                </p:custDataLst>
              </p:nvPr>
            </p:nvSpPr>
            <p:spPr bwMode="gray">
              <a:xfrm>
                <a:off x="2461564" y="2736748"/>
                <a:ext cx="19741" cy="47302"/>
              </a:xfrm>
              <a:custGeom>
                <a:avLst/>
                <a:gdLst>
                  <a:gd name="T0" fmla="*/ 23904700 w 14"/>
                  <a:gd name="T1" fmla="*/ 9940752 h 37"/>
                  <a:gd name="T2" fmla="*/ 23904700 w 14"/>
                  <a:gd name="T3" fmla="*/ 9940752 h 37"/>
                  <a:gd name="T4" fmla="*/ 23904700 w 14"/>
                  <a:gd name="T5" fmla="*/ 14910485 h 37"/>
                  <a:gd name="T6" fmla="*/ 23904700 w 14"/>
                  <a:gd name="T7" fmla="*/ 23194663 h 37"/>
                  <a:gd name="T8" fmla="*/ 23904700 w 14"/>
                  <a:gd name="T9" fmla="*/ 19881504 h 37"/>
                  <a:gd name="T10" fmla="*/ 30423364 w 14"/>
                  <a:gd name="T11" fmla="*/ 23194663 h 37"/>
                  <a:gd name="T12" fmla="*/ 30423364 w 14"/>
                  <a:gd name="T13" fmla="*/ 23194663 h 37"/>
                  <a:gd name="T14" fmla="*/ 30423364 w 14"/>
                  <a:gd name="T15" fmla="*/ 28165681 h 37"/>
                  <a:gd name="T16" fmla="*/ 30423364 w 14"/>
                  <a:gd name="T17" fmla="*/ 28165681 h 37"/>
                  <a:gd name="T18" fmla="*/ 30423364 w 14"/>
                  <a:gd name="T19" fmla="*/ 38106430 h 37"/>
                  <a:gd name="T20" fmla="*/ 30423364 w 14"/>
                  <a:gd name="T21" fmla="*/ 38106430 h 37"/>
                  <a:gd name="T22" fmla="*/ 30423364 w 14"/>
                  <a:gd name="T23" fmla="*/ 61301093 h 37"/>
                  <a:gd name="T24" fmla="*/ 30423364 w 14"/>
                  <a:gd name="T25" fmla="*/ 61301093 h 37"/>
                  <a:gd name="T26" fmla="*/ 23904700 w 14"/>
                  <a:gd name="T27" fmla="*/ 61301093 h 37"/>
                  <a:gd name="T28" fmla="*/ 23904700 w 14"/>
                  <a:gd name="T29" fmla="*/ 56331362 h 37"/>
                  <a:gd name="T30" fmla="*/ 23904700 w 14"/>
                  <a:gd name="T31" fmla="*/ 56331362 h 37"/>
                  <a:gd name="T32" fmla="*/ 17384568 w 14"/>
                  <a:gd name="T33" fmla="*/ 46390612 h 37"/>
                  <a:gd name="T34" fmla="*/ 17384568 w 14"/>
                  <a:gd name="T35" fmla="*/ 41419584 h 37"/>
                  <a:gd name="T36" fmla="*/ 23904700 w 14"/>
                  <a:gd name="T37" fmla="*/ 33135412 h 37"/>
                  <a:gd name="T38" fmla="*/ 23904700 w 14"/>
                  <a:gd name="T39" fmla="*/ 33135412 h 37"/>
                  <a:gd name="T40" fmla="*/ 23904700 w 14"/>
                  <a:gd name="T41" fmla="*/ 38106430 h 37"/>
                  <a:gd name="T42" fmla="*/ 17384568 w 14"/>
                  <a:gd name="T43" fmla="*/ 38106430 h 37"/>
                  <a:gd name="T44" fmla="*/ 17384568 w 14"/>
                  <a:gd name="T45" fmla="*/ 38106430 h 37"/>
                  <a:gd name="T46" fmla="*/ 17384568 w 14"/>
                  <a:gd name="T47" fmla="*/ 38106430 h 37"/>
                  <a:gd name="T48" fmla="*/ 10865907 w 14"/>
                  <a:gd name="T49" fmla="*/ 33135412 h 37"/>
                  <a:gd name="T50" fmla="*/ 10865907 w 14"/>
                  <a:gd name="T51" fmla="*/ 33135412 h 37"/>
                  <a:gd name="T52" fmla="*/ 6518661 w 14"/>
                  <a:gd name="T53" fmla="*/ 28165681 h 37"/>
                  <a:gd name="T54" fmla="*/ 10865907 w 14"/>
                  <a:gd name="T55" fmla="*/ 28165681 h 37"/>
                  <a:gd name="T56" fmla="*/ 10865907 w 14"/>
                  <a:gd name="T57" fmla="*/ 28165681 h 37"/>
                  <a:gd name="T58" fmla="*/ 10865907 w 14"/>
                  <a:gd name="T59" fmla="*/ 23194663 h 37"/>
                  <a:gd name="T60" fmla="*/ 10865907 w 14"/>
                  <a:gd name="T61" fmla="*/ 23194663 h 37"/>
                  <a:gd name="T62" fmla="*/ 10865907 w 14"/>
                  <a:gd name="T63" fmla="*/ 19881504 h 37"/>
                  <a:gd name="T64" fmla="*/ 10865907 w 14"/>
                  <a:gd name="T65" fmla="*/ 19881504 h 37"/>
                  <a:gd name="T66" fmla="*/ 6518661 w 14"/>
                  <a:gd name="T67" fmla="*/ 14910485 h 37"/>
                  <a:gd name="T68" fmla="*/ 0 w 14"/>
                  <a:gd name="T69" fmla="*/ 9940752 h 37"/>
                  <a:gd name="T70" fmla="*/ 0 w 14"/>
                  <a:gd name="T71" fmla="*/ 9940752 h 37"/>
                  <a:gd name="T72" fmla="*/ 0 w 14"/>
                  <a:gd name="T73" fmla="*/ 4969732 h 37"/>
                  <a:gd name="T74" fmla="*/ 0 w 14"/>
                  <a:gd name="T75" fmla="*/ 4969732 h 37"/>
                  <a:gd name="T76" fmla="*/ 0 w 14"/>
                  <a:gd name="T77" fmla="*/ 0 h 37"/>
                  <a:gd name="T78" fmla="*/ 6518661 w 14"/>
                  <a:gd name="T79" fmla="*/ 0 h 37"/>
                  <a:gd name="T80" fmla="*/ 6518661 w 14"/>
                  <a:gd name="T81" fmla="*/ 0 h 37"/>
                  <a:gd name="T82" fmla="*/ 10865907 w 14"/>
                  <a:gd name="T83" fmla="*/ 4969732 h 37"/>
                  <a:gd name="T84" fmla="*/ 17384568 w 14"/>
                  <a:gd name="T85" fmla="*/ 4969732 h 37"/>
                  <a:gd name="T86" fmla="*/ 17384568 w 14"/>
                  <a:gd name="T87" fmla="*/ 9940752 h 37"/>
                  <a:gd name="T88" fmla="*/ 17384568 w 14"/>
                  <a:gd name="T89" fmla="*/ 9940752 h 37"/>
                  <a:gd name="T90" fmla="*/ 23904700 w 14"/>
                  <a:gd name="T91" fmla="*/ 9940752 h 3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4"/>
                  <a:gd name="T139" fmla="*/ 0 h 37"/>
                  <a:gd name="T140" fmla="*/ 14 w 14"/>
                  <a:gd name="T141" fmla="*/ 37 h 3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4" h="37">
                    <a:moveTo>
                      <a:pt x="11" y="6"/>
                    </a:moveTo>
                    <a:lnTo>
                      <a:pt x="11" y="6"/>
                    </a:lnTo>
                    <a:lnTo>
                      <a:pt x="11" y="9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14" y="23"/>
                    </a:lnTo>
                    <a:lnTo>
                      <a:pt x="14" y="37"/>
                    </a:lnTo>
                    <a:lnTo>
                      <a:pt x="11" y="37"/>
                    </a:lnTo>
                    <a:lnTo>
                      <a:pt x="11" y="34"/>
                    </a:lnTo>
                    <a:lnTo>
                      <a:pt x="8" y="28"/>
                    </a:lnTo>
                    <a:lnTo>
                      <a:pt x="8" y="25"/>
                    </a:lnTo>
                    <a:lnTo>
                      <a:pt x="11" y="20"/>
                    </a:lnTo>
                    <a:lnTo>
                      <a:pt x="11" y="23"/>
                    </a:lnTo>
                    <a:lnTo>
                      <a:pt x="8" y="23"/>
                    </a:lnTo>
                    <a:lnTo>
                      <a:pt x="5" y="20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1" name="Freeform 1222"/>
              <p:cNvSpPr>
                <a:spLocks noChangeAspect="1"/>
              </p:cNvSpPr>
              <p:nvPr>
                <p:custDataLst>
                  <p:tags r:id="rId339"/>
                </p:custDataLst>
              </p:nvPr>
            </p:nvSpPr>
            <p:spPr bwMode="gray">
              <a:xfrm>
                <a:off x="2481305" y="2713095"/>
                <a:ext cx="16702" cy="40995"/>
              </a:xfrm>
              <a:custGeom>
                <a:avLst/>
                <a:gdLst>
                  <a:gd name="T0" fmla="*/ 4667343 w 14"/>
                  <a:gd name="T1" fmla="*/ 26594856 h 33"/>
                  <a:gd name="T2" fmla="*/ 0 w 14"/>
                  <a:gd name="T3" fmla="*/ 26594856 h 33"/>
                  <a:gd name="T4" fmla="*/ 0 w 14"/>
                  <a:gd name="T5" fmla="*/ 4692841 h 33"/>
                  <a:gd name="T6" fmla="*/ 0 w 14"/>
                  <a:gd name="T7" fmla="*/ 0 h 33"/>
                  <a:gd name="T8" fmla="*/ 0 w 14"/>
                  <a:gd name="T9" fmla="*/ 0 h 33"/>
                  <a:gd name="T10" fmla="*/ 12445418 w 14"/>
                  <a:gd name="T11" fmla="*/ 0 h 33"/>
                  <a:gd name="T12" fmla="*/ 17112760 w 14"/>
                  <a:gd name="T13" fmla="*/ 12515079 h 33"/>
                  <a:gd name="T14" fmla="*/ 21780107 w 14"/>
                  <a:gd name="T15" fmla="*/ 21902016 h 33"/>
                  <a:gd name="T16" fmla="*/ 21780107 w 14"/>
                  <a:gd name="T17" fmla="*/ 21902016 h 33"/>
                  <a:gd name="T18" fmla="*/ 21780107 w 14"/>
                  <a:gd name="T19" fmla="*/ 26594856 h 33"/>
                  <a:gd name="T20" fmla="*/ 12445418 w 14"/>
                  <a:gd name="T21" fmla="*/ 4692841 h 33"/>
                  <a:gd name="T22" fmla="*/ 12445418 w 14"/>
                  <a:gd name="T23" fmla="*/ 4692841 h 33"/>
                  <a:gd name="T24" fmla="*/ 7778074 w 14"/>
                  <a:gd name="T25" fmla="*/ 7822237 h 33"/>
                  <a:gd name="T26" fmla="*/ 7778074 w 14"/>
                  <a:gd name="T27" fmla="*/ 7822237 h 33"/>
                  <a:gd name="T28" fmla="*/ 12445418 w 14"/>
                  <a:gd name="T29" fmla="*/ 17207920 h 33"/>
                  <a:gd name="T30" fmla="*/ 12445418 w 14"/>
                  <a:gd name="T31" fmla="*/ 21902016 h 33"/>
                  <a:gd name="T32" fmla="*/ 12445418 w 14"/>
                  <a:gd name="T33" fmla="*/ 21902016 h 33"/>
                  <a:gd name="T34" fmla="*/ 17112760 w 14"/>
                  <a:gd name="T35" fmla="*/ 26594856 h 33"/>
                  <a:gd name="T36" fmla="*/ 21780107 w 14"/>
                  <a:gd name="T37" fmla="*/ 29722999 h 33"/>
                  <a:gd name="T38" fmla="*/ 17112760 w 14"/>
                  <a:gd name="T39" fmla="*/ 29722999 h 33"/>
                  <a:gd name="T40" fmla="*/ 17112760 w 14"/>
                  <a:gd name="T41" fmla="*/ 29722999 h 33"/>
                  <a:gd name="T42" fmla="*/ 17112760 w 14"/>
                  <a:gd name="T43" fmla="*/ 29722999 h 33"/>
                  <a:gd name="T44" fmla="*/ 17112760 w 14"/>
                  <a:gd name="T45" fmla="*/ 34417090 h 33"/>
                  <a:gd name="T46" fmla="*/ 17112760 w 14"/>
                  <a:gd name="T47" fmla="*/ 39109930 h 33"/>
                  <a:gd name="T48" fmla="*/ 17112760 w 14"/>
                  <a:gd name="T49" fmla="*/ 39109930 h 33"/>
                  <a:gd name="T50" fmla="*/ 12445418 w 14"/>
                  <a:gd name="T51" fmla="*/ 34417090 h 33"/>
                  <a:gd name="T52" fmla="*/ 12445418 w 14"/>
                  <a:gd name="T53" fmla="*/ 43802780 h 33"/>
                  <a:gd name="T54" fmla="*/ 12445418 w 14"/>
                  <a:gd name="T55" fmla="*/ 43802780 h 33"/>
                  <a:gd name="T56" fmla="*/ 12445418 w 14"/>
                  <a:gd name="T57" fmla="*/ 39109930 h 33"/>
                  <a:gd name="T58" fmla="*/ 7778074 w 14"/>
                  <a:gd name="T59" fmla="*/ 48495621 h 33"/>
                  <a:gd name="T60" fmla="*/ 4667343 w 14"/>
                  <a:gd name="T61" fmla="*/ 51625015 h 33"/>
                  <a:gd name="T62" fmla="*/ 4667343 w 14"/>
                  <a:gd name="T63" fmla="*/ 48495621 h 33"/>
                  <a:gd name="T64" fmla="*/ 0 w 14"/>
                  <a:gd name="T65" fmla="*/ 48495621 h 33"/>
                  <a:gd name="T66" fmla="*/ 4667343 w 14"/>
                  <a:gd name="T67" fmla="*/ 39109930 h 33"/>
                  <a:gd name="T68" fmla="*/ 4667343 w 14"/>
                  <a:gd name="T69" fmla="*/ 34417090 h 33"/>
                  <a:gd name="T70" fmla="*/ 7778074 w 14"/>
                  <a:gd name="T71" fmla="*/ 34417090 h 33"/>
                  <a:gd name="T72" fmla="*/ 7778074 w 14"/>
                  <a:gd name="T73" fmla="*/ 34417090 h 33"/>
                  <a:gd name="T74" fmla="*/ 4667343 w 14"/>
                  <a:gd name="T75" fmla="*/ 34417090 h 33"/>
                  <a:gd name="T76" fmla="*/ 4667343 w 14"/>
                  <a:gd name="T77" fmla="*/ 29722999 h 33"/>
                  <a:gd name="T78" fmla="*/ 7778074 w 14"/>
                  <a:gd name="T79" fmla="*/ 29722999 h 33"/>
                  <a:gd name="T80" fmla="*/ 7778074 w 14"/>
                  <a:gd name="T81" fmla="*/ 26594856 h 33"/>
                  <a:gd name="T82" fmla="*/ 7778074 w 14"/>
                  <a:gd name="T83" fmla="*/ 26594856 h 33"/>
                  <a:gd name="T84" fmla="*/ 4667343 w 14"/>
                  <a:gd name="T85" fmla="*/ 29722999 h 33"/>
                  <a:gd name="T86" fmla="*/ 4667343 w 14"/>
                  <a:gd name="T87" fmla="*/ 26594856 h 3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4"/>
                  <a:gd name="T133" fmla="*/ 0 h 33"/>
                  <a:gd name="T134" fmla="*/ 14 w 14"/>
                  <a:gd name="T135" fmla="*/ 33 h 3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4" h="33">
                    <a:moveTo>
                      <a:pt x="3" y="17"/>
                    </a:moveTo>
                    <a:lnTo>
                      <a:pt x="0" y="17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1" y="8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11" y="17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11" y="22"/>
                    </a:lnTo>
                    <a:lnTo>
                      <a:pt x="11" y="25"/>
                    </a:lnTo>
                    <a:lnTo>
                      <a:pt x="8" y="22"/>
                    </a:lnTo>
                    <a:lnTo>
                      <a:pt x="8" y="28"/>
                    </a:lnTo>
                    <a:lnTo>
                      <a:pt x="8" y="25"/>
                    </a:lnTo>
                    <a:lnTo>
                      <a:pt x="5" y="31"/>
                    </a:lnTo>
                    <a:lnTo>
                      <a:pt x="3" y="33"/>
                    </a:lnTo>
                    <a:lnTo>
                      <a:pt x="3" y="31"/>
                    </a:lnTo>
                    <a:lnTo>
                      <a:pt x="0" y="31"/>
                    </a:lnTo>
                    <a:lnTo>
                      <a:pt x="3" y="25"/>
                    </a:lnTo>
                    <a:lnTo>
                      <a:pt x="3" y="22"/>
                    </a:lnTo>
                    <a:lnTo>
                      <a:pt x="5" y="22"/>
                    </a:lnTo>
                    <a:lnTo>
                      <a:pt x="3" y="22"/>
                    </a:lnTo>
                    <a:lnTo>
                      <a:pt x="3" y="19"/>
                    </a:lnTo>
                    <a:lnTo>
                      <a:pt x="5" y="19"/>
                    </a:lnTo>
                    <a:lnTo>
                      <a:pt x="5" y="17"/>
                    </a:lnTo>
                    <a:lnTo>
                      <a:pt x="3" y="19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2" name="Freeform 1223"/>
              <p:cNvSpPr>
                <a:spLocks noChangeAspect="1"/>
              </p:cNvSpPr>
              <p:nvPr>
                <p:custDataLst>
                  <p:tags r:id="rId340"/>
                </p:custDataLst>
              </p:nvPr>
            </p:nvSpPr>
            <p:spPr bwMode="gray">
              <a:xfrm>
                <a:off x="2487378" y="2758821"/>
                <a:ext cx="10628" cy="28381"/>
              </a:xfrm>
              <a:custGeom>
                <a:avLst/>
                <a:gdLst>
                  <a:gd name="T0" fmla="*/ 4573205 w 9"/>
                  <a:gd name="T1" fmla="*/ 13496492 h 22"/>
                  <a:gd name="T2" fmla="*/ 4573205 w 9"/>
                  <a:gd name="T3" fmla="*/ 13496492 h 22"/>
                  <a:gd name="T4" fmla="*/ 0 w 9"/>
                  <a:gd name="T5" fmla="*/ 13496492 h 22"/>
                  <a:gd name="T6" fmla="*/ 0 w 9"/>
                  <a:gd name="T7" fmla="*/ 10122043 h 22"/>
                  <a:gd name="T8" fmla="*/ 0 w 9"/>
                  <a:gd name="T9" fmla="*/ 10122043 h 22"/>
                  <a:gd name="T10" fmla="*/ 0 w 9"/>
                  <a:gd name="T11" fmla="*/ 5061671 h 22"/>
                  <a:gd name="T12" fmla="*/ 0 w 9"/>
                  <a:gd name="T13" fmla="*/ 5061671 h 22"/>
                  <a:gd name="T14" fmla="*/ 4573205 w 9"/>
                  <a:gd name="T15" fmla="*/ 0 h 22"/>
                  <a:gd name="T16" fmla="*/ 4573205 w 9"/>
                  <a:gd name="T17" fmla="*/ 0 h 22"/>
                  <a:gd name="T18" fmla="*/ 9146409 w 9"/>
                  <a:gd name="T19" fmla="*/ 10122043 h 22"/>
                  <a:gd name="T20" fmla="*/ 13719615 w 9"/>
                  <a:gd name="T21" fmla="*/ 5061671 h 22"/>
                  <a:gd name="T22" fmla="*/ 13719615 w 9"/>
                  <a:gd name="T23" fmla="*/ 13496492 h 22"/>
                  <a:gd name="T24" fmla="*/ 9146409 w 9"/>
                  <a:gd name="T25" fmla="*/ 13496492 h 22"/>
                  <a:gd name="T26" fmla="*/ 9146409 w 9"/>
                  <a:gd name="T27" fmla="*/ 37115026 h 22"/>
                  <a:gd name="T28" fmla="*/ 9146409 w 9"/>
                  <a:gd name="T29" fmla="*/ 33740579 h 22"/>
                  <a:gd name="T30" fmla="*/ 4573205 w 9"/>
                  <a:gd name="T31" fmla="*/ 28680208 h 22"/>
                  <a:gd name="T32" fmla="*/ 4573205 w 9"/>
                  <a:gd name="T33" fmla="*/ 33740579 h 22"/>
                  <a:gd name="T34" fmla="*/ 4573205 w 9"/>
                  <a:gd name="T35" fmla="*/ 33740579 h 22"/>
                  <a:gd name="T36" fmla="*/ 4573205 w 9"/>
                  <a:gd name="T37" fmla="*/ 23618538 h 22"/>
                  <a:gd name="T38" fmla="*/ 4573205 w 9"/>
                  <a:gd name="T39" fmla="*/ 23618538 h 22"/>
                  <a:gd name="T40" fmla="*/ 9146409 w 9"/>
                  <a:gd name="T41" fmla="*/ 18558162 h 22"/>
                  <a:gd name="T42" fmla="*/ 9146409 w 9"/>
                  <a:gd name="T43" fmla="*/ 18558162 h 22"/>
                  <a:gd name="T44" fmla="*/ 4573205 w 9"/>
                  <a:gd name="T45" fmla="*/ 18558162 h 22"/>
                  <a:gd name="T46" fmla="*/ 4573205 w 9"/>
                  <a:gd name="T47" fmla="*/ 18558162 h 22"/>
                  <a:gd name="T48" fmla="*/ 4573205 w 9"/>
                  <a:gd name="T49" fmla="*/ 13496492 h 22"/>
                  <a:gd name="T50" fmla="*/ 4573205 w 9"/>
                  <a:gd name="T51" fmla="*/ 13496492 h 2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9"/>
                  <a:gd name="T79" fmla="*/ 0 h 22"/>
                  <a:gd name="T80" fmla="*/ 9 w 9"/>
                  <a:gd name="T81" fmla="*/ 22 h 2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9" h="22">
                    <a:moveTo>
                      <a:pt x="3" y="8"/>
                    </a:move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3" y="20"/>
                    </a:lnTo>
                    <a:lnTo>
                      <a:pt x="3" y="14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3" name="Freeform 1224"/>
              <p:cNvSpPr>
                <a:spLocks noChangeAspect="1"/>
              </p:cNvSpPr>
              <p:nvPr>
                <p:custDataLst>
                  <p:tags r:id="rId341"/>
                </p:custDataLst>
              </p:nvPr>
            </p:nvSpPr>
            <p:spPr bwMode="gray">
              <a:xfrm>
                <a:off x="2487378" y="2758821"/>
                <a:ext cx="10628" cy="28381"/>
              </a:xfrm>
              <a:custGeom>
                <a:avLst/>
                <a:gdLst>
                  <a:gd name="T0" fmla="*/ 4573205 w 9"/>
                  <a:gd name="T1" fmla="*/ 13496492 h 22"/>
                  <a:gd name="T2" fmla="*/ 4573205 w 9"/>
                  <a:gd name="T3" fmla="*/ 13496492 h 22"/>
                  <a:gd name="T4" fmla="*/ 0 w 9"/>
                  <a:gd name="T5" fmla="*/ 13496492 h 22"/>
                  <a:gd name="T6" fmla="*/ 0 w 9"/>
                  <a:gd name="T7" fmla="*/ 10122043 h 22"/>
                  <a:gd name="T8" fmla="*/ 0 w 9"/>
                  <a:gd name="T9" fmla="*/ 10122043 h 22"/>
                  <a:gd name="T10" fmla="*/ 0 w 9"/>
                  <a:gd name="T11" fmla="*/ 5061671 h 22"/>
                  <a:gd name="T12" fmla="*/ 0 w 9"/>
                  <a:gd name="T13" fmla="*/ 5061671 h 22"/>
                  <a:gd name="T14" fmla="*/ 4573205 w 9"/>
                  <a:gd name="T15" fmla="*/ 0 h 22"/>
                  <a:gd name="T16" fmla="*/ 4573205 w 9"/>
                  <a:gd name="T17" fmla="*/ 0 h 22"/>
                  <a:gd name="T18" fmla="*/ 9146409 w 9"/>
                  <a:gd name="T19" fmla="*/ 10122043 h 22"/>
                  <a:gd name="T20" fmla="*/ 13719615 w 9"/>
                  <a:gd name="T21" fmla="*/ 5061671 h 22"/>
                  <a:gd name="T22" fmla="*/ 13719615 w 9"/>
                  <a:gd name="T23" fmla="*/ 13496492 h 22"/>
                  <a:gd name="T24" fmla="*/ 9146409 w 9"/>
                  <a:gd name="T25" fmla="*/ 13496492 h 22"/>
                  <a:gd name="T26" fmla="*/ 9146409 w 9"/>
                  <a:gd name="T27" fmla="*/ 37115026 h 22"/>
                  <a:gd name="T28" fmla="*/ 9146409 w 9"/>
                  <a:gd name="T29" fmla="*/ 33740579 h 22"/>
                  <a:gd name="T30" fmla="*/ 4573205 w 9"/>
                  <a:gd name="T31" fmla="*/ 28680208 h 22"/>
                  <a:gd name="T32" fmla="*/ 4573205 w 9"/>
                  <a:gd name="T33" fmla="*/ 33740579 h 22"/>
                  <a:gd name="T34" fmla="*/ 4573205 w 9"/>
                  <a:gd name="T35" fmla="*/ 33740579 h 22"/>
                  <a:gd name="T36" fmla="*/ 4573205 w 9"/>
                  <a:gd name="T37" fmla="*/ 23618538 h 22"/>
                  <a:gd name="T38" fmla="*/ 4573205 w 9"/>
                  <a:gd name="T39" fmla="*/ 23618538 h 22"/>
                  <a:gd name="T40" fmla="*/ 9146409 w 9"/>
                  <a:gd name="T41" fmla="*/ 18558162 h 22"/>
                  <a:gd name="T42" fmla="*/ 9146409 w 9"/>
                  <a:gd name="T43" fmla="*/ 18558162 h 22"/>
                  <a:gd name="T44" fmla="*/ 4573205 w 9"/>
                  <a:gd name="T45" fmla="*/ 18558162 h 22"/>
                  <a:gd name="T46" fmla="*/ 4573205 w 9"/>
                  <a:gd name="T47" fmla="*/ 18558162 h 22"/>
                  <a:gd name="T48" fmla="*/ 4573205 w 9"/>
                  <a:gd name="T49" fmla="*/ 13496492 h 22"/>
                  <a:gd name="T50" fmla="*/ 4573205 w 9"/>
                  <a:gd name="T51" fmla="*/ 13496492 h 2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9"/>
                  <a:gd name="T79" fmla="*/ 0 h 22"/>
                  <a:gd name="T80" fmla="*/ 9 w 9"/>
                  <a:gd name="T81" fmla="*/ 22 h 2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9" h="22">
                    <a:moveTo>
                      <a:pt x="3" y="8"/>
                    </a:move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9" y="8"/>
                    </a:lnTo>
                    <a:lnTo>
                      <a:pt x="6" y="8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3" y="20"/>
                    </a:lnTo>
                    <a:lnTo>
                      <a:pt x="3" y="14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3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4" name="Freeform 1225"/>
              <p:cNvSpPr>
                <a:spLocks noChangeAspect="1"/>
              </p:cNvSpPr>
              <p:nvPr>
                <p:custDataLst>
                  <p:tags r:id="rId342"/>
                </p:custDataLst>
              </p:nvPr>
            </p:nvSpPr>
            <p:spPr bwMode="gray">
              <a:xfrm>
                <a:off x="2493453" y="2752515"/>
                <a:ext cx="22777" cy="23651"/>
              </a:xfrm>
              <a:custGeom>
                <a:avLst/>
                <a:gdLst>
                  <a:gd name="T0" fmla="*/ 5885766 w 17"/>
                  <a:gd name="T1" fmla="*/ 7852946 h 19"/>
                  <a:gd name="T2" fmla="*/ 5885766 w 17"/>
                  <a:gd name="T3" fmla="*/ 7852946 h 19"/>
                  <a:gd name="T4" fmla="*/ 0 w 17"/>
                  <a:gd name="T5" fmla="*/ 3141931 h 19"/>
                  <a:gd name="T6" fmla="*/ 0 w 17"/>
                  <a:gd name="T7" fmla="*/ 3141931 h 19"/>
                  <a:gd name="T8" fmla="*/ 0 w 17"/>
                  <a:gd name="T9" fmla="*/ 0 h 19"/>
                  <a:gd name="T10" fmla="*/ 5885766 w 17"/>
                  <a:gd name="T11" fmla="*/ 0 h 19"/>
                  <a:gd name="T12" fmla="*/ 15696309 w 17"/>
                  <a:gd name="T13" fmla="*/ 3141931 h 19"/>
                  <a:gd name="T14" fmla="*/ 21582072 w 17"/>
                  <a:gd name="T15" fmla="*/ 3141931 h 19"/>
                  <a:gd name="T16" fmla="*/ 27467841 w 17"/>
                  <a:gd name="T17" fmla="*/ 3141931 h 19"/>
                  <a:gd name="T18" fmla="*/ 27467841 w 17"/>
                  <a:gd name="T19" fmla="*/ 7852946 h 19"/>
                  <a:gd name="T20" fmla="*/ 33353604 w 17"/>
                  <a:gd name="T21" fmla="*/ 7852946 h 19"/>
                  <a:gd name="T22" fmla="*/ 33353604 w 17"/>
                  <a:gd name="T23" fmla="*/ 20418160 h 19"/>
                  <a:gd name="T24" fmla="*/ 27467841 w 17"/>
                  <a:gd name="T25" fmla="*/ 20418160 h 19"/>
                  <a:gd name="T26" fmla="*/ 21582072 w 17"/>
                  <a:gd name="T27" fmla="*/ 12565216 h 19"/>
                  <a:gd name="T28" fmla="*/ 21582072 w 17"/>
                  <a:gd name="T29" fmla="*/ 12565216 h 19"/>
                  <a:gd name="T30" fmla="*/ 21582072 w 17"/>
                  <a:gd name="T31" fmla="*/ 17277484 h 19"/>
                  <a:gd name="T32" fmla="*/ 27467841 w 17"/>
                  <a:gd name="T33" fmla="*/ 20418160 h 19"/>
                  <a:gd name="T34" fmla="*/ 27467841 w 17"/>
                  <a:gd name="T35" fmla="*/ 25130433 h 19"/>
                  <a:gd name="T36" fmla="*/ 21582072 w 17"/>
                  <a:gd name="T37" fmla="*/ 29842700 h 19"/>
                  <a:gd name="T38" fmla="*/ 21582072 w 17"/>
                  <a:gd name="T39" fmla="*/ 25130433 h 19"/>
                  <a:gd name="T40" fmla="*/ 15696309 w 17"/>
                  <a:gd name="T41" fmla="*/ 29842700 h 19"/>
                  <a:gd name="T42" fmla="*/ 9810542 w 17"/>
                  <a:gd name="T43" fmla="*/ 29842700 h 19"/>
                  <a:gd name="T44" fmla="*/ 9810542 w 17"/>
                  <a:gd name="T45" fmla="*/ 12565216 h 19"/>
                  <a:gd name="T46" fmla="*/ 9810542 w 17"/>
                  <a:gd name="T47" fmla="*/ 7852946 h 19"/>
                  <a:gd name="T48" fmla="*/ 9810542 w 17"/>
                  <a:gd name="T49" fmla="*/ 12565216 h 19"/>
                  <a:gd name="T50" fmla="*/ 5885766 w 17"/>
                  <a:gd name="T51" fmla="*/ 12565216 h 19"/>
                  <a:gd name="T52" fmla="*/ 5885766 w 17"/>
                  <a:gd name="T53" fmla="*/ 7852946 h 19"/>
                  <a:gd name="T54" fmla="*/ 5885766 w 17"/>
                  <a:gd name="T55" fmla="*/ 7852946 h 19"/>
                  <a:gd name="T56" fmla="*/ 5885766 w 17"/>
                  <a:gd name="T57" fmla="*/ 7852946 h 1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"/>
                  <a:gd name="T88" fmla="*/ 0 h 19"/>
                  <a:gd name="T89" fmla="*/ 17 w 17"/>
                  <a:gd name="T90" fmla="*/ 19 h 1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" h="19">
                    <a:moveTo>
                      <a:pt x="3" y="5"/>
                    </a:move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17" y="13"/>
                    </a:lnTo>
                    <a:lnTo>
                      <a:pt x="14" y="13"/>
                    </a:lnTo>
                    <a:lnTo>
                      <a:pt x="11" y="8"/>
                    </a:lnTo>
                    <a:lnTo>
                      <a:pt x="11" y="11"/>
                    </a:lnTo>
                    <a:lnTo>
                      <a:pt x="14" y="13"/>
                    </a:lnTo>
                    <a:lnTo>
                      <a:pt x="14" y="16"/>
                    </a:lnTo>
                    <a:lnTo>
                      <a:pt x="11" y="19"/>
                    </a:lnTo>
                    <a:lnTo>
                      <a:pt x="11" y="16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5" name="Freeform 1226"/>
              <p:cNvSpPr>
                <a:spLocks noChangeAspect="1"/>
              </p:cNvSpPr>
              <p:nvPr>
                <p:custDataLst>
                  <p:tags r:id="rId343"/>
                </p:custDataLst>
              </p:nvPr>
            </p:nvSpPr>
            <p:spPr bwMode="gray">
              <a:xfrm>
                <a:off x="2493453" y="2752515"/>
                <a:ext cx="22777" cy="23651"/>
              </a:xfrm>
              <a:custGeom>
                <a:avLst/>
                <a:gdLst>
                  <a:gd name="T0" fmla="*/ 5885766 w 17"/>
                  <a:gd name="T1" fmla="*/ 7852946 h 19"/>
                  <a:gd name="T2" fmla="*/ 5885766 w 17"/>
                  <a:gd name="T3" fmla="*/ 7852946 h 19"/>
                  <a:gd name="T4" fmla="*/ 0 w 17"/>
                  <a:gd name="T5" fmla="*/ 3141931 h 19"/>
                  <a:gd name="T6" fmla="*/ 0 w 17"/>
                  <a:gd name="T7" fmla="*/ 3141931 h 19"/>
                  <a:gd name="T8" fmla="*/ 0 w 17"/>
                  <a:gd name="T9" fmla="*/ 0 h 19"/>
                  <a:gd name="T10" fmla="*/ 5885766 w 17"/>
                  <a:gd name="T11" fmla="*/ 0 h 19"/>
                  <a:gd name="T12" fmla="*/ 15696309 w 17"/>
                  <a:gd name="T13" fmla="*/ 3141931 h 19"/>
                  <a:gd name="T14" fmla="*/ 21582072 w 17"/>
                  <a:gd name="T15" fmla="*/ 3141931 h 19"/>
                  <a:gd name="T16" fmla="*/ 27467841 w 17"/>
                  <a:gd name="T17" fmla="*/ 3141931 h 19"/>
                  <a:gd name="T18" fmla="*/ 27467841 w 17"/>
                  <a:gd name="T19" fmla="*/ 7852946 h 19"/>
                  <a:gd name="T20" fmla="*/ 33353604 w 17"/>
                  <a:gd name="T21" fmla="*/ 7852946 h 19"/>
                  <a:gd name="T22" fmla="*/ 33353604 w 17"/>
                  <a:gd name="T23" fmla="*/ 20418160 h 19"/>
                  <a:gd name="T24" fmla="*/ 27467841 w 17"/>
                  <a:gd name="T25" fmla="*/ 20418160 h 19"/>
                  <a:gd name="T26" fmla="*/ 21582072 w 17"/>
                  <a:gd name="T27" fmla="*/ 12565216 h 19"/>
                  <a:gd name="T28" fmla="*/ 21582072 w 17"/>
                  <a:gd name="T29" fmla="*/ 12565216 h 19"/>
                  <a:gd name="T30" fmla="*/ 21582072 w 17"/>
                  <a:gd name="T31" fmla="*/ 17277484 h 19"/>
                  <a:gd name="T32" fmla="*/ 27467841 w 17"/>
                  <a:gd name="T33" fmla="*/ 20418160 h 19"/>
                  <a:gd name="T34" fmla="*/ 27467841 w 17"/>
                  <a:gd name="T35" fmla="*/ 25130433 h 19"/>
                  <a:gd name="T36" fmla="*/ 21582072 w 17"/>
                  <a:gd name="T37" fmla="*/ 29842700 h 19"/>
                  <a:gd name="T38" fmla="*/ 21582072 w 17"/>
                  <a:gd name="T39" fmla="*/ 25130433 h 19"/>
                  <a:gd name="T40" fmla="*/ 15696309 w 17"/>
                  <a:gd name="T41" fmla="*/ 29842700 h 19"/>
                  <a:gd name="T42" fmla="*/ 9810542 w 17"/>
                  <a:gd name="T43" fmla="*/ 29842700 h 19"/>
                  <a:gd name="T44" fmla="*/ 9810542 w 17"/>
                  <a:gd name="T45" fmla="*/ 12565216 h 19"/>
                  <a:gd name="T46" fmla="*/ 9810542 w 17"/>
                  <a:gd name="T47" fmla="*/ 7852946 h 19"/>
                  <a:gd name="T48" fmla="*/ 9810542 w 17"/>
                  <a:gd name="T49" fmla="*/ 12565216 h 19"/>
                  <a:gd name="T50" fmla="*/ 5885766 w 17"/>
                  <a:gd name="T51" fmla="*/ 12565216 h 19"/>
                  <a:gd name="T52" fmla="*/ 5885766 w 17"/>
                  <a:gd name="T53" fmla="*/ 7852946 h 19"/>
                  <a:gd name="T54" fmla="*/ 5885766 w 17"/>
                  <a:gd name="T55" fmla="*/ 7852946 h 19"/>
                  <a:gd name="T56" fmla="*/ 5885766 w 17"/>
                  <a:gd name="T57" fmla="*/ 7852946 h 1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"/>
                  <a:gd name="T88" fmla="*/ 0 h 19"/>
                  <a:gd name="T89" fmla="*/ 17 w 17"/>
                  <a:gd name="T90" fmla="*/ 19 h 1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" h="19">
                    <a:moveTo>
                      <a:pt x="3" y="5"/>
                    </a:move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17" y="13"/>
                    </a:lnTo>
                    <a:lnTo>
                      <a:pt x="14" y="13"/>
                    </a:lnTo>
                    <a:lnTo>
                      <a:pt x="11" y="8"/>
                    </a:lnTo>
                    <a:lnTo>
                      <a:pt x="11" y="11"/>
                    </a:lnTo>
                    <a:lnTo>
                      <a:pt x="14" y="13"/>
                    </a:lnTo>
                    <a:lnTo>
                      <a:pt x="14" y="16"/>
                    </a:lnTo>
                    <a:lnTo>
                      <a:pt x="11" y="19"/>
                    </a:lnTo>
                    <a:lnTo>
                      <a:pt x="11" y="16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3" y="8"/>
                    </a:lnTo>
                    <a:lnTo>
                      <a:pt x="3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6" name="Freeform 1227"/>
              <p:cNvSpPr>
                <a:spLocks noChangeAspect="1"/>
              </p:cNvSpPr>
              <p:nvPr>
                <p:custDataLst>
                  <p:tags r:id="rId344"/>
                </p:custDataLst>
              </p:nvPr>
            </p:nvSpPr>
            <p:spPr bwMode="gray">
              <a:xfrm>
                <a:off x="2516228" y="2763552"/>
                <a:ext cx="6074" cy="9460"/>
              </a:xfrm>
              <a:custGeom>
                <a:avLst/>
                <a:gdLst>
                  <a:gd name="T0" fmla="*/ 3225800 w 5"/>
                  <a:gd name="T1" fmla="*/ 0 h 8"/>
                  <a:gd name="T2" fmla="*/ 3225800 w 5"/>
                  <a:gd name="T3" fmla="*/ 0 h 8"/>
                  <a:gd name="T4" fmla="*/ 8064499 w 5"/>
                  <a:gd name="T5" fmla="*/ 7087790 h 8"/>
                  <a:gd name="T6" fmla="*/ 8064499 w 5"/>
                  <a:gd name="T7" fmla="*/ 11340702 h 8"/>
                  <a:gd name="T8" fmla="*/ 3225800 w 5"/>
                  <a:gd name="T9" fmla="*/ 11340702 h 8"/>
                  <a:gd name="T10" fmla="*/ 3225800 w 5"/>
                  <a:gd name="T11" fmla="*/ 11340702 h 8"/>
                  <a:gd name="T12" fmla="*/ 3225800 w 5"/>
                  <a:gd name="T13" fmla="*/ 11340702 h 8"/>
                  <a:gd name="T14" fmla="*/ 3225800 w 5"/>
                  <a:gd name="T15" fmla="*/ 11340702 h 8"/>
                  <a:gd name="T16" fmla="*/ 0 w 5"/>
                  <a:gd name="T17" fmla="*/ 7087790 h 8"/>
                  <a:gd name="T18" fmla="*/ 0 w 5"/>
                  <a:gd name="T19" fmla="*/ 0 h 8"/>
                  <a:gd name="T20" fmla="*/ 3225800 w 5"/>
                  <a:gd name="T21" fmla="*/ 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8"/>
                  <a:gd name="T35" fmla="*/ 5 w 5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8">
                    <a:moveTo>
                      <a:pt x="2" y="0"/>
                    </a:moveTo>
                    <a:lnTo>
                      <a:pt x="2" y="0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7" name="Freeform 1228"/>
              <p:cNvSpPr>
                <a:spLocks noChangeAspect="1"/>
              </p:cNvSpPr>
              <p:nvPr>
                <p:custDataLst>
                  <p:tags r:id="rId345"/>
                </p:custDataLst>
              </p:nvPr>
            </p:nvSpPr>
            <p:spPr bwMode="gray">
              <a:xfrm>
                <a:off x="2516228" y="2763552"/>
                <a:ext cx="6074" cy="9460"/>
              </a:xfrm>
              <a:custGeom>
                <a:avLst/>
                <a:gdLst>
                  <a:gd name="T0" fmla="*/ 3225800 w 5"/>
                  <a:gd name="T1" fmla="*/ 0 h 8"/>
                  <a:gd name="T2" fmla="*/ 3225800 w 5"/>
                  <a:gd name="T3" fmla="*/ 0 h 8"/>
                  <a:gd name="T4" fmla="*/ 8064499 w 5"/>
                  <a:gd name="T5" fmla="*/ 7087790 h 8"/>
                  <a:gd name="T6" fmla="*/ 8064499 w 5"/>
                  <a:gd name="T7" fmla="*/ 11340702 h 8"/>
                  <a:gd name="T8" fmla="*/ 3225800 w 5"/>
                  <a:gd name="T9" fmla="*/ 11340702 h 8"/>
                  <a:gd name="T10" fmla="*/ 3225800 w 5"/>
                  <a:gd name="T11" fmla="*/ 11340702 h 8"/>
                  <a:gd name="T12" fmla="*/ 3225800 w 5"/>
                  <a:gd name="T13" fmla="*/ 11340702 h 8"/>
                  <a:gd name="T14" fmla="*/ 3225800 w 5"/>
                  <a:gd name="T15" fmla="*/ 11340702 h 8"/>
                  <a:gd name="T16" fmla="*/ 0 w 5"/>
                  <a:gd name="T17" fmla="*/ 7087790 h 8"/>
                  <a:gd name="T18" fmla="*/ 0 w 5"/>
                  <a:gd name="T19" fmla="*/ 0 h 8"/>
                  <a:gd name="T20" fmla="*/ 3225800 w 5"/>
                  <a:gd name="T21" fmla="*/ 0 h 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8"/>
                  <a:gd name="T35" fmla="*/ 5 w 5"/>
                  <a:gd name="T36" fmla="*/ 8 h 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8">
                    <a:moveTo>
                      <a:pt x="2" y="0"/>
                    </a:moveTo>
                    <a:lnTo>
                      <a:pt x="2" y="0"/>
                    </a:lnTo>
                    <a:lnTo>
                      <a:pt x="5" y="5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8" name="Freeform 1229"/>
              <p:cNvSpPr>
                <a:spLocks noChangeAspect="1"/>
              </p:cNvSpPr>
              <p:nvPr>
                <p:custDataLst>
                  <p:tags r:id="rId346"/>
                </p:custDataLst>
              </p:nvPr>
            </p:nvSpPr>
            <p:spPr bwMode="gray">
              <a:xfrm>
                <a:off x="2513192" y="2776165"/>
                <a:ext cx="9110" cy="7884"/>
              </a:xfrm>
              <a:custGeom>
                <a:avLst/>
                <a:gdLst>
                  <a:gd name="T0" fmla="*/ 7087790 w 8"/>
                  <a:gd name="T1" fmla="*/ 0 h 6"/>
                  <a:gd name="T2" fmla="*/ 11340702 w 8"/>
                  <a:gd name="T3" fmla="*/ 0 h 6"/>
                  <a:gd name="T4" fmla="*/ 7087790 w 8"/>
                  <a:gd name="T5" fmla="*/ 5250987 h 6"/>
                  <a:gd name="T6" fmla="*/ 7087790 w 8"/>
                  <a:gd name="T7" fmla="*/ 10501973 h 6"/>
                  <a:gd name="T8" fmla="*/ 7087790 w 8"/>
                  <a:gd name="T9" fmla="*/ 5250987 h 6"/>
                  <a:gd name="T10" fmla="*/ 4252912 w 8"/>
                  <a:gd name="T11" fmla="*/ 5250987 h 6"/>
                  <a:gd name="T12" fmla="*/ 0 w 8"/>
                  <a:gd name="T13" fmla="*/ 0 h 6"/>
                  <a:gd name="T14" fmla="*/ 4252912 w 8"/>
                  <a:gd name="T15" fmla="*/ 0 h 6"/>
                  <a:gd name="T16" fmla="*/ 7087790 w 8"/>
                  <a:gd name="T17" fmla="*/ 0 h 6"/>
                  <a:gd name="T18" fmla="*/ 7087790 w 8"/>
                  <a:gd name="T19" fmla="*/ 0 h 6"/>
                  <a:gd name="T20" fmla="*/ 7087790 w 8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6"/>
                  <a:gd name="T35" fmla="*/ 8 w 8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6">
                    <a:moveTo>
                      <a:pt x="5" y="0"/>
                    </a:moveTo>
                    <a:lnTo>
                      <a:pt x="8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9" name="Freeform 1230"/>
              <p:cNvSpPr>
                <a:spLocks noChangeAspect="1"/>
              </p:cNvSpPr>
              <p:nvPr>
                <p:custDataLst>
                  <p:tags r:id="rId347"/>
                </p:custDataLst>
              </p:nvPr>
            </p:nvSpPr>
            <p:spPr bwMode="gray">
              <a:xfrm>
                <a:off x="2513192" y="2776165"/>
                <a:ext cx="9110" cy="7884"/>
              </a:xfrm>
              <a:custGeom>
                <a:avLst/>
                <a:gdLst>
                  <a:gd name="T0" fmla="*/ 7087790 w 8"/>
                  <a:gd name="T1" fmla="*/ 0 h 6"/>
                  <a:gd name="T2" fmla="*/ 11340702 w 8"/>
                  <a:gd name="T3" fmla="*/ 0 h 6"/>
                  <a:gd name="T4" fmla="*/ 7087790 w 8"/>
                  <a:gd name="T5" fmla="*/ 5250987 h 6"/>
                  <a:gd name="T6" fmla="*/ 7087790 w 8"/>
                  <a:gd name="T7" fmla="*/ 10501973 h 6"/>
                  <a:gd name="T8" fmla="*/ 7087790 w 8"/>
                  <a:gd name="T9" fmla="*/ 5250987 h 6"/>
                  <a:gd name="T10" fmla="*/ 4252912 w 8"/>
                  <a:gd name="T11" fmla="*/ 5250987 h 6"/>
                  <a:gd name="T12" fmla="*/ 0 w 8"/>
                  <a:gd name="T13" fmla="*/ 0 h 6"/>
                  <a:gd name="T14" fmla="*/ 4252912 w 8"/>
                  <a:gd name="T15" fmla="*/ 0 h 6"/>
                  <a:gd name="T16" fmla="*/ 7087790 w 8"/>
                  <a:gd name="T17" fmla="*/ 0 h 6"/>
                  <a:gd name="T18" fmla="*/ 7087790 w 8"/>
                  <a:gd name="T19" fmla="*/ 0 h 6"/>
                  <a:gd name="T20" fmla="*/ 7087790 w 8"/>
                  <a:gd name="T21" fmla="*/ 0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"/>
                  <a:gd name="T34" fmla="*/ 0 h 6"/>
                  <a:gd name="T35" fmla="*/ 8 w 8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" h="6">
                    <a:moveTo>
                      <a:pt x="5" y="0"/>
                    </a:moveTo>
                    <a:lnTo>
                      <a:pt x="8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0" name="Freeform 1231"/>
              <p:cNvSpPr>
                <a:spLocks noChangeAspect="1"/>
              </p:cNvSpPr>
              <p:nvPr>
                <p:custDataLst>
                  <p:tags r:id="rId348"/>
                </p:custDataLst>
              </p:nvPr>
            </p:nvSpPr>
            <p:spPr bwMode="gray">
              <a:xfrm>
                <a:off x="2526858" y="2776165"/>
                <a:ext cx="7592" cy="7884"/>
              </a:xfrm>
              <a:custGeom>
                <a:avLst/>
                <a:gdLst>
                  <a:gd name="T0" fmla="*/ 10499327 w 6"/>
                  <a:gd name="T1" fmla="*/ 5250987 h 6"/>
                  <a:gd name="T2" fmla="*/ 10499327 w 6"/>
                  <a:gd name="T3" fmla="*/ 10501973 h 6"/>
                  <a:gd name="T4" fmla="*/ 10499327 w 6"/>
                  <a:gd name="T5" fmla="*/ 10501973 h 6"/>
                  <a:gd name="T6" fmla="*/ 10499327 w 6"/>
                  <a:gd name="T7" fmla="*/ 10501973 h 6"/>
                  <a:gd name="T8" fmla="*/ 10499327 w 6"/>
                  <a:gd name="T9" fmla="*/ 10501973 h 6"/>
                  <a:gd name="T10" fmla="*/ 5250325 w 6"/>
                  <a:gd name="T11" fmla="*/ 10501973 h 6"/>
                  <a:gd name="T12" fmla="*/ 5250325 w 6"/>
                  <a:gd name="T13" fmla="*/ 5250987 h 6"/>
                  <a:gd name="T14" fmla="*/ 0 w 6"/>
                  <a:gd name="T15" fmla="*/ 0 h 6"/>
                  <a:gd name="T16" fmla="*/ 5250325 w 6"/>
                  <a:gd name="T17" fmla="*/ 5250987 h 6"/>
                  <a:gd name="T18" fmla="*/ 10499327 w 6"/>
                  <a:gd name="T19" fmla="*/ 5250987 h 6"/>
                  <a:gd name="T20" fmla="*/ 10499327 w 6"/>
                  <a:gd name="T21" fmla="*/ 5250987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6"/>
                  <a:gd name="T35" fmla="*/ 6 w 6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6">
                    <a:moveTo>
                      <a:pt x="6" y="3"/>
                    </a:move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1" name="Freeform 1232"/>
              <p:cNvSpPr>
                <a:spLocks noChangeAspect="1"/>
              </p:cNvSpPr>
              <p:nvPr>
                <p:custDataLst>
                  <p:tags r:id="rId349"/>
                </p:custDataLst>
              </p:nvPr>
            </p:nvSpPr>
            <p:spPr bwMode="gray">
              <a:xfrm>
                <a:off x="2526858" y="2776165"/>
                <a:ext cx="7592" cy="7884"/>
              </a:xfrm>
              <a:custGeom>
                <a:avLst/>
                <a:gdLst>
                  <a:gd name="T0" fmla="*/ 10499327 w 6"/>
                  <a:gd name="T1" fmla="*/ 5250987 h 6"/>
                  <a:gd name="T2" fmla="*/ 10499327 w 6"/>
                  <a:gd name="T3" fmla="*/ 10501973 h 6"/>
                  <a:gd name="T4" fmla="*/ 10499327 w 6"/>
                  <a:gd name="T5" fmla="*/ 10501973 h 6"/>
                  <a:gd name="T6" fmla="*/ 10499327 w 6"/>
                  <a:gd name="T7" fmla="*/ 10501973 h 6"/>
                  <a:gd name="T8" fmla="*/ 10499327 w 6"/>
                  <a:gd name="T9" fmla="*/ 10501973 h 6"/>
                  <a:gd name="T10" fmla="*/ 5250325 w 6"/>
                  <a:gd name="T11" fmla="*/ 10501973 h 6"/>
                  <a:gd name="T12" fmla="*/ 5250325 w 6"/>
                  <a:gd name="T13" fmla="*/ 5250987 h 6"/>
                  <a:gd name="T14" fmla="*/ 0 w 6"/>
                  <a:gd name="T15" fmla="*/ 0 h 6"/>
                  <a:gd name="T16" fmla="*/ 5250325 w 6"/>
                  <a:gd name="T17" fmla="*/ 5250987 h 6"/>
                  <a:gd name="T18" fmla="*/ 10499327 w 6"/>
                  <a:gd name="T19" fmla="*/ 5250987 h 6"/>
                  <a:gd name="T20" fmla="*/ 10499327 w 6"/>
                  <a:gd name="T21" fmla="*/ 5250987 h 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"/>
                  <a:gd name="T34" fmla="*/ 0 h 6"/>
                  <a:gd name="T35" fmla="*/ 6 w 6"/>
                  <a:gd name="T36" fmla="*/ 6 h 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" h="6">
                    <a:moveTo>
                      <a:pt x="6" y="3"/>
                    </a:moveTo>
                    <a:lnTo>
                      <a:pt x="6" y="6"/>
                    </a:lnTo>
                    <a:lnTo>
                      <a:pt x="3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2" name="Freeform 1233"/>
              <p:cNvSpPr>
                <a:spLocks noChangeAspect="1"/>
              </p:cNvSpPr>
              <p:nvPr>
                <p:custDataLst>
                  <p:tags r:id="rId350"/>
                </p:custDataLst>
              </p:nvPr>
            </p:nvSpPr>
            <p:spPr bwMode="gray">
              <a:xfrm>
                <a:off x="2447899" y="2708366"/>
                <a:ext cx="28850" cy="31534"/>
              </a:xfrm>
              <a:custGeom>
                <a:avLst/>
                <a:gdLst>
                  <a:gd name="T0" fmla="*/ 35713177 w 22"/>
                  <a:gd name="T1" fmla="*/ 9677400 h 25"/>
                  <a:gd name="T2" fmla="*/ 35713177 w 22"/>
                  <a:gd name="T3" fmla="*/ 9677400 h 25"/>
                  <a:gd name="T4" fmla="*/ 35713177 w 22"/>
                  <a:gd name="T5" fmla="*/ 9677400 h 25"/>
                  <a:gd name="T6" fmla="*/ 35713177 w 22"/>
                  <a:gd name="T7" fmla="*/ 17741900 h 25"/>
                  <a:gd name="T8" fmla="*/ 30074256 w 22"/>
                  <a:gd name="T9" fmla="*/ 12903201 h 25"/>
                  <a:gd name="T10" fmla="*/ 35713177 w 22"/>
                  <a:gd name="T11" fmla="*/ 17741900 h 25"/>
                  <a:gd name="T12" fmla="*/ 35713177 w 22"/>
                  <a:gd name="T13" fmla="*/ 22580603 h 25"/>
                  <a:gd name="T14" fmla="*/ 30074256 w 22"/>
                  <a:gd name="T15" fmla="*/ 22580603 h 25"/>
                  <a:gd name="T16" fmla="*/ 20676049 w 22"/>
                  <a:gd name="T17" fmla="*/ 17741900 h 25"/>
                  <a:gd name="T18" fmla="*/ 20676049 w 22"/>
                  <a:gd name="T19" fmla="*/ 17741900 h 25"/>
                  <a:gd name="T20" fmla="*/ 26314976 w 22"/>
                  <a:gd name="T21" fmla="*/ 22580603 h 25"/>
                  <a:gd name="T22" fmla="*/ 30074256 w 22"/>
                  <a:gd name="T23" fmla="*/ 22580603 h 25"/>
                  <a:gd name="T24" fmla="*/ 35713177 w 22"/>
                  <a:gd name="T25" fmla="*/ 22580603 h 25"/>
                  <a:gd name="T26" fmla="*/ 35713177 w 22"/>
                  <a:gd name="T27" fmla="*/ 27419302 h 25"/>
                  <a:gd name="T28" fmla="*/ 41352098 w 22"/>
                  <a:gd name="T29" fmla="*/ 35483799 h 25"/>
                  <a:gd name="T30" fmla="*/ 35713177 w 22"/>
                  <a:gd name="T31" fmla="*/ 35483799 h 25"/>
                  <a:gd name="T32" fmla="*/ 35713177 w 22"/>
                  <a:gd name="T33" fmla="*/ 35483799 h 25"/>
                  <a:gd name="T34" fmla="*/ 20676049 w 22"/>
                  <a:gd name="T35" fmla="*/ 27419302 h 25"/>
                  <a:gd name="T36" fmla="*/ 20676049 w 22"/>
                  <a:gd name="T37" fmla="*/ 22580603 h 25"/>
                  <a:gd name="T38" fmla="*/ 15037128 w 22"/>
                  <a:gd name="T39" fmla="*/ 22580603 h 25"/>
                  <a:gd name="T40" fmla="*/ 15037128 w 22"/>
                  <a:gd name="T41" fmla="*/ 27419302 h 25"/>
                  <a:gd name="T42" fmla="*/ 20676049 w 22"/>
                  <a:gd name="T43" fmla="*/ 32258000 h 25"/>
                  <a:gd name="T44" fmla="*/ 20676049 w 22"/>
                  <a:gd name="T45" fmla="*/ 40322498 h 25"/>
                  <a:gd name="T46" fmla="*/ 15037128 w 22"/>
                  <a:gd name="T47" fmla="*/ 40322498 h 25"/>
                  <a:gd name="T48" fmla="*/ 9398204 w 22"/>
                  <a:gd name="T49" fmla="*/ 40322498 h 25"/>
                  <a:gd name="T50" fmla="*/ 9398204 w 22"/>
                  <a:gd name="T51" fmla="*/ 35483799 h 25"/>
                  <a:gd name="T52" fmla="*/ 9398204 w 22"/>
                  <a:gd name="T53" fmla="*/ 35483799 h 25"/>
                  <a:gd name="T54" fmla="*/ 9398204 w 22"/>
                  <a:gd name="T55" fmla="*/ 35483799 h 25"/>
                  <a:gd name="T56" fmla="*/ 9398204 w 22"/>
                  <a:gd name="T57" fmla="*/ 32258000 h 25"/>
                  <a:gd name="T58" fmla="*/ 3759282 w 22"/>
                  <a:gd name="T59" fmla="*/ 32258000 h 25"/>
                  <a:gd name="T60" fmla="*/ 3759282 w 22"/>
                  <a:gd name="T61" fmla="*/ 27419302 h 25"/>
                  <a:gd name="T62" fmla="*/ 3759282 w 22"/>
                  <a:gd name="T63" fmla="*/ 27419302 h 25"/>
                  <a:gd name="T64" fmla="*/ 3759282 w 22"/>
                  <a:gd name="T65" fmla="*/ 22580603 h 25"/>
                  <a:gd name="T66" fmla="*/ 0 w 22"/>
                  <a:gd name="T67" fmla="*/ 22580603 h 25"/>
                  <a:gd name="T68" fmla="*/ 0 w 22"/>
                  <a:gd name="T69" fmla="*/ 17741900 h 25"/>
                  <a:gd name="T70" fmla="*/ 0 w 22"/>
                  <a:gd name="T71" fmla="*/ 12903201 h 25"/>
                  <a:gd name="T72" fmla="*/ 3759282 w 22"/>
                  <a:gd name="T73" fmla="*/ 17741900 h 25"/>
                  <a:gd name="T74" fmla="*/ 3759282 w 22"/>
                  <a:gd name="T75" fmla="*/ 12903201 h 25"/>
                  <a:gd name="T76" fmla="*/ 0 w 22"/>
                  <a:gd name="T77" fmla="*/ 9677400 h 25"/>
                  <a:gd name="T78" fmla="*/ 0 w 22"/>
                  <a:gd name="T79" fmla="*/ 4838700 h 25"/>
                  <a:gd name="T80" fmla="*/ 0 w 22"/>
                  <a:gd name="T81" fmla="*/ 4838700 h 25"/>
                  <a:gd name="T82" fmla="*/ 0 w 22"/>
                  <a:gd name="T83" fmla="*/ 9677400 h 25"/>
                  <a:gd name="T84" fmla="*/ 3759282 w 22"/>
                  <a:gd name="T85" fmla="*/ 4838700 h 25"/>
                  <a:gd name="T86" fmla="*/ 3759282 w 22"/>
                  <a:gd name="T87" fmla="*/ 4838700 h 25"/>
                  <a:gd name="T88" fmla="*/ 9398204 w 22"/>
                  <a:gd name="T89" fmla="*/ 0 h 25"/>
                  <a:gd name="T90" fmla="*/ 9398204 w 22"/>
                  <a:gd name="T91" fmla="*/ 0 h 25"/>
                  <a:gd name="T92" fmla="*/ 20676049 w 22"/>
                  <a:gd name="T93" fmla="*/ 4838700 h 25"/>
                  <a:gd name="T94" fmla="*/ 20676049 w 22"/>
                  <a:gd name="T95" fmla="*/ 4838700 h 25"/>
                  <a:gd name="T96" fmla="*/ 26314976 w 22"/>
                  <a:gd name="T97" fmla="*/ 9677400 h 25"/>
                  <a:gd name="T98" fmla="*/ 26314976 w 22"/>
                  <a:gd name="T99" fmla="*/ 4838700 h 25"/>
                  <a:gd name="T100" fmla="*/ 30074256 w 22"/>
                  <a:gd name="T101" fmla="*/ 9677400 h 25"/>
                  <a:gd name="T102" fmla="*/ 35713177 w 22"/>
                  <a:gd name="T103" fmla="*/ 9677400 h 2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2"/>
                  <a:gd name="T157" fmla="*/ 0 h 25"/>
                  <a:gd name="T158" fmla="*/ 22 w 22"/>
                  <a:gd name="T159" fmla="*/ 25 h 2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2" h="25">
                    <a:moveTo>
                      <a:pt x="19" y="6"/>
                    </a:moveTo>
                    <a:lnTo>
                      <a:pt x="19" y="6"/>
                    </a:lnTo>
                    <a:lnTo>
                      <a:pt x="19" y="11"/>
                    </a:lnTo>
                    <a:lnTo>
                      <a:pt x="16" y="8"/>
                    </a:lnTo>
                    <a:lnTo>
                      <a:pt x="19" y="11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19" y="17"/>
                    </a:lnTo>
                    <a:lnTo>
                      <a:pt x="22" y="22"/>
                    </a:lnTo>
                    <a:lnTo>
                      <a:pt x="19" y="22"/>
                    </a:lnTo>
                    <a:lnTo>
                      <a:pt x="11" y="17"/>
                    </a:lnTo>
                    <a:lnTo>
                      <a:pt x="11" y="14"/>
                    </a:lnTo>
                    <a:lnTo>
                      <a:pt x="8" y="14"/>
                    </a:lnTo>
                    <a:lnTo>
                      <a:pt x="8" y="17"/>
                    </a:lnTo>
                    <a:lnTo>
                      <a:pt x="11" y="20"/>
                    </a:lnTo>
                    <a:lnTo>
                      <a:pt x="11" y="25"/>
                    </a:lnTo>
                    <a:lnTo>
                      <a:pt x="8" y="25"/>
                    </a:lnTo>
                    <a:lnTo>
                      <a:pt x="5" y="25"/>
                    </a:lnTo>
                    <a:lnTo>
                      <a:pt x="5" y="22"/>
                    </a:lnTo>
                    <a:lnTo>
                      <a:pt x="5" y="20"/>
                    </a:lnTo>
                    <a:lnTo>
                      <a:pt x="2" y="20"/>
                    </a:lnTo>
                    <a:lnTo>
                      <a:pt x="2" y="17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11" y="3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6" y="6"/>
                    </a:lnTo>
                    <a:lnTo>
                      <a:pt x="19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3" name="Freeform 1234"/>
              <p:cNvSpPr>
                <a:spLocks noChangeAspect="1"/>
              </p:cNvSpPr>
              <p:nvPr>
                <p:custDataLst>
                  <p:tags r:id="rId351"/>
                </p:custDataLst>
              </p:nvPr>
            </p:nvSpPr>
            <p:spPr bwMode="gray">
              <a:xfrm>
                <a:off x="2498008" y="2780896"/>
                <a:ext cx="36444" cy="56763"/>
              </a:xfrm>
              <a:custGeom>
                <a:avLst/>
                <a:gdLst>
                  <a:gd name="T0" fmla="*/ 29624113 w 28"/>
                  <a:gd name="T1" fmla="*/ 18558162 h 44"/>
                  <a:gd name="T2" fmla="*/ 40734342 w 28"/>
                  <a:gd name="T3" fmla="*/ 23618538 h 44"/>
                  <a:gd name="T4" fmla="*/ 35179908 w 28"/>
                  <a:gd name="T5" fmla="*/ 28680208 h 44"/>
                  <a:gd name="T6" fmla="*/ 40734342 w 28"/>
                  <a:gd name="T7" fmla="*/ 32053356 h 44"/>
                  <a:gd name="T8" fmla="*/ 46288787 w 28"/>
                  <a:gd name="T9" fmla="*/ 42176696 h 44"/>
                  <a:gd name="T10" fmla="*/ 35179908 w 28"/>
                  <a:gd name="T11" fmla="*/ 37115026 h 44"/>
                  <a:gd name="T12" fmla="*/ 40734342 w 28"/>
                  <a:gd name="T13" fmla="*/ 42176696 h 44"/>
                  <a:gd name="T14" fmla="*/ 46288787 w 28"/>
                  <a:gd name="T15" fmla="*/ 42176696 h 44"/>
                  <a:gd name="T16" fmla="*/ 46288787 w 28"/>
                  <a:gd name="T17" fmla="*/ 47237077 h 44"/>
                  <a:gd name="T18" fmla="*/ 46288787 w 28"/>
                  <a:gd name="T19" fmla="*/ 50611523 h 44"/>
                  <a:gd name="T20" fmla="*/ 51843221 w 28"/>
                  <a:gd name="T21" fmla="*/ 50611523 h 44"/>
                  <a:gd name="T22" fmla="*/ 51843221 w 28"/>
                  <a:gd name="T23" fmla="*/ 55673193 h 44"/>
                  <a:gd name="T24" fmla="*/ 51843221 w 28"/>
                  <a:gd name="T25" fmla="*/ 60733564 h 44"/>
                  <a:gd name="T26" fmla="*/ 51843221 w 28"/>
                  <a:gd name="T27" fmla="*/ 65795234 h 44"/>
                  <a:gd name="T28" fmla="*/ 51843221 w 28"/>
                  <a:gd name="T29" fmla="*/ 74230051 h 44"/>
                  <a:gd name="T30" fmla="*/ 46288787 w 28"/>
                  <a:gd name="T31" fmla="*/ 74230051 h 44"/>
                  <a:gd name="T32" fmla="*/ 40734342 w 28"/>
                  <a:gd name="T33" fmla="*/ 65795234 h 44"/>
                  <a:gd name="T34" fmla="*/ 35179908 w 28"/>
                  <a:gd name="T35" fmla="*/ 55673193 h 44"/>
                  <a:gd name="T36" fmla="*/ 25921611 w 28"/>
                  <a:gd name="T37" fmla="*/ 50611523 h 44"/>
                  <a:gd name="T38" fmla="*/ 25921611 w 28"/>
                  <a:gd name="T39" fmla="*/ 47237077 h 44"/>
                  <a:gd name="T40" fmla="*/ 25921611 w 28"/>
                  <a:gd name="T41" fmla="*/ 42176696 h 44"/>
                  <a:gd name="T42" fmla="*/ 25921611 w 28"/>
                  <a:gd name="T43" fmla="*/ 37115026 h 44"/>
                  <a:gd name="T44" fmla="*/ 25921611 w 28"/>
                  <a:gd name="T45" fmla="*/ 32053356 h 44"/>
                  <a:gd name="T46" fmla="*/ 14812737 w 28"/>
                  <a:gd name="T47" fmla="*/ 32053356 h 44"/>
                  <a:gd name="T48" fmla="*/ 14812737 w 28"/>
                  <a:gd name="T49" fmla="*/ 28680208 h 44"/>
                  <a:gd name="T50" fmla="*/ 14812737 w 28"/>
                  <a:gd name="T51" fmla="*/ 8434820 h 44"/>
                  <a:gd name="T52" fmla="*/ 14812737 w 28"/>
                  <a:gd name="T53" fmla="*/ 13496492 h 44"/>
                  <a:gd name="T54" fmla="*/ 3702504 w 28"/>
                  <a:gd name="T55" fmla="*/ 18558162 h 44"/>
                  <a:gd name="T56" fmla="*/ 3702504 w 28"/>
                  <a:gd name="T57" fmla="*/ 13496492 h 44"/>
                  <a:gd name="T58" fmla="*/ 3702504 w 28"/>
                  <a:gd name="T59" fmla="*/ 5061671 h 44"/>
                  <a:gd name="T60" fmla="*/ 3702504 w 28"/>
                  <a:gd name="T61" fmla="*/ 0 h 44"/>
                  <a:gd name="T62" fmla="*/ 9258300 w 28"/>
                  <a:gd name="T63" fmla="*/ 0 h 44"/>
                  <a:gd name="T64" fmla="*/ 14812737 w 28"/>
                  <a:gd name="T65" fmla="*/ 0 h 44"/>
                  <a:gd name="T66" fmla="*/ 20367171 w 28"/>
                  <a:gd name="T67" fmla="*/ 8434820 h 44"/>
                  <a:gd name="T68" fmla="*/ 20367171 w 28"/>
                  <a:gd name="T69" fmla="*/ 13496492 h 44"/>
                  <a:gd name="T70" fmla="*/ 29624113 w 28"/>
                  <a:gd name="T71" fmla="*/ 13496492 h 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8"/>
                  <a:gd name="T109" fmla="*/ 0 h 44"/>
                  <a:gd name="T110" fmla="*/ 28 w 28"/>
                  <a:gd name="T111" fmla="*/ 44 h 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8" h="44">
                    <a:moveTo>
                      <a:pt x="16" y="8"/>
                    </a:moveTo>
                    <a:lnTo>
                      <a:pt x="16" y="11"/>
                    </a:lnTo>
                    <a:lnTo>
                      <a:pt x="19" y="14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5" y="25"/>
                    </a:lnTo>
                    <a:lnTo>
                      <a:pt x="19" y="19"/>
                    </a:lnTo>
                    <a:lnTo>
                      <a:pt x="19" y="22"/>
                    </a:lnTo>
                    <a:lnTo>
                      <a:pt x="22" y="25"/>
                    </a:lnTo>
                    <a:lnTo>
                      <a:pt x="22" y="28"/>
                    </a:lnTo>
                    <a:lnTo>
                      <a:pt x="25" y="25"/>
                    </a:lnTo>
                    <a:lnTo>
                      <a:pt x="25" y="28"/>
                    </a:lnTo>
                    <a:lnTo>
                      <a:pt x="25" y="30"/>
                    </a:lnTo>
                    <a:lnTo>
                      <a:pt x="28" y="30"/>
                    </a:lnTo>
                    <a:lnTo>
                      <a:pt x="28" y="33"/>
                    </a:lnTo>
                    <a:lnTo>
                      <a:pt x="25" y="36"/>
                    </a:lnTo>
                    <a:lnTo>
                      <a:pt x="28" y="36"/>
                    </a:lnTo>
                    <a:lnTo>
                      <a:pt x="28" y="39"/>
                    </a:lnTo>
                    <a:lnTo>
                      <a:pt x="28" y="44"/>
                    </a:lnTo>
                    <a:lnTo>
                      <a:pt x="28" y="42"/>
                    </a:lnTo>
                    <a:lnTo>
                      <a:pt x="25" y="44"/>
                    </a:lnTo>
                    <a:lnTo>
                      <a:pt x="22" y="36"/>
                    </a:lnTo>
                    <a:lnTo>
                      <a:pt x="22" y="39"/>
                    </a:lnTo>
                    <a:lnTo>
                      <a:pt x="19" y="36"/>
                    </a:lnTo>
                    <a:lnTo>
                      <a:pt x="19" y="33"/>
                    </a:lnTo>
                    <a:lnTo>
                      <a:pt x="19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8" y="28"/>
                    </a:lnTo>
                    <a:lnTo>
                      <a:pt x="14" y="25"/>
                    </a:lnTo>
                    <a:lnTo>
                      <a:pt x="11" y="22"/>
                    </a:lnTo>
                    <a:lnTo>
                      <a:pt x="14" y="22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4" name="Freeform 1235"/>
              <p:cNvSpPr>
                <a:spLocks noChangeAspect="1"/>
              </p:cNvSpPr>
              <p:nvPr>
                <p:custDataLst>
                  <p:tags r:id="rId352"/>
                </p:custDataLst>
              </p:nvPr>
            </p:nvSpPr>
            <p:spPr bwMode="gray">
              <a:xfrm>
                <a:off x="2498008" y="2780896"/>
                <a:ext cx="36444" cy="56763"/>
              </a:xfrm>
              <a:custGeom>
                <a:avLst/>
                <a:gdLst>
                  <a:gd name="T0" fmla="*/ 29624113 w 28"/>
                  <a:gd name="T1" fmla="*/ 18558162 h 44"/>
                  <a:gd name="T2" fmla="*/ 40734342 w 28"/>
                  <a:gd name="T3" fmla="*/ 23618538 h 44"/>
                  <a:gd name="T4" fmla="*/ 35179908 w 28"/>
                  <a:gd name="T5" fmla="*/ 28680208 h 44"/>
                  <a:gd name="T6" fmla="*/ 40734342 w 28"/>
                  <a:gd name="T7" fmla="*/ 32053356 h 44"/>
                  <a:gd name="T8" fmla="*/ 46288787 w 28"/>
                  <a:gd name="T9" fmla="*/ 42176696 h 44"/>
                  <a:gd name="T10" fmla="*/ 35179908 w 28"/>
                  <a:gd name="T11" fmla="*/ 37115026 h 44"/>
                  <a:gd name="T12" fmla="*/ 40734342 w 28"/>
                  <a:gd name="T13" fmla="*/ 42176696 h 44"/>
                  <a:gd name="T14" fmla="*/ 46288787 w 28"/>
                  <a:gd name="T15" fmla="*/ 42176696 h 44"/>
                  <a:gd name="T16" fmla="*/ 46288787 w 28"/>
                  <a:gd name="T17" fmla="*/ 47237077 h 44"/>
                  <a:gd name="T18" fmla="*/ 46288787 w 28"/>
                  <a:gd name="T19" fmla="*/ 50611523 h 44"/>
                  <a:gd name="T20" fmla="*/ 51843221 w 28"/>
                  <a:gd name="T21" fmla="*/ 50611523 h 44"/>
                  <a:gd name="T22" fmla="*/ 51843221 w 28"/>
                  <a:gd name="T23" fmla="*/ 55673193 h 44"/>
                  <a:gd name="T24" fmla="*/ 51843221 w 28"/>
                  <a:gd name="T25" fmla="*/ 60733564 h 44"/>
                  <a:gd name="T26" fmla="*/ 51843221 w 28"/>
                  <a:gd name="T27" fmla="*/ 65795234 h 44"/>
                  <a:gd name="T28" fmla="*/ 51843221 w 28"/>
                  <a:gd name="T29" fmla="*/ 74230051 h 44"/>
                  <a:gd name="T30" fmla="*/ 46288787 w 28"/>
                  <a:gd name="T31" fmla="*/ 74230051 h 44"/>
                  <a:gd name="T32" fmla="*/ 40734342 w 28"/>
                  <a:gd name="T33" fmla="*/ 65795234 h 44"/>
                  <a:gd name="T34" fmla="*/ 35179908 w 28"/>
                  <a:gd name="T35" fmla="*/ 55673193 h 44"/>
                  <a:gd name="T36" fmla="*/ 25921611 w 28"/>
                  <a:gd name="T37" fmla="*/ 50611523 h 44"/>
                  <a:gd name="T38" fmla="*/ 25921611 w 28"/>
                  <a:gd name="T39" fmla="*/ 47237077 h 44"/>
                  <a:gd name="T40" fmla="*/ 25921611 w 28"/>
                  <a:gd name="T41" fmla="*/ 42176696 h 44"/>
                  <a:gd name="T42" fmla="*/ 25921611 w 28"/>
                  <a:gd name="T43" fmla="*/ 37115026 h 44"/>
                  <a:gd name="T44" fmla="*/ 25921611 w 28"/>
                  <a:gd name="T45" fmla="*/ 32053356 h 44"/>
                  <a:gd name="T46" fmla="*/ 14812737 w 28"/>
                  <a:gd name="T47" fmla="*/ 32053356 h 44"/>
                  <a:gd name="T48" fmla="*/ 14812737 w 28"/>
                  <a:gd name="T49" fmla="*/ 28680208 h 44"/>
                  <a:gd name="T50" fmla="*/ 14812737 w 28"/>
                  <a:gd name="T51" fmla="*/ 8434820 h 44"/>
                  <a:gd name="T52" fmla="*/ 14812737 w 28"/>
                  <a:gd name="T53" fmla="*/ 13496492 h 44"/>
                  <a:gd name="T54" fmla="*/ 3702504 w 28"/>
                  <a:gd name="T55" fmla="*/ 18558162 h 44"/>
                  <a:gd name="T56" fmla="*/ 3702504 w 28"/>
                  <a:gd name="T57" fmla="*/ 13496492 h 44"/>
                  <a:gd name="T58" fmla="*/ 3702504 w 28"/>
                  <a:gd name="T59" fmla="*/ 5061671 h 44"/>
                  <a:gd name="T60" fmla="*/ 3702504 w 28"/>
                  <a:gd name="T61" fmla="*/ 0 h 44"/>
                  <a:gd name="T62" fmla="*/ 9258300 w 28"/>
                  <a:gd name="T63" fmla="*/ 0 h 44"/>
                  <a:gd name="T64" fmla="*/ 14812737 w 28"/>
                  <a:gd name="T65" fmla="*/ 0 h 44"/>
                  <a:gd name="T66" fmla="*/ 20367171 w 28"/>
                  <a:gd name="T67" fmla="*/ 8434820 h 44"/>
                  <a:gd name="T68" fmla="*/ 20367171 w 28"/>
                  <a:gd name="T69" fmla="*/ 13496492 h 44"/>
                  <a:gd name="T70" fmla="*/ 29624113 w 28"/>
                  <a:gd name="T71" fmla="*/ 13496492 h 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8"/>
                  <a:gd name="T109" fmla="*/ 0 h 44"/>
                  <a:gd name="T110" fmla="*/ 28 w 28"/>
                  <a:gd name="T111" fmla="*/ 44 h 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8" h="44">
                    <a:moveTo>
                      <a:pt x="16" y="8"/>
                    </a:moveTo>
                    <a:lnTo>
                      <a:pt x="16" y="11"/>
                    </a:lnTo>
                    <a:lnTo>
                      <a:pt x="19" y="14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22" y="19"/>
                    </a:lnTo>
                    <a:lnTo>
                      <a:pt x="25" y="25"/>
                    </a:lnTo>
                    <a:lnTo>
                      <a:pt x="19" y="19"/>
                    </a:lnTo>
                    <a:lnTo>
                      <a:pt x="19" y="22"/>
                    </a:lnTo>
                    <a:lnTo>
                      <a:pt x="22" y="25"/>
                    </a:lnTo>
                    <a:lnTo>
                      <a:pt x="22" y="28"/>
                    </a:lnTo>
                    <a:lnTo>
                      <a:pt x="25" y="25"/>
                    </a:lnTo>
                    <a:lnTo>
                      <a:pt x="25" y="28"/>
                    </a:lnTo>
                    <a:lnTo>
                      <a:pt x="25" y="30"/>
                    </a:lnTo>
                    <a:lnTo>
                      <a:pt x="28" y="30"/>
                    </a:lnTo>
                    <a:lnTo>
                      <a:pt x="28" y="33"/>
                    </a:lnTo>
                    <a:lnTo>
                      <a:pt x="25" y="36"/>
                    </a:lnTo>
                    <a:lnTo>
                      <a:pt x="28" y="36"/>
                    </a:lnTo>
                    <a:lnTo>
                      <a:pt x="28" y="39"/>
                    </a:lnTo>
                    <a:lnTo>
                      <a:pt x="28" y="44"/>
                    </a:lnTo>
                    <a:lnTo>
                      <a:pt x="28" y="42"/>
                    </a:lnTo>
                    <a:lnTo>
                      <a:pt x="25" y="44"/>
                    </a:lnTo>
                    <a:lnTo>
                      <a:pt x="22" y="36"/>
                    </a:lnTo>
                    <a:lnTo>
                      <a:pt x="22" y="39"/>
                    </a:lnTo>
                    <a:lnTo>
                      <a:pt x="19" y="36"/>
                    </a:lnTo>
                    <a:lnTo>
                      <a:pt x="19" y="33"/>
                    </a:lnTo>
                    <a:lnTo>
                      <a:pt x="19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8" y="28"/>
                    </a:lnTo>
                    <a:lnTo>
                      <a:pt x="14" y="25"/>
                    </a:lnTo>
                    <a:lnTo>
                      <a:pt x="11" y="22"/>
                    </a:lnTo>
                    <a:lnTo>
                      <a:pt x="14" y="22"/>
                    </a:lnTo>
                    <a:lnTo>
                      <a:pt x="14" y="19"/>
                    </a:lnTo>
                    <a:lnTo>
                      <a:pt x="11" y="19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1" y="5"/>
                    </a:lnTo>
                    <a:lnTo>
                      <a:pt x="11" y="8"/>
                    </a:lnTo>
                    <a:lnTo>
                      <a:pt x="14" y="8"/>
                    </a:lnTo>
                    <a:lnTo>
                      <a:pt x="16" y="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5" name="Freeform 1236"/>
              <p:cNvSpPr>
                <a:spLocks noChangeAspect="1"/>
              </p:cNvSpPr>
              <p:nvPr>
                <p:custDataLst>
                  <p:tags r:id="rId353"/>
                </p:custDataLst>
              </p:nvPr>
            </p:nvSpPr>
            <p:spPr bwMode="gray">
              <a:xfrm>
                <a:off x="2542043" y="2793511"/>
                <a:ext cx="13665" cy="29958"/>
              </a:xfrm>
              <a:custGeom>
                <a:avLst/>
                <a:gdLst>
                  <a:gd name="T0" fmla="*/ 10121689 w 11"/>
                  <a:gd name="T1" fmla="*/ 31953897 h 22"/>
                  <a:gd name="T2" fmla="*/ 10121689 w 11"/>
                  <a:gd name="T3" fmla="*/ 31953897 h 22"/>
                  <a:gd name="T4" fmla="*/ 10121689 w 11"/>
                  <a:gd name="T5" fmla="*/ 31953897 h 22"/>
                  <a:gd name="T6" fmla="*/ 10121689 w 11"/>
                  <a:gd name="T7" fmla="*/ 26314976 h 22"/>
                  <a:gd name="T8" fmla="*/ 13496020 w 11"/>
                  <a:gd name="T9" fmla="*/ 31953897 h 22"/>
                  <a:gd name="T10" fmla="*/ 13496020 w 11"/>
                  <a:gd name="T11" fmla="*/ 35713177 h 22"/>
                  <a:gd name="T12" fmla="*/ 13496020 w 11"/>
                  <a:gd name="T13" fmla="*/ 35713177 h 22"/>
                  <a:gd name="T14" fmla="*/ 13496020 w 11"/>
                  <a:gd name="T15" fmla="*/ 41352098 h 22"/>
                  <a:gd name="T16" fmla="*/ 18556214 w 11"/>
                  <a:gd name="T17" fmla="*/ 41352098 h 22"/>
                  <a:gd name="T18" fmla="*/ 18556214 w 11"/>
                  <a:gd name="T19" fmla="*/ 41352098 h 22"/>
                  <a:gd name="T20" fmla="*/ 18556214 w 11"/>
                  <a:gd name="T21" fmla="*/ 35713177 h 22"/>
                  <a:gd name="T22" fmla="*/ 18556214 w 11"/>
                  <a:gd name="T23" fmla="*/ 31953897 h 22"/>
                  <a:gd name="T24" fmla="*/ 18556214 w 11"/>
                  <a:gd name="T25" fmla="*/ 15037128 h 22"/>
                  <a:gd name="T26" fmla="*/ 13496020 w 11"/>
                  <a:gd name="T27" fmla="*/ 0 h 22"/>
                  <a:gd name="T28" fmla="*/ 10121689 w 11"/>
                  <a:gd name="T29" fmla="*/ 0 h 22"/>
                  <a:gd name="T30" fmla="*/ 5060195 w 11"/>
                  <a:gd name="T31" fmla="*/ 0 h 22"/>
                  <a:gd name="T32" fmla="*/ 5060195 w 11"/>
                  <a:gd name="T33" fmla="*/ 5638924 h 22"/>
                  <a:gd name="T34" fmla="*/ 0 w 11"/>
                  <a:gd name="T35" fmla="*/ 5638924 h 22"/>
                  <a:gd name="T36" fmla="*/ 5060195 w 11"/>
                  <a:gd name="T37" fmla="*/ 11277847 h 22"/>
                  <a:gd name="T38" fmla="*/ 5060195 w 11"/>
                  <a:gd name="T39" fmla="*/ 11277847 h 22"/>
                  <a:gd name="T40" fmla="*/ 0 w 11"/>
                  <a:gd name="T41" fmla="*/ 11277847 h 22"/>
                  <a:gd name="T42" fmla="*/ 0 w 11"/>
                  <a:gd name="T43" fmla="*/ 15037128 h 22"/>
                  <a:gd name="T44" fmla="*/ 0 w 11"/>
                  <a:gd name="T45" fmla="*/ 15037128 h 22"/>
                  <a:gd name="T46" fmla="*/ 0 w 11"/>
                  <a:gd name="T47" fmla="*/ 20676049 h 22"/>
                  <a:gd name="T48" fmla="*/ 0 w 11"/>
                  <a:gd name="T49" fmla="*/ 20676049 h 22"/>
                  <a:gd name="T50" fmla="*/ 0 w 11"/>
                  <a:gd name="T51" fmla="*/ 26314976 h 22"/>
                  <a:gd name="T52" fmla="*/ 0 w 11"/>
                  <a:gd name="T53" fmla="*/ 31953897 h 22"/>
                  <a:gd name="T54" fmla="*/ 5060195 w 11"/>
                  <a:gd name="T55" fmla="*/ 31953897 h 22"/>
                  <a:gd name="T56" fmla="*/ 5060195 w 11"/>
                  <a:gd name="T57" fmla="*/ 31953897 h 22"/>
                  <a:gd name="T58" fmla="*/ 5060195 w 11"/>
                  <a:gd name="T59" fmla="*/ 20676049 h 22"/>
                  <a:gd name="T60" fmla="*/ 5060195 w 11"/>
                  <a:gd name="T61" fmla="*/ 26314976 h 22"/>
                  <a:gd name="T62" fmla="*/ 10121689 w 11"/>
                  <a:gd name="T63" fmla="*/ 26314976 h 22"/>
                  <a:gd name="T64" fmla="*/ 10121689 w 11"/>
                  <a:gd name="T65" fmla="*/ 15037128 h 22"/>
                  <a:gd name="T66" fmla="*/ 10121689 w 11"/>
                  <a:gd name="T67" fmla="*/ 26314976 h 22"/>
                  <a:gd name="T68" fmla="*/ 10121689 w 11"/>
                  <a:gd name="T69" fmla="*/ 26314976 h 22"/>
                  <a:gd name="T70" fmla="*/ 10121689 w 11"/>
                  <a:gd name="T71" fmla="*/ 31953897 h 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"/>
                  <a:gd name="T109" fmla="*/ 0 h 22"/>
                  <a:gd name="T110" fmla="*/ 11 w 11"/>
                  <a:gd name="T111" fmla="*/ 22 h 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" h="22">
                    <a:moveTo>
                      <a:pt x="6" y="17"/>
                    </a:moveTo>
                    <a:lnTo>
                      <a:pt x="6" y="17"/>
                    </a:lnTo>
                    <a:lnTo>
                      <a:pt x="6" y="14"/>
                    </a:lnTo>
                    <a:lnTo>
                      <a:pt x="8" y="17"/>
                    </a:lnTo>
                    <a:lnTo>
                      <a:pt x="8" y="19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11" y="8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6" y="8"/>
                    </a:lnTo>
                    <a:lnTo>
                      <a:pt x="6" y="14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6" name="Freeform 1237"/>
              <p:cNvSpPr>
                <a:spLocks noChangeAspect="1"/>
              </p:cNvSpPr>
              <p:nvPr>
                <p:custDataLst>
                  <p:tags r:id="rId354"/>
                </p:custDataLst>
              </p:nvPr>
            </p:nvSpPr>
            <p:spPr bwMode="gray">
              <a:xfrm>
                <a:off x="2542043" y="2793511"/>
                <a:ext cx="13665" cy="29958"/>
              </a:xfrm>
              <a:custGeom>
                <a:avLst/>
                <a:gdLst>
                  <a:gd name="T0" fmla="*/ 10121689 w 11"/>
                  <a:gd name="T1" fmla="*/ 31953897 h 22"/>
                  <a:gd name="T2" fmla="*/ 10121689 w 11"/>
                  <a:gd name="T3" fmla="*/ 31953897 h 22"/>
                  <a:gd name="T4" fmla="*/ 10121689 w 11"/>
                  <a:gd name="T5" fmla="*/ 31953897 h 22"/>
                  <a:gd name="T6" fmla="*/ 10121689 w 11"/>
                  <a:gd name="T7" fmla="*/ 26314976 h 22"/>
                  <a:gd name="T8" fmla="*/ 13496020 w 11"/>
                  <a:gd name="T9" fmla="*/ 31953897 h 22"/>
                  <a:gd name="T10" fmla="*/ 13496020 w 11"/>
                  <a:gd name="T11" fmla="*/ 35713177 h 22"/>
                  <a:gd name="T12" fmla="*/ 13496020 w 11"/>
                  <a:gd name="T13" fmla="*/ 35713177 h 22"/>
                  <a:gd name="T14" fmla="*/ 13496020 w 11"/>
                  <a:gd name="T15" fmla="*/ 41352098 h 22"/>
                  <a:gd name="T16" fmla="*/ 18556214 w 11"/>
                  <a:gd name="T17" fmla="*/ 41352098 h 22"/>
                  <a:gd name="T18" fmla="*/ 18556214 w 11"/>
                  <a:gd name="T19" fmla="*/ 41352098 h 22"/>
                  <a:gd name="T20" fmla="*/ 18556214 w 11"/>
                  <a:gd name="T21" fmla="*/ 35713177 h 22"/>
                  <a:gd name="T22" fmla="*/ 18556214 w 11"/>
                  <a:gd name="T23" fmla="*/ 31953897 h 22"/>
                  <a:gd name="T24" fmla="*/ 18556214 w 11"/>
                  <a:gd name="T25" fmla="*/ 15037128 h 22"/>
                  <a:gd name="T26" fmla="*/ 13496020 w 11"/>
                  <a:gd name="T27" fmla="*/ 0 h 22"/>
                  <a:gd name="T28" fmla="*/ 10121689 w 11"/>
                  <a:gd name="T29" fmla="*/ 0 h 22"/>
                  <a:gd name="T30" fmla="*/ 5060195 w 11"/>
                  <a:gd name="T31" fmla="*/ 0 h 22"/>
                  <a:gd name="T32" fmla="*/ 5060195 w 11"/>
                  <a:gd name="T33" fmla="*/ 5638924 h 22"/>
                  <a:gd name="T34" fmla="*/ 0 w 11"/>
                  <a:gd name="T35" fmla="*/ 5638924 h 22"/>
                  <a:gd name="T36" fmla="*/ 5060195 w 11"/>
                  <a:gd name="T37" fmla="*/ 11277847 h 22"/>
                  <a:gd name="T38" fmla="*/ 5060195 w 11"/>
                  <a:gd name="T39" fmla="*/ 11277847 h 22"/>
                  <a:gd name="T40" fmla="*/ 0 w 11"/>
                  <a:gd name="T41" fmla="*/ 11277847 h 22"/>
                  <a:gd name="T42" fmla="*/ 0 w 11"/>
                  <a:gd name="T43" fmla="*/ 15037128 h 22"/>
                  <a:gd name="T44" fmla="*/ 0 w 11"/>
                  <a:gd name="T45" fmla="*/ 15037128 h 22"/>
                  <a:gd name="T46" fmla="*/ 0 w 11"/>
                  <a:gd name="T47" fmla="*/ 20676049 h 22"/>
                  <a:gd name="T48" fmla="*/ 0 w 11"/>
                  <a:gd name="T49" fmla="*/ 20676049 h 22"/>
                  <a:gd name="T50" fmla="*/ 0 w 11"/>
                  <a:gd name="T51" fmla="*/ 26314976 h 22"/>
                  <a:gd name="T52" fmla="*/ 0 w 11"/>
                  <a:gd name="T53" fmla="*/ 31953897 h 22"/>
                  <a:gd name="T54" fmla="*/ 5060195 w 11"/>
                  <a:gd name="T55" fmla="*/ 31953897 h 22"/>
                  <a:gd name="T56" fmla="*/ 5060195 w 11"/>
                  <a:gd name="T57" fmla="*/ 31953897 h 22"/>
                  <a:gd name="T58" fmla="*/ 5060195 w 11"/>
                  <a:gd name="T59" fmla="*/ 20676049 h 22"/>
                  <a:gd name="T60" fmla="*/ 5060195 w 11"/>
                  <a:gd name="T61" fmla="*/ 26314976 h 22"/>
                  <a:gd name="T62" fmla="*/ 10121689 w 11"/>
                  <a:gd name="T63" fmla="*/ 26314976 h 22"/>
                  <a:gd name="T64" fmla="*/ 10121689 w 11"/>
                  <a:gd name="T65" fmla="*/ 15037128 h 22"/>
                  <a:gd name="T66" fmla="*/ 10121689 w 11"/>
                  <a:gd name="T67" fmla="*/ 26314976 h 22"/>
                  <a:gd name="T68" fmla="*/ 10121689 w 11"/>
                  <a:gd name="T69" fmla="*/ 26314976 h 22"/>
                  <a:gd name="T70" fmla="*/ 10121689 w 11"/>
                  <a:gd name="T71" fmla="*/ 31953897 h 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"/>
                  <a:gd name="T109" fmla="*/ 0 h 22"/>
                  <a:gd name="T110" fmla="*/ 11 w 11"/>
                  <a:gd name="T111" fmla="*/ 22 h 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" h="22">
                    <a:moveTo>
                      <a:pt x="6" y="17"/>
                    </a:moveTo>
                    <a:lnTo>
                      <a:pt x="6" y="17"/>
                    </a:lnTo>
                    <a:lnTo>
                      <a:pt x="6" y="14"/>
                    </a:lnTo>
                    <a:lnTo>
                      <a:pt x="8" y="17"/>
                    </a:lnTo>
                    <a:lnTo>
                      <a:pt x="8" y="19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11" y="8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1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6" y="8"/>
                    </a:lnTo>
                    <a:lnTo>
                      <a:pt x="6" y="14"/>
                    </a:lnTo>
                    <a:lnTo>
                      <a:pt x="6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7" name="Freeform 1238"/>
              <p:cNvSpPr>
                <a:spLocks noChangeAspect="1"/>
              </p:cNvSpPr>
              <p:nvPr>
                <p:custDataLst>
                  <p:tags r:id="rId355"/>
                </p:custDataLst>
              </p:nvPr>
            </p:nvSpPr>
            <p:spPr bwMode="gray">
              <a:xfrm>
                <a:off x="2508636" y="2818738"/>
                <a:ext cx="10628" cy="18921"/>
              </a:xfrm>
              <a:custGeom>
                <a:avLst/>
                <a:gdLst>
                  <a:gd name="T0" fmla="*/ 11575926 w 8"/>
                  <a:gd name="T1" fmla="*/ 11108871 h 14"/>
                  <a:gd name="T2" fmla="*/ 11575926 w 8"/>
                  <a:gd name="T3" fmla="*/ 11108871 h 14"/>
                  <a:gd name="T4" fmla="*/ 15434566 w 8"/>
                  <a:gd name="T5" fmla="*/ 25921611 h 14"/>
                  <a:gd name="T6" fmla="*/ 15434566 w 8"/>
                  <a:gd name="T7" fmla="*/ 25921611 h 14"/>
                  <a:gd name="T8" fmla="*/ 11575926 w 8"/>
                  <a:gd name="T9" fmla="*/ 22219103 h 14"/>
                  <a:gd name="T10" fmla="*/ 0 w 8"/>
                  <a:gd name="T11" fmla="*/ 5554436 h 14"/>
                  <a:gd name="T12" fmla="*/ 0 w 8"/>
                  <a:gd name="T13" fmla="*/ 0 h 14"/>
                  <a:gd name="T14" fmla="*/ 0 w 8"/>
                  <a:gd name="T15" fmla="*/ 0 h 14"/>
                  <a:gd name="T16" fmla="*/ 5787963 w 8"/>
                  <a:gd name="T17" fmla="*/ 0 h 14"/>
                  <a:gd name="T18" fmla="*/ 11575926 w 8"/>
                  <a:gd name="T19" fmla="*/ 11108871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"/>
                  <a:gd name="T31" fmla="*/ 0 h 14"/>
                  <a:gd name="T32" fmla="*/ 8 w 8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" h="14">
                    <a:moveTo>
                      <a:pt x="6" y="6"/>
                    </a:moveTo>
                    <a:lnTo>
                      <a:pt x="6" y="6"/>
                    </a:lnTo>
                    <a:lnTo>
                      <a:pt x="8" y="14"/>
                    </a:lnTo>
                    <a:lnTo>
                      <a:pt x="6" y="12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8" name="Freeform 1239"/>
              <p:cNvSpPr>
                <a:spLocks noChangeAspect="1"/>
              </p:cNvSpPr>
              <p:nvPr>
                <p:custDataLst>
                  <p:tags r:id="rId356"/>
                </p:custDataLst>
              </p:nvPr>
            </p:nvSpPr>
            <p:spPr bwMode="gray">
              <a:xfrm>
                <a:off x="2545079" y="2817159"/>
                <a:ext cx="3037" cy="9460"/>
              </a:xfrm>
              <a:custGeom>
                <a:avLst/>
                <a:gdLst>
                  <a:gd name="T0" fmla="*/ 0 w 3"/>
                  <a:gd name="T1" fmla="*/ 0 h 8"/>
                  <a:gd name="T2" fmla="*/ 3360208 w 3"/>
                  <a:gd name="T3" fmla="*/ 2834878 h 8"/>
                  <a:gd name="T4" fmla="*/ 3360208 w 3"/>
                  <a:gd name="T5" fmla="*/ 11340702 h 8"/>
                  <a:gd name="T6" fmla="*/ 0 w 3"/>
                  <a:gd name="T7" fmla="*/ 11340702 h 8"/>
                  <a:gd name="T8" fmla="*/ 0 w 3"/>
                  <a:gd name="T9" fmla="*/ 7087790 h 8"/>
                  <a:gd name="T10" fmla="*/ 0 w 3"/>
                  <a:gd name="T11" fmla="*/ 7087790 h 8"/>
                  <a:gd name="T12" fmla="*/ 0 w 3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8"/>
                  <a:gd name="T23" fmla="*/ 3 w 3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8">
                    <a:moveTo>
                      <a:pt x="0" y="0"/>
                    </a:moveTo>
                    <a:lnTo>
                      <a:pt x="3" y="2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9" name="Freeform 1240"/>
              <p:cNvSpPr>
                <a:spLocks noChangeAspect="1"/>
              </p:cNvSpPr>
              <p:nvPr>
                <p:custDataLst>
                  <p:tags r:id="rId357"/>
                </p:custDataLst>
              </p:nvPr>
            </p:nvSpPr>
            <p:spPr bwMode="gray">
              <a:xfrm>
                <a:off x="2545079" y="2817159"/>
                <a:ext cx="3037" cy="9460"/>
              </a:xfrm>
              <a:custGeom>
                <a:avLst/>
                <a:gdLst>
                  <a:gd name="T0" fmla="*/ 0 w 3"/>
                  <a:gd name="T1" fmla="*/ 0 h 8"/>
                  <a:gd name="T2" fmla="*/ 3360208 w 3"/>
                  <a:gd name="T3" fmla="*/ 2834878 h 8"/>
                  <a:gd name="T4" fmla="*/ 3360208 w 3"/>
                  <a:gd name="T5" fmla="*/ 11340702 h 8"/>
                  <a:gd name="T6" fmla="*/ 0 w 3"/>
                  <a:gd name="T7" fmla="*/ 11340702 h 8"/>
                  <a:gd name="T8" fmla="*/ 0 w 3"/>
                  <a:gd name="T9" fmla="*/ 7087790 h 8"/>
                  <a:gd name="T10" fmla="*/ 0 w 3"/>
                  <a:gd name="T11" fmla="*/ 7087790 h 8"/>
                  <a:gd name="T12" fmla="*/ 0 w 3"/>
                  <a:gd name="T13" fmla="*/ 0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8"/>
                  <a:gd name="T23" fmla="*/ 3 w 3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8">
                    <a:moveTo>
                      <a:pt x="0" y="0"/>
                    </a:moveTo>
                    <a:lnTo>
                      <a:pt x="3" y="2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0" name="Freeform 1241"/>
              <p:cNvSpPr>
                <a:spLocks noChangeAspect="1"/>
              </p:cNvSpPr>
              <p:nvPr>
                <p:custDataLst>
                  <p:tags r:id="rId358"/>
                </p:custDataLst>
              </p:nvPr>
            </p:nvSpPr>
            <p:spPr bwMode="gray">
              <a:xfrm>
                <a:off x="1591489" y="2932262"/>
                <a:ext cx="13665" cy="9460"/>
              </a:xfrm>
              <a:custGeom>
                <a:avLst/>
                <a:gdLst>
                  <a:gd name="T0" fmla="*/ 0 w 11"/>
                  <a:gd name="T1" fmla="*/ 0 h 8"/>
                  <a:gd name="T2" fmla="*/ 0 w 11"/>
                  <a:gd name="T3" fmla="*/ 0 h 8"/>
                  <a:gd name="T4" fmla="*/ 0 w 11"/>
                  <a:gd name="T5" fmla="*/ 0 h 8"/>
                  <a:gd name="T6" fmla="*/ 8434525 w 11"/>
                  <a:gd name="T7" fmla="*/ 0 h 8"/>
                  <a:gd name="T8" fmla="*/ 8434525 w 11"/>
                  <a:gd name="T9" fmla="*/ 0 h 8"/>
                  <a:gd name="T10" fmla="*/ 8434525 w 11"/>
                  <a:gd name="T11" fmla="*/ 4252912 h 8"/>
                  <a:gd name="T12" fmla="*/ 18556214 w 11"/>
                  <a:gd name="T13" fmla="*/ 4252912 h 8"/>
                  <a:gd name="T14" fmla="*/ 18556214 w 11"/>
                  <a:gd name="T15" fmla="*/ 4252912 h 8"/>
                  <a:gd name="T16" fmla="*/ 13496020 w 11"/>
                  <a:gd name="T17" fmla="*/ 4252912 h 8"/>
                  <a:gd name="T18" fmla="*/ 13496020 w 11"/>
                  <a:gd name="T19" fmla="*/ 7087790 h 8"/>
                  <a:gd name="T20" fmla="*/ 13496020 w 11"/>
                  <a:gd name="T21" fmla="*/ 11340702 h 8"/>
                  <a:gd name="T22" fmla="*/ 3374330 w 11"/>
                  <a:gd name="T23" fmla="*/ 7087790 h 8"/>
                  <a:gd name="T24" fmla="*/ 8434525 w 11"/>
                  <a:gd name="T25" fmla="*/ 7087790 h 8"/>
                  <a:gd name="T26" fmla="*/ 3374330 w 11"/>
                  <a:gd name="T27" fmla="*/ 4252912 h 8"/>
                  <a:gd name="T28" fmla="*/ 3374330 w 11"/>
                  <a:gd name="T29" fmla="*/ 4252912 h 8"/>
                  <a:gd name="T30" fmla="*/ 0 w 11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"/>
                  <a:gd name="T49" fmla="*/ 0 h 8"/>
                  <a:gd name="T50" fmla="*/ 11 w 11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" h="8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1" name="Freeform 1242"/>
              <p:cNvSpPr>
                <a:spLocks noChangeAspect="1"/>
              </p:cNvSpPr>
              <p:nvPr>
                <p:custDataLst>
                  <p:tags r:id="rId359"/>
                </p:custDataLst>
              </p:nvPr>
            </p:nvSpPr>
            <p:spPr bwMode="gray">
              <a:xfrm>
                <a:off x="1591489" y="2932262"/>
                <a:ext cx="13665" cy="9460"/>
              </a:xfrm>
              <a:custGeom>
                <a:avLst/>
                <a:gdLst>
                  <a:gd name="T0" fmla="*/ 0 w 11"/>
                  <a:gd name="T1" fmla="*/ 0 h 8"/>
                  <a:gd name="T2" fmla="*/ 0 w 11"/>
                  <a:gd name="T3" fmla="*/ 0 h 8"/>
                  <a:gd name="T4" fmla="*/ 0 w 11"/>
                  <a:gd name="T5" fmla="*/ 0 h 8"/>
                  <a:gd name="T6" fmla="*/ 8434525 w 11"/>
                  <a:gd name="T7" fmla="*/ 0 h 8"/>
                  <a:gd name="T8" fmla="*/ 8434525 w 11"/>
                  <a:gd name="T9" fmla="*/ 0 h 8"/>
                  <a:gd name="T10" fmla="*/ 8434525 w 11"/>
                  <a:gd name="T11" fmla="*/ 4252912 h 8"/>
                  <a:gd name="T12" fmla="*/ 18556214 w 11"/>
                  <a:gd name="T13" fmla="*/ 4252912 h 8"/>
                  <a:gd name="T14" fmla="*/ 18556214 w 11"/>
                  <a:gd name="T15" fmla="*/ 4252912 h 8"/>
                  <a:gd name="T16" fmla="*/ 13496020 w 11"/>
                  <a:gd name="T17" fmla="*/ 4252912 h 8"/>
                  <a:gd name="T18" fmla="*/ 13496020 w 11"/>
                  <a:gd name="T19" fmla="*/ 7087790 h 8"/>
                  <a:gd name="T20" fmla="*/ 13496020 w 11"/>
                  <a:gd name="T21" fmla="*/ 11340702 h 8"/>
                  <a:gd name="T22" fmla="*/ 3374330 w 11"/>
                  <a:gd name="T23" fmla="*/ 7087790 h 8"/>
                  <a:gd name="T24" fmla="*/ 8434525 w 11"/>
                  <a:gd name="T25" fmla="*/ 7087790 h 8"/>
                  <a:gd name="T26" fmla="*/ 3374330 w 11"/>
                  <a:gd name="T27" fmla="*/ 4252912 h 8"/>
                  <a:gd name="T28" fmla="*/ 3374330 w 11"/>
                  <a:gd name="T29" fmla="*/ 4252912 h 8"/>
                  <a:gd name="T30" fmla="*/ 0 w 11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1"/>
                  <a:gd name="T49" fmla="*/ 0 h 8"/>
                  <a:gd name="T50" fmla="*/ 11 w 11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1" h="8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2" name="Freeform 1243"/>
              <p:cNvSpPr>
                <a:spLocks noChangeAspect="1"/>
              </p:cNvSpPr>
              <p:nvPr>
                <p:custDataLst>
                  <p:tags r:id="rId360"/>
                </p:custDataLst>
              </p:nvPr>
            </p:nvSpPr>
            <p:spPr bwMode="gray">
              <a:xfrm>
                <a:off x="1605154" y="2932262"/>
                <a:ext cx="10630" cy="4730"/>
              </a:xfrm>
              <a:custGeom>
                <a:avLst/>
                <a:gdLst>
                  <a:gd name="T0" fmla="*/ 0 w 8"/>
                  <a:gd name="T1" fmla="*/ 4535329 h 5"/>
                  <a:gd name="T2" fmla="*/ 0 w 8"/>
                  <a:gd name="T3" fmla="*/ 4535329 h 5"/>
                  <a:gd name="T4" fmla="*/ 9648860 w 8"/>
                  <a:gd name="T5" fmla="*/ 2721007 h 5"/>
                  <a:gd name="T6" fmla="*/ 15437344 w 8"/>
                  <a:gd name="T7" fmla="*/ 0 h 5"/>
                  <a:gd name="T8" fmla="*/ 15437344 w 8"/>
                  <a:gd name="T9" fmla="*/ 0 h 5"/>
                  <a:gd name="T10" fmla="*/ 15437344 w 8"/>
                  <a:gd name="T11" fmla="*/ 2721007 h 5"/>
                  <a:gd name="T12" fmla="*/ 9648860 w 8"/>
                  <a:gd name="T13" fmla="*/ 4535329 h 5"/>
                  <a:gd name="T14" fmla="*/ 0 w 8"/>
                  <a:gd name="T15" fmla="*/ 4535329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5"/>
                  <a:gd name="T26" fmla="*/ 8 w 8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3" name="Freeform 1244"/>
              <p:cNvSpPr>
                <a:spLocks noChangeAspect="1"/>
              </p:cNvSpPr>
              <p:nvPr>
                <p:custDataLst>
                  <p:tags r:id="rId361"/>
                </p:custDataLst>
              </p:nvPr>
            </p:nvSpPr>
            <p:spPr bwMode="gray">
              <a:xfrm>
                <a:off x="1605154" y="2932262"/>
                <a:ext cx="10630" cy="4730"/>
              </a:xfrm>
              <a:custGeom>
                <a:avLst/>
                <a:gdLst>
                  <a:gd name="T0" fmla="*/ 0 w 8"/>
                  <a:gd name="T1" fmla="*/ 4535329 h 5"/>
                  <a:gd name="T2" fmla="*/ 0 w 8"/>
                  <a:gd name="T3" fmla="*/ 4535329 h 5"/>
                  <a:gd name="T4" fmla="*/ 9648860 w 8"/>
                  <a:gd name="T5" fmla="*/ 2721007 h 5"/>
                  <a:gd name="T6" fmla="*/ 15437344 w 8"/>
                  <a:gd name="T7" fmla="*/ 0 h 5"/>
                  <a:gd name="T8" fmla="*/ 15437344 w 8"/>
                  <a:gd name="T9" fmla="*/ 0 h 5"/>
                  <a:gd name="T10" fmla="*/ 15437344 w 8"/>
                  <a:gd name="T11" fmla="*/ 2721007 h 5"/>
                  <a:gd name="T12" fmla="*/ 9648860 w 8"/>
                  <a:gd name="T13" fmla="*/ 4535329 h 5"/>
                  <a:gd name="T14" fmla="*/ 0 w 8"/>
                  <a:gd name="T15" fmla="*/ 4535329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5"/>
                  <a:gd name="T26" fmla="*/ 8 w 8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0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4" name="Freeform 1245"/>
              <p:cNvSpPr>
                <a:spLocks noChangeAspect="1"/>
              </p:cNvSpPr>
              <p:nvPr>
                <p:custDataLst>
                  <p:tags r:id="rId362"/>
                </p:custDataLst>
              </p:nvPr>
            </p:nvSpPr>
            <p:spPr bwMode="gray">
              <a:xfrm>
                <a:off x="1620339" y="2927533"/>
                <a:ext cx="10630" cy="14192"/>
              </a:xfrm>
              <a:custGeom>
                <a:avLst/>
                <a:gdLst>
                  <a:gd name="T0" fmla="*/ 0 w 8"/>
                  <a:gd name="T1" fmla="*/ 10122398 h 11"/>
                  <a:gd name="T2" fmla="*/ 5788484 w 8"/>
                  <a:gd name="T3" fmla="*/ 10122398 h 11"/>
                  <a:gd name="T4" fmla="*/ 5788484 w 8"/>
                  <a:gd name="T5" fmla="*/ 10122398 h 11"/>
                  <a:gd name="T6" fmla="*/ 5788484 w 8"/>
                  <a:gd name="T7" fmla="*/ 5061848 h 11"/>
                  <a:gd name="T8" fmla="*/ 9648860 w 8"/>
                  <a:gd name="T9" fmla="*/ 0 h 11"/>
                  <a:gd name="T10" fmla="*/ 9648860 w 8"/>
                  <a:gd name="T11" fmla="*/ 5061848 h 11"/>
                  <a:gd name="T12" fmla="*/ 9648860 w 8"/>
                  <a:gd name="T13" fmla="*/ 10122398 h 11"/>
                  <a:gd name="T14" fmla="*/ 9648860 w 8"/>
                  <a:gd name="T15" fmla="*/ 10122398 h 11"/>
                  <a:gd name="T16" fmla="*/ 15437344 w 8"/>
                  <a:gd name="T17" fmla="*/ 10122398 h 11"/>
                  <a:gd name="T18" fmla="*/ 15437344 w 8"/>
                  <a:gd name="T19" fmla="*/ 13496965 h 11"/>
                  <a:gd name="T20" fmla="*/ 9648860 w 8"/>
                  <a:gd name="T21" fmla="*/ 13496965 h 11"/>
                  <a:gd name="T22" fmla="*/ 5788484 w 8"/>
                  <a:gd name="T23" fmla="*/ 18558812 h 11"/>
                  <a:gd name="T24" fmla="*/ 5788484 w 8"/>
                  <a:gd name="T25" fmla="*/ 18558812 h 11"/>
                  <a:gd name="T26" fmla="*/ 5788484 w 8"/>
                  <a:gd name="T27" fmla="*/ 13496965 h 11"/>
                  <a:gd name="T28" fmla="*/ 0 w 8"/>
                  <a:gd name="T29" fmla="*/ 13496965 h 11"/>
                  <a:gd name="T30" fmla="*/ 0 w 8"/>
                  <a:gd name="T31" fmla="*/ 10122398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11"/>
                  <a:gd name="T50" fmla="*/ 8 w 8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11">
                    <a:moveTo>
                      <a:pt x="0" y="6"/>
                    </a:moveTo>
                    <a:lnTo>
                      <a:pt x="3" y="6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5" name="Freeform 1246"/>
              <p:cNvSpPr>
                <a:spLocks noChangeAspect="1"/>
              </p:cNvSpPr>
              <p:nvPr>
                <p:custDataLst>
                  <p:tags r:id="rId363"/>
                </p:custDataLst>
              </p:nvPr>
            </p:nvSpPr>
            <p:spPr bwMode="gray">
              <a:xfrm>
                <a:off x="1620339" y="2927533"/>
                <a:ext cx="10630" cy="14192"/>
              </a:xfrm>
              <a:custGeom>
                <a:avLst/>
                <a:gdLst>
                  <a:gd name="T0" fmla="*/ 0 w 8"/>
                  <a:gd name="T1" fmla="*/ 10122398 h 11"/>
                  <a:gd name="T2" fmla="*/ 5788484 w 8"/>
                  <a:gd name="T3" fmla="*/ 10122398 h 11"/>
                  <a:gd name="T4" fmla="*/ 5788484 w 8"/>
                  <a:gd name="T5" fmla="*/ 10122398 h 11"/>
                  <a:gd name="T6" fmla="*/ 5788484 w 8"/>
                  <a:gd name="T7" fmla="*/ 5061848 h 11"/>
                  <a:gd name="T8" fmla="*/ 9648860 w 8"/>
                  <a:gd name="T9" fmla="*/ 0 h 11"/>
                  <a:gd name="T10" fmla="*/ 9648860 w 8"/>
                  <a:gd name="T11" fmla="*/ 5061848 h 11"/>
                  <a:gd name="T12" fmla="*/ 9648860 w 8"/>
                  <a:gd name="T13" fmla="*/ 10122398 h 11"/>
                  <a:gd name="T14" fmla="*/ 9648860 w 8"/>
                  <a:gd name="T15" fmla="*/ 10122398 h 11"/>
                  <a:gd name="T16" fmla="*/ 15437344 w 8"/>
                  <a:gd name="T17" fmla="*/ 10122398 h 11"/>
                  <a:gd name="T18" fmla="*/ 15437344 w 8"/>
                  <a:gd name="T19" fmla="*/ 13496965 h 11"/>
                  <a:gd name="T20" fmla="*/ 9648860 w 8"/>
                  <a:gd name="T21" fmla="*/ 13496965 h 11"/>
                  <a:gd name="T22" fmla="*/ 5788484 w 8"/>
                  <a:gd name="T23" fmla="*/ 18558812 h 11"/>
                  <a:gd name="T24" fmla="*/ 5788484 w 8"/>
                  <a:gd name="T25" fmla="*/ 18558812 h 11"/>
                  <a:gd name="T26" fmla="*/ 5788484 w 8"/>
                  <a:gd name="T27" fmla="*/ 13496965 h 11"/>
                  <a:gd name="T28" fmla="*/ 0 w 8"/>
                  <a:gd name="T29" fmla="*/ 13496965 h 11"/>
                  <a:gd name="T30" fmla="*/ 0 w 8"/>
                  <a:gd name="T31" fmla="*/ 10122398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11"/>
                  <a:gd name="T50" fmla="*/ 8 w 8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11">
                    <a:moveTo>
                      <a:pt x="0" y="6"/>
                    </a:moveTo>
                    <a:lnTo>
                      <a:pt x="3" y="6"/>
                    </a:lnTo>
                    <a:lnTo>
                      <a:pt x="3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6" name="Freeform 1247"/>
              <p:cNvSpPr>
                <a:spLocks noChangeAspect="1"/>
              </p:cNvSpPr>
              <p:nvPr>
                <p:custDataLst>
                  <p:tags r:id="rId364"/>
                </p:custDataLst>
              </p:nvPr>
            </p:nvSpPr>
            <p:spPr bwMode="gray">
              <a:xfrm>
                <a:off x="1667412" y="2916496"/>
                <a:ext cx="9110" cy="11037"/>
              </a:xfrm>
              <a:custGeom>
                <a:avLst/>
                <a:gdLst>
                  <a:gd name="T0" fmla="*/ 8505823 w 8"/>
                  <a:gd name="T1" fmla="*/ 0 h 8"/>
                  <a:gd name="T2" fmla="*/ 4252912 w 8"/>
                  <a:gd name="T3" fmla="*/ 0 h 8"/>
                  <a:gd name="T4" fmla="*/ 8505823 w 8"/>
                  <a:gd name="T5" fmla="*/ 0 h 8"/>
                  <a:gd name="T6" fmla="*/ 11340702 w 8"/>
                  <a:gd name="T7" fmla="*/ 0 h 8"/>
                  <a:gd name="T8" fmla="*/ 11340702 w 8"/>
                  <a:gd name="T9" fmla="*/ 3858642 h 8"/>
                  <a:gd name="T10" fmla="*/ 11340702 w 8"/>
                  <a:gd name="T11" fmla="*/ 3858642 h 8"/>
                  <a:gd name="T12" fmla="*/ 8505823 w 8"/>
                  <a:gd name="T13" fmla="*/ 9646603 h 8"/>
                  <a:gd name="T14" fmla="*/ 8505823 w 8"/>
                  <a:gd name="T15" fmla="*/ 15434566 h 8"/>
                  <a:gd name="T16" fmla="*/ 4252912 w 8"/>
                  <a:gd name="T17" fmla="*/ 9646603 h 8"/>
                  <a:gd name="T18" fmla="*/ 4252912 w 8"/>
                  <a:gd name="T19" fmla="*/ 15434566 h 8"/>
                  <a:gd name="T20" fmla="*/ 0 w 8"/>
                  <a:gd name="T21" fmla="*/ 15434566 h 8"/>
                  <a:gd name="T22" fmla="*/ 0 w 8"/>
                  <a:gd name="T23" fmla="*/ 15434566 h 8"/>
                  <a:gd name="T24" fmla="*/ 0 w 8"/>
                  <a:gd name="T25" fmla="*/ 9646603 h 8"/>
                  <a:gd name="T26" fmla="*/ 4252912 w 8"/>
                  <a:gd name="T27" fmla="*/ 3858642 h 8"/>
                  <a:gd name="T28" fmla="*/ 8505823 w 8"/>
                  <a:gd name="T29" fmla="*/ 3858642 h 8"/>
                  <a:gd name="T30" fmla="*/ 8505823 w 8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8"/>
                  <a:gd name="T50" fmla="*/ 8 w 8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8">
                    <a:moveTo>
                      <a:pt x="6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7" name="Freeform 1248"/>
              <p:cNvSpPr>
                <a:spLocks noChangeAspect="1"/>
              </p:cNvSpPr>
              <p:nvPr>
                <p:custDataLst>
                  <p:tags r:id="rId365"/>
                </p:custDataLst>
              </p:nvPr>
            </p:nvSpPr>
            <p:spPr bwMode="gray">
              <a:xfrm>
                <a:off x="1667412" y="2916496"/>
                <a:ext cx="9110" cy="11037"/>
              </a:xfrm>
              <a:custGeom>
                <a:avLst/>
                <a:gdLst>
                  <a:gd name="T0" fmla="*/ 8505823 w 8"/>
                  <a:gd name="T1" fmla="*/ 0 h 8"/>
                  <a:gd name="T2" fmla="*/ 4252912 w 8"/>
                  <a:gd name="T3" fmla="*/ 0 h 8"/>
                  <a:gd name="T4" fmla="*/ 8505823 w 8"/>
                  <a:gd name="T5" fmla="*/ 0 h 8"/>
                  <a:gd name="T6" fmla="*/ 11340702 w 8"/>
                  <a:gd name="T7" fmla="*/ 0 h 8"/>
                  <a:gd name="T8" fmla="*/ 11340702 w 8"/>
                  <a:gd name="T9" fmla="*/ 3858642 h 8"/>
                  <a:gd name="T10" fmla="*/ 11340702 w 8"/>
                  <a:gd name="T11" fmla="*/ 3858642 h 8"/>
                  <a:gd name="T12" fmla="*/ 8505823 w 8"/>
                  <a:gd name="T13" fmla="*/ 9646603 h 8"/>
                  <a:gd name="T14" fmla="*/ 8505823 w 8"/>
                  <a:gd name="T15" fmla="*/ 15434566 h 8"/>
                  <a:gd name="T16" fmla="*/ 4252912 w 8"/>
                  <a:gd name="T17" fmla="*/ 9646603 h 8"/>
                  <a:gd name="T18" fmla="*/ 4252912 w 8"/>
                  <a:gd name="T19" fmla="*/ 15434566 h 8"/>
                  <a:gd name="T20" fmla="*/ 0 w 8"/>
                  <a:gd name="T21" fmla="*/ 15434566 h 8"/>
                  <a:gd name="T22" fmla="*/ 0 w 8"/>
                  <a:gd name="T23" fmla="*/ 15434566 h 8"/>
                  <a:gd name="T24" fmla="*/ 0 w 8"/>
                  <a:gd name="T25" fmla="*/ 9646603 h 8"/>
                  <a:gd name="T26" fmla="*/ 4252912 w 8"/>
                  <a:gd name="T27" fmla="*/ 3858642 h 8"/>
                  <a:gd name="T28" fmla="*/ 8505823 w 8"/>
                  <a:gd name="T29" fmla="*/ 3858642 h 8"/>
                  <a:gd name="T30" fmla="*/ 8505823 w 8"/>
                  <a:gd name="T31" fmla="*/ 0 h 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"/>
                  <a:gd name="T49" fmla="*/ 0 h 8"/>
                  <a:gd name="T50" fmla="*/ 8 w 8"/>
                  <a:gd name="T51" fmla="*/ 8 h 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" h="8">
                    <a:moveTo>
                      <a:pt x="6" y="0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6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8" name="Freeform 1249"/>
              <p:cNvSpPr>
                <a:spLocks noChangeAspect="1"/>
              </p:cNvSpPr>
              <p:nvPr>
                <p:custDataLst>
                  <p:tags r:id="rId366"/>
                </p:custDataLst>
              </p:nvPr>
            </p:nvSpPr>
            <p:spPr bwMode="gray">
              <a:xfrm>
                <a:off x="1676523" y="2922803"/>
                <a:ext cx="24295" cy="4730"/>
              </a:xfrm>
              <a:custGeom>
                <a:avLst/>
                <a:gdLst>
                  <a:gd name="T0" fmla="*/ 0 w 17"/>
                  <a:gd name="T1" fmla="*/ 0 h 3"/>
                  <a:gd name="T2" fmla="*/ 20091397 w 17"/>
                  <a:gd name="T3" fmla="*/ 0 h 3"/>
                  <a:gd name="T4" fmla="*/ 26788035 w 17"/>
                  <a:gd name="T5" fmla="*/ 0 h 3"/>
                  <a:gd name="T6" fmla="*/ 31253951 w 17"/>
                  <a:gd name="T7" fmla="*/ 0 h 3"/>
                  <a:gd name="T8" fmla="*/ 31253951 w 17"/>
                  <a:gd name="T9" fmla="*/ 0 h 3"/>
                  <a:gd name="T10" fmla="*/ 37950583 w 17"/>
                  <a:gd name="T11" fmla="*/ 7558882 h 3"/>
                  <a:gd name="T12" fmla="*/ 31253951 w 17"/>
                  <a:gd name="T13" fmla="*/ 7558882 h 3"/>
                  <a:gd name="T14" fmla="*/ 6696635 w 17"/>
                  <a:gd name="T15" fmla="*/ 7558882 h 3"/>
                  <a:gd name="T16" fmla="*/ 0 w 17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"/>
                  <a:gd name="T28" fmla="*/ 0 h 3"/>
                  <a:gd name="T29" fmla="*/ 17 w 17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" h="3">
                    <a:moveTo>
                      <a:pt x="0" y="0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9" name="Freeform 1250"/>
              <p:cNvSpPr>
                <a:spLocks noChangeAspect="1"/>
              </p:cNvSpPr>
              <p:nvPr>
                <p:custDataLst>
                  <p:tags r:id="rId367"/>
                </p:custDataLst>
              </p:nvPr>
            </p:nvSpPr>
            <p:spPr bwMode="gray">
              <a:xfrm>
                <a:off x="1676523" y="2922803"/>
                <a:ext cx="24295" cy="4730"/>
              </a:xfrm>
              <a:custGeom>
                <a:avLst/>
                <a:gdLst>
                  <a:gd name="T0" fmla="*/ 0 w 17"/>
                  <a:gd name="T1" fmla="*/ 0 h 3"/>
                  <a:gd name="T2" fmla="*/ 20091397 w 17"/>
                  <a:gd name="T3" fmla="*/ 0 h 3"/>
                  <a:gd name="T4" fmla="*/ 26788035 w 17"/>
                  <a:gd name="T5" fmla="*/ 0 h 3"/>
                  <a:gd name="T6" fmla="*/ 31253951 w 17"/>
                  <a:gd name="T7" fmla="*/ 0 h 3"/>
                  <a:gd name="T8" fmla="*/ 31253951 w 17"/>
                  <a:gd name="T9" fmla="*/ 0 h 3"/>
                  <a:gd name="T10" fmla="*/ 37950583 w 17"/>
                  <a:gd name="T11" fmla="*/ 7558882 h 3"/>
                  <a:gd name="T12" fmla="*/ 31253951 w 17"/>
                  <a:gd name="T13" fmla="*/ 7558882 h 3"/>
                  <a:gd name="T14" fmla="*/ 6696635 w 17"/>
                  <a:gd name="T15" fmla="*/ 7558882 h 3"/>
                  <a:gd name="T16" fmla="*/ 0 w 17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"/>
                  <a:gd name="T28" fmla="*/ 0 h 3"/>
                  <a:gd name="T29" fmla="*/ 17 w 17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" h="3">
                    <a:moveTo>
                      <a:pt x="0" y="0"/>
                    </a:move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0" name="Freeform 1251"/>
              <p:cNvSpPr>
                <a:spLocks noChangeAspect="1"/>
              </p:cNvSpPr>
              <p:nvPr>
                <p:custDataLst>
                  <p:tags r:id="rId368"/>
                </p:custDataLst>
              </p:nvPr>
            </p:nvSpPr>
            <p:spPr bwMode="gray">
              <a:xfrm>
                <a:off x="1708409" y="2916496"/>
                <a:ext cx="4557" cy="3154"/>
              </a:xfrm>
              <a:custGeom>
                <a:avLst/>
                <a:gdLst>
                  <a:gd name="T0" fmla="*/ 2722531 w 5"/>
                  <a:gd name="T1" fmla="*/ 0 h 2"/>
                  <a:gd name="T2" fmla="*/ 2722531 w 5"/>
                  <a:gd name="T3" fmla="*/ 0 h 2"/>
                  <a:gd name="T4" fmla="*/ 4537234 w 5"/>
                  <a:gd name="T5" fmla="*/ 0 h 2"/>
                  <a:gd name="T6" fmla="*/ 4537234 w 5"/>
                  <a:gd name="T7" fmla="*/ 0 h 2"/>
                  <a:gd name="T8" fmla="*/ 2722531 w 5"/>
                  <a:gd name="T9" fmla="*/ 5040312 h 2"/>
                  <a:gd name="T10" fmla="*/ 0 w 5"/>
                  <a:gd name="T11" fmla="*/ 5040312 h 2"/>
                  <a:gd name="T12" fmla="*/ 0 w 5"/>
                  <a:gd name="T13" fmla="*/ 0 h 2"/>
                  <a:gd name="T14" fmla="*/ 2722531 w 5"/>
                  <a:gd name="T15" fmla="*/ 0 h 2"/>
                  <a:gd name="T16" fmla="*/ 0 w 5"/>
                  <a:gd name="T17" fmla="*/ 0 h 2"/>
                  <a:gd name="T18" fmla="*/ 2722531 w 5"/>
                  <a:gd name="T19" fmla="*/ 0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2"/>
                  <a:gd name="T32" fmla="*/ 5 w 5"/>
                  <a:gd name="T33" fmla="*/ 2 h 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2">
                    <a:moveTo>
                      <a:pt x="3" y="0"/>
                    </a:moveTo>
                    <a:lnTo>
                      <a:pt x="3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1" name="Freeform 1252"/>
              <p:cNvSpPr>
                <a:spLocks noChangeAspect="1"/>
              </p:cNvSpPr>
              <p:nvPr>
                <p:custDataLst>
                  <p:tags r:id="rId369"/>
                </p:custDataLst>
              </p:nvPr>
            </p:nvSpPr>
            <p:spPr bwMode="gray">
              <a:xfrm>
                <a:off x="1708409" y="2916496"/>
                <a:ext cx="4557" cy="3154"/>
              </a:xfrm>
              <a:custGeom>
                <a:avLst/>
                <a:gdLst>
                  <a:gd name="T0" fmla="*/ 2722531 w 5"/>
                  <a:gd name="T1" fmla="*/ 0 h 2"/>
                  <a:gd name="T2" fmla="*/ 2722531 w 5"/>
                  <a:gd name="T3" fmla="*/ 0 h 2"/>
                  <a:gd name="T4" fmla="*/ 4537234 w 5"/>
                  <a:gd name="T5" fmla="*/ 0 h 2"/>
                  <a:gd name="T6" fmla="*/ 4537234 w 5"/>
                  <a:gd name="T7" fmla="*/ 0 h 2"/>
                  <a:gd name="T8" fmla="*/ 2722531 w 5"/>
                  <a:gd name="T9" fmla="*/ 5040312 h 2"/>
                  <a:gd name="T10" fmla="*/ 0 w 5"/>
                  <a:gd name="T11" fmla="*/ 5040312 h 2"/>
                  <a:gd name="T12" fmla="*/ 0 w 5"/>
                  <a:gd name="T13" fmla="*/ 0 h 2"/>
                  <a:gd name="T14" fmla="*/ 2722531 w 5"/>
                  <a:gd name="T15" fmla="*/ 0 h 2"/>
                  <a:gd name="T16" fmla="*/ 0 w 5"/>
                  <a:gd name="T17" fmla="*/ 0 h 2"/>
                  <a:gd name="T18" fmla="*/ 2722531 w 5"/>
                  <a:gd name="T19" fmla="*/ 0 h 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2"/>
                  <a:gd name="T32" fmla="*/ 5 w 5"/>
                  <a:gd name="T33" fmla="*/ 2 h 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2">
                    <a:moveTo>
                      <a:pt x="3" y="0"/>
                    </a:moveTo>
                    <a:lnTo>
                      <a:pt x="3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2" name="Freeform 1253"/>
              <p:cNvSpPr>
                <a:spLocks noChangeAspect="1"/>
              </p:cNvSpPr>
              <p:nvPr>
                <p:custDataLst>
                  <p:tags r:id="rId370"/>
                </p:custDataLst>
              </p:nvPr>
            </p:nvSpPr>
            <p:spPr bwMode="gray">
              <a:xfrm>
                <a:off x="1776742" y="2877077"/>
                <a:ext cx="24295" cy="23652"/>
              </a:xfrm>
              <a:custGeom>
                <a:avLst/>
                <a:gdLst>
                  <a:gd name="T0" fmla="*/ 0 w 19"/>
                  <a:gd name="T1" fmla="*/ 29845207 h 19"/>
                  <a:gd name="T2" fmla="*/ 0 w 19"/>
                  <a:gd name="T3" fmla="*/ 29845207 h 19"/>
                  <a:gd name="T4" fmla="*/ 3574716 w 19"/>
                  <a:gd name="T5" fmla="*/ 26703145 h 19"/>
                  <a:gd name="T6" fmla="*/ 14297526 w 19"/>
                  <a:gd name="T7" fmla="*/ 12566997 h 19"/>
                  <a:gd name="T8" fmla="*/ 14297526 w 19"/>
                  <a:gd name="T9" fmla="*/ 9424933 h 19"/>
                  <a:gd name="T10" fmla="*/ 25020337 w 19"/>
                  <a:gd name="T11" fmla="*/ 9424933 h 19"/>
                  <a:gd name="T12" fmla="*/ 25020337 w 19"/>
                  <a:gd name="T13" fmla="*/ 4712467 h 19"/>
                  <a:gd name="T14" fmla="*/ 33955786 w 19"/>
                  <a:gd name="T15" fmla="*/ 0 h 19"/>
                  <a:gd name="T16" fmla="*/ 33955786 w 19"/>
                  <a:gd name="T17" fmla="*/ 0 h 19"/>
                  <a:gd name="T18" fmla="*/ 33955786 w 19"/>
                  <a:gd name="T19" fmla="*/ 4712467 h 19"/>
                  <a:gd name="T20" fmla="*/ 33955786 w 19"/>
                  <a:gd name="T21" fmla="*/ 9424933 h 19"/>
                  <a:gd name="T22" fmla="*/ 25020337 w 19"/>
                  <a:gd name="T23" fmla="*/ 12566997 h 19"/>
                  <a:gd name="T24" fmla="*/ 8935452 w 19"/>
                  <a:gd name="T25" fmla="*/ 29845207 h 19"/>
                  <a:gd name="T26" fmla="*/ 3574716 w 19"/>
                  <a:gd name="T27" fmla="*/ 29845207 h 19"/>
                  <a:gd name="T28" fmla="*/ 3574716 w 19"/>
                  <a:gd name="T29" fmla="*/ 29845207 h 19"/>
                  <a:gd name="T30" fmla="*/ 0 w 19"/>
                  <a:gd name="T31" fmla="*/ 29845207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9"/>
                  <a:gd name="T49" fmla="*/ 0 h 19"/>
                  <a:gd name="T50" fmla="*/ 19 w 19"/>
                  <a:gd name="T51" fmla="*/ 19 h 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9" h="19">
                    <a:moveTo>
                      <a:pt x="0" y="19"/>
                    </a:moveTo>
                    <a:lnTo>
                      <a:pt x="0" y="19"/>
                    </a:lnTo>
                    <a:lnTo>
                      <a:pt x="2" y="17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9" y="6"/>
                    </a:lnTo>
                    <a:lnTo>
                      <a:pt x="14" y="8"/>
                    </a:lnTo>
                    <a:lnTo>
                      <a:pt x="5" y="19"/>
                    </a:lnTo>
                    <a:lnTo>
                      <a:pt x="2" y="19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3" name="Freeform 1254"/>
              <p:cNvSpPr>
                <a:spLocks noChangeAspect="1"/>
              </p:cNvSpPr>
              <p:nvPr>
                <p:custDataLst>
                  <p:tags r:id="rId371"/>
                </p:custDataLst>
              </p:nvPr>
            </p:nvSpPr>
            <p:spPr bwMode="gray">
              <a:xfrm>
                <a:off x="1776742" y="2877077"/>
                <a:ext cx="24295" cy="23652"/>
              </a:xfrm>
              <a:custGeom>
                <a:avLst/>
                <a:gdLst>
                  <a:gd name="T0" fmla="*/ 0 w 19"/>
                  <a:gd name="T1" fmla="*/ 29845207 h 19"/>
                  <a:gd name="T2" fmla="*/ 0 w 19"/>
                  <a:gd name="T3" fmla="*/ 29845207 h 19"/>
                  <a:gd name="T4" fmla="*/ 3574716 w 19"/>
                  <a:gd name="T5" fmla="*/ 26703145 h 19"/>
                  <a:gd name="T6" fmla="*/ 14297526 w 19"/>
                  <a:gd name="T7" fmla="*/ 12566997 h 19"/>
                  <a:gd name="T8" fmla="*/ 14297526 w 19"/>
                  <a:gd name="T9" fmla="*/ 9424933 h 19"/>
                  <a:gd name="T10" fmla="*/ 25020337 w 19"/>
                  <a:gd name="T11" fmla="*/ 9424933 h 19"/>
                  <a:gd name="T12" fmla="*/ 25020337 w 19"/>
                  <a:gd name="T13" fmla="*/ 4712467 h 19"/>
                  <a:gd name="T14" fmla="*/ 33955786 w 19"/>
                  <a:gd name="T15" fmla="*/ 0 h 19"/>
                  <a:gd name="T16" fmla="*/ 33955786 w 19"/>
                  <a:gd name="T17" fmla="*/ 0 h 19"/>
                  <a:gd name="T18" fmla="*/ 33955786 w 19"/>
                  <a:gd name="T19" fmla="*/ 4712467 h 19"/>
                  <a:gd name="T20" fmla="*/ 33955786 w 19"/>
                  <a:gd name="T21" fmla="*/ 9424933 h 19"/>
                  <a:gd name="T22" fmla="*/ 25020337 w 19"/>
                  <a:gd name="T23" fmla="*/ 12566997 h 19"/>
                  <a:gd name="T24" fmla="*/ 8935452 w 19"/>
                  <a:gd name="T25" fmla="*/ 29845207 h 19"/>
                  <a:gd name="T26" fmla="*/ 3574716 w 19"/>
                  <a:gd name="T27" fmla="*/ 29845207 h 19"/>
                  <a:gd name="T28" fmla="*/ 3574716 w 19"/>
                  <a:gd name="T29" fmla="*/ 29845207 h 19"/>
                  <a:gd name="T30" fmla="*/ 0 w 19"/>
                  <a:gd name="T31" fmla="*/ 29845207 h 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9"/>
                  <a:gd name="T49" fmla="*/ 0 h 19"/>
                  <a:gd name="T50" fmla="*/ 19 w 19"/>
                  <a:gd name="T51" fmla="*/ 19 h 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9" h="19">
                    <a:moveTo>
                      <a:pt x="0" y="19"/>
                    </a:moveTo>
                    <a:lnTo>
                      <a:pt x="0" y="19"/>
                    </a:lnTo>
                    <a:lnTo>
                      <a:pt x="2" y="17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9" y="0"/>
                    </a:lnTo>
                    <a:lnTo>
                      <a:pt x="19" y="3"/>
                    </a:lnTo>
                    <a:lnTo>
                      <a:pt x="19" y="6"/>
                    </a:lnTo>
                    <a:lnTo>
                      <a:pt x="14" y="8"/>
                    </a:lnTo>
                    <a:lnTo>
                      <a:pt x="5" y="19"/>
                    </a:lnTo>
                    <a:lnTo>
                      <a:pt x="2" y="19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4" name="Freeform 1255"/>
              <p:cNvSpPr>
                <a:spLocks noChangeAspect="1"/>
              </p:cNvSpPr>
              <p:nvPr>
                <p:custDataLst>
                  <p:tags r:id="rId372"/>
                </p:custDataLst>
              </p:nvPr>
            </p:nvSpPr>
            <p:spPr bwMode="gray">
              <a:xfrm>
                <a:off x="1805593" y="2862886"/>
                <a:ext cx="28851" cy="20498"/>
              </a:xfrm>
              <a:custGeom>
                <a:avLst/>
                <a:gdLst>
                  <a:gd name="T0" fmla="*/ 5639111 w 22"/>
                  <a:gd name="T1" fmla="*/ 25052102 h 17"/>
                  <a:gd name="T2" fmla="*/ 0 w 22"/>
                  <a:gd name="T3" fmla="*/ 25052102 h 17"/>
                  <a:gd name="T4" fmla="*/ 0 w 22"/>
                  <a:gd name="T5" fmla="*/ 25052102 h 17"/>
                  <a:gd name="T6" fmla="*/ 15037627 w 22"/>
                  <a:gd name="T7" fmla="*/ 20630931 h 17"/>
                  <a:gd name="T8" fmla="*/ 20678106 w 22"/>
                  <a:gd name="T9" fmla="*/ 16209754 h 17"/>
                  <a:gd name="T10" fmla="*/ 20678106 w 22"/>
                  <a:gd name="T11" fmla="*/ 11789796 h 17"/>
                  <a:gd name="T12" fmla="*/ 20678106 w 22"/>
                  <a:gd name="T13" fmla="*/ 7368622 h 17"/>
                  <a:gd name="T14" fmla="*/ 26317219 w 22"/>
                  <a:gd name="T15" fmla="*/ 11789796 h 17"/>
                  <a:gd name="T16" fmla="*/ 26317219 w 22"/>
                  <a:gd name="T17" fmla="*/ 7368622 h 17"/>
                  <a:gd name="T18" fmla="*/ 26317219 w 22"/>
                  <a:gd name="T19" fmla="*/ 7368622 h 17"/>
                  <a:gd name="T20" fmla="*/ 20678106 w 22"/>
                  <a:gd name="T21" fmla="*/ 7368622 h 17"/>
                  <a:gd name="T22" fmla="*/ 20678106 w 22"/>
                  <a:gd name="T23" fmla="*/ 4421173 h 17"/>
                  <a:gd name="T24" fmla="*/ 20678106 w 22"/>
                  <a:gd name="T25" fmla="*/ 0 h 17"/>
                  <a:gd name="T26" fmla="*/ 26317219 w 22"/>
                  <a:gd name="T27" fmla="*/ 0 h 17"/>
                  <a:gd name="T28" fmla="*/ 31956327 w 22"/>
                  <a:gd name="T29" fmla="*/ 0 h 17"/>
                  <a:gd name="T30" fmla="*/ 31956327 w 22"/>
                  <a:gd name="T31" fmla="*/ 0 h 17"/>
                  <a:gd name="T32" fmla="*/ 35715732 w 22"/>
                  <a:gd name="T33" fmla="*/ 4421173 h 17"/>
                  <a:gd name="T34" fmla="*/ 41354840 w 22"/>
                  <a:gd name="T35" fmla="*/ 0 h 17"/>
                  <a:gd name="T36" fmla="*/ 41354840 w 22"/>
                  <a:gd name="T37" fmla="*/ 0 h 17"/>
                  <a:gd name="T38" fmla="*/ 41354840 w 22"/>
                  <a:gd name="T39" fmla="*/ 0 h 17"/>
                  <a:gd name="T40" fmla="*/ 41354840 w 22"/>
                  <a:gd name="T41" fmla="*/ 4421173 h 17"/>
                  <a:gd name="T42" fmla="*/ 35715732 w 22"/>
                  <a:gd name="T43" fmla="*/ 7368622 h 17"/>
                  <a:gd name="T44" fmla="*/ 35715732 w 22"/>
                  <a:gd name="T45" fmla="*/ 7368622 h 17"/>
                  <a:gd name="T46" fmla="*/ 41354840 w 22"/>
                  <a:gd name="T47" fmla="*/ 7368622 h 17"/>
                  <a:gd name="T48" fmla="*/ 41354840 w 22"/>
                  <a:gd name="T49" fmla="*/ 11789796 h 17"/>
                  <a:gd name="T50" fmla="*/ 35715732 w 22"/>
                  <a:gd name="T51" fmla="*/ 11789796 h 17"/>
                  <a:gd name="T52" fmla="*/ 31956327 w 22"/>
                  <a:gd name="T53" fmla="*/ 16209754 h 17"/>
                  <a:gd name="T54" fmla="*/ 31956327 w 22"/>
                  <a:gd name="T55" fmla="*/ 20630931 h 17"/>
                  <a:gd name="T56" fmla="*/ 26317219 w 22"/>
                  <a:gd name="T57" fmla="*/ 20630931 h 17"/>
                  <a:gd name="T58" fmla="*/ 15037627 w 22"/>
                  <a:gd name="T59" fmla="*/ 25052102 h 17"/>
                  <a:gd name="T60" fmla="*/ 5639111 w 22"/>
                  <a:gd name="T61" fmla="*/ 25052102 h 1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2"/>
                  <a:gd name="T94" fmla="*/ 0 h 17"/>
                  <a:gd name="T95" fmla="*/ 22 w 22"/>
                  <a:gd name="T96" fmla="*/ 17 h 1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2" h="17">
                    <a:moveTo>
                      <a:pt x="3" y="17"/>
                    </a:moveTo>
                    <a:lnTo>
                      <a:pt x="0" y="17"/>
                    </a:lnTo>
                    <a:lnTo>
                      <a:pt x="8" y="14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3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19" y="5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19" y="8"/>
                    </a:lnTo>
                    <a:lnTo>
                      <a:pt x="17" y="11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8" y="17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5" name="Freeform 1256"/>
              <p:cNvSpPr>
                <a:spLocks noChangeAspect="1"/>
              </p:cNvSpPr>
              <p:nvPr>
                <p:custDataLst>
                  <p:tags r:id="rId373"/>
                </p:custDataLst>
              </p:nvPr>
            </p:nvSpPr>
            <p:spPr bwMode="gray">
              <a:xfrm>
                <a:off x="1805593" y="2862886"/>
                <a:ext cx="28851" cy="20498"/>
              </a:xfrm>
              <a:custGeom>
                <a:avLst/>
                <a:gdLst>
                  <a:gd name="T0" fmla="*/ 5639111 w 22"/>
                  <a:gd name="T1" fmla="*/ 25052102 h 17"/>
                  <a:gd name="T2" fmla="*/ 0 w 22"/>
                  <a:gd name="T3" fmla="*/ 25052102 h 17"/>
                  <a:gd name="T4" fmla="*/ 0 w 22"/>
                  <a:gd name="T5" fmla="*/ 25052102 h 17"/>
                  <a:gd name="T6" fmla="*/ 15037627 w 22"/>
                  <a:gd name="T7" fmla="*/ 20630931 h 17"/>
                  <a:gd name="T8" fmla="*/ 20678106 w 22"/>
                  <a:gd name="T9" fmla="*/ 16209754 h 17"/>
                  <a:gd name="T10" fmla="*/ 20678106 w 22"/>
                  <a:gd name="T11" fmla="*/ 11789796 h 17"/>
                  <a:gd name="T12" fmla="*/ 20678106 w 22"/>
                  <a:gd name="T13" fmla="*/ 7368622 h 17"/>
                  <a:gd name="T14" fmla="*/ 26317219 w 22"/>
                  <a:gd name="T15" fmla="*/ 11789796 h 17"/>
                  <a:gd name="T16" fmla="*/ 26317219 w 22"/>
                  <a:gd name="T17" fmla="*/ 7368622 h 17"/>
                  <a:gd name="T18" fmla="*/ 26317219 w 22"/>
                  <a:gd name="T19" fmla="*/ 7368622 h 17"/>
                  <a:gd name="T20" fmla="*/ 20678106 w 22"/>
                  <a:gd name="T21" fmla="*/ 7368622 h 17"/>
                  <a:gd name="T22" fmla="*/ 20678106 w 22"/>
                  <a:gd name="T23" fmla="*/ 4421173 h 17"/>
                  <a:gd name="T24" fmla="*/ 20678106 w 22"/>
                  <a:gd name="T25" fmla="*/ 0 h 17"/>
                  <a:gd name="T26" fmla="*/ 26317219 w 22"/>
                  <a:gd name="T27" fmla="*/ 0 h 17"/>
                  <a:gd name="T28" fmla="*/ 31956327 w 22"/>
                  <a:gd name="T29" fmla="*/ 0 h 17"/>
                  <a:gd name="T30" fmla="*/ 31956327 w 22"/>
                  <a:gd name="T31" fmla="*/ 0 h 17"/>
                  <a:gd name="T32" fmla="*/ 35715732 w 22"/>
                  <a:gd name="T33" fmla="*/ 4421173 h 17"/>
                  <a:gd name="T34" fmla="*/ 41354840 w 22"/>
                  <a:gd name="T35" fmla="*/ 0 h 17"/>
                  <a:gd name="T36" fmla="*/ 41354840 w 22"/>
                  <a:gd name="T37" fmla="*/ 0 h 17"/>
                  <a:gd name="T38" fmla="*/ 41354840 w 22"/>
                  <a:gd name="T39" fmla="*/ 0 h 17"/>
                  <a:gd name="T40" fmla="*/ 41354840 w 22"/>
                  <a:gd name="T41" fmla="*/ 4421173 h 17"/>
                  <a:gd name="T42" fmla="*/ 35715732 w 22"/>
                  <a:gd name="T43" fmla="*/ 7368622 h 17"/>
                  <a:gd name="T44" fmla="*/ 35715732 w 22"/>
                  <a:gd name="T45" fmla="*/ 7368622 h 17"/>
                  <a:gd name="T46" fmla="*/ 41354840 w 22"/>
                  <a:gd name="T47" fmla="*/ 7368622 h 17"/>
                  <a:gd name="T48" fmla="*/ 41354840 w 22"/>
                  <a:gd name="T49" fmla="*/ 11789796 h 17"/>
                  <a:gd name="T50" fmla="*/ 35715732 w 22"/>
                  <a:gd name="T51" fmla="*/ 11789796 h 17"/>
                  <a:gd name="T52" fmla="*/ 31956327 w 22"/>
                  <a:gd name="T53" fmla="*/ 16209754 h 17"/>
                  <a:gd name="T54" fmla="*/ 31956327 w 22"/>
                  <a:gd name="T55" fmla="*/ 20630931 h 17"/>
                  <a:gd name="T56" fmla="*/ 26317219 w 22"/>
                  <a:gd name="T57" fmla="*/ 20630931 h 17"/>
                  <a:gd name="T58" fmla="*/ 15037627 w 22"/>
                  <a:gd name="T59" fmla="*/ 25052102 h 17"/>
                  <a:gd name="T60" fmla="*/ 5639111 w 22"/>
                  <a:gd name="T61" fmla="*/ 25052102 h 1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2"/>
                  <a:gd name="T94" fmla="*/ 0 h 17"/>
                  <a:gd name="T95" fmla="*/ 22 w 22"/>
                  <a:gd name="T96" fmla="*/ 17 h 1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2" h="17">
                    <a:moveTo>
                      <a:pt x="3" y="17"/>
                    </a:moveTo>
                    <a:lnTo>
                      <a:pt x="0" y="17"/>
                    </a:lnTo>
                    <a:lnTo>
                      <a:pt x="8" y="14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11" y="5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9" y="3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19" y="5"/>
                    </a:lnTo>
                    <a:lnTo>
                      <a:pt x="22" y="5"/>
                    </a:lnTo>
                    <a:lnTo>
                      <a:pt x="22" y="8"/>
                    </a:lnTo>
                    <a:lnTo>
                      <a:pt x="19" y="8"/>
                    </a:lnTo>
                    <a:lnTo>
                      <a:pt x="17" y="11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8" y="17"/>
                    </a:lnTo>
                    <a:lnTo>
                      <a:pt x="3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6" name="Freeform 1257"/>
              <p:cNvSpPr>
                <a:spLocks noChangeAspect="1"/>
              </p:cNvSpPr>
              <p:nvPr>
                <p:custDataLst>
                  <p:tags r:id="rId374"/>
                </p:custDataLst>
              </p:nvPr>
            </p:nvSpPr>
            <p:spPr bwMode="gray">
              <a:xfrm>
                <a:off x="1842034" y="2851849"/>
                <a:ext cx="7593" cy="7884"/>
              </a:xfrm>
              <a:custGeom>
                <a:avLst/>
                <a:gdLst>
                  <a:gd name="T0" fmla="*/ 0 w 5"/>
                  <a:gd name="T1" fmla="*/ 0 h 6"/>
                  <a:gd name="T2" fmla="*/ 7561739 w 5"/>
                  <a:gd name="T3" fmla="*/ 5250987 h 6"/>
                  <a:gd name="T4" fmla="*/ 7561739 w 5"/>
                  <a:gd name="T5" fmla="*/ 5250987 h 6"/>
                  <a:gd name="T6" fmla="*/ 12602367 w 5"/>
                  <a:gd name="T7" fmla="*/ 10501973 h 6"/>
                  <a:gd name="T8" fmla="*/ 7561739 w 5"/>
                  <a:gd name="T9" fmla="*/ 10501973 h 6"/>
                  <a:gd name="T10" fmla="*/ 0 w 5"/>
                  <a:gd name="T11" fmla="*/ 10501973 h 6"/>
                  <a:gd name="T12" fmla="*/ 0 w 5"/>
                  <a:gd name="T13" fmla="*/ 5250987 h 6"/>
                  <a:gd name="T14" fmla="*/ 0 w 5"/>
                  <a:gd name="T15" fmla="*/ 5250987 h 6"/>
                  <a:gd name="T16" fmla="*/ 0 w 5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6"/>
                  <a:gd name="T29" fmla="*/ 5 w 5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6">
                    <a:moveTo>
                      <a:pt x="0" y="0"/>
                    </a:moveTo>
                    <a:lnTo>
                      <a:pt x="3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7" name="Freeform 1258"/>
              <p:cNvSpPr>
                <a:spLocks noChangeAspect="1"/>
              </p:cNvSpPr>
              <p:nvPr>
                <p:custDataLst>
                  <p:tags r:id="rId375"/>
                </p:custDataLst>
              </p:nvPr>
            </p:nvSpPr>
            <p:spPr bwMode="gray">
              <a:xfrm>
                <a:off x="1842034" y="2851849"/>
                <a:ext cx="7593" cy="7884"/>
              </a:xfrm>
              <a:custGeom>
                <a:avLst/>
                <a:gdLst>
                  <a:gd name="T0" fmla="*/ 0 w 5"/>
                  <a:gd name="T1" fmla="*/ 0 h 6"/>
                  <a:gd name="T2" fmla="*/ 7561739 w 5"/>
                  <a:gd name="T3" fmla="*/ 5250987 h 6"/>
                  <a:gd name="T4" fmla="*/ 7561739 w 5"/>
                  <a:gd name="T5" fmla="*/ 5250987 h 6"/>
                  <a:gd name="T6" fmla="*/ 12602367 w 5"/>
                  <a:gd name="T7" fmla="*/ 10501973 h 6"/>
                  <a:gd name="T8" fmla="*/ 7561739 w 5"/>
                  <a:gd name="T9" fmla="*/ 10501973 h 6"/>
                  <a:gd name="T10" fmla="*/ 0 w 5"/>
                  <a:gd name="T11" fmla="*/ 10501973 h 6"/>
                  <a:gd name="T12" fmla="*/ 0 w 5"/>
                  <a:gd name="T13" fmla="*/ 5250987 h 6"/>
                  <a:gd name="T14" fmla="*/ 0 w 5"/>
                  <a:gd name="T15" fmla="*/ 5250987 h 6"/>
                  <a:gd name="T16" fmla="*/ 0 w 5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6"/>
                  <a:gd name="T29" fmla="*/ 5 w 5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6">
                    <a:moveTo>
                      <a:pt x="0" y="0"/>
                    </a:moveTo>
                    <a:lnTo>
                      <a:pt x="3" y="3"/>
                    </a:lnTo>
                    <a:lnTo>
                      <a:pt x="5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8" name="Freeform 1259"/>
              <p:cNvSpPr>
                <a:spLocks noChangeAspect="1"/>
              </p:cNvSpPr>
              <p:nvPr>
                <p:custDataLst>
                  <p:tags r:id="rId376"/>
                </p:custDataLst>
              </p:nvPr>
            </p:nvSpPr>
            <p:spPr bwMode="gray">
              <a:xfrm>
                <a:off x="1863294" y="2823466"/>
                <a:ext cx="36444" cy="25227"/>
              </a:xfrm>
              <a:custGeom>
                <a:avLst/>
                <a:gdLst>
                  <a:gd name="T0" fmla="*/ 0 w 28"/>
                  <a:gd name="T1" fmla="*/ 22580601 h 20"/>
                  <a:gd name="T2" fmla="*/ 11108871 w 28"/>
                  <a:gd name="T3" fmla="*/ 14516099 h 20"/>
                  <a:gd name="T4" fmla="*/ 16663308 w 28"/>
                  <a:gd name="T5" fmla="*/ 4838699 h 20"/>
                  <a:gd name="T6" fmla="*/ 22219103 w 28"/>
                  <a:gd name="T7" fmla="*/ 9677399 h 20"/>
                  <a:gd name="T8" fmla="*/ 25921611 w 28"/>
                  <a:gd name="T9" fmla="*/ 4838699 h 20"/>
                  <a:gd name="T10" fmla="*/ 37030479 w 28"/>
                  <a:gd name="T11" fmla="*/ 0 h 20"/>
                  <a:gd name="T12" fmla="*/ 42584913 w 28"/>
                  <a:gd name="T13" fmla="*/ 0 h 20"/>
                  <a:gd name="T14" fmla="*/ 46288787 w 28"/>
                  <a:gd name="T15" fmla="*/ 14516099 h 20"/>
                  <a:gd name="T16" fmla="*/ 46288787 w 28"/>
                  <a:gd name="T17" fmla="*/ 14516099 h 20"/>
                  <a:gd name="T18" fmla="*/ 51843221 w 28"/>
                  <a:gd name="T19" fmla="*/ 14516099 h 20"/>
                  <a:gd name="T20" fmla="*/ 51843221 w 28"/>
                  <a:gd name="T21" fmla="*/ 14516099 h 20"/>
                  <a:gd name="T22" fmla="*/ 51843221 w 28"/>
                  <a:gd name="T23" fmla="*/ 17741898 h 20"/>
                  <a:gd name="T24" fmla="*/ 51843221 w 28"/>
                  <a:gd name="T25" fmla="*/ 17741898 h 20"/>
                  <a:gd name="T26" fmla="*/ 46288787 w 28"/>
                  <a:gd name="T27" fmla="*/ 17741898 h 20"/>
                  <a:gd name="T28" fmla="*/ 46288787 w 28"/>
                  <a:gd name="T29" fmla="*/ 17741898 h 20"/>
                  <a:gd name="T30" fmla="*/ 37030479 w 28"/>
                  <a:gd name="T31" fmla="*/ 22580601 h 20"/>
                  <a:gd name="T32" fmla="*/ 25921611 w 28"/>
                  <a:gd name="T33" fmla="*/ 22580601 h 20"/>
                  <a:gd name="T34" fmla="*/ 11108871 w 28"/>
                  <a:gd name="T35" fmla="*/ 32257998 h 20"/>
                  <a:gd name="T36" fmla="*/ 5554436 w 28"/>
                  <a:gd name="T37" fmla="*/ 27419299 h 20"/>
                  <a:gd name="T38" fmla="*/ 0 w 28"/>
                  <a:gd name="T39" fmla="*/ 22580601 h 2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8"/>
                  <a:gd name="T61" fmla="*/ 0 h 20"/>
                  <a:gd name="T62" fmla="*/ 28 w 28"/>
                  <a:gd name="T63" fmla="*/ 20 h 2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8" h="20">
                    <a:moveTo>
                      <a:pt x="0" y="14"/>
                    </a:moveTo>
                    <a:lnTo>
                      <a:pt x="6" y="9"/>
                    </a:lnTo>
                    <a:lnTo>
                      <a:pt x="9" y="3"/>
                    </a:lnTo>
                    <a:lnTo>
                      <a:pt x="12" y="6"/>
                    </a:lnTo>
                    <a:lnTo>
                      <a:pt x="14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5" y="9"/>
                    </a:lnTo>
                    <a:lnTo>
                      <a:pt x="28" y="9"/>
                    </a:lnTo>
                    <a:lnTo>
                      <a:pt x="28" y="11"/>
                    </a:lnTo>
                    <a:lnTo>
                      <a:pt x="25" y="11"/>
                    </a:lnTo>
                    <a:lnTo>
                      <a:pt x="20" y="14"/>
                    </a:lnTo>
                    <a:lnTo>
                      <a:pt x="14" y="14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9" name="Freeform 1260"/>
              <p:cNvSpPr>
                <a:spLocks noChangeAspect="1"/>
              </p:cNvSpPr>
              <p:nvPr>
                <p:custDataLst>
                  <p:tags r:id="rId377"/>
                </p:custDataLst>
              </p:nvPr>
            </p:nvSpPr>
            <p:spPr bwMode="gray">
              <a:xfrm>
                <a:off x="1863294" y="2823466"/>
                <a:ext cx="36444" cy="25227"/>
              </a:xfrm>
              <a:custGeom>
                <a:avLst/>
                <a:gdLst>
                  <a:gd name="T0" fmla="*/ 0 w 28"/>
                  <a:gd name="T1" fmla="*/ 22580601 h 20"/>
                  <a:gd name="T2" fmla="*/ 11108871 w 28"/>
                  <a:gd name="T3" fmla="*/ 14516099 h 20"/>
                  <a:gd name="T4" fmla="*/ 16663308 w 28"/>
                  <a:gd name="T5" fmla="*/ 4838699 h 20"/>
                  <a:gd name="T6" fmla="*/ 22219103 w 28"/>
                  <a:gd name="T7" fmla="*/ 9677399 h 20"/>
                  <a:gd name="T8" fmla="*/ 25921611 w 28"/>
                  <a:gd name="T9" fmla="*/ 4838699 h 20"/>
                  <a:gd name="T10" fmla="*/ 37030479 w 28"/>
                  <a:gd name="T11" fmla="*/ 0 h 20"/>
                  <a:gd name="T12" fmla="*/ 42584913 w 28"/>
                  <a:gd name="T13" fmla="*/ 0 h 20"/>
                  <a:gd name="T14" fmla="*/ 46288787 w 28"/>
                  <a:gd name="T15" fmla="*/ 14516099 h 20"/>
                  <a:gd name="T16" fmla="*/ 46288787 w 28"/>
                  <a:gd name="T17" fmla="*/ 14516099 h 20"/>
                  <a:gd name="T18" fmla="*/ 51843221 w 28"/>
                  <a:gd name="T19" fmla="*/ 14516099 h 20"/>
                  <a:gd name="T20" fmla="*/ 51843221 w 28"/>
                  <a:gd name="T21" fmla="*/ 14516099 h 20"/>
                  <a:gd name="T22" fmla="*/ 51843221 w 28"/>
                  <a:gd name="T23" fmla="*/ 17741898 h 20"/>
                  <a:gd name="T24" fmla="*/ 51843221 w 28"/>
                  <a:gd name="T25" fmla="*/ 17741898 h 20"/>
                  <a:gd name="T26" fmla="*/ 46288787 w 28"/>
                  <a:gd name="T27" fmla="*/ 17741898 h 20"/>
                  <a:gd name="T28" fmla="*/ 46288787 w 28"/>
                  <a:gd name="T29" fmla="*/ 17741898 h 20"/>
                  <a:gd name="T30" fmla="*/ 37030479 w 28"/>
                  <a:gd name="T31" fmla="*/ 22580601 h 20"/>
                  <a:gd name="T32" fmla="*/ 25921611 w 28"/>
                  <a:gd name="T33" fmla="*/ 22580601 h 20"/>
                  <a:gd name="T34" fmla="*/ 11108871 w 28"/>
                  <a:gd name="T35" fmla="*/ 32257998 h 20"/>
                  <a:gd name="T36" fmla="*/ 5554436 w 28"/>
                  <a:gd name="T37" fmla="*/ 27419299 h 20"/>
                  <a:gd name="T38" fmla="*/ 0 w 28"/>
                  <a:gd name="T39" fmla="*/ 22580601 h 2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8"/>
                  <a:gd name="T61" fmla="*/ 0 h 20"/>
                  <a:gd name="T62" fmla="*/ 28 w 28"/>
                  <a:gd name="T63" fmla="*/ 20 h 2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8" h="20">
                    <a:moveTo>
                      <a:pt x="0" y="14"/>
                    </a:moveTo>
                    <a:lnTo>
                      <a:pt x="6" y="9"/>
                    </a:lnTo>
                    <a:lnTo>
                      <a:pt x="9" y="3"/>
                    </a:lnTo>
                    <a:lnTo>
                      <a:pt x="12" y="6"/>
                    </a:lnTo>
                    <a:lnTo>
                      <a:pt x="14" y="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5" y="9"/>
                    </a:lnTo>
                    <a:lnTo>
                      <a:pt x="28" y="9"/>
                    </a:lnTo>
                    <a:lnTo>
                      <a:pt x="28" y="11"/>
                    </a:lnTo>
                    <a:lnTo>
                      <a:pt x="25" y="11"/>
                    </a:lnTo>
                    <a:lnTo>
                      <a:pt x="20" y="14"/>
                    </a:lnTo>
                    <a:lnTo>
                      <a:pt x="14" y="14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0" y="1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0" name="Freeform 1261"/>
              <p:cNvSpPr>
                <a:spLocks noChangeAspect="1"/>
              </p:cNvSpPr>
              <p:nvPr>
                <p:custDataLst>
                  <p:tags r:id="rId378"/>
                </p:custDataLst>
              </p:nvPr>
            </p:nvSpPr>
            <p:spPr bwMode="gray">
              <a:xfrm>
                <a:off x="1907330" y="2843966"/>
                <a:ext cx="6074" cy="4730"/>
              </a:xfrm>
              <a:custGeom>
                <a:avLst/>
                <a:gdLst>
                  <a:gd name="T0" fmla="*/ 0 w 5"/>
                  <a:gd name="T1" fmla="*/ 0 h 3"/>
                  <a:gd name="T2" fmla="*/ 4838699 w 5"/>
                  <a:gd name="T3" fmla="*/ 0 h 3"/>
                  <a:gd name="T4" fmla="*/ 4838699 w 5"/>
                  <a:gd name="T5" fmla="*/ 0 h 3"/>
                  <a:gd name="T6" fmla="*/ 8064499 w 5"/>
                  <a:gd name="T7" fmla="*/ 7558882 h 3"/>
                  <a:gd name="T8" fmla="*/ 4838699 w 5"/>
                  <a:gd name="T9" fmla="*/ 7558882 h 3"/>
                  <a:gd name="T10" fmla="*/ 4838699 w 5"/>
                  <a:gd name="T11" fmla="*/ 7558882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1" name="Freeform 1262"/>
              <p:cNvSpPr>
                <a:spLocks noChangeAspect="1"/>
              </p:cNvSpPr>
              <p:nvPr>
                <p:custDataLst>
                  <p:tags r:id="rId379"/>
                </p:custDataLst>
              </p:nvPr>
            </p:nvSpPr>
            <p:spPr bwMode="gray">
              <a:xfrm>
                <a:off x="1907330" y="2843966"/>
                <a:ext cx="6074" cy="4730"/>
              </a:xfrm>
              <a:custGeom>
                <a:avLst/>
                <a:gdLst>
                  <a:gd name="T0" fmla="*/ 0 w 5"/>
                  <a:gd name="T1" fmla="*/ 0 h 3"/>
                  <a:gd name="T2" fmla="*/ 4838699 w 5"/>
                  <a:gd name="T3" fmla="*/ 0 h 3"/>
                  <a:gd name="T4" fmla="*/ 4838699 w 5"/>
                  <a:gd name="T5" fmla="*/ 0 h 3"/>
                  <a:gd name="T6" fmla="*/ 8064499 w 5"/>
                  <a:gd name="T7" fmla="*/ 7558882 h 3"/>
                  <a:gd name="T8" fmla="*/ 4838699 w 5"/>
                  <a:gd name="T9" fmla="*/ 7558882 h 3"/>
                  <a:gd name="T10" fmla="*/ 4838699 w 5"/>
                  <a:gd name="T11" fmla="*/ 7558882 h 3"/>
                  <a:gd name="T12" fmla="*/ 0 w 5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3"/>
                  <a:gd name="T23" fmla="*/ 5 w 5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3">
                    <a:moveTo>
                      <a:pt x="0" y="0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2" name="Freeform 1263"/>
              <p:cNvSpPr>
                <a:spLocks noChangeAspect="1"/>
              </p:cNvSpPr>
              <p:nvPr>
                <p:custDataLst>
                  <p:tags r:id="rId380"/>
                </p:custDataLst>
              </p:nvPr>
            </p:nvSpPr>
            <p:spPr bwMode="gray">
              <a:xfrm>
                <a:off x="1949846" y="2812431"/>
                <a:ext cx="3037" cy="6307"/>
              </a:xfrm>
              <a:custGeom>
                <a:avLst/>
                <a:gdLst>
                  <a:gd name="T0" fmla="*/ 3360208 w 3"/>
                  <a:gd name="T1" fmla="*/ 4838699 h 5"/>
                  <a:gd name="T2" fmla="*/ 0 w 3"/>
                  <a:gd name="T3" fmla="*/ 0 h 5"/>
                  <a:gd name="T4" fmla="*/ 0 w 3"/>
                  <a:gd name="T5" fmla="*/ 4838699 h 5"/>
                  <a:gd name="T6" fmla="*/ 0 w 3"/>
                  <a:gd name="T7" fmla="*/ 4838699 h 5"/>
                  <a:gd name="T8" fmla="*/ 3360208 w 3"/>
                  <a:gd name="T9" fmla="*/ 0 h 5"/>
                  <a:gd name="T10" fmla="*/ 3360208 w 3"/>
                  <a:gd name="T11" fmla="*/ 0 h 5"/>
                  <a:gd name="T12" fmla="*/ 3360208 w 3"/>
                  <a:gd name="T13" fmla="*/ 0 h 5"/>
                  <a:gd name="T14" fmla="*/ 3360208 w 3"/>
                  <a:gd name="T15" fmla="*/ 4838699 h 5"/>
                  <a:gd name="T16" fmla="*/ 3360208 w 3"/>
                  <a:gd name="T17" fmla="*/ 8064499 h 5"/>
                  <a:gd name="T18" fmla="*/ 3360208 w 3"/>
                  <a:gd name="T19" fmla="*/ 8064499 h 5"/>
                  <a:gd name="T20" fmla="*/ 0 w 3"/>
                  <a:gd name="T21" fmla="*/ 8064499 h 5"/>
                  <a:gd name="T22" fmla="*/ 0 w 3"/>
                  <a:gd name="T23" fmla="*/ 8064499 h 5"/>
                  <a:gd name="T24" fmla="*/ 0 w 3"/>
                  <a:gd name="T25" fmla="*/ 0 h 5"/>
                  <a:gd name="T26" fmla="*/ 0 w 3"/>
                  <a:gd name="T27" fmla="*/ 0 h 5"/>
                  <a:gd name="T28" fmla="*/ 0 w 3"/>
                  <a:gd name="T29" fmla="*/ 4838699 h 5"/>
                  <a:gd name="T30" fmla="*/ 0 w 3"/>
                  <a:gd name="T31" fmla="*/ 4838699 h 5"/>
                  <a:gd name="T32" fmla="*/ 3360208 w 3"/>
                  <a:gd name="T33" fmla="*/ 4838699 h 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"/>
                  <a:gd name="T52" fmla="*/ 0 h 5"/>
                  <a:gd name="T53" fmla="*/ 3 w 3"/>
                  <a:gd name="T54" fmla="*/ 5 h 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" h="5">
                    <a:moveTo>
                      <a:pt x="3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4" name="Freeform 1264"/>
              <p:cNvSpPr>
                <a:spLocks noChangeAspect="1"/>
              </p:cNvSpPr>
              <p:nvPr>
                <p:custDataLst>
                  <p:tags r:id="rId381"/>
                </p:custDataLst>
              </p:nvPr>
            </p:nvSpPr>
            <p:spPr bwMode="gray">
              <a:xfrm>
                <a:off x="1949846" y="2812431"/>
                <a:ext cx="3037" cy="6307"/>
              </a:xfrm>
              <a:custGeom>
                <a:avLst/>
                <a:gdLst>
                  <a:gd name="T0" fmla="*/ 3360208 w 3"/>
                  <a:gd name="T1" fmla="*/ 4838699 h 5"/>
                  <a:gd name="T2" fmla="*/ 0 w 3"/>
                  <a:gd name="T3" fmla="*/ 0 h 5"/>
                  <a:gd name="T4" fmla="*/ 0 w 3"/>
                  <a:gd name="T5" fmla="*/ 4838699 h 5"/>
                  <a:gd name="T6" fmla="*/ 0 w 3"/>
                  <a:gd name="T7" fmla="*/ 4838699 h 5"/>
                  <a:gd name="T8" fmla="*/ 3360208 w 3"/>
                  <a:gd name="T9" fmla="*/ 0 h 5"/>
                  <a:gd name="T10" fmla="*/ 3360208 w 3"/>
                  <a:gd name="T11" fmla="*/ 0 h 5"/>
                  <a:gd name="T12" fmla="*/ 3360208 w 3"/>
                  <a:gd name="T13" fmla="*/ 0 h 5"/>
                  <a:gd name="T14" fmla="*/ 3360208 w 3"/>
                  <a:gd name="T15" fmla="*/ 4838699 h 5"/>
                  <a:gd name="T16" fmla="*/ 3360208 w 3"/>
                  <a:gd name="T17" fmla="*/ 8064499 h 5"/>
                  <a:gd name="T18" fmla="*/ 3360208 w 3"/>
                  <a:gd name="T19" fmla="*/ 8064499 h 5"/>
                  <a:gd name="T20" fmla="*/ 0 w 3"/>
                  <a:gd name="T21" fmla="*/ 8064499 h 5"/>
                  <a:gd name="T22" fmla="*/ 0 w 3"/>
                  <a:gd name="T23" fmla="*/ 8064499 h 5"/>
                  <a:gd name="T24" fmla="*/ 0 w 3"/>
                  <a:gd name="T25" fmla="*/ 0 h 5"/>
                  <a:gd name="T26" fmla="*/ 0 w 3"/>
                  <a:gd name="T27" fmla="*/ 0 h 5"/>
                  <a:gd name="T28" fmla="*/ 0 w 3"/>
                  <a:gd name="T29" fmla="*/ 4838699 h 5"/>
                  <a:gd name="T30" fmla="*/ 0 w 3"/>
                  <a:gd name="T31" fmla="*/ 4838699 h 5"/>
                  <a:gd name="T32" fmla="*/ 3360208 w 3"/>
                  <a:gd name="T33" fmla="*/ 4838699 h 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"/>
                  <a:gd name="T52" fmla="*/ 0 h 5"/>
                  <a:gd name="T53" fmla="*/ 3 w 3"/>
                  <a:gd name="T54" fmla="*/ 5 h 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" h="5">
                    <a:moveTo>
                      <a:pt x="3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5" name="Freeform 1265"/>
              <p:cNvSpPr>
                <a:spLocks noChangeAspect="1"/>
              </p:cNvSpPr>
              <p:nvPr>
                <p:custDataLst>
                  <p:tags r:id="rId382"/>
                </p:custDataLst>
              </p:nvPr>
            </p:nvSpPr>
            <p:spPr bwMode="gray">
              <a:xfrm>
                <a:off x="1993881" y="2780896"/>
                <a:ext cx="7593" cy="11037"/>
              </a:xfrm>
              <a:custGeom>
                <a:avLst/>
                <a:gdLst>
                  <a:gd name="T0" fmla="*/ 5040630 w 5"/>
                  <a:gd name="T1" fmla="*/ 0 h 8"/>
                  <a:gd name="T2" fmla="*/ 0 w 5"/>
                  <a:gd name="T3" fmla="*/ 0 h 8"/>
                  <a:gd name="T4" fmla="*/ 0 w 5"/>
                  <a:gd name="T5" fmla="*/ 0 h 8"/>
                  <a:gd name="T6" fmla="*/ 5040630 w 5"/>
                  <a:gd name="T7" fmla="*/ 0 h 8"/>
                  <a:gd name="T8" fmla="*/ 12602367 w 5"/>
                  <a:gd name="T9" fmla="*/ 0 h 8"/>
                  <a:gd name="T10" fmla="*/ 5040630 w 5"/>
                  <a:gd name="T11" fmla="*/ 5787963 h 8"/>
                  <a:gd name="T12" fmla="*/ 12602367 w 5"/>
                  <a:gd name="T13" fmla="*/ 5787963 h 8"/>
                  <a:gd name="T14" fmla="*/ 5040630 w 5"/>
                  <a:gd name="T15" fmla="*/ 15434566 h 8"/>
                  <a:gd name="T16" fmla="*/ 5040630 w 5"/>
                  <a:gd name="T17" fmla="*/ 15434566 h 8"/>
                  <a:gd name="T18" fmla="*/ 5040630 w 5"/>
                  <a:gd name="T19" fmla="*/ 5787963 h 8"/>
                  <a:gd name="T20" fmla="*/ 5040630 w 5"/>
                  <a:gd name="T21" fmla="*/ 0 h 8"/>
                  <a:gd name="T22" fmla="*/ 5040630 w 5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8"/>
                  <a:gd name="T38" fmla="*/ 5 w 5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8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6" name="Freeform 1266"/>
              <p:cNvSpPr>
                <a:spLocks noChangeAspect="1"/>
              </p:cNvSpPr>
              <p:nvPr>
                <p:custDataLst>
                  <p:tags r:id="rId383"/>
                </p:custDataLst>
              </p:nvPr>
            </p:nvSpPr>
            <p:spPr bwMode="gray">
              <a:xfrm>
                <a:off x="1993881" y="2780896"/>
                <a:ext cx="7593" cy="11037"/>
              </a:xfrm>
              <a:custGeom>
                <a:avLst/>
                <a:gdLst>
                  <a:gd name="T0" fmla="*/ 5040630 w 5"/>
                  <a:gd name="T1" fmla="*/ 0 h 8"/>
                  <a:gd name="T2" fmla="*/ 0 w 5"/>
                  <a:gd name="T3" fmla="*/ 0 h 8"/>
                  <a:gd name="T4" fmla="*/ 0 w 5"/>
                  <a:gd name="T5" fmla="*/ 0 h 8"/>
                  <a:gd name="T6" fmla="*/ 5040630 w 5"/>
                  <a:gd name="T7" fmla="*/ 0 h 8"/>
                  <a:gd name="T8" fmla="*/ 12602367 w 5"/>
                  <a:gd name="T9" fmla="*/ 0 h 8"/>
                  <a:gd name="T10" fmla="*/ 5040630 w 5"/>
                  <a:gd name="T11" fmla="*/ 5787963 h 8"/>
                  <a:gd name="T12" fmla="*/ 12602367 w 5"/>
                  <a:gd name="T13" fmla="*/ 5787963 h 8"/>
                  <a:gd name="T14" fmla="*/ 5040630 w 5"/>
                  <a:gd name="T15" fmla="*/ 15434566 h 8"/>
                  <a:gd name="T16" fmla="*/ 5040630 w 5"/>
                  <a:gd name="T17" fmla="*/ 15434566 h 8"/>
                  <a:gd name="T18" fmla="*/ 5040630 w 5"/>
                  <a:gd name="T19" fmla="*/ 5787963 h 8"/>
                  <a:gd name="T20" fmla="*/ 5040630 w 5"/>
                  <a:gd name="T21" fmla="*/ 0 h 8"/>
                  <a:gd name="T22" fmla="*/ 5040630 w 5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8"/>
                  <a:gd name="T38" fmla="*/ 5 w 5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8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2" y="3"/>
                    </a:lnTo>
                    <a:lnTo>
                      <a:pt x="2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7" name="Freeform 1267"/>
              <p:cNvSpPr>
                <a:spLocks noChangeAspect="1"/>
              </p:cNvSpPr>
              <p:nvPr>
                <p:custDataLst>
                  <p:tags r:id="rId384"/>
                </p:custDataLst>
              </p:nvPr>
            </p:nvSpPr>
            <p:spPr bwMode="gray">
              <a:xfrm>
                <a:off x="2074358" y="2768283"/>
                <a:ext cx="3037" cy="7884"/>
              </a:xfrm>
              <a:custGeom>
                <a:avLst/>
                <a:gdLst>
                  <a:gd name="T0" fmla="*/ 0 w 3"/>
                  <a:gd name="T1" fmla="*/ 5250325 h 6"/>
                  <a:gd name="T2" fmla="*/ 3360208 w 3"/>
                  <a:gd name="T3" fmla="*/ 0 h 6"/>
                  <a:gd name="T4" fmla="*/ 3360208 w 3"/>
                  <a:gd name="T5" fmla="*/ 5250325 h 6"/>
                  <a:gd name="T6" fmla="*/ 3360208 w 3"/>
                  <a:gd name="T7" fmla="*/ 5250325 h 6"/>
                  <a:gd name="T8" fmla="*/ 0 w 3"/>
                  <a:gd name="T9" fmla="*/ 10499327 h 6"/>
                  <a:gd name="T10" fmla="*/ 0 w 3"/>
                  <a:gd name="T11" fmla="*/ 10499327 h 6"/>
                  <a:gd name="T12" fmla="*/ 0 w 3"/>
                  <a:gd name="T13" fmla="*/ 5250325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0" y="3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8" name="Freeform 1268"/>
              <p:cNvSpPr>
                <a:spLocks noChangeAspect="1"/>
              </p:cNvSpPr>
              <p:nvPr>
                <p:custDataLst>
                  <p:tags r:id="rId385"/>
                </p:custDataLst>
              </p:nvPr>
            </p:nvSpPr>
            <p:spPr bwMode="gray">
              <a:xfrm>
                <a:off x="2074358" y="2768283"/>
                <a:ext cx="3037" cy="7884"/>
              </a:xfrm>
              <a:custGeom>
                <a:avLst/>
                <a:gdLst>
                  <a:gd name="T0" fmla="*/ 0 w 3"/>
                  <a:gd name="T1" fmla="*/ 5250325 h 6"/>
                  <a:gd name="T2" fmla="*/ 3360208 w 3"/>
                  <a:gd name="T3" fmla="*/ 0 h 6"/>
                  <a:gd name="T4" fmla="*/ 3360208 w 3"/>
                  <a:gd name="T5" fmla="*/ 5250325 h 6"/>
                  <a:gd name="T6" fmla="*/ 3360208 w 3"/>
                  <a:gd name="T7" fmla="*/ 5250325 h 6"/>
                  <a:gd name="T8" fmla="*/ 0 w 3"/>
                  <a:gd name="T9" fmla="*/ 10499327 h 6"/>
                  <a:gd name="T10" fmla="*/ 0 w 3"/>
                  <a:gd name="T11" fmla="*/ 10499327 h 6"/>
                  <a:gd name="T12" fmla="*/ 0 w 3"/>
                  <a:gd name="T13" fmla="*/ 5250325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6"/>
                  <a:gd name="T23" fmla="*/ 3 w 3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6">
                    <a:moveTo>
                      <a:pt x="0" y="3"/>
                    </a:moveTo>
                    <a:lnTo>
                      <a:pt x="3" y="0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9" name="Freeform 1269"/>
              <p:cNvSpPr>
                <a:spLocks noChangeAspect="1"/>
              </p:cNvSpPr>
              <p:nvPr>
                <p:custDataLst>
                  <p:tags r:id="rId386"/>
                </p:custDataLst>
              </p:nvPr>
            </p:nvSpPr>
            <p:spPr bwMode="gray">
              <a:xfrm>
                <a:off x="2080434" y="2768283"/>
                <a:ext cx="3037" cy="4730"/>
              </a:xfrm>
              <a:custGeom>
                <a:avLst/>
                <a:gdLst>
                  <a:gd name="T0" fmla="*/ 3360208 w 3"/>
                  <a:gd name="T1" fmla="*/ 7558882 h 3"/>
                  <a:gd name="T2" fmla="*/ 0 w 3"/>
                  <a:gd name="T3" fmla="*/ 7558882 h 3"/>
                  <a:gd name="T4" fmla="*/ 0 w 3"/>
                  <a:gd name="T5" fmla="*/ 7558882 h 3"/>
                  <a:gd name="T6" fmla="*/ 3360208 w 3"/>
                  <a:gd name="T7" fmla="*/ 0 h 3"/>
                  <a:gd name="T8" fmla="*/ 3360208 w 3"/>
                  <a:gd name="T9" fmla="*/ 0 h 3"/>
                  <a:gd name="T10" fmla="*/ 3360208 w 3"/>
                  <a:gd name="T11" fmla="*/ 7558882 h 3"/>
                  <a:gd name="T12" fmla="*/ 3360208 w 3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0" name="Freeform 1270"/>
              <p:cNvSpPr>
                <a:spLocks noChangeAspect="1"/>
              </p:cNvSpPr>
              <p:nvPr>
                <p:custDataLst>
                  <p:tags r:id="rId387"/>
                </p:custDataLst>
              </p:nvPr>
            </p:nvSpPr>
            <p:spPr bwMode="gray">
              <a:xfrm>
                <a:off x="2080434" y="2768283"/>
                <a:ext cx="3037" cy="4730"/>
              </a:xfrm>
              <a:custGeom>
                <a:avLst/>
                <a:gdLst>
                  <a:gd name="T0" fmla="*/ 3360208 w 3"/>
                  <a:gd name="T1" fmla="*/ 7558882 h 3"/>
                  <a:gd name="T2" fmla="*/ 0 w 3"/>
                  <a:gd name="T3" fmla="*/ 7558882 h 3"/>
                  <a:gd name="T4" fmla="*/ 0 w 3"/>
                  <a:gd name="T5" fmla="*/ 7558882 h 3"/>
                  <a:gd name="T6" fmla="*/ 3360208 w 3"/>
                  <a:gd name="T7" fmla="*/ 0 h 3"/>
                  <a:gd name="T8" fmla="*/ 3360208 w 3"/>
                  <a:gd name="T9" fmla="*/ 0 h 3"/>
                  <a:gd name="T10" fmla="*/ 3360208 w 3"/>
                  <a:gd name="T11" fmla="*/ 7558882 h 3"/>
                  <a:gd name="T12" fmla="*/ 3360208 w 3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5" name="Freeform 1271"/>
              <p:cNvSpPr>
                <a:spLocks noChangeAspect="1"/>
              </p:cNvSpPr>
              <p:nvPr>
                <p:custDataLst>
                  <p:tags r:id="rId388"/>
                </p:custDataLst>
              </p:nvPr>
            </p:nvSpPr>
            <p:spPr bwMode="gray">
              <a:xfrm>
                <a:off x="2098654" y="2747783"/>
                <a:ext cx="10628" cy="6307"/>
              </a:xfrm>
              <a:custGeom>
                <a:avLst/>
                <a:gdLst>
                  <a:gd name="T0" fmla="*/ 9146409 w 9"/>
                  <a:gd name="T1" fmla="*/ 4838699 h 5"/>
                  <a:gd name="T2" fmla="*/ 4573205 w 9"/>
                  <a:gd name="T3" fmla="*/ 8064499 h 5"/>
                  <a:gd name="T4" fmla="*/ 0 w 9"/>
                  <a:gd name="T5" fmla="*/ 4838699 h 5"/>
                  <a:gd name="T6" fmla="*/ 4573205 w 9"/>
                  <a:gd name="T7" fmla="*/ 0 h 5"/>
                  <a:gd name="T8" fmla="*/ 4573205 w 9"/>
                  <a:gd name="T9" fmla="*/ 0 h 5"/>
                  <a:gd name="T10" fmla="*/ 9146409 w 9"/>
                  <a:gd name="T11" fmla="*/ 0 h 5"/>
                  <a:gd name="T12" fmla="*/ 13719615 w 9"/>
                  <a:gd name="T13" fmla="*/ 0 h 5"/>
                  <a:gd name="T14" fmla="*/ 13719615 w 9"/>
                  <a:gd name="T15" fmla="*/ 0 h 5"/>
                  <a:gd name="T16" fmla="*/ 9146409 w 9"/>
                  <a:gd name="T17" fmla="*/ 4838699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5"/>
                  <a:gd name="T29" fmla="*/ 9 w 9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5">
                    <a:moveTo>
                      <a:pt x="6" y="3"/>
                    </a:moveTo>
                    <a:lnTo>
                      <a:pt x="3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6" name="Freeform 1272"/>
              <p:cNvSpPr>
                <a:spLocks noChangeAspect="1"/>
              </p:cNvSpPr>
              <p:nvPr>
                <p:custDataLst>
                  <p:tags r:id="rId389"/>
                </p:custDataLst>
              </p:nvPr>
            </p:nvSpPr>
            <p:spPr bwMode="gray">
              <a:xfrm>
                <a:off x="2098654" y="2747783"/>
                <a:ext cx="10628" cy="6307"/>
              </a:xfrm>
              <a:custGeom>
                <a:avLst/>
                <a:gdLst>
                  <a:gd name="T0" fmla="*/ 9146409 w 9"/>
                  <a:gd name="T1" fmla="*/ 4838699 h 5"/>
                  <a:gd name="T2" fmla="*/ 4573205 w 9"/>
                  <a:gd name="T3" fmla="*/ 8064499 h 5"/>
                  <a:gd name="T4" fmla="*/ 0 w 9"/>
                  <a:gd name="T5" fmla="*/ 4838699 h 5"/>
                  <a:gd name="T6" fmla="*/ 4573205 w 9"/>
                  <a:gd name="T7" fmla="*/ 0 h 5"/>
                  <a:gd name="T8" fmla="*/ 4573205 w 9"/>
                  <a:gd name="T9" fmla="*/ 0 h 5"/>
                  <a:gd name="T10" fmla="*/ 9146409 w 9"/>
                  <a:gd name="T11" fmla="*/ 0 h 5"/>
                  <a:gd name="T12" fmla="*/ 13719615 w 9"/>
                  <a:gd name="T13" fmla="*/ 0 h 5"/>
                  <a:gd name="T14" fmla="*/ 13719615 w 9"/>
                  <a:gd name="T15" fmla="*/ 0 h 5"/>
                  <a:gd name="T16" fmla="*/ 9146409 w 9"/>
                  <a:gd name="T17" fmla="*/ 4838699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"/>
                  <a:gd name="T28" fmla="*/ 0 h 5"/>
                  <a:gd name="T29" fmla="*/ 9 w 9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" h="5">
                    <a:moveTo>
                      <a:pt x="6" y="3"/>
                    </a:moveTo>
                    <a:lnTo>
                      <a:pt x="3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6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7" name="Freeform 1273"/>
              <p:cNvSpPr>
                <a:spLocks noChangeAspect="1"/>
              </p:cNvSpPr>
              <p:nvPr>
                <p:custDataLst>
                  <p:tags r:id="rId390"/>
                </p:custDataLst>
              </p:nvPr>
            </p:nvSpPr>
            <p:spPr bwMode="gray">
              <a:xfrm>
                <a:off x="2069804" y="2719403"/>
                <a:ext cx="56183" cy="44148"/>
              </a:xfrm>
              <a:custGeom>
                <a:avLst/>
                <a:gdLst>
                  <a:gd name="T0" fmla="*/ 0 w 42"/>
                  <a:gd name="T1" fmla="*/ 34183352 h 34"/>
                  <a:gd name="T2" fmla="*/ 5868207 w 42"/>
                  <a:gd name="T3" fmla="*/ 29055916 h 34"/>
                  <a:gd name="T4" fmla="*/ 11735014 w 42"/>
                  <a:gd name="T5" fmla="*/ 20509749 h 34"/>
                  <a:gd name="T6" fmla="*/ 15646684 w 42"/>
                  <a:gd name="T7" fmla="*/ 20509749 h 34"/>
                  <a:gd name="T8" fmla="*/ 21514888 w 42"/>
                  <a:gd name="T9" fmla="*/ 20509749 h 34"/>
                  <a:gd name="T10" fmla="*/ 27381699 w 42"/>
                  <a:gd name="T11" fmla="*/ 29055916 h 34"/>
                  <a:gd name="T12" fmla="*/ 33249902 w 42"/>
                  <a:gd name="T13" fmla="*/ 23928480 h 34"/>
                  <a:gd name="T14" fmla="*/ 33249902 w 42"/>
                  <a:gd name="T15" fmla="*/ 20509749 h 34"/>
                  <a:gd name="T16" fmla="*/ 27381699 w 42"/>
                  <a:gd name="T17" fmla="*/ 10254874 h 34"/>
                  <a:gd name="T18" fmla="*/ 33249902 w 42"/>
                  <a:gd name="T19" fmla="*/ 5127437 h 34"/>
                  <a:gd name="T20" fmla="*/ 39116708 w 42"/>
                  <a:gd name="T21" fmla="*/ 10254874 h 34"/>
                  <a:gd name="T22" fmla="*/ 39116708 w 42"/>
                  <a:gd name="T23" fmla="*/ 15382313 h 34"/>
                  <a:gd name="T24" fmla="*/ 43029776 w 42"/>
                  <a:gd name="T25" fmla="*/ 10254874 h 34"/>
                  <a:gd name="T26" fmla="*/ 54764796 w 42"/>
                  <a:gd name="T27" fmla="*/ 5127437 h 34"/>
                  <a:gd name="T28" fmla="*/ 48896592 w 42"/>
                  <a:gd name="T29" fmla="*/ 0 h 34"/>
                  <a:gd name="T30" fmla="*/ 54764796 w 42"/>
                  <a:gd name="T31" fmla="*/ 0 h 34"/>
                  <a:gd name="T32" fmla="*/ 60631601 w 42"/>
                  <a:gd name="T33" fmla="*/ 10254874 h 34"/>
                  <a:gd name="T34" fmla="*/ 66499805 w 42"/>
                  <a:gd name="T35" fmla="*/ 5127437 h 34"/>
                  <a:gd name="T36" fmla="*/ 70411475 w 42"/>
                  <a:gd name="T37" fmla="*/ 5127437 h 34"/>
                  <a:gd name="T38" fmla="*/ 70411475 w 42"/>
                  <a:gd name="T39" fmla="*/ 15382313 h 34"/>
                  <a:gd name="T40" fmla="*/ 70411475 w 42"/>
                  <a:gd name="T41" fmla="*/ 15382313 h 34"/>
                  <a:gd name="T42" fmla="*/ 82146484 w 42"/>
                  <a:gd name="T43" fmla="*/ 20509749 h 34"/>
                  <a:gd name="T44" fmla="*/ 70411475 w 42"/>
                  <a:gd name="T45" fmla="*/ 23928480 h 34"/>
                  <a:gd name="T46" fmla="*/ 60631601 w 42"/>
                  <a:gd name="T47" fmla="*/ 23928480 h 34"/>
                  <a:gd name="T48" fmla="*/ 66499805 w 42"/>
                  <a:gd name="T49" fmla="*/ 29055916 h 34"/>
                  <a:gd name="T50" fmla="*/ 70411475 w 42"/>
                  <a:gd name="T51" fmla="*/ 34183352 h 34"/>
                  <a:gd name="T52" fmla="*/ 66499805 w 42"/>
                  <a:gd name="T53" fmla="*/ 29055916 h 34"/>
                  <a:gd name="T54" fmla="*/ 60631601 w 42"/>
                  <a:gd name="T55" fmla="*/ 34183352 h 34"/>
                  <a:gd name="T56" fmla="*/ 54764796 w 42"/>
                  <a:gd name="T57" fmla="*/ 34183352 h 34"/>
                  <a:gd name="T58" fmla="*/ 54764796 w 42"/>
                  <a:gd name="T59" fmla="*/ 34183352 h 34"/>
                  <a:gd name="T60" fmla="*/ 43029776 w 42"/>
                  <a:gd name="T61" fmla="*/ 44438234 h 34"/>
                  <a:gd name="T62" fmla="*/ 39116708 w 42"/>
                  <a:gd name="T63" fmla="*/ 47856961 h 34"/>
                  <a:gd name="T64" fmla="*/ 39116708 w 42"/>
                  <a:gd name="T65" fmla="*/ 52984397 h 34"/>
                  <a:gd name="T66" fmla="*/ 27381699 w 42"/>
                  <a:gd name="T67" fmla="*/ 58111833 h 34"/>
                  <a:gd name="T68" fmla="*/ 33249902 w 42"/>
                  <a:gd name="T69" fmla="*/ 47856961 h 34"/>
                  <a:gd name="T70" fmla="*/ 27381699 w 42"/>
                  <a:gd name="T71" fmla="*/ 44438234 h 34"/>
                  <a:gd name="T72" fmla="*/ 21514888 w 42"/>
                  <a:gd name="T73" fmla="*/ 44438234 h 34"/>
                  <a:gd name="T74" fmla="*/ 15646684 w 42"/>
                  <a:gd name="T75" fmla="*/ 44438234 h 34"/>
                  <a:gd name="T76" fmla="*/ 21514888 w 42"/>
                  <a:gd name="T77" fmla="*/ 44438234 h 34"/>
                  <a:gd name="T78" fmla="*/ 15646684 w 42"/>
                  <a:gd name="T79" fmla="*/ 52984397 h 34"/>
                  <a:gd name="T80" fmla="*/ 11735014 w 42"/>
                  <a:gd name="T81" fmla="*/ 34183352 h 34"/>
                  <a:gd name="T82" fmla="*/ 5868207 w 42"/>
                  <a:gd name="T83" fmla="*/ 29055916 h 3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"/>
                  <a:gd name="T127" fmla="*/ 0 h 34"/>
                  <a:gd name="T128" fmla="*/ 42 w 42"/>
                  <a:gd name="T129" fmla="*/ 34 h 3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" h="34">
                    <a:moveTo>
                      <a:pt x="3" y="17"/>
                    </a:moveTo>
                    <a:lnTo>
                      <a:pt x="0" y="20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4" y="9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20" y="12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6"/>
                    </a:lnTo>
                    <a:lnTo>
                      <a:pt x="20" y="9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28" y="3"/>
                    </a:lnTo>
                    <a:lnTo>
                      <a:pt x="25" y="0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31" y="6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6" y="9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1" y="14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4" y="17"/>
                    </a:lnTo>
                    <a:lnTo>
                      <a:pt x="31" y="17"/>
                    </a:lnTo>
                    <a:lnTo>
                      <a:pt x="31" y="20"/>
                    </a:lnTo>
                    <a:lnTo>
                      <a:pt x="28" y="20"/>
                    </a:lnTo>
                    <a:lnTo>
                      <a:pt x="25" y="23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20" y="28"/>
                    </a:lnTo>
                    <a:lnTo>
                      <a:pt x="20" y="31"/>
                    </a:lnTo>
                    <a:lnTo>
                      <a:pt x="20" y="34"/>
                    </a:lnTo>
                    <a:lnTo>
                      <a:pt x="14" y="34"/>
                    </a:lnTo>
                    <a:lnTo>
                      <a:pt x="17" y="31"/>
                    </a:lnTo>
                    <a:lnTo>
                      <a:pt x="17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3"/>
                    </a:lnTo>
                    <a:lnTo>
                      <a:pt x="8" y="26"/>
                    </a:lnTo>
                    <a:lnTo>
                      <a:pt x="11" y="26"/>
                    </a:lnTo>
                    <a:lnTo>
                      <a:pt x="11" y="31"/>
                    </a:lnTo>
                    <a:lnTo>
                      <a:pt x="8" y="31"/>
                    </a:lnTo>
                    <a:lnTo>
                      <a:pt x="6" y="28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8" name="Freeform 1274"/>
              <p:cNvSpPr>
                <a:spLocks noChangeAspect="1"/>
              </p:cNvSpPr>
              <p:nvPr>
                <p:custDataLst>
                  <p:tags r:id="rId391"/>
                </p:custDataLst>
              </p:nvPr>
            </p:nvSpPr>
            <p:spPr bwMode="gray">
              <a:xfrm>
                <a:off x="2069804" y="2719403"/>
                <a:ext cx="56183" cy="44148"/>
              </a:xfrm>
              <a:custGeom>
                <a:avLst/>
                <a:gdLst>
                  <a:gd name="T0" fmla="*/ 0 w 42"/>
                  <a:gd name="T1" fmla="*/ 34183352 h 34"/>
                  <a:gd name="T2" fmla="*/ 5868207 w 42"/>
                  <a:gd name="T3" fmla="*/ 29055916 h 34"/>
                  <a:gd name="T4" fmla="*/ 11735014 w 42"/>
                  <a:gd name="T5" fmla="*/ 20509749 h 34"/>
                  <a:gd name="T6" fmla="*/ 15646684 w 42"/>
                  <a:gd name="T7" fmla="*/ 20509749 h 34"/>
                  <a:gd name="T8" fmla="*/ 21514888 w 42"/>
                  <a:gd name="T9" fmla="*/ 20509749 h 34"/>
                  <a:gd name="T10" fmla="*/ 27381699 w 42"/>
                  <a:gd name="T11" fmla="*/ 29055916 h 34"/>
                  <a:gd name="T12" fmla="*/ 33249902 w 42"/>
                  <a:gd name="T13" fmla="*/ 23928480 h 34"/>
                  <a:gd name="T14" fmla="*/ 33249902 w 42"/>
                  <a:gd name="T15" fmla="*/ 20509749 h 34"/>
                  <a:gd name="T16" fmla="*/ 27381699 w 42"/>
                  <a:gd name="T17" fmla="*/ 10254874 h 34"/>
                  <a:gd name="T18" fmla="*/ 33249902 w 42"/>
                  <a:gd name="T19" fmla="*/ 5127437 h 34"/>
                  <a:gd name="T20" fmla="*/ 39116708 w 42"/>
                  <a:gd name="T21" fmla="*/ 10254874 h 34"/>
                  <a:gd name="T22" fmla="*/ 39116708 w 42"/>
                  <a:gd name="T23" fmla="*/ 15382313 h 34"/>
                  <a:gd name="T24" fmla="*/ 43029776 w 42"/>
                  <a:gd name="T25" fmla="*/ 10254874 h 34"/>
                  <a:gd name="T26" fmla="*/ 54764796 w 42"/>
                  <a:gd name="T27" fmla="*/ 5127437 h 34"/>
                  <a:gd name="T28" fmla="*/ 48896592 w 42"/>
                  <a:gd name="T29" fmla="*/ 0 h 34"/>
                  <a:gd name="T30" fmla="*/ 54764796 w 42"/>
                  <a:gd name="T31" fmla="*/ 0 h 34"/>
                  <a:gd name="T32" fmla="*/ 60631601 w 42"/>
                  <a:gd name="T33" fmla="*/ 10254874 h 34"/>
                  <a:gd name="T34" fmla="*/ 66499805 w 42"/>
                  <a:gd name="T35" fmla="*/ 5127437 h 34"/>
                  <a:gd name="T36" fmla="*/ 70411475 w 42"/>
                  <a:gd name="T37" fmla="*/ 5127437 h 34"/>
                  <a:gd name="T38" fmla="*/ 70411475 w 42"/>
                  <a:gd name="T39" fmla="*/ 15382313 h 34"/>
                  <a:gd name="T40" fmla="*/ 70411475 w 42"/>
                  <a:gd name="T41" fmla="*/ 15382313 h 34"/>
                  <a:gd name="T42" fmla="*/ 82146484 w 42"/>
                  <a:gd name="T43" fmla="*/ 20509749 h 34"/>
                  <a:gd name="T44" fmla="*/ 70411475 w 42"/>
                  <a:gd name="T45" fmla="*/ 23928480 h 34"/>
                  <a:gd name="T46" fmla="*/ 60631601 w 42"/>
                  <a:gd name="T47" fmla="*/ 23928480 h 34"/>
                  <a:gd name="T48" fmla="*/ 66499805 w 42"/>
                  <a:gd name="T49" fmla="*/ 29055916 h 34"/>
                  <a:gd name="T50" fmla="*/ 70411475 w 42"/>
                  <a:gd name="T51" fmla="*/ 34183352 h 34"/>
                  <a:gd name="T52" fmla="*/ 66499805 w 42"/>
                  <a:gd name="T53" fmla="*/ 29055916 h 34"/>
                  <a:gd name="T54" fmla="*/ 60631601 w 42"/>
                  <a:gd name="T55" fmla="*/ 34183352 h 34"/>
                  <a:gd name="T56" fmla="*/ 54764796 w 42"/>
                  <a:gd name="T57" fmla="*/ 34183352 h 34"/>
                  <a:gd name="T58" fmla="*/ 54764796 w 42"/>
                  <a:gd name="T59" fmla="*/ 34183352 h 34"/>
                  <a:gd name="T60" fmla="*/ 43029776 w 42"/>
                  <a:gd name="T61" fmla="*/ 44438234 h 34"/>
                  <a:gd name="T62" fmla="*/ 39116708 w 42"/>
                  <a:gd name="T63" fmla="*/ 47856961 h 34"/>
                  <a:gd name="T64" fmla="*/ 39116708 w 42"/>
                  <a:gd name="T65" fmla="*/ 52984397 h 34"/>
                  <a:gd name="T66" fmla="*/ 27381699 w 42"/>
                  <a:gd name="T67" fmla="*/ 58111833 h 34"/>
                  <a:gd name="T68" fmla="*/ 33249902 w 42"/>
                  <a:gd name="T69" fmla="*/ 47856961 h 34"/>
                  <a:gd name="T70" fmla="*/ 27381699 w 42"/>
                  <a:gd name="T71" fmla="*/ 44438234 h 34"/>
                  <a:gd name="T72" fmla="*/ 21514888 w 42"/>
                  <a:gd name="T73" fmla="*/ 44438234 h 34"/>
                  <a:gd name="T74" fmla="*/ 15646684 w 42"/>
                  <a:gd name="T75" fmla="*/ 44438234 h 34"/>
                  <a:gd name="T76" fmla="*/ 21514888 w 42"/>
                  <a:gd name="T77" fmla="*/ 44438234 h 34"/>
                  <a:gd name="T78" fmla="*/ 15646684 w 42"/>
                  <a:gd name="T79" fmla="*/ 52984397 h 34"/>
                  <a:gd name="T80" fmla="*/ 11735014 w 42"/>
                  <a:gd name="T81" fmla="*/ 34183352 h 34"/>
                  <a:gd name="T82" fmla="*/ 5868207 w 42"/>
                  <a:gd name="T83" fmla="*/ 29055916 h 3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"/>
                  <a:gd name="T127" fmla="*/ 0 h 34"/>
                  <a:gd name="T128" fmla="*/ 42 w 42"/>
                  <a:gd name="T129" fmla="*/ 34 h 3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" h="34">
                    <a:moveTo>
                      <a:pt x="3" y="17"/>
                    </a:moveTo>
                    <a:lnTo>
                      <a:pt x="0" y="20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4" y="9"/>
                    </a:lnTo>
                    <a:lnTo>
                      <a:pt x="11" y="12"/>
                    </a:lnTo>
                    <a:lnTo>
                      <a:pt x="14" y="12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20" y="12"/>
                    </a:lnTo>
                    <a:lnTo>
                      <a:pt x="14" y="6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20" y="6"/>
                    </a:lnTo>
                    <a:lnTo>
                      <a:pt x="20" y="9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28" y="3"/>
                    </a:lnTo>
                    <a:lnTo>
                      <a:pt x="25" y="0"/>
                    </a:lnTo>
                    <a:lnTo>
                      <a:pt x="28" y="3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31" y="6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6" y="9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39" y="14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1" y="14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4" y="17"/>
                    </a:lnTo>
                    <a:lnTo>
                      <a:pt x="31" y="17"/>
                    </a:lnTo>
                    <a:lnTo>
                      <a:pt x="31" y="20"/>
                    </a:lnTo>
                    <a:lnTo>
                      <a:pt x="28" y="20"/>
                    </a:lnTo>
                    <a:lnTo>
                      <a:pt x="25" y="23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20" y="28"/>
                    </a:lnTo>
                    <a:lnTo>
                      <a:pt x="20" y="31"/>
                    </a:lnTo>
                    <a:lnTo>
                      <a:pt x="20" y="34"/>
                    </a:lnTo>
                    <a:lnTo>
                      <a:pt x="14" y="34"/>
                    </a:lnTo>
                    <a:lnTo>
                      <a:pt x="17" y="31"/>
                    </a:lnTo>
                    <a:lnTo>
                      <a:pt x="17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3"/>
                    </a:lnTo>
                    <a:lnTo>
                      <a:pt x="8" y="26"/>
                    </a:lnTo>
                    <a:lnTo>
                      <a:pt x="11" y="26"/>
                    </a:lnTo>
                    <a:lnTo>
                      <a:pt x="11" y="31"/>
                    </a:lnTo>
                    <a:lnTo>
                      <a:pt x="8" y="31"/>
                    </a:lnTo>
                    <a:lnTo>
                      <a:pt x="6" y="28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3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9" name="Freeform 1275"/>
              <p:cNvSpPr>
                <a:spLocks noChangeAspect="1"/>
              </p:cNvSpPr>
              <p:nvPr>
                <p:custDataLst>
                  <p:tags r:id="rId392"/>
                </p:custDataLst>
              </p:nvPr>
            </p:nvSpPr>
            <p:spPr bwMode="gray">
              <a:xfrm>
                <a:off x="2098654" y="2713095"/>
                <a:ext cx="7592" cy="6307"/>
              </a:xfrm>
              <a:custGeom>
                <a:avLst/>
                <a:gdLst>
                  <a:gd name="T0" fmla="*/ 0 w 6"/>
                  <a:gd name="T1" fmla="*/ 4838699 h 5"/>
                  <a:gd name="T2" fmla="*/ 0 w 6"/>
                  <a:gd name="T3" fmla="*/ 4838699 h 5"/>
                  <a:gd name="T4" fmla="*/ 0 w 6"/>
                  <a:gd name="T5" fmla="*/ 0 h 5"/>
                  <a:gd name="T6" fmla="*/ 5250325 w 6"/>
                  <a:gd name="T7" fmla="*/ 0 h 5"/>
                  <a:gd name="T8" fmla="*/ 10499327 w 6"/>
                  <a:gd name="T9" fmla="*/ 4838699 h 5"/>
                  <a:gd name="T10" fmla="*/ 10499327 w 6"/>
                  <a:gd name="T11" fmla="*/ 8064499 h 5"/>
                  <a:gd name="T12" fmla="*/ 5250325 w 6"/>
                  <a:gd name="T13" fmla="*/ 4838699 h 5"/>
                  <a:gd name="T14" fmla="*/ 0 w 6"/>
                  <a:gd name="T15" fmla="*/ 4838699 h 5"/>
                  <a:gd name="T16" fmla="*/ 0 w 6"/>
                  <a:gd name="T17" fmla="*/ 4838699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1" name="Freeform 1276"/>
              <p:cNvSpPr>
                <a:spLocks noChangeAspect="1"/>
              </p:cNvSpPr>
              <p:nvPr>
                <p:custDataLst>
                  <p:tags r:id="rId393"/>
                </p:custDataLst>
              </p:nvPr>
            </p:nvSpPr>
            <p:spPr bwMode="gray">
              <a:xfrm>
                <a:off x="2098654" y="2713095"/>
                <a:ext cx="7592" cy="6307"/>
              </a:xfrm>
              <a:custGeom>
                <a:avLst/>
                <a:gdLst>
                  <a:gd name="T0" fmla="*/ 0 w 6"/>
                  <a:gd name="T1" fmla="*/ 4838699 h 5"/>
                  <a:gd name="T2" fmla="*/ 0 w 6"/>
                  <a:gd name="T3" fmla="*/ 4838699 h 5"/>
                  <a:gd name="T4" fmla="*/ 0 w 6"/>
                  <a:gd name="T5" fmla="*/ 0 h 5"/>
                  <a:gd name="T6" fmla="*/ 5250325 w 6"/>
                  <a:gd name="T7" fmla="*/ 0 h 5"/>
                  <a:gd name="T8" fmla="*/ 10499327 w 6"/>
                  <a:gd name="T9" fmla="*/ 4838699 h 5"/>
                  <a:gd name="T10" fmla="*/ 10499327 w 6"/>
                  <a:gd name="T11" fmla="*/ 8064499 h 5"/>
                  <a:gd name="T12" fmla="*/ 5250325 w 6"/>
                  <a:gd name="T13" fmla="*/ 4838699 h 5"/>
                  <a:gd name="T14" fmla="*/ 0 w 6"/>
                  <a:gd name="T15" fmla="*/ 4838699 h 5"/>
                  <a:gd name="T16" fmla="*/ 0 w 6"/>
                  <a:gd name="T17" fmla="*/ 4838699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3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9" name="Freeform 1277"/>
              <p:cNvSpPr>
                <a:spLocks noChangeAspect="1"/>
              </p:cNvSpPr>
              <p:nvPr>
                <p:custDataLst>
                  <p:tags r:id="rId394"/>
                </p:custDataLst>
              </p:nvPr>
            </p:nvSpPr>
            <p:spPr bwMode="gray">
              <a:xfrm>
                <a:off x="2106246" y="2702060"/>
                <a:ext cx="21259" cy="14190"/>
              </a:xfrm>
              <a:custGeom>
                <a:avLst/>
                <a:gdLst>
                  <a:gd name="T0" fmla="*/ 10254874 w 17"/>
                  <a:gd name="T1" fmla="*/ 8434525 h 11"/>
                  <a:gd name="T2" fmla="*/ 10254874 w 17"/>
                  <a:gd name="T3" fmla="*/ 8434525 h 11"/>
                  <a:gd name="T4" fmla="*/ 10254874 w 17"/>
                  <a:gd name="T5" fmla="*/ 8434525 h 11"/>
                  <a:gd name="T6" fmla="*/ 5127437 w 17"/>
                  <a:gd name="T7" fmla="*/ 8434525 h 11"/>
                  <a:gd name="T8" fmla="*/ 5127437 w 17"/>
                  <a:gd name="T9" fmla="*/ 3374330 h 11"/>
                  <a:gd name="T10" fmla="*/ 5127437 w 17"/>
                  <a:gd name="T11" fmla="*/ 3374330 h 11"/>
                  <a:gd name="T12" fmla="*/ 5127437 w 17"/>
                  <a:gd name="T13" fmla="*/ 3374330 h 11"/>
                  <a:gd name="T14" fmla="*/ 10254874 w 17"/>
                  <a:gd name="T15" fmla="*/ 0 h 11"/>
                  <a:gd name="T16" fmla="*/ 13673603 w 17"/>
                  <a:gd name="T17" fmla="*/ 0 h 11"/>
                  <a:gd name="T18" fmla="*/ 18801039 w 17"/>
                  <a:gd name="T19" fmla="*/ 0 h 11"/>
                  <a:gd name="T20" fmla="*/ 18801039 w 17"/>
                  <a:gd name="T21" fmla="*/ 0 h 11"/>
                  <a:gd name="T22" fmla="*/ 18801039 w 17"/>
                  <a:gd name="T23" fmla="*/ 3374330 h 11"/>
                  <a:gd name="T24" fmla="*/ 18801039 w 17"/>
                  <a:gd name="T25" fmla="*/ 3374330 h 11"/>
                  <a:gd name="T26" fmla="*/ 23928480 w 17"/>
                  <a:gd name="T27" fmla="*/ 3374330 h 11"/>
                  <a:gd name="T28" fmla="*/ 23928480 w 17"/>
                  <a:gd name="T29" fmla="*/ 3374330 h 11"/>
                  <a:gd name="T30" fmla="*/ 23928480 w 17"/>
                  <a:gd name="T31" fmla="*/ 8434525 h 11"/>
                  <a:gd name="T32" fmla="*/ 23928480 w 17"/>
                  <a:gd name="T33" fmla="*/ 8434525 h 11"/>
                  <a:gd name="T34" fmla="*/ 29055916 w 17"/>
                  <a:gd name="T35" fmla="*/ 13496020 h 11"/>
                  <a:gd name="T36" fmla="*/ 23928480 w 17"/>
                  <a:gd name="T37" fmla="*/ 13496020 h 11"/>
                  <a:gd name="T38" fmla="*/ 18801039 w 17"/>
                  <a:gd name="T39" fmla="*/ 13496020 h 11"/>
                  <a:gd name="T40" fmla="*/ 13673603 w 17"/>
                  <a:gd name="T41" fmla="*/ 13496020 h 11"/>
                  <a:gd name="T42" fmla="*/ 13673603 w 17"/>
                  <a:gd name="T43" fmla="*/ 13496020 h 11"/>
                  <a:gd name="T44" fmla="*/ 10254874 w 17"/>
                  <a:gd name="T45" fmla="*/ 18556214 h 11"/>
                  <a:gd name="T46" fmla="*/ 10254874 w 17"/>
                  <a:gd name="T47" fmla="*/ 18556214 h 11"/>
                  <a:gd name="T48" fmla="*/ 10254874 w 17"/>
                  <a:gd name="T49" fmla="*/ 18556214 h 11"/>
                  <a:gd name="T50" fmla="*/ 5127437 w 17"/>
                  <a:gd name="T51" fmla="*/ 18556214 h 11"/>
                  <a:gd name="T52" fmla="*/ 5127437 w 17"/>
                  <a:gd name="T53" fmla="*/ 18556214 h 11"/>
                  <a:gd name="T54" fmla="*/ 0 w 17"/>
                  <a:gd name="T55" fmla="*/ 13496020 h 11"/>
                  <a:gd name="T56" fmla="*/ 0 w 17"/>
                  <a:gd name="T57" fmla="*/ 13496020 h 11"/>
                  <a:gd name="T58" fmla="*/ 0 w 17"/>
                  <a:gd name="T59" fmla="*/ 13496020 h 11"/>
                  <a:gd name="T60" fmla="*/ 0 w 17"/>
                  <a:gd name="T61" fmla="*/ 8434525 h 11"/>
                  <a:gd name="T62" fmla="*/ 0 w 17"/>
                  <a:gd name="T63" fmla="*/ 8434525 h 11"/>
                  <a:gd name="T64" fmla="*/ 5127437 w 17"/>
                  <a:gd name="T65" fmla="*/ 8434525 h 11"/>
                  <a:gd name="T66" fmla="*/ 10254874 w 17"/>
                  <a:gd name="T67" fmla="*/ 8434525 h 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7"/>
                  <a:gd name="T103" fmla="*/ 0 h 11"/>
                  <a:gd name="T104" fmla="*/ 17 w 17"/>
                  <a:gd name="T105" fmla="*/ 11 h 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7" h="11">
                    <a:moveTo>
                      <a:pt x="6" y="5"/>
                    </a:moveTo>
                    <a:lnTo>
                      <a:pt x="6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0" name="Freeform 1278"/>
              <p:cNvSpPr>
                <a:spLocks noChangeAspect="1"/>
              </p:cNvSpPr>
              <p:nvPr>
                <p:custDataLst>
                  <p:tags r:id="rId395"/>
                </p:custDataLst>
              </p:nvPr>
            </p:nvSpPr>
            <p:spPr bwMode="gray">
              <a:xfrm>
                <a:off x="2106246" y="2702060"/>
                <a:ext cx="21259" cy="14190"/>
              </a:xfrm>
              <a:custGeom>
                <a:avLst/>
                <a:gdLst>
                  <a:gd name="T0" fmla="*/ 10254874 w 17"/>
                  <a:gd name="T1" fmla="*/ 8434525 h 11"/>
                  <a:gd name="T2" fmla="*/ 10254874 w 17"/>
                  <a:gd name="T3" fmla="*/ 8434525 h 11"/>
                  <a:gd name="T4" fmla="*/ 10254874 w 17"/>
                  <a:gd name="T5" fmla="*/ 8434525 h 11"/>
                  <a:gd name="T6" fmla="*/ 5127437 w 17"/>
                  <a:gd name="T7" fmla="*/ 8434525 h 11"/>
                  <a:gd name="T8" fmla="*/ 5127437 w 17"/>
                  <a:gd name="T9" fmla="*/ 3374330 h 11"/>
                  <a:gd name="T10" fmla="*/ 5127437 w 17"/>
                  <a:gd name="T11" fmla="*/ 3374330 h 11"/>
                  <a:gd name="T12" fmla="*/ 5127437 w 17"/>
                  <a:gd name="T13" fmla="*/ 3374330 h 11"/>
                  <a:gd name="T14" fmla="*/ 10254874 w 17"/>
                  <a:gd name="T15" fmla="*/ 0 h 11"/>
                  <a:gd name="T16" fmla="*/ 13673603 w 17"/>
                  <a:gd name="T17" fmla="*/ 0 h 11"/>
                  <a:gd name="T18" fmla="*/ 18801039 w 17"/>
                  <a:gd name="T19" fmla="*/ 0 h 11"/>
                  <a:gd name="T20" fmla="*/ 18801039 w 17"/>
                  <a:gd name="T21" fmla="*/ 0 h 11"/>
                  <a:gd name="T22" fmla="*/ 18801039 w 17"/>
                  <a:gd name="T23" fmla="*/ 3374330 h 11"/>
                  <a:gd name="T24" fmla="*/ 18801039 w 17"/>
                  <a:gd name="T25" fmla="*/ 3374330 h 11"/>
                  <a:gd name="T26" fmla="*/ 23928480 w 17"/>
                  <a:gd name="T27" fmla="*/ 3374330 h 11"/>
                  <a:gd name="T28" fmla="*/ 23928480 w 17"/>
                  <a:gd name="T29" fmla="*/ 3374330 h 11"/>
                  <a:gd name="T30" fmla="*/ 23928480 w 17"/>
                  <a:gd name="T31" fmla="*/ 8434525 h 11"/>
                  <a:gd name="T32" fmla="*/ 23928480 w 17"/>
                  <a:gd name="T33" fmla="*/ 8434525 h 11"/>
                  <a:gd name="T34" fmla="*/ 29055916 w 17"/>
                  <a:gd name="T35" fmla="*/ 13496020 h 11"/>
                  <a:gd name="T36" fmla="*/ 23928480 w 17"/>
                  <a:gd name="T37" fmla="*/ 13496020 h 11"/>
                  <a:gd name="T38" fmla="*/ 18801039 w 17"/>
                  <a:gd name="T39" fmla="*/ 13496020 h 11"/>
                  <a:gd name="T40" fmla="*/ 13673603 w 17"/>
                  <a:gd name="T41" fmla="*/ 13496020 h 11"/>
                  <a:gd name="T42" fmla="*/ 13673603 w 17"/>
                  <a:gd name="T43" fmla="*/ 13496020 h 11"/>
                  <a:gd name="T44" fmla="*/ 10254874 w 17"/>
                  <a:gd name="T45" fmla="*/ 18556214 h 11"/>
                  <a:gd name="T46" fmla="*/ 10254874 w 17"/>
                  <a:gd name="T47" fmla="*/ 18556214 h 11"/>
                  <a:gd name="T48" fmla="*/ 10254874 w 17"/>
                  <a:gd name="T49" fmla="*/ 18556214 h 11"/>
                  <a:gd name="T50" fmla="*/ 5127437 w 17"/>
                  <a:gd name="T51" fmla="*/ 18556214 h 11"/>
                  <a:gd name="T52" fmla="*/ 5127437 w 17"/>
                  <a:gd name="T53" fmla="*/ 18556214 h 11"/>
                  <a:gd name="T54" fmla="*/ 0 w 17"/>
                  <a:gd name="T55" fmla="*/ 13496020 h 11"/>
                  <a:gd name="T56" fmla="*/ 0 w 17"/>
                  <a:gd name="T57" fmla="*/ 13496020 h 11"/>
                  <a:gd name="T58" fmla="*/ 0 w 17"/>
                  <a:gd name="T59" fmla="*/ 13496020 h 11"/>
                  <a:gd name="T60" fmla="*/ 0 w 17"/>
                  <a:gd name="T61" fmla="*/ 8434525 h 11"/>
                  <a:gd name="T62" fmla="*/ 0 w 17"/>
                  <a:gd name="T63" fmla="*/ 8434525 h 11"/>
                  <a:gd name="T64" fmla="*/ 5127437 w 17"/>
                  <a:gd name="T65" fmla="*/ 8434525 h 11"/>
                  <a:gd name="T66" fmla="*/ 10254874 w 17"/>
                  <a:gd name="T67" fmla="*/ 8434525 h 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7"/>
                  <a:gd name="T103" fmla="*/ 0 h 11"/>
                  <a:gd name="T104" fmla="*/ 17 w 17"/>
                  <a:gd name="T105" fmla="*/ 11 h 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7" h="11">
                    <a:moveTo>
                      <a:pt x="6" y="5"/>
                    </a:moveTo>
                    <a:lnTo>
                      <a:pt x="6" y="5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4" y="2"/>
                    </a:lnTo>
                    <a:lnTo>
                      <a:pt x="14" y="5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6" y="11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1" name="Freeform 1279"/>
              <p:cNvSpPr>
                <a:spLocks noChangeAspect="1"/>
              </p:cNvSpPr>
              <p:nvPr>
                <p:custDataLst>
                  <p:tags r:id="rId396"/>
                </p:custDataLst>
              </p:nvPr>
            </p:nvSpPr>
            <p:spPr bwMode="gray">
              <a:xfrm>
                <a:off x="2115357" y="2694174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7562057 h 3"/>
                  <a:gd name="T4" fmla="*/ 0 w 3"/>
                  <a:gd name="T5" fmla="*/ 0 h 3"/>
                  <a:gd name="T6" fmla="*/ 7562057 w 3"/>
                  <a:gd name="T7" fmla="*/ 0 h 3"/>
                  <a:gd name="T8" fmla="*/ 7562057 w 3"/>
                  <a:gd name="T9" fmla="*/ 7562057 h 3"/>
                  <a:gd name="T10" fmla="*/ 7562057 w 3"/>
                  <a:gd name="T11" fmla="*/ 7562057 h 3"/>
                  <a:gd name="T12" fmla="*/ 0 w 3"/>
                  <a:gd name="T13" fmla="*/ 7562057 h 3"/>
                  <a:gd name="T14" fmla="*/ 0 w 3"/>
                  <a:gd name="T15" fmla="*/ 7562057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2" name="Freeform 1280"/>
              <p:cNvSpPr>
                <a:spLocks noChangeAspect="1"/>
              </p:cNvSpPr>
              <p:nvPr>
                <p:custDataLst>
                  <p:tags r:id="rId397"/>
                </p:custDataLst>
              </p:nvPr>
            </p:nvSpPr>
            <p:spPr bwMode="gray">
              <a:xfrm>
                <a:off x="2115357" y="2694174"/>
                <a:ext cx="4557" cy="4731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7562057 h 3"/>
                  <a:gd name="T4" fmla="*/ 0 w 3"/>
                  <a:gd name="T5" fmla="*/ 0 h 3"/>
                  <a:gd name="T6" fmla="*/ 7562057 w 3"/>
                  <a:gd name="T7" fmla="*/ 0 h 3"/>
                  <a:gd name="T8" fmla="*/ 7562057 w 3"/>
                  <a:gd name="T9" fmla="*/ 7562057 h 3"/>
                  <a:gd name="T10" fmla="*/ 7562057 w 3"/>
                  <a:gd name="T11" fmla="*/ 7562057 h 3"/>
                  <a:gd name="T12" fmla="*/ 0 w 3"/>
                  <a:gd name="T13" fmla="*/ 7562057 h 3"/>
                  <a:gd name="T14" fmla="*/ 0 w 3"/>
                  <a:gd name="T15" fmla="*/ 7562057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3" name="Freeform 1281"/>
              <p:cNvSpPr>
                <a:spLocks noChangeAspect="1"/>
              </p:cNvSpPr>
              <p:nvPr>
                <p:custDataLst>
                  <p:tags r:id="rId398"/>
                </p:custDataLst>
              </p:nvPr>
            </p:nvSpPr>
            <p:spPr bwMode="gray">
              <a:xfrm>
                <a:off x="2212540" y="2624798"/>
                <a:ext cx="16704" cy="26805"/>
              </a:xfrm>
              <a:custGeom>
                <a:avLst/>
                <a:gdLst>
                  <a:gd name="T0" fmla="*/ 4667610 w 14"/>
                  <a:gd name="T1" fmla="*/ 20029142 h 20"/>
                  <a:gd name="T2" fmla="*/ 4667610 w 14"/>
                  <a:gd name="T3" fmla="*/ 20029142 h 20"/>
                  <a:gd name="T4" fmla="*/ 7779767 w 14"/>
                  <a:gd name="T5" fmla="*/ 14566773 h 20"/>
                  <a:gd name="T6" fmla="*/ 17114988 w 14"/>
                  <a:gd name="T7" fmla="*/ 5462370 h 20"/>
                  <a:gd name="T8" fmla="*/ 17114988 w 14"/>
                  <a:gd name="T9" fmla="*/ 0 h 20"/>
                  <a:gd name="T10" fmla="*/ 17114988 w 14"/>
                  <a:gd name="T11" fmla="*/ 0 h 20"/>
                  <a:gd name="T12" fmla="*/ 17114988 w 14"/>
                  <a:gd name="T13" fmla="*/ 5462370 h 20"/>
                  <a:gd name="T14" fmla="*/ 21782602 w 14"/>
                  <a:gd name="T15" fmla="*/ 5462370 h 20"/>
                  <a:gd name="T16" fmla="*/ 21782602 w 14"/>
                  <a:gd name="T17" fmla="*/ 5462370 h 20"/>
                  <a:gd name="T18" fmla="*/ 12447378 w 14"/>
                  <a:gd name="T19" fmla="*/ 20029142 h 20"/>
                  <a:gd name="T20" fmla="*/ 12447378 w 14"/>
                  <a:gd name="T21" fmla="*/ 25492866 h 20"/>
                  <a:gd name="T22" fmla="*/ 7779767 w 14"/>
                  <a:gd name="T23" fmla="*/ 25492866 h 20"/>
                  <a:gd name="T24" fmla="*/ 7779767 w 14"/>
                  <a:gd name="T25" fmla="*/ 30955235 h 20"/>
                  <a:gd name="T26" fmla="*/ 0 w 14"/>
                  <a:gd name="T27" fmla="*/ 36417604 h 20"/>
                  <a:gd name="T28" fmla="*/ 0 w 14"/>
                  <a:gd name="T29" fmla="*/ 30955235 h 20"/>
                  <a:gd name="T30" fmla="*/ 0 w 14"/>
                  <a:gd name="T31" fmla="*/ 25492866 h 20"/>
                  <a:gd name="T32" fmla="*/ 0 w 14"/>
                  <a:gd name="T33" fmla="*/ 25492866 h 20"/>
                  <a:gd name="T34" fmla="*/ 4667610 w 14"/>
                  <a:gd name="T35" fmla="*/ 20029142 h 20"/>
                  <a:gd name="T36" fmla="*/ 4667610 w 14"/>
                  <a:gd name="T37" fmla="*/ 20029142 h 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20"/>
                  <a:gd name="T59" fmla="*/ 14 w 14"/>
                  <a:gd name="T60" fmla="*/ 20 h 2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20">
                    <a:moveTo>
                      <a:pt x="3" y="11"/>
                    </a:moveTo>
                    <a:lnTo>
                      <a:pt x="3" y="11"/>
                    </a:lnTo>
                    <a:lnTo>
                      <a:pt x="5" y="8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4" name="Freeform 1282"/>
              <p:cNvSpPr>
                <a:spLocks noChangeAspect="1"/>
              </p:cNvSpPr>
              <p:nvPr>
                <p:custDataLst>
                  <p:tags r:id="rId399"/>
                </p:custDataLst>
              </p:nvPr>
            </p:nvSpPr>
            <p:spPr bwMode="gray">
              <a:xfrm>
                <a:off x="2212540" y="2624798"/>
                <a:ext cx="16704" cy="26805"/>
              </a:xfrm>
              <a:custGeom>
                <a:avLst/>
                <a:gdLst>
                  <a:gd name="T0" fmla="*/ 4667610 w 14"/>
                  <a:gd name="T1" fmla="*/ 20029142 h 20"/>
                  <a:gd name="T2" fmla="*/ 4667610 w 14"/>
                  <a:gd name="T3" fmla="*/ 20029142 h 20"/>
                  <a:gd name="T4" fmla="*/ 7779767 w 14"/>
                  <a:gd name="T5" fmla="*/ 14566773 h 20"/>
                  <a:gd name="T6" fmla="*/ 17114988 w 14"/>
                  <a:gd name="T7" fmla="*/ 5462370 h 20"/>
                  <a:gd name="T8" fmla="*/ 17114988 w 14"/>
                  <a:gd name="T9" fmla="*/ 0 h 20"/>
                  <a:gd name="T10" fmla="*/ 17114988 w 14"/>
                  <a:gd name="T11" fmla="*/ 0 h 20"/>
                  <a:gd name="T12" fmla="*/ 17114988 w 14"/>
                  <a:gd name="T13" fmla="*/ 5462370 h 20"/>
                  <a:gd name="T14" fmla="*/ 21782602 w 14"/>
                  <a:gd name="T15" fmla="*/ 5462370 h 20"/>
                  <a:gd name="T16" fmla="*/ 21782602 w 14"/>
                  <a:gd name="T17" fmla="*/ 5462370 h 20"/>
                  <a:gd name="T18" fmla="*/ 12447378 w 14"/>
                  <a:gd name="T19" fmla="*/ 20029142 h 20"/>
                  <a:gd name="T20" fmla="*/ 12447378 w 14"/>
                  <a:gd name="T21" fmla="*/ 25492866 h 20"/>
                  <a:gd name="T22" fmla="*/ 7779767 w 14"/>
                  <a:gd name="T23" fmla="*/ 25492866 h 20"/>
                  <a:gd name="T24" fmla="*/ 7779767 w 14"/>
                  <a:gd name="T25" fmla="*/ 30955235 h 20"/>
                  <a:gd name="T26" fmla="*/ 0 w 14"/>
                  <a:gd name="T27" fmla="*/ 36417604 h 20"/>
                  <a:gd name="T28" fmla="*/ 0 w 14"/>
                  <a:gd name="T29" fmla="*/ 30955235 h 20"/>
                  <a:gd name="T30" fmla="*/ 0 w 14"/>
                  <a:gd name="T31" fmla="*/ 25492866 h 20"/>
                  <a:gd name="T32" fmla="*/ 0 w 14"/>
                  <a:gd name="T33" fmla="*/ 25492866 h 20"/>
                  <a:gd name="T34" fmla="*/ 4667610 w 14"/>
                  <a:gd name="T35" fmla="*/ 20029142 h 20"/>
                  <a:gd name="T36" fmla="*/ 4667610 w 14"/>
                  <a:gd name="T37" fmla="*/ 20029142 h 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"/>
                  <a:gd name="T58" fmla="*/ 0 h 20"/>
                  <a:gd name="T59" fmla="*/ 14 w 14"/>
                  <a:gd name="T60" fmla="*/ 20 h 2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" h="20">
                    <a:moveTo>
                      <a:pt x="3" y="11"/>
                    </a:moveTo>
                    <a:lnTo>
                      <a:pt x="3" y="11"/>
                    </a:lnTo>
                    <a:lnTo>
                      <a:pt x="5" y="8"/>
                    </a:lnTo>
                    <a:lnTo>
                      <a:pt x="11" y="3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4" y="3"/>
                    </a:lnTo>
                    <a:lnTo>
                      <a:pt x="8" y="11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0" y="20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3" y="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5" name="Freeform 1283"/>
              <p:cNvSpPr>
                <a:spLocks noChangeAspect="1"/>
              </p:cNvSpPr>
              <p:nvPr>
                <p:custDataLst>
                  <p:tags r:id="rId400"/>
                </p:custDataLst>
              </p:nvPr>
            </p:nvSpPr>
            <p:spPr bwMode="gray">
              <a:xfrm>
                <a:off x="2232279" y="2620069"/>
                <a:ext cx="16702" cy="9460"/>
              </a:xfrm>
              <a:custGeom>
                <a:avLst/>
                <a:gdLst>
                  <a:gd name="T0" fmla="*/ 6353258 w 12"/>
                  <a:gd name="T1" fmla="*/ 7087790 h 8"/>
                  <a:gd name="T2" fmla="*/ 0 w 12"/>
                  <a:gd name="T3" fmla="*/ 7087790 h 8"/>
                  <a:gd name="T4" fmla="*/ 0 w 12"/>
                  <a:gd name="T5" fmla="*/ 7087790 h 8"/>
                  <a:gd name="T6" fmla="*/ 0 w 12"/>
                  <a:gd name="T7" fmla="*/ 2834878 h 8"/>
                  <a:gd name="T8" fmla="*/ 6353258 w 12"/>
                  <a:gd name="T9" fmla="*/ 2834878 h 8"/>
                  <a:gd name="T10" fmla="*/ 6353258 w 12"/>
                  <a:gd name="T11" fmla="*/ 0 h 8"/>
                  <a:gd name="T12" fmla="*/ 12705062 w 12"/>
                  <a:gd name="T13" fmla="*/ 2834878 h 8"/>
                  <a:gd name="T14" fmla="*/ 12705062 w 12"/>
                  <a:gd name="T15" fmla="*/ 2834878 h 8"/>
                  <a:gd name="T16" fmla="*/ 12705062 w 12"/>
                  <a:gd name="T17" fmla="*/ 2834878 h 8"/>
                  <a:gd name="T18" fmla="*/ 19058317 w 12"/>
                  <a:gd name="T19" fmla="*/ 2834878 h 8"/>
                  <a:gd name="T20" fmla="*/ 25410124 w 12"/>
                  <a:gd name="T21" fmla="*/ 2834878 h 8"/>
                  <a:gd name="T22" fmla="*/ 19058317 w 12"/>
                  <a:gd name="T23" fmla="*/ 7087790 h 8"/>
                  <a:gd name="T24" fmla="*/ 6353258 w 12"/>
                  <a:gd name="T25" fmla="*/ 11340702 h 8"/>
                  <a:gd name="T26" fmla="*/ 6353258 w 12"/>
                  <a:gd name="T27" fmla="*/ 7087790 h 8"/>
                  <a:gd name="T28" fmla="*/ 6353258 w 12"/>
                  <a:gd name="T29" fmla="*/ 7087790 h 8"/>
                  <a:gd name="T30" fmla="*/ 6353258 w 12"/>
                  <a:gd name="T31" fmla="*/ 7087790 h 8"/>
                  <a:gd name="T32" fmla="*/ 6353258 w 12"/>
                  <a:gd name="T33" fmla="*/ 7087790 h 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2"/>
                  <a:gd name="T52" fmla="*/ 0 h 8"/>
                  <a:gd name="T53" fmla="*/ 12 w 12"/>
                  <a:gd name="T54" fmla="*/ 8 h 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2" h="8">
                    <a:moveTo>
                      <a:pt x="3" y="5"/>
                    </a:moveTo>
                    <a:lnTo>
                      <a:pt x="0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3" y="8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6" name="Freeform 1284"/>
              <p:cNvSpPr>
                <a:spLocks noChangeAspect="1"/>
              </p:cNvSpPr>
              <p:nvPr>
                <p:custDataLst>
                  <p:tags r:id="rId401"/>
                </p:custDataLst>
              </p:nvPr>
            </p:nvSpPr>
            <p:spPr bwMode="gray">
              <a:xfrm>
                <a:off x="2232279" y="2620069"/>
                <a:ext cx="16702" cy="9460"/>
              </a:xfrm>
              <a:custGeom>
                <a:avLst/>
                <a:gdLst>
                  <a:gd name="T0" fmla="*/ 6353258 w 12"/>
                  <a:gd name="T1" fmla="*/ 7087790 h 8"/>
                  <a:gd name="T2" fmla="*/ 0 w 12"/>
                  <a:gd name="T3" fmla="*/ 7087790 h 8"/>
                  <a:gd name="T4" fmla="*/ 0 w 12"/>
                  <a:gd name="T5" fmla="*/ 7087790 h 8"/>
                  <a:gd name="T6" fmla="*/ 0 w 12"/>
                  <a:gd name="T7" fmla="*/ 2834878 h 8"/>
                  <a:gd name="T8" fmla="*/ 6353258 w 12"/>
                  <a:gd name="T9" fmla="*/ 2834878 h 8"/>
                  <a:gd name="T10" fmla="*/ 6353258 w 12"/>
                  <a:gd name="T11" fmla="*/ 0 h 8"/>
                  <a:gd name="T12" fmla="*/ 12705062 w 12"/>
                  <a:gd name="T13" fmla="*/ 2834878 h 8"/>
                  <a:gd name="T14" fmla="*/ 12705062 w 12"/>
                  <a:gd name="T15" fmla="*/ 2834878 h 8"/>
                  <a:gd name="T16" fmla="*/ 12705062 w 12"/>
                  <a:gd name="T17" fmla="*/ 2834878 h 8"/>
                  <a:gd name="T18" fmla="*/ 19058317 w 12"/>
                  <a:gd name="T19" fmla="*/ 2834878 h 8"/>
                  <a:gd name="T20" fmla="*/ 25410124 w 12"/>
                  <a:gd name="T21" fmla="*/ 2834878 h 8"/>
                  <a:gd name="T22" fmla="*/ 19058317 w 12"/>
                  <a:gd name="T23" fmla="*/ 7087790 h 8"/>
                  <a:gd name="T24" fmla="*/ 6353258 w 12"/>
                  <a:gd name="T25" fmla="*/ 11340702 h 8"/>
                  <a:gd name="T26" fmla="*/ 6353258 w 12"/>
                  <a:gd name="T27" fmla="*/ 7087790 h 8"/>
                  <a:gd name="T28" fmla="*/ 6353258 w 12"/>
                  <a:gd name="T29" fmla="*/ 7087790 h 8"/>
                  <a:gd name="T30" fmla="*/ 6353258 w 12"/>
                  <a:gd name="T31" fmla="*/ 7087790 h 8"/>
                  <a:gd name="T32" fmla="*/ 6353258 w 12"/>
                  <a:gd name="T33" fmla="*/ 7087790 h 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2"/>
                  <a:gd name="T52" fmla="*/ 0 h 8"/>
                  <a:gd name="T53" fmla="*/ 12 w 12"/>
                  <a:gd name="T54" fmla="*/ 8 h 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2" h="8">
                    <a:moveTo>
                      <a:pt x="3" y="5"/>
                    </a:moveTo>
                    <a:lnTo>
                      <a:pt x="0" y="5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9" y="5"/>
                    </a:lnTo>
                    <a:lnTo>
                      <a:pt x="3" y="8"/>
                    </a:lnTo>
                    <a:lnTo>
                      <a:pt x="3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7" name="Freeform 1285"/>
              <p:cNvSpPr>
                <a:spLocks noChangeAspect="1"/>
              </p:cNvSpPr>
              <p:nvPr>
                <p:custDataLst>
                  <p:tags r:id="rId402"/>
                </p:custDataLst>
              </p:nvPr>
            </p:nvSpPr>
            <p:spPr bwMode="gray">
              <a:xfrm>
                <a:off x="1942253" y="2686292"/>
                <a:ext cx="7593" cy="12614"/>
              </a:xfrm>
              <a:custGeom>
                <a:avLst/>
                <a:gdLst>
                  <a:gd name="T0" fmla="*/ 12602367 w 5"/>
                  <a:gd name="T1" fmla="*/ 0 h 9"/>
                  <a:gd name="T2" fmla="*/ 12602367 w 5"/>
                  <a:gd name="T3" fmla="*/ 0 h 9"/>
                  <a:gd name="T4" fmla="*/ 5040630 w 5"/>
                  <a:gd name="T5" fmla="*/ 11947878 h 9"/>
                  <a:gd name="T6" fmla="*/ 5040630 w 5"/>
                  <a:gd name="T7" fmla="*/ 17921109 h 9"/>
                  <a:gd name="T8" fmla="*/ 0 w 5"/>
                  <a:gd name="T9" fmla="*/ 11947878 h 9"/>
                  <a:gd name="T10" fmla="*/ 0 w 5"/>
                  <a:gd name="T11" fmla="*/ 5973234 h 9"/>
                  <a:gd name="T12" fmla="*/ 0 w 5"/>
                  <a:gd name="T13" fmla="*/ 5973234 h 9"/>
                  <a:gd name="T14" fmla="*/ 5040630 w 5"/>
                  <a:gd name="T15" fmla="*/ 5973234 h 9"/>
                  <a:gd name="T16" fmla="*/ 12602367 w 5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9"/>
                  <a:gd name="T29" fmla="*/ 5 w 5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8" name="Freeform 1286"/>
              <p:cNvSpPr>
                <a:spLocks noChangeAspect="1"/>
              </p:cNvSpPr>
              <p:nvPr>
                <p:custDataLst>
                  <p:tags r:id="rId403"/>
                </p:custDataLst>
              </p:nvPr>
            </p:nvSpPr>
            <p:spPr bwMode="gray">
              <a:xfrm>
                <a:off x="1942253" y="2686292"/>
                <a:ext cx="7593" cy="12614"/>
              </a:xfrm>
              <a:custGeom>
                <a:avLst/>
                <a:gdLst>
                  <a:gd name="T0" fmla="*/ 12602367 w 5"/>
                  <a:gd name="T1" fmla="*/ 0 h 9"/>
                  <a:gd name="T2" fmla="*/ 12602367 w 5"/>
                  <a:gd name="T3" fmla="*/ 0 h 9"/>
                  <a:gd name="T4" fmla="*/ 5040630 w 5"/>
                  <a:gd name="T5" fmla="*/ 11947878 h 9"/>
                  <a:gd name="T6" fmla="*/ 5040630 w 5"/>
                  <a:gd name="T7" fmla="*/ 17921109 h 9"/>
                  <a:gd name="T8" fmla="*/ 0 w 5"/>
                  <a:gd name="T9" fmla="*/ 11947878 h 9"/>
                  <a:gd name="T10" fmla="*/ 0 w 5"/>
                  <a:gd name="T11" fmla="*/ 5973234 h 9"/>
                  <a:gd name="T12" fmla="*/ 0 w 5"/>
                  <a:gd name="T13" fmla="*/ 5973234 h 9"/>
                  <a:gd name="T14" fmla="*/ 5040630 w 5"/>
                  <a:gd name="T15" fmla="*/ 5973234 h 9"/>
                  <a:gd name="T16" fmla="*/ 12602367 w 5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9"/>
                  <a:gd name="T29" fmla="*/ 5 w 5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9">
                    <a:moveTo>
                      <a:pt x="5" y="0"/>
                    </a:moveTo>
                    <a:lnTo>
                      <a:pt x="5" y="0"/>
                    </a:lnTo>
                    <a:lnTo>
                      <a:pt x="2" y="6"/>
                    </a:lnTo>
                    <a:lnTo>
                      <a:pt x="2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9" name="Freeform 1287"/>
              <p:cNvSpPr>
                <a:spLocks noChangeAspect="1"/>
              </p:cNvSpPr>
              <p:nvPr>
                <p:custDataLst>
                  <p:tags r:id="rId404"/>
                </p:custDataLst>
              </p:nvPr>
            </p:nvSpPr>
            <p:spPr bwMode="gray">
              <a:xfrm>
                <a:off x="1811665" y="2624798"/>
                <a:ext cx="39480" cy="23652"/>
              </a:xfrm>
              <a:custGeom>
                <a:avLst/>
                <a:gdLst>
                  <a:gd name="T0" fmla="*/ 0 w 31"/>
                  <a:gd name="T1" fmla="*/ 5886013 h 17"/>
                  <a:gd name="T2" fmla="*/ 21272602 w 31"/>
                  <a:gd name="T3" fmla="*/ 5886013 h 17"/>
                  <a:gd name="T4" fmla="*/ 30137410 w 31"/>
                  <a:gd name="T5" fmla="*/ 0 h 17"/>
                  <a:gd name="T6" fmla="*/ 35455227 w 31"/>
                  <a:gd name="T7" fmla="*/ 0 h 17"/>
                  <a:gd name="T8" fmla="*/ 40773043 w 31"/>
                  <a:gd name="T9" fmla="*/ 0 h 17"/>
                  <a:gd name="T10" fmla="*/ 49637856 w 31"/>
                  <a:gd name="T11" fmla="*/ 0 h 17"/>
                  <a:gd name="T12" fmla="*/ 54955673 w 31"/>
                  <a:gd name="T13" fmla="*/ 5886013 h 17"/>
                  <a:gd name="T14" fmla="*/ 49637856 w 31"/>
                  <a:gd name="T15" fmla="*/ 15696968 h 17"/>
                  <a:gd name="T16" fmla="*/ 54955673 w 31"/>
                  <a:gd name="T17" fmla="*/ 15696968 h 17"/>
                  <a:gd name="T18" fmla="*/ 54955673 w 31"/>
                  <a:gd name="T19" fmla="*/ 21582978 h 17"/>
                  <a:gd name="T20" fmla="*/ 49637856 w 31"/>
                  <a:gd name="T21" fmla="*/ 21582978 h 17"/>
                  <a:gd name="T22" fmla="*/ 49637856 w 31"/>
                  <a:gd name="T23" fmla="*/ 21582978 h 17"/>
                  <a:gd name="T24" fmla="*/ 46092201 w 31"/>
                  <a:gd name="T25" fmla="*/ 27470395 h 17"/>
                  <a:gd name="T26" fmla="*/ 46092201 w 31"/>
                  <a:gd name="T27" fmla="*/ 27470395 h 17"/>
                  <a:gd name="T28" fmla="*/ 40773043 w 31"/>
                  <a:gd name="T29" fmla="*/ 33356406 h 17"/>
                  <a:gd name="T30" fmla="*/ 40773043 w 31"/>
                  <a:gd name="T31" fmla="*/ 33356406 h 17"/>
                  <a:gd name="T32" fmla="*/ 15954786 w 31"/>
                  <a:gd name="T33" fmla="*/ 21582978 h 17"/>
                  <a:gd name="T34" fmla="*/ 15954786 w 31"/>
                  <a:gd name="T35" fmla="*/ 21582978 h 17"/>
                  <a:gd name="T36" fmla="*/ 10636967 w 31"/>
                  <a:gd name="T37" fmla="*/ 21582978 h 17"/>
                  <a:gd name="T38" fmla="*/ 5317818 w 31"/>
                  <a:gd name="T39" fmla="*/ 15696968 h 17"/>
                  <a:gd name="T40" fmla="*/ 5317818 w 31"/>
                  <a:gd name="T41" fmla="*/ 11773428 h 17"/>
                  <a:gd name="T42" fmla="*/ 0 w 31"/>
                  <a:gd name="T43" fmla="*/ 11773428 h 17"/>
                  <a:gd name="T44" fmla="*/ 0 w 31"/>
                  <a:gd name="T45" fmla="*/ 5886013 h 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1"/>
                  <a:gd name="T70" fmla="*/ 0 h 17"/>
                  <a:gd name="T71" fmla="*/ 31 w 31"/>
                  <a:gd name="T72" fmla="*/ 17 h 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1" h="17">
                    <a:moveTo>
                      <a:pt x="0" y="3"/>
                    </a:moveTo>
                    <a:lnTo>
                      <a:pt x="12" y="3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11"/>
                    </a:lnTo>
                    <a:lnTo>
                      <a:pt x="28" y="11"/>
                    </a:lnTo>
                    <a:lnTo>
                      <a:pt x="26" y="14"/>
                    </a:lnTo>
                    <a:lnTo>
                      <a:pt x="23" y="17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0" name="Freeform 1288"/>
              <p:cNvSpPr>
                <a:spLocks noChangeAspect="1"/>
              </p:cNvSpPr>
              <p:nvPr>
                <p:custDataLst>
                  <p:tags r:id="rId405"/>
                </p:custDataLst>
              </p:nvPr>
            </p:nvSpPr>
            <p:spPr bwMode="gray">
              <a:xfrm>
                <a:off x="1811665" y="2624798"/>
                <a:ext cx="39480" cy="23652"/>
              </a:xfrm>
              <a:custGeom>
                <a:avLst/>
                <a:gdLst>
                  <a:gd name="T0" fmla="*/ 0 w 31"/>
                  <a:gd name="T1" fmla="*/ 5886013 h 17"/>
                  <a:gd name="T2" fmla="*/ 21272602 w 31"/>
                  <a:gd name="T3" fmla="*/ 5886013 h 17"/>
                  <a:gd name="T4" fmla="*/ 30137410 w 31"/>
                  <a:gd name="T5" fmla="*/ 0 h 17"/>
                  <a:gd name="T6" fmla="*/ 35455227 w 31"/>
                  <a:gd name="T7" fmla="*/ 0 h 17"/>
                  <a:gd name="T8" fmla="*/ 40773043 w 31"/>
                  <a:gd name="T9" fmla="*/ 0 h 17"/>
                  <a:gd name="T10" fmla="*/ 49637856 w 31"/>
                  <a:gd name="T11" fmla="*/ 0 h 17"/>
                  <a:gd name="T12" fmla="*/ 54955673 w 31"/>
                  <a:gd name="T13" fmla="*/ 5886013 h 17"/>
                  <a:gd name="T14" fmla="*/ 49637856 w 31"/>
                  <a:gd name="T15" fmla="*/ 15696968 h 17"/>
                  <a:gd name="T16" fmla="*/ 54955673 w 31"/>
                  <a:gd name="T17" fmla="*/ 15696968 h 17"/>
                  <a:gd name="T18" fmla="*/ 54955673 w 31"/>
                  <a:gd name="T19" fmla="*/ 21582978 h 17"/>
                  <a:gd name="T20" fmla="*/ 49637856 w 31"/>
                  <a:gd name="T21" fmla="*/ 21582978 h 17"/>
                  <a:gd name="T22" fmla="*/ 49637856 w 31"/>
                  <a:gd name="T23" fmla="*/ 21582978 h 17"/>
                  <a:gd name="T24" fmla="*/ 46092201 w 31"/>
                  <a:gd name="T25" fmla="*/ 27470395 h 17"/>
                  <a:gd name="T26" fmla="*/ 46092201 w 31"/>
                  <a:gd name="T27" fmla="*/ 27470395 h 17"/>
                  <a:gd name="T28" fmla="*/ 40773043 w 31"/>
                  <a:gd name="T29" fmla="*/ 33356406 h 17"/>
                  <a:gd name="T30" fmla="*/ 40773043 w 31"/>
                  <a:gd name="T31" fmla="*/ 33356406 h 17"/>
                  <a:gd name="T32" fmla="*/ 15954786 w 31"/>
                  <a:gd name="T33" fmla="*/ 21582978 h 17"/>
                  <a:gd name="T34" fmla="*/ 15954786 w 31"/>
                  <a:gd name="T35" fmla="*/ 21582978 h 17"/>
                  <a:gd name="T36" fmla="*/ 10636967 w 31"/>
                  <a:gd name="T37" fmla="*/ 21582978 h 17"/>
                  <a:gd name="T38" fmla="*/ 5317818 w 31"/>
                  <a:gd name="T39" fmla="*/ 15696968 h 17"/>
                  <a:gd name="T40" fmla="*/ 5317818 w 31"/>
                  <a:gd name="T41" fmla="*/ 11773428 h 17"/>
                  <a:gd name="T42" fmla="*/ 0 w 31"/>
                  <a:gd name="T43" fmla="*/ 11773428 h 17"/>
                  <a:gd name="T44" fmla="*/ 0 w 31"/>
                  <a:gd name="T45" fmla="*/ 5886013 h 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1"/>
                  <a:gd name="T70" fmla="*/ 0 h 17"/>
                  <a:gd name="T71" fmla="*/ 31 w 31"/>
                  <a:gd name="T72" fmla="*/ 17 h 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1" h="17">
                    <a:moveTo>
                      <a:pt x="0" y="3"/>
                    </a:moveTo>
                    <a:lnTo>
                      <a:pt x="12" y="3"/>
                    </a:lnTo>
                    <a:lnTo>
                      <a:pt x="17" y="0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8" y="0"/>
                    </a:lnTo>
                    <a:lnTo>
                      <a:pt x="31" y="3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1" y="11"/>
                    </a:lnTo>
                    <a:lnTo>
                      <a:pt x="28" y="11"/>
                    </a:lnTo>
                    <a:lnTo>
                      <a:pt x="26" y="14"/>
                    </a:lnTo>
                    <a:lnTo>
                      <a:pt x="23" y="17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1" name="Freeform 1289"/>
              <p:cNvSpPr>
                <a:spLocks noChangeAspect="1"/>
              </p:cNvSpPr>
              <p:nvPr>
                <p:custDataLst>
                  <p:tags r:id="rId406"/>
                </p:custDataLst>
              </p:nvPr>
            </p:nvSpPr>
            <p:spPr bwMode="gray">
              <a:xfrm>
                <a:off x="1860257" y="2604302"/>
                <a:ext cx="16704" cy="20498"/>
              </a:xfrm>
              <a:custGeom>
                <a:avLst/>
                <a:gdLst>
                  <a:gd name="T0" fmla="*/ 0 w 14"/>
                  <a:gd name="T1" fmla="*/ 13262306 h 17"/>
                  <a:gd name="T2" fmla="*/ 0 w 14"/>
                  <a:gd name="T3" fmla="*/ 8842346 h 17"/>
                  <a:gd name="T4" fmla="*/ 3112156 w 14"/>
                  <a:gd name="T5" fmla="*/ 4421173 h 17"/>
                  <a:gd name="T6" fmla="*/ 7779767 w 14"/>
                  <a:gd name="T7" fmla="*/ 0 h 17"/>
                  <a:gd name="T8" fmla="*/ 21782602 w 14"/>
                  <a:gd name="T9" fmla="*/ 8842346 h 17"/>
                  <a:gd name="T10" fmla="*/ 21782602 w 14"/>
                  <a:gd name="T11" fmla="*/ 13262306 h 17"/>
                  <a:gd name="T12" fmla="*/ 21782602 w 14"/>
                  <a:gd name="T13" fmla="*/ 13262306 h 17"/>
                  <a:gd name="T14" fmla="*/ 12447378 w 14"/>
                  <a:gd name="T15" fmla="*/ 25052102 h 17"/>
                  <a:gd name="T16" fmla="*/ 7779767 w 14"/>
                  <a:gd name="T17" fmla="*/ 17683478 h 17"/>
                  <a:gd name="T18" fmla="*/ 3112156 w 14"/>
                  <a:gd name="T19" fmla="*/ 13262306 h 17"/>
                  <a:gd name="T20" fmla="*/ 0 w 14"/>
                  <a:gd name="T21" fmla="*/ 13262306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17"/>
                  <a:gd name="T35" fmla="*/ 14 w 14"/>
                  <a:gd name="T36" fmla="*/ 17 h 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17">
                    <a:moveTo>
                      <a:pt x="0" y="9"/>
                    </a:moveTo>
                    <a:lnTo>
                      <a:pt x="0" y="6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8" y="17"/>
                    </a:lnTo>
                    <a:lnTo>
                      <a:pt x="5" y="12"/>
                    </a:lnTo>
                    <a:lnTo>
                      <a:pt x="2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2" name="Freeform 1290"/>
              <p:cNvSpPr>
                <a:spLocks noChangeAspect="1"/>
              </p:cNvSpPr>
              <p:nvPr>
                <p:custDataLst>
                  <p:tags r:id="rId407"/>
                </p:custDataLst>
              </p:nvPr>
            </p:nvSpPr>
            <p:spPr bwMode="gray">
              <a:xfrm>
                <a:off x="1860257" y="2604302"/>
                <a:ext cx="16704" cy="20498"/>
              </a:xfrm>
              <a:custGeom>
                <a:avLst/>
                <a:gdLst>
                  <a:gd name="T0" fmla="*/ 0 w 14"/>
                  <a:gd name="T1" fmla="*/ 13262306 h 17"/>
                  <a:gd name="T2" fmla="*/ 0 w 14"/>
                  <a:gd name="T3" fmla="*/ 8842346 h 17"/>
                  <a:gd name="T4" fmla="*/ 3112156 w 14"/>
                  <a:gd name="T5" fmla="*/ 4421173 h 17"/>
                  <a:gd name="T6" fmla="*/ 7779767 w 14"/>
                  <a:gd name="T7" fmla="*/ 0 h 17"/>
                  <a:gd name="T8" fmla="*/ 21782602 w 14"/>
                  <a:gd name="T9" fmla="*/ 8842346 h 17"/>
                  <a:gd name="T10" fmla="*/ 21782602 w 14"/>
                  <a:gd name="T11" fmla="*/ 13262306 h 17"/>
                  <a:gd name="T12" fmla="*/ 21782602 w 14"/>
                  <a:gd name="T13" fmla="*/ 13262306 h 17"/>
                  <a:gd name="T14" fmla="*/ 12447378 w 14"/>
                  <a:gd name="T15" fmla="*/ 25052102 h 17"/>
                  <a:gd name="T16" fmla="*/ 7779767 w 14"/>
                  <a:gd name="T17" fmla="*/ 17683478 h 17"/>
                  <a:gd name="T18" fmla="*/ 3112156 w 14"/>
                  <a:gd name="T19" fmla="*/ 13262306 h 17"/>
                  <a:gd name="T20" fmla="*/ 0 w 14"/>
                  <a:gd name="T21" fmla="*/ 13262306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17"/>
                  <a:gd name="T35" fmla="*/ 14 w 14"/>
                  <a:gd name="T36" fmla="*/ 17 h 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17">
                    <a:moveTo>
                      <a:pt x="0" y="9"/>
                    </a:moveTo>
                    <a:lnTo>
                      <a:pt x="0" y="6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14" y="6"/>
                    </a:lnTo>
                    <a:lnTo>
                      <a:pt x="14" y="9"/>
                    </a:lnTo>
                    <a:lnTo>
                      <a:pt x="8" y="17"/>
                    </a:lnTo>
                    <a:lnTo>
                      <a:pt x="5" y="12"/>
                    </a:lnTo>
                    <a:lnTo>
                      <a:pt x="2" y="9"/>
                    </a:lnTo>
                    <a:lnTo>
                      <a:pt x="0" y="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3" name="Freeform 1291"/>
              <p:cNvSpPr>
                <a:spLocks noChangeAspect="1"/>
              </p:cNvSpPr>
              <p:nvPr>
                <p:custDataLst>
                  <p:tags r:id="rId408"/>
                </p:custDataLst>
              </p:nvPr>
            </p:nvSpPr>
            <p:spPr bwMode="gray">
              <a:xfrm>
                <a:off x="1702338" y="2620069"/>
                <a:ext cx="10630" cy="4730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0 h 5"/>
                  <a:gd name="T4" fmla="*/ 0 w 6"/>
                  <a:gd name="T5" fmla="*/ 1814322 h 5"/>
                  <a:gd name="T6" fmla="*/ 20583129 w 6"/>
                  <a:gd name="T7" fmla="*/ 4535329 h 5"/>
                  <a:gd name="T8" fmla="*/ 20583129 w 6"/>
                  <a:gd name="T9" fmla="*/ 4535329 h 5"/>
                  <a:gd name="T10" fmla="*/ 20583129 w 6"/>
                  <a:gd name="T11" fmla="*/ 4535329 h 5"/>
                  <a:gd name="T12" fmla="*/ 20583129 w 6"/>
                  <a:gd name="T13" fmla="*/ 4535329 h 5"/>
                  <a:gd name="T14" fmla="*/ 0 w 6"/>
                  <a:gd name="T15" fmla="*/ 0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6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4" name="Freeform 1292"/>
              <p:cNvSpPr>
                <a:spLocks noChangeAspect="1"/>
              </p:cNvSpPr>
              <p:nvPr>
                <p:custDataLst>
                  <p:tags r:id="rId409"/>
                </p:custDataLst>
              </p:nvPr>
            </p:nvSpPr>
            <p:spPr bwMode="gray">
              <a:xfrm>
                <a:off x="1702338" y="2620069"/>
                <a:ext cx="10630" cy="4730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0 h 5"/>
                  <a:gd name="T4" fmla="*/ 0 w 6"/>
                  <a:gd name="T5" fmla="*/ 1814322 h 5"/>
                  <a:gd name="T6" fmla="*/ 20583129 w 6"/>
                  <a:gd name="T7" fmla="*/ 4535329 h 5"/>
                  <a:gd name="T8" fmla="*/ 20583129 w 6"/>
                  <a:gd name="T9" fmla="*/ 4535329 h 5"/>
                  <a:gd name="T10" fmla="*/ 20583129 w 6"/>
                  <a:gd name="T11" fmla="*/ 4535329 h 5"/>
                  <a:gd name="T12" fmla="*/ 20583129 w 6"/>
                  <a:gd name="T13" fmla="*/ 4535329 h 5"/>
                  <a:gd name="T14" fmla="*/ 0 w 6"/>
                  <a:gd name="T15" fmla="*/ 0 h 5"/>
                  <a:gd name="T16" fmla="*/ 0 w 6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6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5" name="Freeform 1293"/>
              <p:cNvSpPr>
                <a:spLocks noChangeAspect="1"/>
              </p:cNvSpPr>
              <p:nvPr>
                <p:custDataLst>
                  <p:tags r:id="rId410"/>
                </p:custDataLst>
              </p:nvPr>
            </p:nvSpPr>
            <p:spPr bwMode="gray">
              <a:xfrm>
                <a:off x="1753963" y="2747783"/>
                <a:ext cx="1519" cy="4731"/>
              </a:xfrm>
              <a:custGeom>
                <a:avLst/>
                <a:gdLst>
                  <a:gd name="T0" fmla="*/ 0 w 1588"/>
                  <a:gd name="T1" fmla="*/ 0 h 3"/>
                  <a:gd name="T2" fmla="*/ 0 w 1588"/>
                  <a:gd name="T3" fmla="*/ 0 h 3"/>
                  <a:gd name="T4" fmla="*/ 0 w 1588"/>
                  <a:gd name="T5" fmla="*/ 0 h 3"/>
                  <a:gd name="T6" fmla="*/ 0 w 1588"/>
                  <a:gd name="T7" fmla="*/ 0 h 3"/>
                  <a:gd name="T8" fmla="*/ 0 w 1588"/>
                  <a:gd name="T9" fmla="*/ 7562057 h 3"/>
                  <a:gd name="T10" fmla="*/ 0 w 1588"/>
                  <a:gd name="T11" fmla="*/ 7562057 h 3"/>
                  <a:gd name="T12" fmla="*/ 0 w 1588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88"/>
                  <a:gd name="T22" fmla="*/ 0 h 3"/>
                  <a:gd name="T23" fmla="*/ 1588 w 1588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88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6" name="Freeform 1294"/>
              <p:cNvSpPr>
                <a:spLocks noChangeAspect="1"/>
              </p:cNvSpPr>
              <p:nvPr>
                <p:custDataLst>
                  <p:tags r:id="rId411"/>
                </p:custDataLst>
              </p:nvPr>
            </p:nvSpPr>
            <p:spPr bwMode="gray">
              <a:xfrm>
                <a:off x="1753963" y="2747783"/>
                <a:ext cx="1519" cy="4731"/>
              </a:xfrm>
              <a:custGeom>
                <a:avLst/>
                <a:gdLst>
                  <a:gd name="T0" fmla="*/ 0 w 1588"/>
                  <a:gd name="T1" fmla="*/ 0 h 3"/>
                  <a:gd name="T2" fmla="*/ 0 w 1588"/>
                  <a:gd name="T3" fmla="*/ 0 h 3"/>
                  <a:gd name="T4" fmla="*/ 0 w 1588"/>
                  <a:gd name="T5" fmla="*/ 0 h 3"/>
                  <a:gd name="T6" fmla="*/ 0 w 1588"/>
                  <a:gd name="T7" fmla="*/ 0 h 3"/>
                  <a:gd name="T8" fmla="*/ 0 w 1588"/>
                  <a:gd name="T9" fmla="*/ 7562057 h 3"/>
                  <a:gd name="T10" fmla="*/ 0 w 1588"/>
                  <a:gd name="T11" fmla="*/ 7562057 h 3"/>
                  <a:gd name="T12" fmla="*/ 0 w 1588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88"/>
                  <a:gd name="T22" fmla="*/ 0 h 3"/>
                  <a:gd name="T23" fmla="*/ 1588 w 1588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88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7" name="Freeform 1295"/>
              <p:cNvSpPr>
                <a:spLocks noChangeAspect="1"/>
              </p:cNvSpPr>
              <p:nvPr>
                <p:custDataLst>
                  <p:tags r:id="rId412"/>
                </p:custDataLst>
              </p:nvPr>
            </p:nvSpPr>
            <p:spPr bwMode="gray">
              <a:xfrm>
                <a:off x="1764594" y="2768283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3360208 w 3"/>
                  <a:gd name="T5" fmla="*/ 7558882 h 3"/>
                  <a:gd name="T6" fmla="*/ 3360208 w 3"/>
                  <a:gd name="T7" fmla="*/ 0 h 3"/>
                  <a:gd name="T8" fmla="*/ 3360208 w 3"/>
                  <a:gd name="T9" fmla="*/ 7558882 h 3"/>
                  <a:gd name="T10" fmla="*/ 3360208 w 3"/>
                  <a:gd name="T11" fmla="*/ 7558882 h 3"/>
                  <a:gd name="T12" fmla="*/ 0 w 3"/>
                  <a:gd name="T13" fmla="*/ 0 h 3"/>
                  <a:gd name="T14" fmla="*/ 3360208 w 3"/>
                  <a:gd name="T15" fmla="*/ 7558882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8" name="Freeform 1296"/>
              <p:cNvSpPr>
                <a:spLocks noChangeAspect="1"/>
              </p:cNvSpPr>
              <p:nvPr>
                <p:custDataLst>
                  <p:tags r:id="rId413"/>
                </p:custDataLst>
              </p:nvPr>
            </p:nvSpPr>
            <p:spPr bwMode="gray">
              <a:xfrm>
                <a:off x="1764595" y="2768283"/>
                <a:ext cx="3037" cy="4730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3360208 w 3"/>
                  <a:gd name="T5" fmla="*/ 7558882 h 3"/>
                  <a:gd name="T6" fmla="*/ 3360208 w 3"/>
                  <a:gd name="T7" fmla="*/ 0 h 3"/>
                  <a:gd name="T8" fmla="*/ 3360208 w 3"/>
                  <a:gd name="T9" fmla="*/ 7558882 h 3"/>
                  <a:gd name="T10" fmla="*/ 3360208 w 3"/>
                  <a:gd name="T11" fmla="*/ 7558882 h 3"/>
                  <a:gd name="T12" fmla="*/ 0 w 3"/>
                  <a:gd name="T13" fmla="*/ 0 h 3"/>
                  <a:gd name="T14" fmla="*/ 3360208 w 3"/>
                  <a:gd name="T15" fmla="*/ 7558882 h 3"/>
                  <a:gd name="T16" fmla="*/ 0 w 3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3"/>
                  <a:gd name="T29" fmla="*/ 3 w 3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89" name="Freeform 1297"/>
              <p:cNvSpPr>
                <a:spLocks noChangeAspect="1"/>
              </p:cNvSpPr>
              <p:nvPr>
                <p:custDataLst>
                  <p:tags r:id="rId414"/>
                </p:custDataLst>
              </p:nvPr>
            </p:nvSpPr>
            <p:spPr bwMode="gray">
              <a:xfrm>
                <a:off x="1866329" y="2511273"/>
                <a:ext cx="15185" cy="18921"/>
              </a:xfrm>
              <a:custGeom>
                <a:avLst/>
                <a:gdLst>
                  <a:gd name="T0" fmla="*/ 18745488 w 11"/>
                  <a:gd name="T1" fmla="*/ 5554436 h 14"/>
                  <a:gd name="T2" fmla="*/ 22910509 w 11"/>
                  <a:gd name="T3" fmla="*/ 5554436 h 14"/>
                  <a:gd name="T4" fmla="*/ 22910509 w 11"/>
                  <a:gd name="T5" fmla="*/ 11108871 h 14"/>
                  <a:gd name="T6" fmla="*/ 18745488 w 11"/>
                  <a:gd name="T7" fmla="*/ 14812737 h 14"/>
                  <a:gd name="T8" fmla="*/ 18745488 w 11"/>
                  <a:gd name="T9" fmla="*/ 20367171 h 14"/>
                  <a:gd name="T10" fmla="*/ 6248978 w 11"/>
                  <a:gd name="T11" fmla="*/ 20367171 h 14"/>
                  <a:gd name="T12" fmla="*/ 0 w 11"/>
                  <a:gd name="T13" fmla="*/ 25921611 h 14"/>
                  <a:gd name="T14" fmla="*/ 0 w 11"/>
                  <a:gd name="T15" fmla="*/ 20367171 h 14"/>
                  <a:gd name="T16" fmla="*/ 0 w 11"/>
                  <a:gd name="T17" fmla="*/ 11108871 h 14"/>
                  <a:gd name="T18" fmla="*/ 12496513 w 11"/>
                  <a:gd name="T19" fmla="*/ 0 h 14"/>
                  <a:gd name="T20" fmla="*/ 18745488 w 11"/>
                  <a:gd name="T21" fmla="*/ 5554436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14"/>
                  <a:gd name="T35" fmla="*/ 11 w 11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14">
                    <a:moveTo>
                      <a:pt x="9" y="3"/>
                    </a:moveTo>
                    <a:lnTo>
                      <a:pt x="11" y="3"/>
                    </a:lnTo>
                    <a:lnTo>
                      <a:pt x="11" y="6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3" y="11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0" name="Freeform 1298"/>
              <p:cNvSpPr>
                <a:spLocks noChangeAspect="1"/>
              </p:cNvSpPr>
              <p:nvPr>
                <p:custDataLst>
                  <p:tags r:id="rId415"/>
                </p:custDataLst>
              </p:nvPr>
            </p:nvSpPr>
            <p:spPr bwMode="gray">
              <a:xfrm>
                <a:off x="1866329" y="2511273"/>
                <a:ext cx="15185" cy="18921"/>
              </a:xfrm>
              <a:custGeom>
                <a:avLst/>
                <a:gdLst>
                  <a:gd name="T0" fmla="*/ 18745488 w 11"/>
                  <a:gd name="T1" fmla="*/ 5554436 h 14"/>
                  <a:gd name="T2" fmla="*/ 22910509 w 11"/>
                  <a:gd name="T3" fmla="*/ 5554436 h 14"/>
                  <a:gd name="T4" fmla="*/ 22910509 w 11"/>
                  <a:gd name="T5" fmla="*/ 11108871 h 14"/>
                  <a:gd name="T6" fmla="*/ 18745488 w 11"/>
                  <a:gd name="T7" fmla="*/ 14812737 h 14"/>
                  <a:gd name="T8" fmla="*/ 18745488 w 11"/>
                  <a:gd name="T9" fmla="*/ 20367171 h 14"/>
                  <a:gd name="T10" fmla="*/ 6248978 w 11"/>
                  <a:gd name="T11" fmla="*/ 20367171 h 14"/>
                  <a:gd name="T12" fmla="*/ 0 w 11"/>
                  <a:gd name="T13" fmla="*/ 25921611 h 14"/>
                  <a:gd name="T14" fmla="*/ 0 w 11"/>
                  <a:gd name="T15" fmla="*/ 20367171 h 14"/>
                  <a:gd name="T16" fmla="*/ 0 w 11"/>
                  <a:gd name="T17" fmla="*/ 11108871 h 14"/>
                  <a:gd name="T18" fmla="*/ 12496513 w 11"/>
                  <a:gd name="T19" fmla="*/ 0 h 14"/>
                  <a:gd name="T20" fmla="*/ 18745488 w 11"/>
                  <a:gd name="T21" fmla="*/ 5554436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"/>
                  <a:gd name="T34" fmla="*/ 0 h 14"/>
                  <a:gd name="T35" fmla="*/ 11 w 11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" h="14">
                    <a:moveTo>
                      <a:pt x="9" y="3"/>
                    </a:moveTo>
                    <a:lnTo>
                      <a:pt x="11" y="3"/>
                    </a:lnTo>
                    <a:lnTo>
                      <a:pt x="11" y="6"/>
                    </a:lnTo>
                    <a:lnTo>
                      <a:pt x="9" y="8"/>
                    </a:lnTo>
                    <a:lnTo>
                      <a:pt x="9" y="11"/>
                    </a:lnTo>
                    <a:lnTo>
                      <a:pt x="3" y="11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9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1" name="Freeform 1299"/>
              <p:cNvSpPr>
                <a:spLocks noChangeAspect="1"/>
              </p:cNvSpPr>
              <p:nvPr>
                <p:custDataLst>
                  <p:tags r:id="rId416"/>
                </p:custDataLst>
              </p:nvPr>
            </p:nvSpPr>
            <p:spPr bwMode="gray">
              <a:xfrm>
                <a:off x="1801038" y="2076093"/>
                <a:ext cx="605864" cy="755258"/>
              </a:xfrm>
              <a:custGeom>
                <a:avLst/>
                <a:gdLst>
                  <a:gd name="T0" fmla="*/ 712521737 w 465"/>
                  <a:gd name="T1" fmla="*/ 99686894 h 585"/>
                  <a:gd name="T2" fmla="*/ 640156137 w 465"/>
                  <a:gd name="T3" fmla="*/ 94618776 h 585"/>
                  <a:gd name="T4" fmla="*/ 491714371 w 465"/>
                  <a:gd name="T5" fmla="*/ 76032190 h 585"/>
                  <a:gd name="T6" fmla="*/ 439759617 w 465"/>
                  <a:gd name="T7" fmla="*/ 42239960 h 585"/>
                  <a:gd name="T8" fmla="*/ 372959869 w 465"/>
                  <a:gd name="T9" fmla="*/ 28722812 h 585"/>
                  <a:gd name="T10" fmla="*/ 356260868 w 465"/>
                  <a:gd name="T11" fmla="*/ 33792230 h 585"/>
                  <a:gd name="T12" fmla="*/ 326572243 w 465"/>
                  <a:gd name="T13" fmla="*/ 18585271 h 585"/>
                  <a:gd name="T14" fmla="*/ 263484424 w 465"/>
                  <a:gd name="T15" fmla="*/ 37171842 h 585"/>
                  <a:gd name="T16" fmla="*/ 231940515 w 465"/>
                  <a:gd name="T17" fmla="*/ 84481219 h 585"/>
                  <a:gd name="T18" fmla="*/ 185552974 w 465"/>
                  <a:gd name="T19" fmla="*/ 89549358 h 585"/>
                  <a:gd name="T20" fmla="*/ 155864305 w 465"/>
                  <a:gd name="T21" fmla="*/ 136858725 h 585"/>
                  <a:gd name="T22" fmla="*/ 57520627 w 465"/>
                  <a:gd name="T23" fmla="*/ 221339965 h 585"/>
                  <a:gd name="T24" fmla="*/ 129886247 w 465"/>
                  <a:gd name="T25" fmla="*/ 300751746 h 585"/>
                  <a:gd name="T26" fmla="*/ 185552974 w 465"/>
                  <a:gd name="T27" fmla="*/ 324405130 h 585"/>
                  <a:gd name="T28" fmla="*/ 237507728 w 465"/>
                  <a:gd name="T29" fmla="*/ 348059895 h 585"/>
                  <a:gd name="T30" fmla="*/ 211529670 w 465"/>
                  <a:gd name="T31" fmla="*/ 361577043 h 585"/>
                  <a:gd name="T32" fmla="*/ 205963819 w 465"/>
                  <a:gd name="T33" fmla="*/ 371714579 h 585"/>
                  <a:gd name="T34" fmla="*/ 155864305 w 465"/>
                  <a:gd name="T35" fmla="*/ 385231727 h 585"/>
                  <a:gd name="T36" fmla="*/ 92776487 w 465"/>
                  <a:gd name="T37" fmla="*/ 361577043 h 585"/>
                  <a:gd name="T38" fmla="*/ 25976707 w 465"/>
                  <a:gd name="T39" fmla="*/ 395369263 h 585"/>
                  <a:gd name="T40" fmla="*/ 37111133 w 465"/>
                  <a:gd name="T41" fmla="*/ 442678630 h 585"/>
                  <a:gd name="T42" fmla="*/ 144731241 w 465"/>
                  <a:gd name="T43" fmla="*/ 489987998 h 585"/>
                  <a:gd name="T44" fmla="*/ 202251889 w 465"/>
                  <a:gd name="T45" fmla="*/ 466333314 h 585"/>
                  <a:gd name="T46" fmla="*/ 211529670 w 465"/>
                  <a:gd name="T47" fmla="*/ 522090411 h 585"/>
                  <a:gd name="T48" fmla="*/ 129886247 w 465"/>
                  <a:gd name="T49" fmla="*/ 574467897 h 585"/>
                  <a:gd name="T50" fmla="*/ 66798407 w 465"/>
                  <a:gd name="T51" fmla="*/ 635294412 h 585"/>
                  <a:gd name="T52" fmla="*/ 83498685 w 465"/>
                  <a:gd name="T53" fmla="*/ 653879678 h 585"/>
                  <a:gd name="T54" fmla="*/ 92776487 w 465"/>
                  <a:gd name="T55" fmla="*/ 682603942 h 585"/>
                  <a:gd name="T56" fmla="*/ 118753183 w 465"/>
                  <a:gd name="T57" fmla="*/ 738361040 h 585"/>
                  <a:gd name="T58" fmla="*/ 159574873 w 465"/>
                  <a:gd name="T59" fmla="*/ 733291622 h 585"/>
                  <a:gd name="T60" fmla="*/ 176275150 w 465"/>
                  <a:gd name="T61" fmla="*/ 775532871 h 585"/>
                  <a:gd name="T62" fmla="*/ 191118825 w 465"/>
                  <a:gd name="T63" fmla="*/ 799187555 h 585"/>
                  <a:gd name="T64" fmla="*/ 248640792 w 465"/>
                  <a:gd name="T65" fmla="*/ 795807943 h 585"/>
                  <a:gd name="T66" fmla="*/ 309871965 w 465"/>
                  <a:gd name="T67" fmla="*/ 795807943 h 585"/>
                  <a:gd name="T68" fmla="*/ 283895269 w 465"/>
                  <a:gd name="T69" fmla="*/ 875219724 h 585"/>
                  <a:gd name="T70" fmla="*/ 217096883 w 465"/>
                  <a:gd name="T71" fmla="*/ 941114358 h 585"/>
                  <a:gd name="T72" fmla="*/ 150297092 w 465"/>
                  <a:gd name="T73" fmla="*/ 973216772 h 585"/>
                  <a:gd name="T74" fmla="*/ 150297092 w 465"/>
                  <a:gd name="T75" fmla="*/ 983354308 h 585"/>
                  <a:gd name="T76" fmla="*/ 185552974 w 465"/>
                  <a:gd name="T77" fmla="*/ 954631506 h 585"/>
                  <a:gd name="T78" fmla="*/ 231940515 w 465"/>
                  <a:gd name="T79" fmla="*/ 946183776 h 585"/>
                  <a:gd name="T80" fmla="*/ 257918573 w 465"/>
                  <a:gd name="T81" fmla="*/ 912391556 h 585"/>
                  <a:gd name="T82" fmla="*/ 315439178 w 465"/>
                  <a:gd name="T83" fmla="*/ 898874408 h 585"/>
                  <a:gd name="T84" fmla="*/ 356260868 w 465"/>
                  <a:gd name="T85" fmla="*/ 861702577 h 585"/>
                  <a:gd name="T86" fmla="*/ 402648494 w 465"/>
                  <a:gd name="T87" fmla="*/ 819462627 h 585"/>
                  <a:gd name="T88" fmla="*/ 413781559 w 465"/>
                  <a:gd name="T89" fmla="*/ 762015724 h 585"/>
                  <a:gd name="T90" fmla="*/ 434192404 w 465"/>
                  <a:gd name="T91" fmla="*/ 724843892 h 585"/>
                  <a:gd name="T92" fmla="*/ 506558003 w 465"/>
                  <a:gd name="T93" fmla="*/ 672466244 h 585"/>
                  <a:gd name="T94" fmla="*/ 506558003 w 465"/>
                  <a:gd name="T95" fmla="*/ 687672060 h 585"/>
                  <a:gd name="T96" fmla="*/ 480581307 w 465"/>
                  <a:gd name="T97" fmla="*/ 762015724 h 585"/>
                  <a:gd name="T98" fmla="*/ 486147158 w 465"/>
                  <a:gd name="T99" fmla="*/ 772153259 h 585"/>
                  <a:gd name="T100" fmla="*/ 538101912 w 465"/>
                  <a:gd name="T101" fmla="*/ 738361040 h 585"/>
                  <a:gd name="T102" fmla="*/ 573357751 w 465"/>
                  <a:gd name="T103" fmla="*/ 714706356 h 585"/>
                  <a:gd name="T104" fmla="*/ 567790538 w 465"/>
                  <a:gd name="T105" fmla="*/ 691051672 h 585"/>
                  <a:gd name="T106" fmla="*/ 604901661 w 465"/>
                  <a:gd name="T107" fmla="*/ 687672060 h 585"/>
                  <a:gd name="T108" fmla="*/ 636445570 w 465"/>
                  <a:gd name="T109" fmla="*/ 701189208 h 585"/>
                  <a:gd name="T110" fmla="*/ 677265898 w 465"/>
                  <a:gd name="T111" fmla="*/ 724843892 h 585"/>
                  <a:gd name="T112" fmla="*/ 738498603 w 465"/>
                  <a:gd name="T113" fmla="*/ 733291622 h 585"/>
                  <a:gd name="T114" fmla="*/ 831275047 w 465"/>
                  <a:gd name="T115" fmla="*/ 748498576 h 585"/>
                  <a:gd name="T116" fmla="*/ 821997267 w 465"/>
                  <a:gd name="T117" fmla="*/ 767083842 h 585"/>
                  <a:gd name="T118" fmla="*/ 862818956 w 465"/>
                  <a:gd name="T119" fmla="*/ 767083842 h 58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65"/>
                  <a:gd name="T181" fmla="*/ 0 h 585"/>
                  <a:gd name="T182" fmla="*/ 465 w 465"/>
                  <a:gd name="T183" fmla="*/ 585 h 58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65" h="585">
                    <a:moveTo>
                      <a:pt x="423" y="418"/>
                    </a:moveTo>
                    <a:lnTo>
                      <a:pt x="423" y="78"/>
                    </a:lnTo>
                    <a:lnTo>
                      <a:pt x="423" y="75"/>
                    </a:lnTo>
                    <a:lnTo>
                      <a:pt x="421" y="75"/>
                    </a:lnTo>
                    <a:lnTo>
                      <a:pt x="421" y="78"/>
                    </a:lnTo>
                    <a:lnTo>
                      <a:pt x="418" y="81"/>
                    </a:lnTo>
                    <a:lnTo>
                      <a:pt x="415" y="75"/>
                    </a:lnTo>
                    <a:lnTo>
                      <a:pt x="407" y="72"/>
                    </a:lnTo>
                    <a:lnTo>
                      <a:pt x="407" y="70"/>
                    </a:lnTo>
                    <a:lnTo>
                      <a:pt x="401" y="67"/>
                    </a:lnTo>
                    <a:lnTo>
                      <a:pt x="398" y="64"/>
                    </a:lnTo>
                    <a:lnTo>
                      <a:pt x="390" y="59"/>
                    </a:lnTo>
                    <a:lnTo>
                      <a:pt x="387" y="59"/>
                    </a:lnTo>
                    <a:lnTo>
                      <a:pt x="384" y="59"/>
                    </a:lnTo>
                    <a:lnTo>
                      <a:pt x="384" y="61"/>
                    </a:lnTo>
                    <a:lnTo>
                      <a:pt x="384" y="64"/>
                    </a:lnTo>
                    <a:lnTo>
                      <a:pt x="382" y="61"/>
                    </a:lnTo>
                    <a:lnTo>
                      <a:pt x="379" y="59"/>
                    </a:lnTo>
                    <a:lnTo>
                      <a:pt x="379" y="61"/>
                    </a:lnTo>
                    <a:lnTo>
                      <a:pt x="370" y="61"/>
                    </a:lnTo>
                    <a:lnTo>
                      <a:pt x="370" y="64"/>
                    </a:lnTo>
                    <a:lnTo>
                      <a:pt x="368" y="64"/>
                    </a:lnTo>
                    <a:lnTo>
                      <a:pt x="365" y="64"/>
                    </a:lnTo>
                    <a:lnTo>
                      <a:pt x="362" y="64"/>
                    </a:lnTo>
                    <a:lnTo>
                      <a:pt x="356" y="64"/>
                    </a:lnTo>
                    <a:lnTo>
                      <a:pt x="356" y="61"/>
                    </a:lnTo>
                    <a:lnTo>
                      <a:pt x="351" y="61"/>
                    </a:lnTo>
                    <a:lnTo>
                      <a:pt x="348" y="59"/>
                    </a:lnTo>
                    <a:lnTo>
                      <a:pt x="345" y="56"/>
                    </a:lnTo>
                    <a:lnTo>
                      <a:pt x="329" y="59"/>
                    </a:lnTo>
                    <a:lnTo>
                      <a:pt x="320" y="53"/>
                    </a:lnTo>
                    <a:lnTo>
                      <a:pt x="318" y="53"/>
                    </a:lnTo>
                    <a:lnTo>
                      <a:pt x="315" y="50"/>
                    </a:lnTo>
                    <a:lnTo>
                      <a:pt x="309" y="47"/>
                    </a:lnTo>
                    <a:lnTo>
                      <a:pt x="306" y="47"/>
                    </a:lnTo>
                    <a:lnTo>
                      <a:pt x="306" y="45"/>
                    </a:lnTo>
                    <a:lnTo>
                      <a:pt x="292" y="42"/>
                    </a:lnTo>
                    <a:lnTo>
                      <a:pt x="287" y="42"/>
                    </a:lnTo>
                    <a:lnTo>
                      <a:pt x="284" y="45"/>
                    </a:lnTo>
                    <a:lnTo>
                      <a:pt x="279" y="47"/>
                    </a:lnTo>
                    <a:lnTo>
                      <a:pt x="279" y="45"/>
                    </a:lnTo>
                    <a:lnTo>
                      <a:pt x="281" y="45"/>
                    </a:lnTo>
                    <a:lnTo>
                      <a:pt x="279" y="42"/>
                    </a:lnTo>
                    <a:lnTo>
                      <a:pt x="276" y="42"/>
                    </a:lnTo>
                    <a:lnTo>
                      <a:pt x="265" y="45"/>
                    </a:lnTo>
                    <a:lnTo>
                      <a:pt x="256" y="45"/>
                    </a:lnTo>
                    <a:lnTo>
                      <a:pt x="259" y="42"/>
                    </a:lnTo>
                    <a:lnTo>
                      <a:pt x="259" y="39"/>
                    </a:lnTo>
                    <a:lnTo>
                      <a:pt x="248" y="39"/>
                    </a:lnTo>
                    <a:lnTo>
                      <a:pt x="245" y="39"/>
                    </a:lnTo>
                    <a:lnTo>
                      <a:pt x="253" y="36"/>
                    </a:lnTo>
                    <a:lnTo>
                      <a:pt x="251" y="36"/>
                    </a:lnTo>
                    <a:lnTo>
                      <a:pt x="248" y="36"/>
                    </a:lnTo>
                    <a:lnTo>
                      <a:pt x="248" y="33"/>
                    </a:lnTo>
                    <a:lnTo>
                      <a:pt x="251" y="31"/>
                    </a:lnTo>
                    <a:lnTo>
                      <a:pt x="251" y="25"/>
                    </a:lnTo>
                    <a:lnTo>
                      <a:pt x="245" y="25"/>
                    </a:lnTo>
                    <a:lnTo>
                      <a:pt x="240" y="25"/>
                    </a:lnTo>
                    <a:lnTo>
                      <a:pt x="240" y="28"/>
                    </a:lnTo>
                    <a:lnTo>
                      <a:pt x="237" y="28"/>
                    </a:lnTo>
                    <a:lnTo>
                      <a:pt x="237" y="25"/>
                    </a:lnTo>
                    <a:lnTo>
                      <a:pt x="234" y="20"/>
                    </a:lnTo>
                    <a:lnTo>
                      <a:pt x="231" y="22"/>
                    </a:lnTo>
                    <a:lnTo>
                      <a:pt x="226" y="25"/>
                    </a:lnTo>
                    <a:lnTo>
                      <a:pt x="223" y="22"/>
                    </a:lnTo>
                    <a:lnTo>
                      <a:pt x="223" y="25"/>
                    </a:lnTo>
                    <a:lnTo>
                      <a:pt x="220" y="28"/>
                    </a:lnTo>
                    <a:lnTo>
                      <a:pt x="217" y="28"/>
                    </a:lnTo>
                    <a:lnTo>
                      <a:pt x="214" y="25"/>
                    </a:lnTo>
                    <a:lnTo>
                      <a:pt x="212" y="25"/>
                    </a:lnTo>
                    <a:lnTo>
                      <a:pt x="212" y="22"/>
                    </a:lnTo>
                    <a:lnTo>
                      <a:pt x="209" y="14"/>
                    </a:lnTo>
                    <a:lnTo>
                      <a:pt x="203" y="11"/>
                    </a:lnTo>
                    <a:lnTo>
                      <a:pt x="203" y="14"/>
                    </a:lnTo>
                    <a:lnTo>
                      <a:pt x="203" y="17"/>
                    </a:lnTo>
                    <a:lnTo>
                      <a:pt x="201" y="17"/>
                    </a:lnTo>
                    <a:lnTo>
                      <a:pt x="198" y="17"/>
                    </a:lnTo>
                    <a:lnTo>
                      <a:pt x="198" y="22"/>
                    </a:lnTo>
                    <a:lnTo>
                      <a:pt x="201" y="25"/>
                    </a:lnTo>
                    <a:lnTo>
                      <a:pt x="201" y="28"/>
                    </a:lnTo>
                    <a:lnTo>
                      <a:pt x="201" y="31"/>
                    </a:lnTo>
                    <a:lnTo>
                      <a:pt x="198" y="31"/>
                    </a:lnTo>
                    <a:lnTo>
                      <a:pt x="198" y="28"/>
                    </a:lnTo>
                    <a:lnTo>
                      <a:pt x="195" y="25"/>
                    </a:lnTo>
                    <a:lnTo>
                      <a:pt x="195" y="28"/>
                    </a:lnTo>
                    <a:lnTo>
                      <a:pt x="192" y="25"/>
                    </a:lnTo>
                    <a:lnTo>
                      <a:pt x="192" y="28"/>
                    </a:lnTo>
                    <a:lnTo>
                      <a:pt x="187" y="25"/>
                    </a:lnTo>
                    <a:lnTo>
                      <a:pt x="184" y="25"/>
                    </a:lnTo>
                    <a:lnTo>
                      <a:pt x="187" y="20"/>
                    </a:lnTo>
                    <a:lnTo>
                      <a:pt x="187" y="22"/>
                    </a:lnTo>
                    <a:lnTo>
                      <a:pt x="192" y="20"/>
                    </a:lnTo>
                    <a:lnTo>
                      <a:pt x="195" y="14"/>
                    </a:lnTo>
                    <a:lnTo>
                      <a:pt x="198" y="14"/>
                    </a:lnTo>
                    <a:lnTo>
                      <a:pt x="195" y="11"/>
                    </a:lnTo>
                    <a:lnTo>
                      <a:pt x="195" y="8"/>
                    </a:lnTo>
                    <a:lnTo>
                      <a:pt x="189" y="8"/>
                    </a:lnTo>
                    <a:lnTo>
                      <a:pt x="187" y="8"/>
                    </a:lnTo>
                    <a:lnTo>
                      <a:pt x="187" y="6"/>
                    </a:lnTo>
                    <a:lnTo>
                      <a:pt x="184" y="6"/>
                    </a:lnTo>
                    <a:lnTo>
                      <a:pt x="181" y="3"/>
                    </a:lnTo>
                    <a:lnTo>
                      <a:pt x="178" y="0"/>
                    </a:lnTo>
                    <a:lnTo>
                      <a:pt x="178" y="3"/>
                    </a:lnTo>
                    <a:lnTo>
                      <a:pt x="176" y="3"/>
                    </a:lnTo>
                    <a:lnTo>
                      <a:pt x="176" y="6"/>
                    </a:lnTo>
                    <a:lnTo>
                      <a:pt x="176" y="8"/>
                    </a:lnTo>
                    <a:lnTo>
                      <a:pt x="173" y="8"/>
                    </a:lnTo>
                    <a:lnTo>
                      <a:pt x="176" y="11"/>
                    </a:lnTo>
                    <a:lnTo>
                      <a:pt x="173" y="11"/>
                    </a:lnTo>
                    <a:lnTo>
                      <a:pt x="170" y="11"/>
                    </a:lnTo>
                    <a:lnTo>
                      <a:pt x="167" y="20"/>
                    </a:lnTo>
                    <a:lnTo>
                      <a:pt x="159" y="25"/>
                    </a:lnTo>
                    <a:lnTo>
                      <a:pt x="153" y="25"/>
                    </a:lnTo>
                    <a:lnTo>
                      <a:pt x="153" y="28"/>
                    </a:lnTo>
                    <a:lnTo>
                      <a:pt x="145" y="28"/>
                    </a:lnTo>
                    <a:lnTo>
                      <a:pt x="139" y="28"/>
                    </a:lnTo>
                    <a:lnTo>
                      <a:pt x="142" y="28"/>
                    </a:lnTo>
                    <a:lnTo>
                      <a:pt x="139" y="31"/>
                    </a:lnTo>
                    <a:lnTo>
                      <a:pt x="139" y="33"/>
                    </a:lnTo>
                    <a:lnTo>
                      <a:pt x="134" y="31"/>
                    </a:lnTo>
                    <a:lnTo>
                      <a:pt x="137" y="28"/>
                    </a:lnTo>
                    <a:lnTo>
                      <a:pt x="137" y="25"/>
                    </a:lnTo>
                    <a:lnTo>
                      <a:pt x="142" y="22"/>
                    </a:lnTo>
                    <a:lnTo>
                      <a:pt x="134" y="25"/>
                    </a:lnTo>
                    <a:lnTo>
                      <a:pt x="128" y="31"/>
                    </a:lnTo>
                    <a:lnTo>
                      <a:pt x="128" y="33"/>
                    </a:lnTo>
                    <a:lnTo>
                      <a:pt x="125" y="33"/>
                    </a:lnTo>
                    <a:lnTo>
                      <a:pt x="125" y="36"/>
                    </a:lnTo>
                    <a:lnTo>
                      <a:pt x="128" y="36"/>
                    </a:lnTo>
                    <a:lnTo>
                      <a:pt x="131" y="39"/>
                    </a:lnTo>
                    <a:lnTo>
                      <a:pt x="134" y="42"/>
                    </a:lnTo>
                    <a:lnTo>
                      <a:pt x="137" y="42"/>
                    </a:lnTo>
                    <a:lnTo>
                      <a:pt x="131" y="42"/>
                    </a:lnTo>
                    <a:lnTo>
                      <a:pt x="128" y="42"/>
                    </a:lnTo>
                    <a:lnTo>
                      <a:pt x="128" y="45"/>
                    </a:lnTo>
                    <a:lnTo>
                      <a:pt x="128" y="47"/>
                    </a:lnTo>
                    <a:lnTo>
                      <a:pt x="128" y="50"/>
                    </a:lnTo>
                    <a:lnTo>
                      <a:pt x="128" y="53"/>
                    </a:lnTo>
                    <a:lnTo>
                      <a:pt x="125" y="50"/>
                    </a:lnTo>
                    <a:lnTo>
                      <a:pt x="125" y="47"/>
                    </a:lnTo>
                    <a:lnTo>
                      <a:pt x="123" y="50"/>
                    </a:lnTo>
                    <a:lnTo>
                      <a:pt x="125" y="47"/>
                    </a:lnTo>
                    <a:lnTo>
                      <a:pt x="125" y="42"/>
                    </a:lnTo>
                    <a:lnTo>
                      <a:pt x="125" y="39"/>
                    </a:lnTo>
                    <a:lnTo>
                      <a:pt x="123" y="36"/>
                    </a:lnTo>
                    <a:lnTo>
                      <a:pt x="117" y="45"/>
                    </a:lnTo>
                    <a:lnTo>
                      <a:pt x="114" y="45"/>
                    </a:lnTo>
                    <a:lnTo>
                      <a:pt x="120" y="42"/>
                    </a:lnTo>
                    <a:lnTo>
                      <a:pt x="117" y="45"/>
                    </a:lnTo>
                    <a:lnTo>
                      <a:pt x="103" y="53"/>
                    </a:lnTo>
                    <a:lnTo>
                      <a:pt x="100" y="56"/>
                    </a:lnTo>
                    <a:lnTo>
                      <a:pt x="98" y="59"/>
                    </a:lnTo>
                    <a:lnTo>
                      <a:pt x="98" y="56"/>
                    </a:lnTo>
                    <a:lnTo>
                      <a:pt x="98" y="53"/>
                    </a:lnTo>
                    <a:lnTo>
                      <a:pt x="100" y="53"/>
                    </a:lnTo>
                    <a:lnTo>
                      <a:pt x="95" y="50"/>
                    </a:lnTo>
                    <a:lnTo>
                      <a:pt x="92" y="59"/>
                    </a:lnTo>
                    <a:lnTo>
                      <a:pt x="92" y="61"/>
                    </a:lnTo>
                    <a:lnTo>
                      <a:pt x="98" y="67"/>
                    </a:lnTo>
                    <a:lnTo>
                      <a:pt x="100" y="67"/>
                    </a:lnTo>
                    <a:lnTo>
                      <a:pt x="100" y="70"/>
                    </a:lnTo>
                    <a:lnTo>
                      <a:pt x="92" y="64"/>
                    </a:lnTo>
                    <a:lnTo>
                      <a:pt x="89" y="64"/>
                    </a:lnTo>
                    <a:lnTo>
                      <a:pt x="81" y="72"/>
                    </a:lnTo>
                    <a:lnTo>
                      <a:pt x="84" y="75"/>
                    </a:lnTo>
                    <a:lnTo>
                      <a:pt x="92" y="75"/>
                    </a:lnTo>
                    <a:lnTo>
                      <a:pt x="89" y="75"/>
                    </a:lnTo>
                    <a:lnTo>
                      <a:pt x="81" y="75"/>
                    </a:lnTo>
                    <a:lnTo>
                      <a:pt x="81" y="78"/>
                    </a:lnTo>
                    <a:lnTo>
                      <a:pt x="84" y="81"/>
                    </a:lnTo>
                    <a:lnTo>
                      <a:pt x="86" y="84"/>
                    </a:lnTo>
                    <a:lnTo>
                      <a:pt x="81" y="81"/>
                    </a:lnTo>
                    <a:lnTo>
                      <a:pt x="81" y="84"/>
                    </a:lnTo>
                    <a:lnTo>
                      <a:pt x="78" y="92"/>
                    </a:lnTo>
                    <a:lnTo>
                      <a:pt x="78" y="89"/>
                    </a:lnTo>
                    <a:lnTo>
                      <a:pt x="72" y="103"/>
                    </a:lnTo>
                    <a:lnTo>
                      <a:pt x="64" y="109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6" y="114"/>
                    </a:lnTo>
                    <a:lnTo>
                      <a:pt x="31" y="114"/>
                    </a:lnTo>
                    <a:lnTo>
                      <a:pt x="28" y="131"/>
                    </a:lnTo>
                    <a:lnTo>
                      <a:pt x="31" y="131"/>
                    </a:lnTo>
                    <a:lnTo>
                      <a:pt x="28" y="131"/>
                    </a:lnTo>
                    <a:lnTo>
                      <a:pt x="25" y="134"/>
                    </a:lnTo>
                    <a:lnTo>
                      <a:pt x="25" y="136"/>
                    </a:lnTo>
                    <a:lnTo>
                      <a:pt x="22" y="136"/>
                    </a:lnTo>
                    <a:lnTo>
                      <a:pt x="25" y="134"/>
                    </a:lnTo>
                    <a:lnTo>
                      <a:pt x="25" y="131"/>
                    </a:lnTo>
                    <a:lnTo>
                      <a:pt x="20" y="134"/>
                    </a:lnTo>
                    <a:lnTo>
                      <a:pt x="20" y="136"/>
                    </a:lnTo>
                    <a:lnTo>
                      <a:pt x="28" y="139"/>
                    </a:lnTo>
                    <a:lnTo>
                      <a:pt x="34" y="148"/>
                    </a:lnTo>
                    <a:lnTo>
                      <a:pt x="39" y="150"/>
                    </a:lnTo>
                    <a:lnTo>
                      <a:pt x="45" y="150"/>
                    </a:lnTo>
                    <a:lnTo>
                      <a:pt x="64" y="167"/>
                    </a:lnTo>
                    <a:lnTo>
                      <a:pt x="64" y="170"/>
                    </a:lnTo>
                    <a:lnTo>
                      <a:pt x="67" y="173"/>
                    </a:lnTo>
                    <a:lnTo>
                      <a:pt x="67" y="178"/>
                    </a:lnTo>
                    <a:lnTo>
                      <a:pt x="70" y="178"/>
                    </a:lnTo>
                    <a:lnTo>
                      <a:pt x="67" y="181"/>
                    </a:lnTo>
                    <a:lnTo>
                      <a:pt x="70" y="187"/>
                    </a:lnTo>
                    <a:lnTo>
                      <a:pt x="84" y="192"/>
                    </a:lnTo>
                    <a:lnTo>
                      <a:pt x="81" y="192"/>
                    </a:lnTo>
                    <a:lnTo>
                      <a:pt x="84" y="189"/>
                    </a:lnTo>
                    <a:lnTo>
                      <a:pt x="89" y="189"/>
                    </a:lnTo>
                    <a:lnTo>
                      <a:pt x="89" y="187"/>
                    </a:lnTo>
                    <a:lnTo>
                      <a:pt x="86" y="187"/>
                    </a:lnTo>
                    <a:lnTo>
                      <a:pt x="89" y="187"/>
                    </a:lnTo>
                    <a:lnTo>
                      <a:pt x="86" y="192"/>
                    </a:lnTo>
                    <a:lnTo>
                      <a:pt x="89" y="195"/>
                    </a:lnTo>
                    <a:lnTo>
                      <a:pt x="92" y="192"/>
                    </a:lnTo>
                    <a:lnTo>
                      <a:pt x="95" y="189"/>
                    </a:lnTo>
                    <a:lnTo>
                      <a:pt x="100" y="192"/>
                    </a:lnTo>
                    <a:lnTo>
                      <a:pt x="103" y="195"/>
                    </a:lnTo>
                    <a:lnTo>
                      <a:pt x="100" y="195"/>
                    </a:lnTo>
                    <a:lnTo>
                      <a:pt x="98" y="201"/>
                    </a:lnTo>
                    <a:lnTo>
                      <a:pt x="100" y="206"/>
                    </a:lnTo>
                    <a:lnTo>
                      <a:pt x="106" y="209"/>
                    </a:lnTo>
                    <a:lnTo>
                      <a:pt x="106" y="206"/>
                    </a:lnTo>
                    <a:lnTo>
                      <a:pt x="109" y="203"/>
                    </a:lnTo>
                    <a:lnTo>
                      <a:pt x="109" y="206"/>
                    </a:lnTo>
                    <a:lnTo>
                      <a:pt x="109" y="209"/>
                    </a:lnTo>
                    <a:lnTo>
                      <a:pt x="109" y="206"/>
                    </a:lnTo>
                    <a:lnTo>
                      <a:pt x="114" y="206"/>
                    </a:lnTo>
                    <a:lnTo>
                      <a:pt x="117" y="209"/>
                    </a:lnTo>
                    <a:lnTo>
                      <a:pt x="123" y="209"/>
                    </a:lnTo>
                    <a:lnTo>
                      <a:pt x="125" y="206"/>
                    </a:lnTo>
                    <a:lnTo>
                      <a:pt x="128" y="206"/>
                    </a:lnTo>
                    <a:lnTo>
                      <a:pt x="128" y="203"/>
                    </a:lnTo>
                    <a:lnTo>
                      <a:pt x="134" y="203"/>
                    </a:lnTo>
                    <a:lnTo>
                      <a:pt x="131" y="206"/>
                    </a:lnTo>
                    <a:lnTo>
                      <a:pt x="125" y="209"/>
                    </a:lnTo>
                    <a:lnTo>
                      <a:pt x="125" y="212"/>
                    </a:lnTo>
                    <a:lnTo>
                      <a:pt x="134" y="209"/>
                    </a:lnTo>
                    <a:lnTo>
                      <a:pt x="134" y="212"/>
                    </a:lnTo>
                    <a:lnTo>
                      <a:pt x="131" y="214"/>
                    </a:lnTo>
                    <a:lnTo>
                      <a:pt x="125" y="214"/>
                    </a:lnTo>
                    <a:lnTo>
                      <a:pt x="123" y="214"/>
                    </a:lnTo>
                    <a:lnTo>
                      <a:pt x="123" y="217"/>
                    </a:lnTo>
                    <a:lnTo>
                      <a:pt x="117" y="217"/>
                    </a:lnTo>
                    <a:lnTo>
                      <a:pt x="114" y="217"/>
                    </a:lnTo>
                    <a:lnTo>
                      <a:pt x="114" y="214"/>
                    </a:lnTo>
                    <a:lnTo>
                      <a:pt x="111" y="214"/>
                    </a:lnTo>
                    <a:lnTo>
                      <a:pt x="111" y="212"/>
                    </a:lnTo>
                    <a:lnTo>
                      <a:pt x="109" y="212"/>
                    </a:lnTo>
                    <a:lnTo>
                      <a:pt x="106" y="212"/>
                    </a:lnTo>
                    <a:lnTo>
                      <a:pt x="100" y="212"/>
                    </a:lnTo>
                    <a:lnTo>
                      <a:pt x="98" y="209"/>
                    </a:lnTo>
                    <a:lnTo>
                      <a:pt x="95" y="206"/>
                    </a:lnTo>
                    <a:lnTo>
                      <a:pt x="98" y="212"/>
                    </a:lnTo>
                    <a:lnTo>
                      <a:pt x="98" y="217"/>
                    </a:lnTo>
                    <a:lnTo>
                      <a:pt x="98" y="220"/>
                    </a:lnTo>
                    <a:lnTo>
                      <a:pt x="98" y="217"/>
                    </a:lnTo>
                    <a:lnTo>
                      <a:pt x="100" y="214"/>
                    </a:lnTo>
                    <a:lnTo>
                      <a:pt x="111" y="217"/>
                    </a:lnTo>
                    <a:lnTo>
                      <a:pt x="111" y="220"/>
                    </a:lnTo>
                    <a:lnTo>
                      <a:pt x="111" y="223"/>
                    </a:lnTo>
                    <a:lnTo>
                      <a:pt x="109" y="226"/>
                    </a:lnTo>
                    <a:lnTo>
                      <a:pt x="109" y="223"/>
                    </a:lnTo>
                    <a:lnTo>
                      <a:pt x="103" y="220"/>
                    </a:lnTo>
                    <a:lnTo>
                      <a:pt x="100" y="228"/>
                    </a:lnTo>
                    <a:lnTo>
                      <a:pt x="100" y="231"/>
                    </a:lnTo>
                    <a:lnTo>
                      <a:pt x="98" y="234"/>
                    </a:lnTo>
                    <a:lnTo>
                      <a:pt x="98" y="231"/>
                    </a:lnTo>
                    <a:lnTo>
                      <a:pt x="95" y="231"/>
                    </a:lnTo>
                    <a:lnTo>
                      <a:pt x="95" y="228"/>
                    </a:lnTo>
                    <a:lnTo>
                      <a:pt x="92" y="228"/>
                    </a:lnTo>
                    <a:lnTo>
                      <a:pt x="89" y="228"/>
                    </a:lnTo>
                    <a:lnTo>
                      <a:pt x="86" y="228"/>
                    </a:lnTo>
                    <a:lnTo>
                      <a:pt x="84" y="228"/>
                    </a:lnTo>
                    <a:lnTo>
                      <a:pt x="81" y="228"/>
                    </a:lnTo>
                    <a:lnTo>
                      <a:pt x="70" y="228"/>
                    </a:lnTo>
                    <a:lnTo>
                      <a:pt x="67" y="226"/>
                    </a:lnTo>
                    <a:lnTo>
                      <a:pt x="67" y="223"/>
                    </a:lnTo>
                    <a:lnTo>
                      <a:pt x="64" y="223"/>
                    </a:lnTo>
                    <a:lnTo>
                      <a:pt x="67" y="220"/>
                    </a:lnTo>
                    <a:lnTo>
                      <a:pt x="67" y="217"/>
                    </a:lnTo>
                    <a:lnTo>
                      <a:pt x="67" y="212"/>
                    </a:lnTo>
                    <a:lnTo>
                      <a:pt x="67" y="209"/>
                    </a:lnTo>
                    <a:lnTo>
                      <a:pt x="64" y="209"/>
                    </a:lnTo>
                    <a:lnTo>
                      <a:pt x="67" y="209"/>
                    </a:lnTo>
                    <a:lnTo>
                      <a:pt x="70" y="206"/>
                    </a:lnTo>
                    <a:lnTo>
                      <a:pt x="53" y="209"/>
                    </a:lnTo>
                    <a:lnTo>
                      <a:pt x="50" y="214"/>
                    </a:lnTo>
                    <a:lnTo>
                      <a:pt x="45" y="214"/>
                    </a:lnTo>
                    <a:lnTo>
                      <a:pt x="42" y="214"/>
                    </a:lnTo>
                    <a:lnTo>
                      <a:pt x="36" y="220"/>
                    </a:lnTo>
                    <a:lnTo>
                      <a:pt x="39" y="223"/>
                    </a:lnTo>
                    <a:lnTo>
                      <a:pt x="42" y="226"/>
                    </a:lnTo>
                    <a:lnTo>
                      <a:pt x="39" y="226"/>
                    </a:lnTo>
                    <a:lnTo>
                      <a:pt x="34" y="226"/>
                    </a:lnTo>
                    <a:lnTo>
                      <a:pt x="31" y="226"/>
                    </a:lnTo>
                    <a:lnTo>
                      <a:pt x="31" y="223"/>
                    </a:lnTo>
                    <a:lnTo>
                      <a:pt x="22" y="228"/>
                    </a:lnTo>
                    <a:lnTo>
                      <a:pt x="20" y="231"/>
                    </a:lnTo>
                    <a:lnTo>
                      <a:pt x="20" y="234"/>
                    </a:lnTo>
                    <a:lnTo>
                      <a:pt x="17" y="234"/>
                    </a:lnTo>
                    <a:lnTo>
                      <a:pt x="14" y="237"/>
                    </a:lnTo>
                    <a:lnTo>
                      <a:pt x="14" y="234"/>
                    </a:lnTo>
                    <a:lnTo>
                      <a:pt x="11" y="237"/>
                    </a:lnTo>
                    <a:lnTo>
                      <a:pt x="8" y="240"/>
                    </a:lnTo>
                    <a:lnTo>
                      <a:pt x="11" y="240"/>
                    </a:lnTo>
                    <a:lnTo>
                      <a:pt x="3" y="245"/>
                    </a:lnTo>
                    <a:lnTo>
                      <a:pt x="3" y="242"/>
                    </a:lnTo>
                    <a:lnTo>
                      <a:pt x="0" y="242"/>
                    </a:lnTo>
                    <a:lnTo>
                      <a:pt x="0" y="245"/>
                    </a:lnTo>
                    <a:lnTo>
                      <a:pt x="11" y="253"/>
                    </a:lnTo>
                    <a:lnTo>
                      <a:pt x="20" y="256"/>
                    </a:lnTo>
                    <a:lnTo>
                      <a:pt x="22" y="256"/>
                    </a:lnTo>
                    <a:lnTo>
                      <a:pt x="20" y="253"/>
                    </a:lnTo>
                    <a:lnTo>
                      <a:pt x="31" y="259"/>
                    </a:lnTo>
                    <a:lnTo>
                      <a:pt x="25" y="259"/>
                    </a:lnTo>
                    <a:lnTo>
                      <a:pt x="22" y="265"/>
                    </a:lnTo>
                    <a:lnTo>
                      <a:pt x="20" y="262"/>
                    </a:lnTo>
                    <a:lnTo>
                      <a:pt x="22" y="259"/>
                    </a:lnTo>
                    <a:lnTo>
                      <a:pt x="20" y="259"/>
                    </a:lnTo>
                    <a:lnTo>
                      <a:pt x="20" y="262"/>
                    </a:lnTo>
                    <a:lnTo>
                      <a:pt x="22" y="267"/>
                    </a:lnTo>
                    <a:lnTo>
                      <a:pt x="25" y="273"/>
                    </a:lnTo>
                    <a:lnTo>
                      <a:pt x="25" y="276"/>
                    </a:lnTo>
                    <a:lnTo>
                      <a:pt x="25" y="278"/>
                    </a:lnTo>
                    <a:lnTo>
                      <a:pt x="28" y="281"/>
                    </a:lnTo>
                    <a:lnTo>
                      <a:pt x="31" y="284"/>
                    </a:lnTo>
                    <a:lnTo>
                      <a:pt x="45" y="287"/>
                    </a:lnTo>
                    <a:lnTo>
                      <a:pt x="50" y="290"/>
                    </a:lnTo>
                    <a:lnTo>
                      <a:pt x="61" y="284"/>
                    </a:lnTo>
                    <a:lnTo>
                      <a:pt x="67" y="287"/>
                    </a:lnTo>
                    <a:lnTo>
                      <a:pt x="70" y="284"/>
                    </a:lnTo>
                    <a:lnTo>
                      <a:pt x="75" y="287"/>
                    </a:lnTo>
                    <a:lnTo>
                      <a:pt x="78" y="290"/>
                    </a:lnTo>
                    <a:lnTo>
                      <a:pt x="81" y="287"/>
                    </a:lnTo>
                    <a:lnTo>
                      <a:pt x="78" y="287"/>
                    </a:lnTo>
                    <a:lnTo>
                      <a:pt x="75" y="284"/>
                    </a:lnTo>
                    <a:lnTo>
                      <a:pt x="75" y="281"/>
                    </a:lnTo>
                    <a:lnTo>
                      <a:pt x="78" y="281"/>
                    </a:lnTo>
                    <a:lnTo>
                      <a:pt x="81" y="284"/>
                    </a:lnTo>
                    <a:lnTo>
                      <a:pt x="84" y="287"/>
                    </a:lnTo>
                    <a:lnTo>
                      <a:pt x="84" y="295"/>
                    </a:lnTo>
                    <a:lnTo>
                      <a:pt x="89" y="287"/>
                    </a:lnTo>
                    <a:lnTo>
                      <a:pt x="95" y="281"/>
                    </a:lnTo>
                    <a:lnTo>
                      <a:pt x="100" y="278"/>
                    </a:lnTo>
                    <a:lnTo>
                      <a:pt x="100" y="276"/>
                    </a:lnTo>
                    <a:lnTo>
                      <a:pt x="103" y="278"/>
                    </a:lnTo>
                    <a:lnTo>
                      <a:pt x="106" y="276"/>
                    </a:lnTo>
                    <a:lnTo>
                      <a:pt x="109" y="276"/>
                    </a:lnTo>
                    <a:lnTo>
                      <a:pt x="111" y="273"/>
                    </a:lnTo>
                    <a:lnTo>
                      <a:pt x="114" y="276"/>
                    </a:lnTo>
                    <a:lnTo>
                      <a:pt x="114" y="278"/>
                    </a:lnTo>
                    <a:lnTo>
                      <a:pt x="114" y="281"/>
                    </a:lnTo>
                    <a:lnTo>
                      <a:pt x="111" y="287"/>
                    </a:lnTo>
                    <a:lnTo>
                      <a:pt x="109" y="287"/>
                    </a:lnTo>
                    <a:lnTo>
                      <a:pt x="106" y="287"/>
                    </a:lnTo>
                    <a:lnTo>
                      <a:pt x="103" y="287"/>
                    </a:lnTo>
                    <a:lnTo>
                      <a:pt x="103" y="290"/>
                    </a:lnTo>
                    <a:lnTo>
                      <a:pt x="106" y="292"/>
                    </a:lnTo>
                    <a:lnTo>
                      <a:pt x="106" y="290"/>
                    </a:lnTo>
                    <a:lnTo>
                      <a:pt x="109" y="292"/>
                    </a:lnTo>
                    <a:lnTo>
                      <a:pt x="114" y="301"/>
                    </a:lnTo>
                    <a:lnTo>
                      <a:pt x="114" y="304"/>
                    </a:lnTo>
                    <a:lnTo>
                      <a:pt x="111" y="304"/>
                    </a:lnTo>
                    <a:lnTo>
                      <a:pt x="114" y="306"/>
                    </a:lnTo>
                    <a:lnTo>
                      <a:pt x="114" y="309"/>
                    </a:lnTo>
                    <a:lnTo>
                      <a:pt x="114" y="315"/>
                    </a:lnTo>
                    <a:lnTo>
                      <a:pt x="111" y="320"/>
                    </a:lnTo>
                    <a:lnTo>
                      <a:pt x="109" y="323"/>
                    </a:lnTo>
                    <a:lnTo>
                      <a:pt x="106" y="323"/>
                    </a:lnTo>
                    <a:lnTo>
                      <a:pt x="103" y="323"/>
                    </a:lnTo>
                    <a:lnTo>
                      <a:pt x="100" y="326"/>
                    </a:lnTo>
                    <a:lnTo>
                      <a:pt x="98" y="326"/>
                    </a:lnTo>
                    <a:lnTo>
                      <a:pt x="92" y="326"/>
                    </a:lnTo>
                    <a:lnTo>
                      <a:pt x="95" y="323"/>
                    </a:lnTo>
                    <a:lnTo>
                      <a:pt x="92" y="323"/>
                    </a:lnTo>
                    <a:lnTo>
                      <a:pt x="81" y="337"/>
                    </a:lnTo>
                    <a:lnTo>
                      <a:pt x="78" y="340"/>
                    </a:lnTo>
                    <a:lnTo>
                      <a:pt x="75" y="337"/>
                    </a:lnTo>
                    <a:lnTo>
                      <a:pt x="72" y="337"/>
                    </a:lnTo>
                    <a:lnTo>
                      <a:pt x="70" y="340"/>
                    </a:lnTo>
                    <a:lnTo>
                      <a:pt x="64" y="343"/>
                    </a:lnTo>
                    <a:lnTo>
                      <a:pt x="61" y="343"/>
                    </a:lnTo>
                    <a:lnTo>
                      <a:pt x="61" y="345"/>
                    </a:lnTo>
                    <a:lnTo>
                      <a:pt x="64" y="345"/>
                    </a:lnTo>
                    <a:lnTo>
                      <a:pt x="64" y="348"/>
                    </a:lnTo>
                    <a:lnTo>
                      <a:pt x="61" y="348"/>
                    </a:lnTo>
                    <a:lnTo>
                      <a:pt x="59" y="348"/>
                    </a:lnTo>
                    <a:lnTo>
                      <a:pt x="56" y="348"/>
                    </a:lnTo>
                    <a:lnTo>
                      <a:pt x="50" y="354"/>
                    </a:lnTo>
                    <a:lnTo>
                      <a:pt x="50" y="356"/>
                    </a:lnTo>
                    <a:lnTo>
                      <a:pt x="47" y="354"/>
                    </a:lnTo>
                    <a:lnTo>
                      <a:pt x="47" y="356"/>
                    </a:lnTo>
                    <a:lnTo>
                      <a:pt x="42" y="362"/>
                    </a:lnTo>
                    <a:lnTo>
                      <a:pt x="39" y="362"/>
                    </a:lnTo>
                    <a:lnTo>
                      <a:pt x="36" y="370"/>
                    </a:lnTo>
                    <a:lnTo>
                      <a:pt x="36" y="376"/>
                    </a:lnTo>
                    <a:lnTo>
                      <a:pt x="36" y="379"/>
                    </a:lnTo>
                    <a:lnTo>
                      <a:pt x="34" y="379"/>
                    </a:lnTo>
                    <a:lnTo>
                      <a:pt x="31" y="379"/>
                    </a:lnTo>
                    <a:lnTo>
                      <a:pt x="31" y="382"/>
                    </a:lnTo>
                    <a:lnTo>
                      <a:pt x="34" y="384"/>
                    </a:lnTo>
                    <a:lnTo>
                      <a:pt x="31" y="384"/>
                    </a:lnTo>
                    <a:lnTo>
                      <a:pt x="28" y="390"/>
                    </a:lnTo>
                    <a:lnTo>
                      <a:pt x="31" y="390"/>
                    </a:lnTo>
                    <a:lnTo>
                      <a:pt x="36" y="387"/>
                    </a:lnTo>
                    <a:lnTo>
                      <a:pt x="39" y="387"/>
                    </a:lnTo>
                    <a:lnTo>
                      <a:pt x="39" y="384"/>
                    </a:lnTo>
                    <a:lnTo>
                      <a:pt x="45" y="384"/>
                    </a:lnTo>
                    <a:lnTo>
                      <a:pt x="45" y="387"/>
                    </a:lnTo>
                    <a:lnTo>
                      <a:pt x="42" y="387"/>
                    </a:lnTo>
                    <a:lnTo>
                      <a:pt x="45" y="387"/>
                    </a:lnTo>
                    <a:lnTo>
                      <a:pt x="39" y="387"/>
                    </a:lnTo>
                    <a:lnTo>
                      <a:pt x="36" y="390"/>
                    </a:lnTo>
                    <a:lnTo>
                      <a:pt x="34" y="393"/>
                    </a:lnTo>
                    <a:lnTo>
                      <a:pt x="39" y="395"/>
                    </a:lnTo>
                    <a:lnTo>
                      <a:pt x="42" y="393"/>
                    </a:lnTo>
                    <a:lnTo>
                      <a:pt x="42" y="395"/>
                    </a:lnTo>
                    <a:lnTo>
                      <a:pt x="42" y="398"/>
                    </a:lnTo>
                    <a:lnTo>
                      <a:pt x="42" y="401"/>
                    </a:lnTo>
                    <a:lnTo>
                      <a:pt x="45" y="404"/>
                    </a:lnTo>
                    <a:lnTo>
                      <a:pt x="45" y="407"/>
                    </a:lnTo>
                    <a:lnTo>
                      <a:pt x="47" y="407"/>
                    </a:lnTo>
                    <a:lnTo>
                      <a:pt x="50" y="404"/>
                    </a:lnTo>
                    <a:lnTo>
                      <a:pt x="50" y="407"/>
                    </a:lnTo>
                    <a:lnTo>
                      <a:pt x="56" y="404"/>
                    </a:lnTo>
                    <a:lnTo>
                      <a:pt x="53" y="409"/>
                    </a:lnTo>
                    <a:lnTo>
                      <a:pt x="61" y="412"/>
                    </a:lnTo>
                    <a:lnTo>
                      <a:pt x="67" y="409"/>
                    </a:lnTo>
                    <a:lnTo>
                      <a:pt x="70" y="412"/>
                    </a:lnTo>
                    <a:lnTo>
                      <a:pt x="67" y="415"/>
                    </a:lnTo>
                    <a:lnTo>
                      <a:pt x="64" y="418"/>
                    </a:lnTo>
                    <a:lnTo>
                      <a:pt x="56" y="426"/>
                    </a:lnTo>
                    <a:lnTo>
                      <a:pt x="56" y="429"/>
                    </a:lnTo>
                    <a:lnTo>
                      <a:pt x="56" y="432"/>
                    </a:lnTo>
                    <a:lnTo>
                      <a:pt x="59" y="437"/>
                    </a:lnTo>
                    <a:lnTo>
                      <a:pt x="61" y="437"/>
                    </a:lnTo>
                    <a:lnTo>
                      <a:pt x="64" y="434"/>
                    </a:lnTo>
                    <a:lnTo>
                      <a:pt x="64" y="437"/>
                    </a:lnTo>
                    <a:lnTo>
                      <a:pt x="67" y="437"/>
                    </a:lnTo>
                    <a:lnTo>
                      <a:pt x="67" y="440"/>
                    </a:lnTo>
                    <a:lnTo>
                      <a:pt x="64" y="440"/>
                    </a:lnTo>
                    <a:lnTo>
                      <a:pt x="61" y="440"/>
                    </a:lnTo>
                    <a:lnTo>
                      <a:pt x="64" y="443"/>
                    </a:lnTo>
                    <a:lnTo>
                      <a:pt x="67" y="446"/>
                    </a:lnTo>
                    <a:lnTo>
                      <a:pt x="70" y="446"/>
                    </a:lnTo>
                    <a:lnTo>
                      <a:pt x="72" y="448"/>
                    </a:lnTo>
                    <a:lnTo>
                      <a:pt x="75" y="448"/>
                    </a:lnTo>
                    <a:lnTo>
                      <a:pt x="78" y="448"/>
                    </a:lnTo>
                    <a:lnTo>
                      <a:pt x="86" y="437"/>
                    </a:lnTo>
                    <a:lnTo>
                      <a:pt x="86" y="434"/>
                    </a:lnTo>
                    <a:lnTo>
                      <a:pt x="89" y="432"/>
                    </a:lnTo>
                    <a:lnTo>
                      <a:pt x="86" y="429"/>
                    </a:lnTo>
                    <a:lnTo>
                      <a:pt x="86" y="426"/>
                    </a:lnTo>
                    <a:lnTo>
                      <a:pt x="92" y="418"/>
                    </a:lnTo>
                    <a:lnTo>
                      <a:pt x="100" y="412"/>
                    </a:lnTo>
                    <a:lnTo>
                      <a:pt x="103" y="412"/>
                    </a:lnTo>
                    <a:lnTo>
                      <a:pt x="89" y="426"/>
                    </a:lnTo>
                    <a:lnTo>
                      <a:pt x="89" y="429"/>
                    </a:lnTo>
                    <a:lnTo>
                      <a:pt x="92" y="432"/>
                    </a:lnTo>
                    <a:lnTo>
                      <a:pt x="92" y="434"/>
                    </a:lnTo>
                    <a:lnTo>
                      <a:pt x="100" y="451"/>
                    </a:lnTo>
                    <a:lnTo>
                      <a:pt x="100" y="454"/>
                    </a:lnTo>
                    <a:lnTo>
                      <a:pt x="98" y="457"/>
                    </a:lnTo>
                    <a:lnTo>
                      <a:pt x="95" y="459"/>
                    </a:lnTo>
                    <a:lnTo>
                      <a:pt x="95" y="462"/>
                    </a:lnTo>
                    <a:lnTo>
                      <a:pt x="98" y="465"/>
                    </a:lnTo>
                    <a:lnTo>
                      <a:pt x="100" y="465"/>
                    </a:lnTo>
                    <a:lnTo>
                      <a:pt x="98" y="468"/>
                    </a:lnTo>
                    <a:lnTo>
                      <a:pt x="98" y="473"/>
                    </a:lnTo>
                    <a:lnTo>
                      <a:pt x="100" y="473"/>
                    </a:lnTo>
                    <a:lnTo>
                      <a:pt x="98" y="476"/>
                    </a:lnTo>
                    <a:lnTo>
                      <a:pt x="95" y="476"/>
                    </a:lnTo>
                    <a:lnTo>
                      <a:pt x="92" y="479"/>
                    </a:lnTo>
                    <a:lnTo>
                      <a:pt x="98" y="479"/>
                    </a:lnTo>
                    <a:lnTo>
                      <a:pt x="103" y="479"/>
                    </a:lnTo>
                    <a:lnTo>
                      <a:pt x="103" y="473"/>
                    </a:lnTo>
                    <a:lnTo>
                      <a:pt x="106" y="473"/>
                    </a:lnTo>
                    <a:lnTo>
                      <a:pt x="111" y="471"/>
                    </a:lnTo>
                    <a:lnTo>
                      <a:pt x="114" y="471"/>
                    </a:lnTo>
                    <a:lnTo>
                      <a:pt x="117" y="468"/>
                    </a:lnTo>
                    <a:lnTo>
                      <a:pt x="123" y="459"/>
                    </a:lnTo>
                    <a:lnTo>
                      <a:pt x="123" y="465"/>
                    </a:lnTo>
                    <a:lnTo>
                      <a:pt x="120" y="465"/>
                    </a:lnTo>
                    <a:lnTo>
                      <a:pt x="120" y="468"/>
                    </a:lnTo>
                    <a:lnTo>
                      <a:pt x="123" y="471"/>
                    </a:lnTo>
                    <a:lnTo>
                      <a:pt x="125" y="471"/>
                    </a:lnTo>
                    <a:lnTo>
                      <a:pt x="125" y="473"/>
                    </a:lnTo>
                    <a:lnTo>
                      <a:pt x="128" y="473"/>
                    </a:lnTo>
                    <a:lnTo>
                      <a:pt x="131" y="471"/>
                    </a:lnTo>
                    <a:lnTo>
                      <a:pt x="134" y="471"/>
                    </a:lnTo>
                    <a:lnTo>
                      <a:pt x="134" y="473"/>
                    </a:lnTo>
                    <a:lnTo>
                      <a:pt x="139" y="485"/>
                    </a:lnTo>
                    <a:lnTo>
                      <a:pt x="142" y="485"/>
                    </a:lnTo>
                    <a:lnTo>
                      <a:pt x="145" y="482"/>
                    </a:lnTo>
                    <a:lnTo>
                      <a:pt x="145" y="479"/>
                    </a:lnTo>
                    <a:lnTo>
                      <a:pt x="142" y="476"/>
                    </a:lnTo>
                    <a:lnTo>
                      <a:pt x="145" y="471"/>
                    </a:lnTo>
                    <a:lnTo>
                      <a:pt x="148" y="471"/>
                    </a:lnTo>
                    <a:lnTo>
                      <a:pt x="148" y="468"/>
                    </a:lnTo>
                    <a:lnTo>
                      <a:pt x="150" y="468"/>
                    </a:lnTo>
                    <a:lnTo>
                      <a:pt x="150" y="471"/>
                    </a:lnTo>
                    <a:lnTo>
                      <a:pt x="148" y="473"/>
                    </a:lnTo>
                    <a:lnTo>
                      <a:pt x="153" y="479"/>
                    </a:lnTo>
                    <a:lnTo>
                      <a:pt x="156" y="479"/>
                    </a:lnTo>
                    <a:lnTo>
                      <a:pt x="167" y="471"/>
                    </a:lnTo>
                    <a:lnTo>
                      <a:pt x="173" y="465"/>
                    </a:lnTo>
                    <a:lnTo>
                      <a:pt x="176" y="465"/>
                    </a:lnTo>
                    <a:lnTo>
                      <a:pt x="173" y="473"/>
                    </a:lnTo>
                    <a:lnTo>
                      <a:pt x="170" y="473"/>
                    </a:lnTo>
                    <a:lnTo>
                      <a:pt x="173" y="473"/>
                    </a:lnTo>
                    <a:lnTo>
                      <a:pt x="173" y="476"/>
                    </a:lnTo>
                    <a:lnTo>
                      <a:pt x="170" y="479"/>
                    </a:lnTo>
                    <a:lnTo>
                      <a:pt x="167" y="482"/>
                    </a:lnTo>
                    <a:lnTo>
                      <a:pt x="164" y="487"/>
                    </a:lnTo>
                    <a:lnTo>
                      <a:pt x="167" y="487"/>
                    </a:lnTo>
                    <a:lnTo>
                      <a:pt x="164" y="493"/>
                    </a:lnTo>
                    <a:lnTo>
                      <a:pt x="162" y="510"/>
                    </a:lnTo>
                    <a:lnTo>
                      <a:pt x="156" y="518"/>
                    </a:lnTo>
                    <a:lnTo>
                      <a:pt x="156" y="515"/>
                    </a:lnTo>
                    <a:lnTo>
                      <a:pt x="153" y="515"/>
                    </a:lnTo>
                    <a:lnTo>
                      <a:pt x="153" y="518"/>
                    </a:lnTo>
                    <a:lnTo>
                      <a:pt x="150" y="524"/>
                    </a:lnTo>
                    <a:lnTo>
                      <a:pt x="148" y="524"/>
                    </a:lnTo>
                    <a:lnTo>
                      <a:pt x="145" y="532"/>
                    </a:lnTo>
                    <a:lnTo>
                      <a:pt x="142" y="532"/>
                    </a:lnTo>
                    <a:lnTo>
                      <a:pt x="137" y="535"/>
                    </a:lnTo>
                    <a:lnTo>
                      <a:pt x="134" y="535"/>
                    </a:lnTo>
                    <a:lnTo>
                      <a:pt x="131" y="540"/>
                    </a:lnTo>
                    <a:lnTo>
                      <a:pt x="128" y="540"/>
                    </a:lnTo>
                    <a:lnTo>
                      <a:pt x="120" y="551"/>
                    </a:lnTo>
                    <a:lnTo>
                      <a:pt x="117" y="557"/>
                    </a:lnTo>
                    <a:lnTo>
                      <a:pt x="120" y="557"/>
                    </a:lnTo>
                    <a:lnTo>
                      <a:pt x="123" y="560"/>
                    </a:lnTo>
                    <a:lnTo>
                      <a:pt x="120" y="560"/>
                    </a:lnTo>
                    <a:lnTo>
                      <a:pt x="117" y="557"/>
                    </a:lnTo>
                    <a:lnTo>
                      <a:pt x="114" y="557"/>
                    </a:lnTo>
                    <a:lnTo>
                      <a:pt x="114" y="560"/>
                    </a:lnTo>
                    <a:lnTo>
                      <a:pt x="111" y="560"/>
                    </a:lnTo>
                    <a:lnTo>
                      <a:pt x="111" y="557"/>
                    </a:lnTo>
                    <a:lnTo>
                      <a:pt x="111" y="554"/>
                    </a:lnTo>
                    <a:lnTo>
                      <a:pt x="109" y="554"/>
                    </a:lnTo>
                    <a:lnTo>
                      <a:pt x="106" y="554"/>
                    </a:lnTo>
                    <a:lnTo>
                      <a:pt x="89" y="565"/>
                    </a:lnTo>
                    <a:lnTo>
                      <a:pt x="86" y="568"/>
                    </a:lnTo>
                    <a:lnTo>
                      <a:pt x="86" y="571"/>
                    </a:lnTo>
                    <a:lnTo>
                      <a:pt x="81" y="574"/>
                    </a:lnTo>
                    <a:lnTo>
                      <a:pt x="81" y="576"/>
                    </a:lnTo>
                    <a:lnTo>
                      <a:pt x="78" y="576"/>
                    </a:lnTo>
                    <a:lnTo>
                      <a:pt x="75" y="576"/>
                    </a:lnTo>
                    <a:lnTo>
                      <a:pt x="72" y="576"/>
                    </a:lnTo>
                    <a:lnTo>
                      <a:pt x="72" y="579"/>
                    </a:lnTo>
                    <a:lnTo>
                      <a:pt x="75" y="582"/>
                    </a:lnTo>
                    <a:lnTo>
                      <a:pt x="72" y="585"/>
                    </a:lnTo>
                    <a:lnTo>
                      <a:pt x="75" y="585"/>
                    </a:lnTo>
                    <a:lnTo>
                      <a:pt x="78" y="585"/>
                    </a:lnTo>
                    <a:lnTo>
                      <a:pt x="78" y="582"/>
                    </a:lnTo>
                    <a:lnTo>
                      <a:pt x="78" y="579"/>
                    </a:lnTo>
                    <a:lnTo>
                      <a:pt x="81" y="582"/>
                    </a:lnTo>
                    <a:lnTo>
                      <a:pt x="86" y="582"/>
                    </a:lnTo>
                    <a:lnTo>
                      <a:pt x="84" y="576"/>
                    </a:lnTo>
                    <a:lnTo>
                      <a:pt x="86" y="574"/>
                    </a:lnTo>
                    <a:lnTo>
                      <a:pt x="86" y="576"/>
                    </a:lnTo>
                    <a:lnTo>
                      <a:pt x="86" y="579"/>
                    </a:lnTo>
                    <a:lnTo>
                      <a:pt x="89" y="579"/>
                    </a:lnTo>
                    <a:lnTo>
                      <a:pt x="92" y="579"/>
                    </a:lnTo>
                    <a:lnTo>
                      <a:pt x="95" y="579"/>
                    </a:lnTo>
                    <a:lnTo>
                      <a:pt x="95" y="576"/>
                    </a:lnTo>
                    <a:lnTo>
                      <a:pt x="98" y="574"/>
                    </a:lnTo>
                    <a:lnTo>
                      <a:pt x="100" y="565"/>
                    </a:lnTo>
                    <a:lnTo>
                      <a:pt x="103" y="565"/>
                    </a:lnTo>
                    <a:lnTo>
                      <a:pt x="103" y="568"/>
                    </a:lnTo>
                    <a:lnTo>
                      <a:pt x="103" y="571"/>
                    </a:lnTo>
                    <a:lnTo>
                      <a:pt x="106" y="571"/>
                    </a:lnTo>
                    <a:lnTo>
                      <a:pt x="111" y="568"/>
                    </a:lnTo>
                    <a:lnTo>
                      <a:pt x="114" y="568"/>
                    </a:lnTo>
                    <a:lnTo>
                      <a:pt x="114" y="565"/>
                    </a:lnTo>
                    <a:lnTo>
                      <a:pt x="117" y="565"/>
                    </a:lnTo>
                    <a:lnTo>
                      <a:pt x="117" y="568"/>
                    </a:lnTo>
                    <a:lnTo>
                      <a:pt x="120" y="565"/>
                    </a:lnTo>
                    <a:lnTo>
                      <a:pt x="120" y="563"/>
                    </a:lnTo>
                    <a:lnTo>
                      <a:pt x="123" y="563"/>
                    </a:lnTo>
                    <a:lnTo>
                      <a:pt x="125" y="560"/>
                    </a:lnTo>
                    <a:lnTo>
                      <a:pt x="128" y="560"/>
                    </a:lnTo>
                    <a:lnTo>
                      <a:pt x="131" y="560"/>
                    </a:lnTo>
                    <a:lnTo>
                      <a:pt x="131" y="565"/>
                    </a:lnTo>
                    <a:lnTo>
                      <a:pt x="134" y="557"/>
                    </a:lnTo>
                    <a:lnTo>
                      <a:pt x="142" y="557"/>
                    </a:lnTo>
                    <a:lnTo>
                      <a:pt x="145" y="554"/>
                    </a:lnTo>
                    <a:lnTo>
                      <a:pt x="148" y="554"/>
                    </a:lnTo>
                    <a:lnTo>
                      <a:pt x="148" y="549"/>
                    </a:lnTo>
                    <a:lnTo>
                      <a:pt x="145" y="549"/>
                    </a:lnTo>
                    <a:lnTo>
                      <a:pt x="142" y="546"/>
                    </a:lnTo>
                    <a:lnTo>
                      <a:pt x="139" y="543"/>
                    </a:lnTo>
                    <a:lnTo>
                      <a:pt x="139" y="540"/>
                    </a:lnTo>
                    <a:lnTo>
                      <a:pt x="142" y="540"/>
                    </a:lnTo>
                    <a:lnTo>
                      <a:pt x="142" y="546"/>
                    </a:lnTo>
                    <a:lnTo>
                      <a:pt x="148" y="546"/>
                    </a:lnTo>
                    <a:lnTo>
                      <a:pt x="150" y="543"/>
                    </a:lnTo>
                    <a:lnTo>
                      <a:pt x="153" y="540"/>
                    </a:lnTo>
                    <a:lnTo>
                      <a:pt x="159" y="540"/>
                    </a:lnTo>
                    <a:lnTo>
                      <a:pt x="159" y="537"/>
                    </a:lnTo>
                    <a:lnTo>
                      <a:pt x="156" y="540"/>
                    </a:lnTo>
                    <a:lnTo>
                      <a:pt x="156" y="537"/>
                    </a:lnTo>
                    <a:lnTo>
                      <a:pt x="162" y="535"/>
                    </a:lnTo>
                    <a:lnTo>
                      <a:pt x="162" y="537"/>
                    </a:lnTo>
                    <a:lnTo>
                      <a:pt x="164" y="537"/>
                    </a:lnTo>
                    <a:lnTo>
                      <a:pt x="164" y="535"/>
                    </a:lnTo>
                    <a:lnTo>
                      <a:pt x="164" y="532"/>
                    </a:lnTo>
                    <a:lnTo>
                      <a:pt x="167" y="532"/>
                    </a:lnTo>
                    <a:lnTo>
                      <a:pt x="170" y="532"/>
                    </a:lnTo>
                    <a:lnTo>
                      <a:pt x="173" y="529"/>
                    </a:lnTo>
                    <a:lnTo>
                      <a:pt x="173" y="526"/>
                    </a:lnTo>
                    <a:lnTo>
                      <a:pt x="176" y="526"/>
                    </a:lnTo>
                    <a:lnTo>
                      <a:pt x="178" y="526"/>
                    </a:lnTo>
                    <a:lnTo>
                      <a:pt x="181" y="524"/>
                    </a:lnTo>
                    <a:lnTo>
                      <a:pt x="181" y="521"/>
                    </a:lnTo>
                    <a:lnTo>
                      <a:pt x="181" y="518"/>
                    </a:lnTo>
                    <a:lnTo>
                      <a:pt x="178" y="518"/>
                    </a:lnTo>
                    <a:lnTo>
                      <a:pt x="181" y="515"/>
                    </a:lnTo>
                    <a:lnTo>
                      <a:pt x="187" y="512"/>
                    </a:lnTo>
                    <a:lnTo>
                      <a:pt x="187" y="510"/>
                    </a:lnTo>
                    <a:lnTo>
                      <a:pt x="192" y="510"/>
                    </a:lnTo>
                    <a:lnTo>
                      <a:pt x="192" y="507"/>
                    </a:lnTo>
                    <a:lnTo>
                      <a:pt x="192" y="504"/>
                    </a:lnTo>
                    <a:lnTo>
                      <a:pt x="195" y="504"/>
                    </a:lnTo>
                    <a:lnTo>
                      <a:pt x="198" y="507"/>
                    </a:lnTo>
                    <a:lnTo>
                      <a:pt x="198" y="501"/>
                    </a:lnTo>
                    <a:lnTo>
                      <a:pt x="201" y="501"/>
                    </a:lnTo>
                    <a:lnTo>
                      <a:pt x="203" y="498"/>
                    </a:lnTo>
                    <a:lnTo>
                      <a:pt x="212" y="496"/>
                    </a:lnTo>
                    <a:lnTo>
                      <a:pt x="212" y="493"/>
                    </a:lnTo>
                    <a:lnTo>
                      <a:pt x="214" y="493"/>
                    </a:lnTo>
                    <a:lnTo>
                      <a:pt x="217" y="493"/>
                    </a:lnTo>
                    <a:lnTo>
                      <a:pt x="217" y="490"/>
                    </a:lnTo>
                    <a:lnTo>
                      <a:pt x="214" y="487"/>
                    </a:lnTo>
                    <a:lnTo>
                      <a:pt x="217" y="487"/>
                    </a:lnTo>
                    <a:lnTo>
                      <a:pt x="217" y="485"/>
                    </a:lnTo>
                    <a:lnTo>
                      <a:pt x="217" y="482"/>
                    </a:lnTo>
                    <a:lnTo>
                      <a:pt x="220" y="482"/>
                    </a:lnTo>
                    <a:lnTo>
                      <a:pt x="223" y="479"/>
                    </a:lnTo>
                    <a:lnTo>
                      <a:pt x="226" y="479"/>
                    </a:lnTo>
                    <a:lnTo>
                      <a:pt x="228" y="476"/>
                    </a:lnTo>
                    <a:lnTo>
                      <a:pt x="228" y="471"/>
                    </a:lnTo>
                    <a:lnTo>
                      <a:pt x="223" y="468"/>
                    </a:lnTo>
                    <a:lnTo>
                      <a:pt x="220" y="465"/>
                    </a:lnTo>
                    <a:lnTo>
                      <a:pt x="217" y="468"/>
                    </a:lnTo>
                    <a:lnTo>
                      <a:pt x="214" y="468"/>
                    </a:lnTo>
                    <a:lnTo>
                      <a:pt x="217" y="457"/>
                    </a:lnTo>
                    <a:lnTo>
                      <a:pt x="223" y="457"/>
                    </a:lnTo>
                    <a:lnTo>
                      <a:pt x="223" y="454"/>
                    </a:lnTo>
                    <a:lnTo>
                      <a:pt x="223" y="451"/>
                    </a:lnTo>
                    <a:lnTo>
                      <a:pt x="226" y="451"/>
                    </a:lnTo>
                    <a:lnTo>
                      <a:pt x="226" y="448"/>
                    </a:lnTo>
                    <a:lnTo>
                      <a:pt x="226" y="446"/>
                    </a:lnTo>
                    <a:lnTo>
                      <a:pt x="226" y="448"/>
                    </a:lnTo>
                    <a:lnTo>
                      <a:pt x="228" y="446"/>
                    </a:lnTo>
                    <a:lnTo>
                      <a:pt x="228" y="448"/>
                    </a:lnTo>
                    <a:lnTo>
                      <a:pt x="231" y="446"/>
                    </a:lnTo>
                    <a:lnTo>
                      <a:pt x="234" y="446"/>
                    </a:lnTo>
                    <a:lnTo>
                      <a:pt x="234" y="443"/>
                    </a:lnTo>
                    <a:lnTo>
                      <a:pt x="231" y="443"/>
                    </a:lnTo>
                    <a:lnTo>
                      <a:pt x="234" y="440"/>
                    </a:lnTo>
                    <a:lnTo>
                      <a:pt x="237" y="440"/>
                    </a:lnTo>
                    <a:lnTo>
                      <a:pt x="240" y="437"/>
                    </a:lnTo>
                    <a:lnTo>
                      <a:pt x="240" y="434"/>
                    </a:lnTo>
                    <a:lnTo>
                      <a:pt x="234" y="429"/>
                    </a:lnTo>
                    <a:lnTo>
                      <a:pt x="237" y="429"/>
                    </a:lnTo>
                    <a:lnTo>
                      <a:pt x="240" y="429"/>
                    </a:lnTo>
                    <a:lnTo>
                      <a:pt x="245" y="426"/>
                    </a:lnTo>
                    <a:lnTo>
                      <a:pt x="248" y="421"/>
                    </a:lnTo>
                    <a:lnTo>
                      <a:pt x="253" y="412"/>
                    </a:lnTo>
                    <a:lnTo>
                      <a:pt x="253" y="409"/>
                    </a:lnTo>
                    <a:lnTo>
                      <a:pt x="265" y="404"/>
                    </a:lnTo>
                    <a:lnTo>
                      <a:pt x="270" y="395"/>
                    </a:lnTo>
                    <a:lnTo>
                      <a:pt x="270" y="393"/>
                    </a:lnTo>
                    <a:lnTo>
                      <a:pt x="279" y="365"/>
                    </a:lnTo>
                    <a:lnTo>
                      <a:pt x="279" y="379"/>
                    </a:lnTo>
                    <a:lnTo>
                      <a:pt x="273" y="390"/>
                    </a:lnTo>
                    <a:lnTo>
                      <a:pt x="273" y="395"/>
                    </a:lnTo>
                    <a:lnTo>
                      <a:pt x="273" y="398"/>
                    </a:lnTo>
                    <a:lnTo>
                      <a:pt x="279" y="398"/>
                    </a:lnTo>
                    <a:lnTo>
                      <a:pt x="284" y="393"/>
                    </a:lnTo>
                    <a:lnTo>
                      <a:pt x="290" y="390"/>
                    </a:lnTo>
                    <a:lnTo>
                      <a:pt x="292" y="390"/>
                    </a:lnTo>
                    <a:lnTo>
                      <a:pt x="290" y="393"/>
                    </a:lnTo>
                    <a:lnTo>
                      <a:pt x="287" y="393"/>
                    </a:lnTo>
                    <a:lnTo>
                      <a:pt x="284" y="395"/>
                    </a:lnTo>
                    <a:lnTo>
                      <a:pt x="284" y="398"/>
                    </a:lnTo>
                    <a:lnTo>
                      <a:pt x="281" y="401"/>
                    </a:lnTo>
                    <a:lnTo>
                      <a:pt x="281" y="404"/>
                    </a:lnTo>
                    <a:lnTo>
                      <a:pt x="284" y="404"/>
                    </a:lnTo>
                    <a:lnTo>
                      <a:pt x="295" y="409"/>
                    </a:lnTo>
                    <a:lnTo>
                      <a:pt x="284" y="407"/>
                    </a:lnTo>
                    <a:lnTo>
                      <a:pt x="279" y="409"/>
                    </a:lnTo>
                    <a:lnTo>
                      <a:pt x="276" y="407"/>
                    </a:lnTo>
                    <a:lnTo>
                      <a:pt x="273" y="407"/>
                    </a:lnTo>
                    <a:lnTo>
                      <a:pt x="262" y="415"/>
                    </a:lnTo>
                    <a:lnTo>
                      <a:pt x="259" y="415"/>
                    </a:lnTo>
                    <a:lnTo>
                      <a:pt x="262" y="423"/>
                    </a:lnTo>
                    <a:lnTo>
                      <a:pt x="259" y="429"/>
                    </a:lnTo>
                    <a:lnTo>
                      <a:pt x="259" y="432"/>
                    </a:lnTo>
                    <a:lnTo>
                      <a:pt x="256" y="434"/>
                    </a:lnTo>
                    <a:lnTo>
                      <a:pt x="256" y="437"/>
                    </a:lnTo>
                    <a:lnTo>
                      <a:pt x="256" y="440"/>
                    </a:lnTo>
                    <a:lnTo>
                      <a:pt x="253" y="443"/>
                    </a:lnTo>
                    <a:lnTo>
                      <a:pt x="253" y="446"/>
                    </a:lnTo>
                    <a:lnTo>
                      <a:pt x="253" y="448"/>
                    </a:lnTo>
                    <a:lnTo>
                      <a:pt x="256" y="448"/>
                    </a:lnTo>
                    <a:lnTo>
                      <a:pt x="265" y="446"/>
                    </a:lnTo>
                    <a:lnTo>
                      <a:pt x="267" y="446"/>
                    </a:lnTo>
                    <a:lnTo>
                      <a:pt x="265" y="451"/>
                    </a:lnTo>
                    <a:lnTo>
                      <a:pt x="262" y="451"/>
                    </a:lnTo>
                    <a:lnTo>
                      <a:pt x="259" y="451"/>
                    </a:lnTo>
                    <a:lnTo>
                      <a:pt x="259" y="454"/>
                    </a:lnTo>
                    <a:lnTo>
                      <a:pt x="262" y="454"/>
                    </a:lnTo>
                    <a:lnTo>
                      <a:pt x="256" y="454"/>
                    </a:lnTo>
                    <a:lnTo>
                      <a:pt x="256" y="457"/>
                    </a:lnTo>
                    <a:lnTo>
                      <a:pt x="253" y="454"/>
                    </a:lnTo>
                    <a:lnTo>
                      <a:pt x="253" y="457"/>
                    </a:lnTo>
                    <a:lnTo>
                      <a:pt x="251" y="459"/>
                    </a:lnTo>
                    <a:lnTo>
                      <a:pt x="253" y="462"/>
                    </a:lnTo>
                    <a:lnTo>
                      <a:pt x="256" y="462"/>
                    </a:lnTo>
                    <a:lnTo>
                      <a:pt x="259" y="462"/>
                    </a:lnTo>
                    <a:lnTo>
                      <a:pt x="262" y="462"/>
                    </a:lnTo>
                    <a:lnTo>
                      <a:pt x="262" y="459"/>
                    </a:lnTo>
                    <a:lnTo>
                      <a:pt x="262" y="457"/>
                    </a:lnTo>
                    <a:lnTo>
                      <a:pt x="265" y="459"/>
                    </a:lnTo>
                    <a:lnTo>
                      <a:pt x="267" y="459"/>
                    </a:lnTo>
                    <a:lnTo>
                      <a:pt x="273" y="451"/>
                    </a:lnTo>
                    <a:lnTo>
                      <a:pt x="276" y="451"/>
                    </a:lnTo>
                    <a:lnTo>
                      <a:pt x="276" y="457"/>
                    </a:lnTo>
                    <a:lnTo>
                      <a:pt x="279" y="451"/>
                    </a:lnTo>
                    <a:lnTo>
                      <a:pt x="279" y="448"/>
                    </a:lnTo>
                    <a:lnTo>
                      <a:pt x="281" y="446"/>
                    </a:lnTo>
                    <a:lnTo>
                      <a:pt x="284" y="448"/>
                    </a:lnTo>
                    <a:lnTo>
                      <a:pt x="284" y="446"/>
                    </a:lnTo>
                    <a:lnTo>
                      <a:pt x="284" y="443"/>
                    </a:lnTo>
                    <a:lnTo>
                      <a:pt x="284" y="440"/>
                    </a:lnTo>
                    <a:lnTo>
                      <a:pt x="287" y="440"/>
                    </a:lnTo>
                    <a:lnTo>
                      <a:pt x="287" y="446"/>
                    </a:lnTo>
                    <a:lnTo>
                      <a:pt x="290" y="440"/>
                    </a:lnTo>
                    <a:lnTo>
                      <a:pt x="290" y="437"/>
                    </a:lnTo>
                    <a:lnTo>
                      <a:pt x="290" y="434"/>
                    </a:lnTo>
                    <a:lnTo>
                      <a:pt x="292" y="437"/>
                    </a:lnTo>
                    <a:lnTo>
                      <a:pt x="295" y="437"/>
                    </a:lnTo>
                    <a:lnTo>
                      <a:pt x="301" y="440"/>
                    </a:lnTo>
                    <a:lnTo>
                      <a:pt x="304" y="437"/>
                    </a:lnTo>
                    <a:lnTo>
                      <a:pt x="306" y="434"/>
                    </a:lnTo>
                    <a:lnTo>
                      <a:pt x="309" y="432"/>
                    </a:lnTo>
                    <a:lnTo>
                      <a:pt x="309" y="429"/>
                    </a:lnTo>
                    <a:lnTo>
                      <a:pt x="306" y="429"/>
                    </a:lnTo>
                    <a:lnTo>
                      <a:pt x="306" y="426"/>
                    </a:lnTo>
                    <a:lnTo>
                      <a:pt x="309" y="423"/>
                    </a:lnTo>
                    <a:lnTo>
                      <a:pt x="312" y="423"/>
                    </a:lnTo>
                    <a:lnTo>
                      <a:pt x="312" y="421"/>
                    </a:lnTo>
                    <a:lnTo>
                      <a:pt x="312" y="418"/>
                    </a:lnTo>
                    <a:lnTo>
                      <a:pt x="309" y="421"/>
                    </a:lnTo>
                    <a:lnTo>
                      <a:pt x="306" y="421"/>
                    </a:lnTo>
                    <a:lnTo>
                      <a:pt x="304" y="423"/>
                    </a:lnTo>
                    <a:lnTo>
                      <a:pt x="304" y="421"/>
                    </a:lnTo>
                    <a:lnTo>
                      <a:pt x="306" y="421"/>
                    </a:lnTo>
                    <a:lnTo>
                      <a:pt x="309" y="418"/>
                    </a:lnTo>
                    <a:lnTo>
                      <a:pt x="309" y="415"/>
                    </a:lnTo>
                    <a:lnTo>
                      <a:pt x="306" y="415"/>
                    </a:lnTo>
                    <a:lnTo>
                      <a:pt x="304" y="415"/>
                    </a:lnTo>
                    <a:lnTo>
                      <a:pt x="304" y="412"/>
                    </a:lnTo>
                    <a:lnTo>
                      <a:pt x="304" y="409"/>
                    </a:lnTo>
                    <a:lnTo>
                      <a:pt x="306" y="409"/>
                    </a:lnTo>
                    <a:lnTo>
                      <a:pt x="309" y="407"/>
                    </a:lnTo>
                    <a:lnTo>
                      <a:pt x="306" y="407"/>
                    </a:lnTo>
                    <a:lnTo>
                      <a:pt x="309" y="404"/>
                    </a:lnTo>
                    <a:lnTo>
                      <a:pt x="309" y="401"/>
                    </a:lnTo>
                    <a:lnTo>
                      <a:pt x="309" y="404"/>
                    </a:lnTo>
                    <a:lnTo>
                      <a:pt x="312" y="404"/>
                    </a:lnTo>
                    <a:lnTo>
                      <a:pt x="312" y="401"/>
                    </a:lnTo>
                    <a:lnTo>
                      <a:pt x="315" y="398"/>
                    </a:lnTo>
                    <a:lnTo>
                      <a:pt x="315" y="401"/>
                    </a:lnTo>
                    <a:lnTo>
                      <a:pt x="312" y="409"/>
                    </a:lnTo>
                    <a:lnTo>
                      <a:pt x="315" y="409"/>
                    </a:lnTo>
                    <a:lnTo>
                      <a:pt x="318" y="409"/>
                    </a:lnTo>
                    <a:lnTo>
                      <a:pt x="318" y="401"/>
                    </a:lnTo>
                    <a:lnTo>
                      <a:pt x="318" y="404"/>
                    </a:lnTo>
                    <a:lnTo>
                      <a:pt x="318" y="407"/>
                    </a:lnTo>
                    <a:lnTo>
                      <a:pt x="326" y="407"/>
                    </a:lnTo>
                    <a:lnTo>
                      <a:pt x="329" y="407"/>
                    </a:lnTo>
                    <a:lnTo>
                      <a:pt x="331" y="404"/>
                    </a:lnTo>
                    <a:lnTo>
                      <a:pt x="334" y="401"/>
                    </a:lnTo>
                    <a:lnTo>
                      <a:pt x="340" y="401"/>
                    </a:lnTo>
                    <a:lnTo>
                      <a:pt x="337" y="404"/>
                    </a:lnTo>
                    <a:lnTo>
                      <a:pt x="334" y="404"/>
                    </a:lnTo>
                    <a:lnTo>
                      <a:pt x="334" y="409"/>
                    </a:lnTo>
                    <a:lnTo>
                      <a:pt x="334" y="412"/>
                    </a:lnTo>
                    <a:lnTo>
                      <a:pt x="340" y="409"/>
                    </a:lnTo>
                    <a:lnTo>
                      <a:pt x="340" y="412"/>
                    </a:lnTo>
                    <a:lnTo>
                      <a:pt x="331" y="415"/>
                    </a:lnTo>
                    <a:lnTo>
                      <a:pt x="337" y="415"/>
                    </a:lnTo>
                    <a:lnTo>
                      <a:pt x="343" y="412"/>
                    </a:lnTo>
                    <a:lnTo>
                      <a:pt x="340" y="418"/>
                    </a:lnTo>
                    <a:lnTo>
                      <a:pt x="343" y="415"/>
                    </a:lnTo>
                    <a:lnTo>
                      <a:pt x="345" y="418"/>
                    </a:lnTo>
                    <a:lnTo>
                      <a:pt x="348" y="418"/>
                    </a:lnTo>
                    <a:lnTo>
                      <a:pt x="345" y="421"/>
                    </a:lnTo>
                    <a:lnTo>
                      <a:pt x="348" y="421"/>
                    </a:lnTo>
                    <a:lnTo>
                      <a:pt x="354" y="426"/>
                    </a:lnTo>
                    <a:lnTo>
                      <a:pt x="356" y="426"/>
                    </a:lnTo>
                    <a:lnTo>
                      <a:pt x="356" y="423"/>
                    </a:lnTo>
                    <a:lnTo>
                      <a:pt x="359" y="423"/>
                    </a:lnTo>
                    <a:lnTo>
                      <a:pt x="362" y="426"/>
                    </a:lnTo>
                    <a:lnTo>
                      <a:pt x="362" y="429"/>
                    </a:lnTo>
                    <a:lnTo>
                      <a:pt x="365" y="429"/>
                    </a:lnTo>
                    <a:lnTo>
                      <a:pt x="365" y="432"/>
                    </a:lnTo>
                    <a:lnTo>
                      <a:pt x="368" y="432"/>
                    </a:lnTo>
                    <a:lnTo>
                      <a:pt x="370" y="432"/>
                    </a:lnTo>
                    <a:lnTo>
                      <a:pt x="373" y="432"/>
                    </a:lnTo>
                    <a:lnTo>
                      <a:pt x="373" y="434"/>
                    </a:lnTo>
                    <a:lnTo>
                      <a:pt x="373" y="437"/>
                    </a:lnTo>
                    <a:lnTo>
                      <a:pt x="376" y="437"/>
                    </a:lnTo>
                    <a:lnTo>
                      <a:pt x="382" y="437"/>
                    </a:lnTo>
                    <a:lnTo>
                      <a:pt x="390" y="437"/>
                    </a:lnTo>
                    <a:lnTo>
                      <a:pt x="390" y="434"/>
                    </a:lnTo>
                    <a:lnTo>
                      <a:pt x="393" y="434"/>
                    </a:lnTo>
                    <a:lnTo>
                      <a:pt x="395" y="434"/>
                    </a:lnTo>
                    <a:lnTo>
                      <a:pt x="398" y="434"/>
                    </a:lnTo>
                    <a:lnTo>
                      <a:pt x="401" y="437"/>
                    </a:lnTo>
                    <a:lnTo>
                      <a:pt x="412" y="440"/>
                    </a:lnTo>
                    <a:lnTo>
                      <a:pt x="415" y="437"/>
                    </a:lnTo>
                    <a:lnTo>
                      <a:pt x="418" y="437"/>
                    </a:lnTo>
                    <a:lnTo>
                      <a:pt x="418" y="440"/>
                    </a:lnTo>
                    <a:lnTo>
                      <a:pt x="415" y="440"/>
                    </a:lnTo>
                    <a:lnTo>
                      <a:pt x="421" y="443"/>
                    </a:lnTo>
                    <a:lnTo>
                      <a:pt x="432" y="446"/>
                    </a:lnTo>
                    <a:lnTo>
                      <a:pt x="437" y="443"/>
                    </a:lnTo>
                    <a:lnTo>
                      <a:pt x="443" y="437"/>
                    </a:lnTo>
                    <a:lnTo>
                      <a:pt x="446" y="434"/>
                    </a:lnTo>
                    <a:lnTo>
                      <a:pt x="448" y="440"/>
                    </a:lnTo>
                    <a:lnTo>
                      <a:pt x="451" y="443"/>
                    </a:lnTo>
                    <a:lnTo>
                      <a:pt x="448" y="443"/>
                    </a:lnTo>
                    <a:lnTo>
                      <a:pt x="451" y="451"/>
                    </a:lnTo>
                    <a:lnTo>
                      <a:pt x="448" y="451"/>
                    </a:lnTo>
                    <a:lnTo>
                      <a:pt x="448" y="448"/>
                    </a:lnTo>
                    <a:lnTo>
                      <a:pt x="448" y="446"/>
                    </a:lnTo>
                    <a:lnTo>
                      <a:pt x="448" y="443"/>
                    </a:lnTo>
                    <a:lnTo>
                      <a:pt x="448" y="440"/>
                    </a:lnTo>
                    <a:lnTo>
                      <a:pt x="446" y="440"/>
                    </a:lnTo>
                    <a:lnTo>
                      <a:pt x="446" y="437"/>
                    </a:lnTo>
                    <a:lnTo>
                      <a:pt x="446" y="440"/>
                    </a:lnTo>
                    <a:lnTo>
                      <a:pt x="443" y="440"/>
                    </a:lnTo>
                    <a:lnTo>
                      <a:pt x="443" y="446"/>
                    </a:lnTo>
                    <a:lnTo>
                      <a:pt x="446" y="446"/>
                    </a:lnTo>
                    <a:lnTo>
                      <a:pt x="446" y="448"/>
                    </a:lnTo>
                    <a:lnTo>
                      <a:pt x="443" y="451"/>
                    </a:lnTo>
                    <a:lnTo>
                      <a:pt x="440" y="451"/>
                    </a:lnTo>
                    <a:lnTo>
                      <a:pt x="443" y="454"/>
                    </a:lnTo>
                    <a:lnTo>
                      <a:pt x="446" y="454"/>
                    </a:lnTo>
                    <a:lnTo>
                      <a:pt x="446" y="457"/>
                    </a:lnTo>
                    <a:lnTo>
                      <a:pt x="448" y="457"/>
                    </a:lnTo>
                    <a:lnTo>
                      <a:pt x="451" y="457"/>
                    </a:lnTo>
                    <a:lnTo>
                      <a:pt x="448" y="457"/>
                    </a:lnTo>
                    <a:lnTo>
                      <a:pt x="454" y="459"/>
                    </a:lnTo>
                    <a:lnTo>
                      <a:pt x="459" y="465"/>
                    </a:lnTo>
                    <a:lnTo>
                      <a:pt x="459" y="462"/>
                    </a:lnTo>
                    <a:lnTo>
                      <a:pt x="462" y="462"/>
                    </a:lnTo>
                    <a:lnTo>
                      <a:pt x="465" y="462"/>
                    </a:lnTo>
                    <a:lnTo>
                      <a:pt x="465" y="459"/>
                    </a:lnTo>
                    <a:lnTo>
                      <a:pt x="462" y="457"/>
                    </a:lnTo>
                    <a:lnTo>
                      <a:pt x="465" y="457"/>
                    </a:lnTo>
                    <a:lnTo>
                      <a:pt x="465" y="454"/>
                    </a:lnTo>
                    <a:lnTo>
                      <a:pt x="451" y="437"/>
                    </a:lnTo>
                    <a:lnTo>
                      <a:pt x="451" y="429"/>
                    </a:lnTo>
                    <a:lnTo>
                      <a:pt x="443" y="429"/>
                    </a:lnTo>
                    <a:lnTo>
                      <a:pt x="440" y="432"/>
                    </a:lnTo>
                    <a:lnTo>
                      <a:pt x="437" y="432"/>
                    </a:lnTo>
                    <a:lnTo>
                      <a:pt x="432" y="429"/>
                    </a:lnTo>
                    <a:lnTo>
                      <a:pt x="429" y="432"/>
                    </a:lnTo>
                    <a:lnTo>
                      <a:pt x="423" y="429"/>
                    </a:lnTo>
                    <a:lnTo>
                      <a:pt x="423" y="41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2" name="Freeform 1300"/>
              <p:cNvSpPr>
                <a:spLocks noChangeAspect="1"/>
              </p:cNvSpPr>
              <p:nvPr>
                <p:custDataLst>
                  <p:tags r:id="rId417"/>
                </p:custDataLst>
              </p:nvPr>
            </p:nvSpPr>
            <p:spPr bwMode="gray">
              <a:xfrm>
                <a:off x="2777404" y="3425781"/>
                <a:ext cx="4557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7562057 w 3"/>
                  <a:gd name="T5" fmla="*/ 0 h 3"/>
                  <a:gd name="T6" fmla="*/ 7562057 w 3"/>
                  <a:gd name="T7" fmla="*/ 3360208 h 3"/>
                  <a:gd name="T8" fmla="*/ 7562057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0 w 3"/>
                  <a:gd name="T15" fmla="*/ 3360208 h 3"/>
                  <a:gd name="T16" fmla="*/ 7562057 w 3"/>
                  <a:gd name="T17" fmla="*/ 3360208 h 3"/>
                  <a:gd name="T18" fmla="*/ 0 w 3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3"/>
                  <a:gd name="T32" fmla="*/ 3 w 3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3" name="Freeform 1301"/>
              <p:cNvSpPr>
                <a:spLocks noChangeAspect="1"/>
              </p:cNvSpPr>
              <p:nvPr>
                <p:custDataLst>
                  <p:tags r:id="rId418"/>
                </p:custDataLst>
              </p:nvPr>
            </p:nvSpPr>
            <p:spPr bwMode="gray">
              <a:xfrm>
                <a:off x="2777404" y="3425781"/>
                <a:ext cx="4557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7562057 w 3"/>
                  <a:gd name="T5" fmla="*/ 0 h 3"/>
                  <a:gd name="T6" fmla="*/ 7562057 w 3"/>
                  <a:gd name="T7" fmla="*/ 3360208 h 3"/>
                  <a:gd name="T8" fmla="*/ 7562057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0 w 3"/>
                  <a:gd name="T15" fmla="*/ 3360208 h 3"/>
                  <a:gd name="T16" fmla="*/ 7562057 w 3"/>
                  <a:gd name="T17" fmla="*/ 3360208 h 3"/>
                  <a:gd name="T18" fmla="*/ 0 w 3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3"/>
                  <a:gd name="T32" fmla="*/ 3 w 3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4" name="Freeform 1302"/>
              <p:cNvSpPr>
                <a:spLocks noChangeAspect="1"/>
              </p:cNvSpPr>
              <p:nvPr>
                <p:custDataLst>
                  <p:tags r:id="rId419"/>
                </p:custDataLst>
              </p:nvPr>
            </p:nvSpPr>
            <p:spPr bwMode="gray">
              <a:xfrm>
                <a:off x="2784998" y="3425781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3360208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5" name="Freeform 1303"/>
              <p:cNvSpPr>
                <a:spLocks noChangeAspect="1"/>
              </p:cNvSpPr>
              <p:nvPr>
                <p:custDataLst>
                  <p:tags r:id="rId420"/>
                </p:custDataLst>
              </p:nvPr>
            </p:nvSpPr>
            <p:spPr bwMode="gray">
              <a:xfrm>
                <a:off x="2784998" y="3425781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3360208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6" name="Freeform 1304"/>
              <p:cNvSpPr>
                <a:spLocks noChangeAspect="1"/>
              </p:cNvSpPr>
              <p:nvPr>
                <p:custDataLst>
                  <p:tags r:id="rId421"/>
                </p:custDataLst>
              </p:nvPr>
            </p:nvSpPr>
            <p:spPr bwMode="gray">
              <a:xfrm>
                <a:off x="2809292" y="3439973"/>
                <a:ext cx="4555" cy="4730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58882 h 3"/>
                  <a:gd name="T8" fmla="*/ 7558882 w 3"/>
                  <a:gd name="T9" fmla="*/ 7558882 h 3"/>
                  <a:gd name="T10" fmla="*/ 7558882 w 3"/>
                  <a:gd name="T11" fmla="*/ 7558882 h 3"/>
                  <a:gd name="T12" fmla="*/ 7558882 w 3"/>
                  <a:gd name="T13" fmla="*/ 7558882 h 3"/>
                  <a:gd name="T14" fmla="*/ 7558882 w 3"/>
                  <a:gd name="T15" fmla="*/ 7558882 h 3"/>
                  <a:gd name="T16" fmla="*/ 7558882 w 3"/>
                  <a:gd name="T17" fmla="*/ 7558882 h 3"/>
                  <a:gd name="T18" fmla="*/ 7558882 w 3"/>
                  <a:gd name="T19" fmla="*/ 7558882 h 3"/>
                  <a:gd name="T20" fmla="*/ 7558882 w 3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3"/>
                  <a:gd name="T35" fmla="*/ 3 w 3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7" name="Freeform 1305"/>
              <p:cNvSpPr>
                <a:spLocks noChangeAspect="1"/>
              </p:cNvSpPr>
              <p:nvPr>
                <p:custDataLst>
                  <p:tags r:id="rId422"/>
                </p:custDataLst>
              </p:nvPr>
            </p:nvSpPr>
            <p:spPr bwMode="gray">
              <a:xfrm>
                <a:off x="2809292" y="3439973"/>
                <a:ext cx="4555" cy="4730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58882 h 3"/>
                  <a:gd name="T8" fmla="*/ 7558882 w 3"/>
                  <a:gd name="T9" fmla="*/ 7558882 h 3"/>
                  <a:gd name="T10" fmla="*/ 7558882 w 3"/>
                  <a:gd name="T11" fmla="*/ 7558882 h 3"/>
                  <a:gd name="T12" fmla="*/ 7558882 w 3"/>
                  <a:gd name="T13" fmla="*/ 7558882 h 3"/>
                  <a:gd name="T14" fmla="*/ 7558882 w 3"/>
                  <a:gd name="T15" fmla="*/ 7558882 h 3"/>
                  <a:gd name="T16" fmla="*/ 7558882 w 3"/>
                  <a:gd name="T17" fmla="*/ 7558882 h 3"/>
                  <a:gd name="T18" fmla="*/ 7558882 w 3"/>
                  <a:gd name="T19" fmla="*/ 7558882 h 3"/>
                  <a:gd name="T20" fmla="*/ 7558882 w 3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3"/>
                  <a:gd name="T35" fmla="*/ 3 w 3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8" name="Freeform 1306"/>
              <p:cNvSpPr>
                <a:spLocks noChangeAspect="1"/>
              </p:cNvSpPr>
              <p:nvPr>
                <p:custDataLst>
                  <p:tags r:id="rId423"/>
                </p:custDataLst>
              </p:nvPr>
            </p:nvSpPr>
            <p:spPr bwMode="gray">
              <a:xfrm>
                <a:off x="2809292" y="3451008"/>
                <a:ext cx="4555" cy="7884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0 h 5"/>
                  <a:gd name="T4" fmla="*/ 0 w 3"/>
                  <a:gd name="T5" fmla="*/ 0 h 5"/>
                  <a:gd name="T6" fmla="*/ 7558882 w 3"/>
                  <a:gd name="T7" fmla="*/ 5040630 h 5"/>
                  <a:gd name="T8" fmla="*/ 7558882 w 3"/>
                  <a:gd name="T9" fmla="*/ 5040630 h 5"/>
                  <a:gd name="T10" fmla="*/ 7558882 w 3"/>
                  <a:gd name="T11" fmla="*/ 12602367 h 5"/>
                  <a:gd name="T12" fmla="*/ 7558882 w 3"/>
                  <a:gd name="T13" fmla="*/ 12602367 h 5"/>
                  <a:gd name="T14" fmla="*/ 0 w 3"/>
                  <a:gd name="T15" fmla="*/ 0 h 5"/>
                  <a:gd name="T16" fmla="*/ 0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9" name="Freeform 1307"/>
              <p:cNvSpPr>
                <a:spLocks noChangeAspect="1"/>
              </p:cNvSpPr>
              <p:nvPr>
                <p:custDataLst>
                  <p:tags r:id="rId424"/>
                </p:custDataLst>
              </p:nvPr>
            </p:nvSpPr>
            <p:spPr bwMode="gray">
              <a:xfrm>
                <a:off x="2809292" y="3451008"/>
                <a:ext cx="4555" cy="7884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0 h 5"/>
                  <a:gd name="T4" fmla="*/ 0 w 3"/>
                  <a:gd name="T5" fmla="*/ 0 h 5"/>
                  <a:gd name="T6" fmla="*/ 7558882 w 3"/>
                  <a:gd name="T7" fmla="*/ 5040630 h 5"/>
                  <a:gd name="T8" fmla="*/ 7558882 w 3"/>
                  <a:gd name="T9" fmla="*/ 5040630 h 5"/>
                  <a:gd name="T10" fmla="*/ 7558882 w 3"/>
                  <a:gd name="T11" fmla="*/ 12602367 h 5"/>
                  <a:gd name="T12" fmla="*/ 7558882 w 3"/>
                  <a:gd name="T13" fmla="*/ 12602367 h 5"/>
                  <a:gd name="T14" fmla="*/ 0 w 3"/>
                  <a:gd name="T15" fmla="*/ 0 h 5"/>
                  <a:gd name="T16" fmla="*/ 0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0" name="Freeform 1308"/>
              <p:cNvSpPr>
                <a:spLocks noChangeAspect="1"/>
              </p:cNvSpPr>
              <p:nvPr>
                <p:custDataLst>
                  <p:tags r:id="rId425"/>
                </p:custDataLst>
              </p:nvPr>
            </p:nvSpPr>
            <p:spPr bwMode="gray">
              <a:xfrm>
                <a:off x="2777404" y="3425781"/>
                <a:ext cx="4557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7562057 w 3"/>
                  <a:gd name="T5" fmla="*/ 0 h 3"/>
                  <a:gd name="T6" fmla="*/ 7562057 w 3"/>
                  <a:gd name="T7" fmla="*/ 3360208 h 3"/>
                  <a:gd name="T8" fmla="*/ 7562057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0 w 3"/>
                  <a:gd name="T15" fmla="*/ 3360208 h 3"/>
                  <a:gd name="T16" fmla="*/ 7562057 w 3"/>
                  <a:gd name="T17" fmla="*/ 3360208 h 3"/>
                  <a:gd name="T18" fmla="*/ 0 w 3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3"/>
                  <a:gd name="T32" fmla="*/ 3 w 3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1" name="Freeform 1309"/>
              <p:cNvSpPr>
                <a:spLocks noChangeAspect="1"/>
              </p:cNvSpPr>
              <p:nvPr>
                <p:custDataLst>
                  <p:tags r:id="rId426"/>
                </p:custDataLst>
              </p:nvPr>
            </p:nvSpPr>
            <p:spPr bwMode="gray">
              <a:xfrm>
                <a:off x="2777404" y="3425781"/>
                <a:ext cx="4557" cy="3154"/>
              </a:xfrm>
              <a:custGeom>
                <a:avLst/>
                <a:gdLst>
                  <a:gd name="T0" fmla="*/ 0 w 3"/>
                  <a:gd name="T1" fmla="*/ 3360208 h 3"/>
                  <a:gd name="T2" fmla="*/ 0 w 3"/>
                  <a:gd name="T3" fmla="*/ 3360208 h 3"/>
                  <a:gd name="T4" fmla="*/ 7562057 w 3"/>
                  <a:gd name="T5" fmla="*/ 0 h 3"/>
                  <a:gd name="T6" fmla="*/ 7562057 w 3"/>
                  <a:gd name="T7" fmla="*/ 3360208 h 3"/>
                  <a:gd name="T8" fmla="*/ 7562057 w 3"/>
                  <a:gd name="T9" fmla="*/ 3360208 h 3"/>
                  <a:gd name="T10" fmla="*/ 7562057 w 3"/>
                  <a:gd name="T11" fmla="*/ 3360208 h 3"/>
                  <a:gd name="T12" fmla="*/ 7562057 w 3"/>
                  <a:gd name="T13" fmla="*/ 3360208 h 3"/>
                  <a:gd name="T14" fmla="*/ 0 w 3"/>
                  <a:gd name="T15" fmla="*/ 3360208 h 3"/>
                  <a:gd name="T16" fmla="*/ 7562057 w 3"/>
                  <a:gd name="T17" fmla="*/ 3360208 h 3"/>
                  <a:gd name="T18" fmla="*/ 0 w 3"/>
                  <a:gd name="T19" fmla="*/ 3360208 h 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"/>
                  <a:gd name="T31" fmla="*/ 0 h 3"/>
                  <a:gd name="T32" fmla="*/ 3 w 3"/>
                  <a:gd name="T33" fmla="*/ 3 h 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2" name="Freeform 1310"/>
              <p:cNvSpPr>
                <a:spLocks noChangeAspect="1"/>
              </p:cNvSpPr>
              <p:nvPr>
                <p:custDataLst>
                  <p:tags r:id="rId427"/>
                </p:custDataLst>
              </p:nvPr>
            </p:nvSpPr>
            <p:spPr bwMode="gray">
              <a:xfrm>
                <a:off x="2784998" y="3425781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3360208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3" name="Freeform 1311"/>
              <p:cNvSpPr>
                <a:spLocks noChangeAspect="1"/>
              </p:cNvSpPr>
              <p:nvPr>
                <p:custDataLst>
                  <p:tags r:id="rId428"/>
                </p:custDataLst>
              </p:nvPr>
            </p:nvSpPr>
            <p:spPr bwMode="gray">
              <a:xfrm>
                <a:off x="2784998" y="3425781"/>
                <a:ext cx="7592" cy="3154"/>
              </a:xfrm>
              <a:custGeom>
                <a:avLst/>
                <a:gdLst>
                  <a:gd name="T0" fmla="*/ 0 w 5"/>
                  <a:gd name="T1" fmla="*/ 0 h 3"/>
                  <a:gd name="T2" fmla="*/ 5039995 w 5"/>
                  <a:gd name="T3" fmla="*/ 3360208 h 3"/>
                  <a:gd name="T4" fmla="*/ 12599192 w 5"/>
                  <a:gd name="T5" fmla="*/ 0 h 3"/>
                  <a:gd name="T6" fmla="*/ 12599192 w 5"/>
                  <a:gd name="T7" fmla="*/ 3360208 h 3"/>
                  <a:gd name="T8" fmla="*/ 5039995 w 5"/>
                  <a:gd name="T9" fmla="*/ 3360208 h 3"/>
                  <a:gd name="T10" fmla="*/ 5039995 w 5"/>
                  <a:gd name="T11" fmla="*/ 3360208 h 3"/>
                  <a:gd name="T12" fmla="*/ 0 w 5"/>
                  <a:gd name="T13" fmla="*/ 3360208 h 3"/>
                  <a:gd name="T14" fmla="*/ 0 w 5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3"/>
                  <a:gd name="T26" fmla="*/ 5 w 5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3">
                    <a:moveTo>
                      <a:pt x="0" y="0"/>
                    </a:moveTo>
                    <a:lnTo>
                      <a:pt x="2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4" name="Freeform 1312"/>
              <p:cNvSpPr>
                <a:spLocks noChangeAspect="1"/>
              </p:cNvSpPr>
              <p:nvPr>
                <p:custDataLst>
                  <p:tags r:id="rId429"/>
                </p:custDataLst>
              </p:nvPr>
            </p:nvSpPr>
            <p:spPr bwMode="gray">
              <a:xfrm>
                <a:off x="2809292" y="3439973"/>
                <a:ext cx="4555" cy="4730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58882 h 3"/>
                  <a:gd name="T8" fmla="*/ 7558882 w 3"/>
                  <a:gd name="T9" fmla="*/ 7558882 h 3"/>
                  <a:gd name="T10" fmla="*/ 7558882 w 3"/>
                  <a:gd name="T11" fmla="*/ 7558882 h 3"/>
                  <a:gd name="T12" fmla="*/ 7558882 w 3"/>
                  <a:gd name="T13" fmla="*/ 7558882 h 3"/>
                  <a:gd name="T14" fmla="*/ 7558882 w 3"/>
                  <a:gd name="T15" fmla="*/ 7558882 h 3"/>
                  <a:gd name="T16" fmla="*/ 7558882 w 3"/>
                  <a:gd name="T17" fmla="*/ 7558882 h 3"/>
                  <a:gd name="T18" fmla="*/ 7558882 w 3"/>
                  <a:gd name="T19" fmla="*/ 7558882 h 3"/>
                  <a:gd name="T20" fmla="*/ 7558882 w 3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3"/>
                  <a:gd name="T35" fmla="*/ 3 w 3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5" name="Freeform 1313"/>
              <p:cNvSpPr>
                <a:spLocks noChangeAspect="1"/>
              </p:cNvSpPr>
              <p:nvPr>
                <p:custDataLst>
                  <p:tags r:id="rId430"/>
                </p:custDataLst>
              </p:nvPr>
            </p:nvSpPr>
            <p:spPr bwMode="gray">
              <a:xfrm>
                <a:off x="2809292" y="3439973"/>
                <a:ext cx="4555" cy="4730"/>
              </a:xfrm>
              <a:custGeom>
                <a:avLst/>
                <a:gdLst>
                  <a:gd name="T0" fmla="*/ 7558882 w 3"/>
                  <a:gd name="T1" fmla="*/ 0 h 3"/>
                  <a:gd name="T2" fmla="*/ 0 w 3"/>
                  <a:gd name="T3" fmla="*/ 0 h 3"/>
                  <a:gd name="T4" fmla="*/ 7558882 w 3"/>
                  <a:gd name="T5" fmla="*/ 0 h 3"/>
                  <a:gd name="T6" fmla="*/ 7558882 w 3"/>
                  <a:gd name="T7" fmla="*/ 7558882 h 3"/>
                  <a:gd name="T8" fmla="*/ 7558882 w 3"/>
                  <a:gd name="T9" fmla="*/ 7558882 h 3"/>
                  <a:gd name="T10" fmla="*/ 7558882 w 3"/>
                  <a:gd name="T11" fmla="*/ 7558882 h 3"/>
                  <a:gd name="T12" fmla="*/ 7558882 w 3"/>
                  <a:gd name="T13" fmla="*/ 7558882 h 3"/>
                  <a:gd name="T14" fmla="*/ 7558882 w 3"/>
                  <a:gd name="T15" fmla="*/ 7558882 h 3"/>
                  <a:gd name="T16" fmla="*/ 7558882 w 3"/>
                  <a:gd name="T17" fmla="*/ 7558882 h 3"/>
                  <a:gd name="T18" fmla="*/ 7558882 w 3"/>
                  <a:gd name="T19" fmla="*/ 7558882 h 3"/>
                  <a:gd name="T20" fmla="*/ 7558882 w 3"/>
                  <a:gd name="T21" fmla="*/ 0 h 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"/>
                  <a:gd name="T34" fmla="*/ 0 h 3"/>
                  <a:gd name="T35" fmla="*/ 3 w 3"/>
                  <a:gd name="T36" fmla="*/ 3 h 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6" name="Freeform 1314"/>
              <p:cNvSpPr>
                <a:spLocks noChangeAspect="1"/>
              </p:cNvSpPr>
              <p:nvPr>
                <p:custDataLst>
                  <p:tags r:id="rId431"/>
                </p:custDataLst>
              </p:nvPr>
            </p:nvSpPr>
            <p:spPr bwMode="gray">
              <a:xfrm>
                <a:off x="2809292" y="3451008"/>
                <a:ext cx="4555" cy="7884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0 h 5"/>
                  <a:gd name="T4" fmla="*/ 0 w 3"/>
                  <a:gd name="T5" fmla="*/ 0 h 5"/>
                  <a:gd name="T6" fmla="*/ 7558882 w 3"/>
                  <a:gd name="T7" fmla="*/ 5040630 h 5"/>
                  <a:gd name="T8" fmla="*/ 7558882 w 3"/>
                  <a:gd name="T9" fmla="*/ 5040630 h 5"/>
                  <a:gd name="T10" fmla="*/ 7558882 w 3"/>
                  <a:gd name="T11" fmla="*/ 12602367 h 5"/>
                  <a:gd name="T12" fmla="*/ 7558882 w 3"/>
                  <a:gd name="T13" fmla="*/ 12602367 h 5"/>
                  <a:gd name="T14" fmla="*/ 0 w 3"/>
                  <a:gd name="T15" fmla="*/ 0 h 5"/>
                  <a:gd name="T16" fmla="*/ 0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7" name="Freeform 1315"/>
              <p:cNvSpPr>
                <a:spLocks noChangeAspect="1"/>
              </p:cNvSpPr>
              <p:nvPr>
                <p:custDataLst>
                  <p:tags r:id="rId432"/>
                </p:custDataLst>
              </p:nvPr>
            </p:nvSpPr>
            <p:spPr bwMode="gray">
              <a:xfrm>
                <a:off x="2809292" y="3451008"/>
                <a:ext cx="4555" cy="7884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0 h 5"/>
                  <a:gd name="T4" fmla="*/ 0 w 3"/>
                  <a:gd name="T5" fmla="*/ 0 h 5"/>
                  <a:gd name="T6" fmla="*/ 7558882 w 3"/>
                  <a:gd name="T7" fmla="*/ 5040630 h 5"/>
                  <a:gd name="T8" fmla="*/ 7558882 w 3"/>
                  <a:gd name="T9" fmla="*/ 5040630 h 5"/>
                  <a:gd name="T10" fmla="*/ 7558882 w 3"/>
                  <a:gd name="T11" fmla="*/ 12602367 h 5"/>
                  <a:gd name="T12" fmla="*/ 7558882 w 3"/>
                  <a:gd name="T13" fmla="*/ 12602367 h 5"/>
                  <a:gd name="T14" fmla="*/ 0 w 3"/>
                  <a:gd name="T15" fmla="*/ 0 h 5"/>
                  <a:gd name="T16" fmla="*/ 0 w 3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5"/>
                  <a:gd name="T29" fmla="*/ 3 w 3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5">
                    <a:moveTo>
                      <a:pt x="0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8" name="Freeform 1316"/>
              <p:cNvSpPr>
                <a:spLocks noChangeAspect="1"/>
              </p:cNvSpPr>
              <p:nvPr>
                <p:custDataLst>
                  <p:tags r:id="rId433"/>
                </p:custDataLst>
              </p:nvPr>
            </p:nvSpPr>
            <p:spPr bwMode="gray">
              <a:xfrm>
                <a:off x="3245090" y="3562957"/>
                <a:ext cx="13667" cy="14190"/>
              </a:xfrm>
              <a:custGeom>
                <a:avLst/>
                <a:gdLst>
                  <a:gd name="T0" fmla="*/ 5061848 w 11"/>
                  <a:gd name="T1" fmla="*/ 8434525 h 11"/>
                  <a:gd name="T2" fmla="*/ 5061848 w 11"/>
                  <a:gd name="T3" fmla="*/ 8434525 h 11"/>
                  <a:gd name="T4" fmla="*/ 5061848 w 11"/>
                  <a:gd name="T5" fmla="*/ 5060195 h 11"/>
                  <a:gd name="T6" fmla="*/ 10122398 w 11"/>
                  <a:gd name="T7" fmla="*/ 5060195 h 11"/>
                  <a:gd name="T8" fmla="*/ 15184247 w 11"/>
                  <a:gd name="T9" fmla="*/ 5060195 h 11"/>
                  <a:gd name="T10" fmla="*/ 15184247 w 11"/>
                  <a:gd name="T11" fmla="*/ 0 h 11"/>
                  <a:gd name="T12" fmla="*/ 15184247 w 11"/>
                  <a:gd name="T13" fmla="*/ 0 h 11"/>
                  <a:gd name="T14" fmla="*/ 18558812 w 11"/>
                  <a:gd name="T15" fmla="*/ 0 h 11"/>
                  <a:gd name="T16" fmla="*/ 18558812 w 11"/>
                  <a:gd name="T17" fmla="*/ 0 h 11"/>
                  <a:gd name="T18" fmla="*/ 18558812 w 11"/>
                  <a:gd name="T19" fmla="*/ 0 h 11"/>
                  <a:gd name="T20" fmla="*/ 5061848 w 11"/>
                  <a:gd name="T21" fmla="*/ 13496020 h 11"/>
                  <a:gd name="T22" fmla="*/ 5061848 w 11"/>
                  <a:gd name="T23" fmla="*/ 18556214 h 11"/>
                  <a:gd name="T24" fmla="*/ 0 w 11"/>
                  <a:gd name="T25" fmla="*/ 13496020 h 11"/>
                  <a:gd name="T26" fmla="*/ 5061848 w 11"/>
                  <a:gd name="T27" fmla="*/ 8434525 h 11"/>
                  <a:gd name="T28" fmla="*/ 5061848 w 11"/>
                  <a:gd name="T29" fmla="*/ 8434525 h 1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"/>
                  <a:gd name="T46" fmla="*/ 0 h 11"/>
                  <a:gd name="T47" fmla="*/ 11 w 11"/>
                  <a:gd name="T48" fmla="*/ 11 h 1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" h="11">
                    <a:moveTo>
                      <a:pt x="3" y="5"/>
                    </a:moveTo>
                    <a:lnTo>
                      <a:pt x="3" y="5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9" name="Freeform 1317"/>
              <p:cNvSpPr>
                <a:spLocks noChangeAspect="1"/>
              </p:cNvSpPr>
              <p:nvPr>
                <p:custDataLst>
                  <p:tags r:id="rId434"/>
                </p:custDataLst>
              </p:nvPr>
            </p:nvSpPr>
            <p:spPr bwMode="gray">
              <a:xfrm>
                <a:off x="3245090" y="3562957"/>
                <a:ext cx="13667" cy="14190"/>
              </a:xfrm>
              <a:custGeom>
                <a:avLst/>
                <a:gdLst>
                  <a:gd name="T0" fmla="*/ 5061848 w 11"/>
                  <a:gd name="T1" fmla="*/ 8434525 h 11"/>
                  <a:gd name="T2" fmla="*/ 5061848 w 11"/>
                  <a:gd name="T3" fmla="*/ 8434525 h 11"/>
                  <a:gd name="T4" fmla="*/ 5061848 w 11"/>
                  <a:gd name="T5" fmla="*/ 5060195 h 11"/>
                  <a:gd name="T6" fmla="*/ 10122398 w 11"/>
                  <a:gd name="T7" fmla="*/ 5060195 h 11"/>
                  <a:gd name="T8" fmla="*/ 15184247 w 11"/>
                  <a:gd name="T9" fmla="*/ 5060195 h 11"/>
                  <a:gd name="T10" fmla="*/ 15184247 w 11"/>
                  <a:gd name="T11" fmla="*/ 0 h 11"/>
                  <a:gd name="T12" fmla="*/ 15184247 w 11"/>
                  <a:gd name="T13" fmla="*/ 0 h 11"/>
                  <a:gd name="T14" fmla="*/ 18558812 w 11"/>
                  <a:gd name="T15" fmla="*/ 0 h 11"/>
                  <a:gd name="T16" fmla="*/ 18558812 w 11"/>
                  <a:gd name="T17" fmla="*/ 0 h 11"/>
                  <a:gd name="T18" fmla="*/ 18558812 w 11"/>
                  <a:gd name="T19" fmla="*/ 0 h 11"/>
                  <a:gd name="T20" fmla="*/ 5061848 w 11"/>
                  <a:gd name="T21" fmla="*/ 13496020 h 11"/>
                  <a:gd name="T22" fmla="*/ 5061848 w 11"/>
                  <a:gd name="T23" fmla="*/ 18556214 h 11"/>
                  <a:gd name="T24" fmla="*/ 0 w 11"/>
                  <a:gd name="T25" fmla="*/ 13496020 h 11"/>
                  <a:gd name="T26" fmla="*/ 5061848 w 11"/>
                  <a:gd name="T27" fmla="*/ 8434525 h 11"/>
                  <a:gd name="T28" fmla="*/ 5061848 w 11"/>
                  <a:gd name="T29" fmla="*/ 8434525 h 1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"/>
                  <a:gd name="T46" fmla="*/ 0 h 11"/>
                  <a:gd name="T47" fmla="*/ 11 w 11"/>
                  <a:gd name="T48" fmla="*/ 11 h 1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" h="11">
                    <a:moveTo>
                      <a:pt x="3" y="5"/>
                    </a:moveTo>
                    <a:lnTo>
                      <a:pt x="3" y="5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9" y="3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3" y="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0" name="Freeform 1318"/>
              <p:cNvSpPr>
                <a:spLocks noChangeAspect="1"/>
              </p:cNvSpPr>
              <p:nvPr>
                <p:custDataLst>
                  <p:tags r:id="rId435"/>
                </p:custDataLst>
              </p:nvPr>
            </p:nvSpPr>
            <p:spPr bwMode="gray">
              <a:xfrm>
                <a:off x="3577632" y="3630758"/>
                <a:ext cx="4555" cy="6307"/>
              </a:xfrm>
              <a:custGeom>
                <a:avLst/>
                <a:gdLst>
                  <a:gd name="T0" fmla="*/ 7558882 w 3"/>
                  <a:gd name="T1" fmla="*/ 0 h 5"/>
                  <a:gd name="T2" fmla="*/ 7558882 w 3"/>
                  <a:gd name="T3" fmla="*/ 0 h 5"/>
                  <a:gd name="T4" fmla="*/ 0 w 3"/>
                  <a:gd name="T5" fmla="*/ 4838699 h 5"/>
                  <a:gd name="T6" fmla="*/ 0 w 3"/>
                  <a:gd name="T7" fmla="*/ 8064499 h 5"/>
                  <a:gd name="T8" fmla="*/ 7558882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1" name="Freeform 1319"/>
              <p:cNvSpPr>
                <a:spLocks noChangeAspect="1"/>
              </p:cNvSpPr>
              <p:nvPr>
                <p:custDataLst>
                  <p:tags r:id="rId436"/>
                </p:custDataLst>
              </p:nvPr>
            </p:nvSpPr>
            <p:spPr bwMode="gray">
              <a:xfrm>
                <a:off x="3577632" y="3630758"/>
                <a:ext cx="4555" cy="6307"/>
              </a:xfrm>
              <a:custGeom>
                <a:avLst/>
                <a:gdLst>
                  <a:gd name="T0" fmla="*/ 7558882 w 3"/>
                  <a:gd name="T1" fmla="*/ 0 h 5"/>
                  <a:gd name="T2" fmla="*/ 7558882 w 3"/>
                  <a:gd name="T3" fmla="*/ 0 h 5"/>
                  <a:gd name="T4" fmla="*/ 0 w 3"/>
                  <a:gd name="T5" fmla="*/ 4838699 h 5"/>
                  <a:gd name="T6" fmla="*/ 0 w 3"/>
                  <a:gd name="T7" fmla="*/ 8064499 h 5"/>
                  <a:gd name="T8" fmla="*/ 7558882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2" name="Freeform 1320"/>
              <p:cNvSpPr>
                <a:spLocks noChangeAspect="1"/>
              </p:cNvSpPr>
              <p:nvPr>
                <p:custDataLst>
                  <p:tags r:id="rId437"/>
                </p:custDataLst>
              </p:nvPr>
            </p:nvSpPr>
            <p:spPr bwMode="gray">
              <a:xfrm>
                <a:off x="3573076" y="3637064"/>
                <a:ext cx="3037" cy="1577"/>
              </a:xfrm>
              <a:custGeom>
                <a:avLst/>
                <a:gdLst>
                  <a:gd name="T0" fmla="*/ 3360208 w 3"/>
                  <a:gd name="T1" fmla="*/ 0 h 1588"/>
                  <a:gd name="T2" fmla="*/ 0 w 3"/>
                  <a:gd name="T3" fmla="*/ 0 h 1588"/>
                  <a:gd name="T4" fmla="*/ 3360208 w 3"/>
                  <a:gd name="T5" fmla="*/ 0 h 1588"/>
                  <a:gd name="T6" fmla="*/ 3360208 w 3"/>
                  <a:gd name="T7" fmla="*/ 0 h 1588"/>
                  <a:gd name="T8" fmla="*/ 3360208 w 3"/>
                  <a:gd name="T9" fmla="*/ 0 h 15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588"/>
                  <a:gd name="T17" fmla="*/ 3 w 3"/>
                  <a:gd name="T18" fmla="*/ 1588 h 15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588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3" name="Freeform 1321"/>
              <p:cNvSpPr>
                <a:spLocks noChangeAspect="1"/>
              </p:cNvSpPr>
              <p:nvPr>
                <p:custDataLst>
                  <p:tags r:id="rId438"/>
                </p:custDataLst>
              </p:nvPr>
            </p:nvSpPr>
            <p:spPr bwMode="gray">
              <a:xfrm>
                <a:off x="3573076" y="3637064"/>
                <a:ext cx="3037" cy="1577"/>
              </a:xfrm>
              <a:custGeom>
                <a:avLst/>
                <a:gdLst>
                  <a:gd name="T0" fmla="*/ 3360208 w 3"/>
                  <a:gd name="T1" fmla="*/ 0 h 1588"/>
                  <a:gd name="T2" fmla="*/ 0 w 3"/>
                  <a:gd name="T3" fmla="*/ 0 h 1588"/>
                  <a:gd name="T4" fmla="*/ 3360208 w 3"/>
                  <a:gd name="T5" fmla="*/ 0 h 1588"/>
                  <a:gd name="T6" fmla="*/ 3360208 w 3"/>
                  <a:gd name="T7" fmla="*/ 0 h 1588"/>
                  <a:gd name="T8" fmla="*/ 3360208 w 3"/>
                  <a:gd name="T9" fmla="*/ 0 h 15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588"/>
                  <a:gd name="T17" fmla="*/ 3 w 3"/>
                  <a:gd name="T18" fmla="*/ 1588 h 15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588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4" name="Freeform 1322"/>
              <p:cNvSpPr>
                <a:spLocks noChangeAspect="1"/>
              </p:cNvSpPr>
              <p:nvPr>
                <p:custDataLst>
                  <p:tags r:id="rId439"/>
                </p:custDataLst>
              </p:nvPr>
            </p:nvSpPr>
            <p:spPr bwMode="gray">
              <a:xfrm>
                <a:off x="3553336" y="3641795"/>
                <a:ext cx="10628" cy="3154"/>
              </a:xfrm>
              <a:custGeom>
                <a:avLst/>
                <a:gdLst>
                  <a:gd name="T0" fmla="*/ 15434566 w 8"/>
                  <a:gd name="T1" fmla="*/ 0 h 3"/>
                  <a:gd name="T2" fmla="*/ 9646603 w 8"/>
                  <a:gd name="T3" fmla="*/ 0 h 3"/>
                  <a:gd name="T4" fmla="*/ 5787963 w 8"/>
                  <a:gd name="T5" fmla="*/ 3360208 h 3"/>
                  <a:gd name="T6" fmla="*/ 0 w 8"/>
                  <a:gd name="T7" fmla="*/ 3360208 h 3"/>
                  <a:gd name="T8" fmla="*/ 0 w 8"/>
                  <a:gd name="T9" fmla="*/ 0 h 3"/>
                  <a:gd name="T10" fmla="*/ 5787963 w 8"/>
                  <a:gd name="T11" fmla="*/ 0 h 3"/>
                  <a:gd name="T12" fmla="*/ 9646603 w 8"/>
                  <a:gd name="T13" fmla="*/ 0 h 3"/>
                  <a:gd name="T14" fmla="*/ 15434566 w 8"/>
                  <a:gd name="T15" fmla="*/ 0 h 3"/>
                  <a:gd name="T16" fmla="*/ 15434566 w 8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3"/>
                  <a:gd name="T29" fmla="*/ 8 w 8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3">
                    <a:moveTo>
                      <a:pt x="8" y="0"/>
                    </a:moveTo>
                    <a:lnTo>
                      <a:pt x="5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5" name="Freeform 1323"/>
              <p:cNvSpPr>
                <a:spLocks noChangeAspect="1"/>
              </p:cNvSpPr>
              <p:nvPr>
                <p:custDataLst>
                  <p:tags r:id="rId440"/>
                </p:custDataLst>
              </p:nvPr>
            </p:nvSpPr>
            <p:spPr bwMode="gray">
              <a:xfrm>
                <a:off x="3553336" y="3641795"/>
                <a:ext cx="10628" cy="3154"/>
              </a:xfrm>
              <a:custGeom>
                <a:avLst/>
                <a:gdLst>
                  <a:gd name="T0" fmla="*/ 15434566 w 8"/>
                  <a:gd name="T1" fmla="*/ 0 h 3"/>
                  <a:gd name="T2" fmla="*/ 9646603 w 8"/>
                  <a:gd name="T3" fmla="*/ 0 h 3"/>
                  <a:gd name="T4" fmla="*/ 5787963 w 8"/>
                  <a:gd name="T5" fmla="*/ 3360208 h 3"/>
                  <a:gd name="T6" fmla="*/ 0 w 8"/>
                  <a:gd name="T7" fmla="*/ 3360208 h 3"/>
                  <a:gd name="T8" fmla="*/ 0 w 8"/>
                  <a:gd name="T9" fmla="*/ 0 h 3"/>
                  <a:gd name="T10" fmla="*/ 5787963 w 8"/>
                  <a:gd name="T11" fmla="*/ 0 h 3"/>
                  <a:gd name="T12" fmla="*/ 9646603 w 8"/>
                  <a:gd name="T13" fmla="*/ 0 h 3"/>
                  <a:gd name="T14" fmla="*/ 15434566 w 8"/>
                  <a:gd name="T15" fmla="*/ 0 h 3"/>
                  <a:gd name="T16" fmla="*/ 15434566 w 8"/>
                  <a:gd name="T17" fmla="*/ 0 h 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"/>
                  <a:gd name="T28" fmla="*/ 0 h 3"/>
                  <a:gd name="T29" fmla="*/ 8 w 8"/>
                  <a:gd name="T30" fmla="*/ 3 h 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" h="3">
                    <a:moveTo>
                      <a:pt x="8" y="0"/>
                    </a:moveTo>
                    <a:lnTo>
                      <a:pt x="5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6" name="Freeform 1324"/>
              <p:cNvSpPr>
                <a:spLocks noChangeAspect="1"/>
              </p:cNvSpPr>
              <p:nvPr>
                <p:custDataLst>
                  <p:tags r:id="rId441"/>
                </p:custDataLst>
              </p:nvPr>
            </p:nvSpPr>
            <p:spPr bwMode="gray">
              <a:xfrm>
                <a:off x="3670258" y="3400554"/>
                <a:ext cx="7593" cy="4731"/>
              </a:xfrm>
              <a:custGeom>
                <a:avLst/>
                <a:gdLst>
                  <a:gd name="T0" fmla="*/ 0 w 6"/>
                  <a:gd name="T1" fmla="*/ 11343084 h 2"/>
                  <a:gd name="T2" fmla="*/ 0 w 6"/>
                  <a:gd name="T3" fmla="*/ 11343084 h 2"/>
                  <a:gd name="T4" fmla="*/ 10501973 w 6"/>
                  <a:gd name="T5" fmla="*/ 0 h 2"/>
                  <a:gd name="T6" fmla="*/ 10501973 w 6"/>
                  <a:gd name="T7" fmla="*/ 0 h 2"/>
                  <a:gd name="T8" fmla="*/ 0 w 6"/>
                  <a:gd name="T9" fmla="*/ 1134308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0" y="2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7" name="Freeform 1325"/>
              <p:cNvSpPr>
                <a:spLocks noChangeAspect="1"/>
              </p:cNvSpPr>
              <p:nvPr>
                <p:custDataLst>
                  <p:tags r:id="rId442"/>
                </p:custDataLst>
              </p:nvPr>
            </p:nvSpPr>
            <p:spPr bwMode="gray">
              <a:xfrm>
                <a:off x="3670258" y="3400554"/>
                <a:ext cx="7593" cy="4731"/>
              </a:xfrm>
              <a:custGeom>
                <a:avLst/>
                <a:gdLst>
                  <a:gd name="T0" fmla="*/ 0 w 6"/>
                  <a:gd name="T1" fmla="*/ 11343084 h 2"/>
                  <a:gd name="T2" fmla="*/ 0 w 6"/>
                  <a:gd name="T3" fmla="*/ 11343084 h 2"/>
                  <a:gd name="T4" fmla="*/ 10501973 w 6"/>
                  <a:gd name="T5" fmla="*/ 0 h 2"/>
                  <a:gd name="T6" fmla="*/ 10501973 w 6"/>
                  <a:gd name="T7" fmla="*/ 0 h 2"/>
                  <a:gd name="T8" fmla="*/ 0 w 6"/>
                  <a:gd name="T9" fmla="*/ 11343084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0" y="2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0" y="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8" name="Freeform 1326"/>
              <p:cNvSpPr>
                <a:spLocks noChangeAspect="1"/>
              </p:cNvSpPr>
              <p:nvPr>
                <p:custDataLst>
                  <p:tags r:id="rId443"/>
                </p:custDataLst>
              </p:nvPr>
            </p:nvSpPr>
            <p:spPr bwMode="gray">
              <a:xfrm>
                <a:off x="3677849" y="3375325"/>
                <a:ext cx="6074" cy="22075"/>
              </a:xfrm>
              <a:custGeom>
                <a:avLst/>
                <a:gdLst>
                  <a:gd name="T0" fmla="*/ 0 w 5"/>
                  <a:gd name="T1" fmla="*/ 29055916 h 17"/>
                  <a:gd name="T2" fmla="*/ 0 w 5"/>
                  <a:gd name="T3" fmla="*/ 29055916 h 17"/>
                  <a:gd name="T4" fmla="*/ 3225800 w 5"/>
                  <a:gd name="T5" fmla="*/ 29055916 h 17"/>
                  <a:gd name="T6" fmla="*/ 8064499 w 5"/>
                  <a:gd name="T7" fmla="*/ 13673603 h 17"/>
                  <a:gd name="T8" fmla="*/ 3225800 w 5"/>
                  <a:gd name="T9" fmla="*/ 0 h 17"/>
                  <a:gd name="T10" fmla="*/ 0 w 5"/>
                  <a:gd name="T11" fmla="*/ 5127437 h 17"/>
                  <a:gd name="T12" fmla="*/ 8064499 w 5"/>
                  <a:gd name="T13" fmla="*/ 13673603 h 17"/>
                  <a:gd name="T14" fmla="*/ 3225800 w 5"/>
                  <a:gd name="T15" fmla="*/ 29055916 h 17"/>
                  <a:gd name="T16" fmla="*/ 0 w 5"/>
                  <a:gd name="T17" fmla="*/ 29055916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17"/>
                  <a:gd name="T29" fmla="*/ 5 w 5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17">
                    <a:moveTo>
                      <a:pt x="0" y="17"/>
                    </a:moveTo>
                    <a:lnTo>
                      <a:pt x="0" y="17"/>
                    </a:lnTo>
                    <a:lnTo>
                      <a:pt x="2" y="17"/>
                    </a:lnTo>
                    <a:lnTo>
                      <a:pt x="5" y="8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5" y="8"/>
                    </a:lnTo>
                    <a:lnTo>
                      <a:pt x="2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9" name="Freeform 1327"/>
              <p:cNvSpPr>
                <a:spLocks noChangeAspect="1"/>
              </p:cNvSpPr>
              <p:nvPr>
                <p:custDataLst>
                  <p:tags r:id="rId444"/>
                </p:custDataLst>
              </p:nvPr>
            </p:nvSpPr>
            <p:spPr bwMode="gray">
              <a:xfrm>
                <a:off x="3677849" y="3375325"/>
                <a:ext cx="6074" cy="22075"/>
              </a:xfrm>
              <a:custGeom>
                <a:avLst/>
                <a:gdLst>
                  <a:gd name="T0" fmla="*/ 0 w 5"/>
                  <a:gd name="T1" fmla="*/ 29055916 h 17"/>
                  <a:gd name="T2" fmla="*/ 0 w 5"/>
                  <a:gd name="T3" fmla="*/ 29055916 h 17"/>
                  <a:gd name="T4" fmla="*/ 3225800 w 5"/>
                  <a:gd name="T5" fmla="*/ 29055916 h 17"/>
                  <a:gd name="T6" fmla="*/ 8064499 w 5"/>
                  <a:gd name="T7" fmla="*/ 13673603 h 17"/>
                  <a:gd name="T8" fmla="*/ 3225800 w 5"/>
                  <a:gd name="T9" fmla="*/ 0 h 17"/>
                  <a:gd name="T10" fmla="*/ 0 w 5"/>
                  <a:gd name="T11" fmla="*/ 5127437 h 17"/>
                  <a:gd name="T12" fmla="*/ 8064499 w 5"/>
                  <a:gd name="T13" fmla="*/ 13673603 h 17"/>
                  <a:gd name="T14" fmla="*/ 3225800 w 5"/>
                  <a:gd name="T15" fmla="*/ 29055916 h 17"/>
                  <a:gd name="T16" fmla="*/ 0 w 5"/>
                  <a:gd name="T17" fmla="*/ 29055916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17"/>
                  <a:gd name="T29" fmla="*/ 5 w 5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17">
                    <a:moveTo>
                      <a:pt x="0" y="17"/>
                    </a:moveTo>
                    <a:lnTo>
                      <a:pt x="0" y="17"/>
                    </a:lnTo>
                    <a:lnTo>
                      <a:pt x="2" y="17"/>
                    </a:lnTo>
                    <a:lnTo>
                      <a:pt x="5" y="8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5" y="8"/>
                    </a:lnTo>
                    <a:lnTo>
                      <a:pt x="2" y="17"/>
                    </a:lnTo>
                    <a:lnTo>
                      <a:pt x="0" y="1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0" name="Freeform 1328"/>
              <p:cNvSpPr>
                <a:spLocks noChangeAspect="1"/>
              </p:cNvSpPr>
              <p:nvPr>
                <p:custDataLst>
                  <p:tags r:id="rId445"/>
                </p:custDataLst>
              </p:nvPr>
            </p:nvSpPr>
            <p:spPr bwMode="gray">
              <a:xfrm>
                <a:off x="3715811" y="3247610"/>
                <a:ext cx="40998" cy="14190"/>
              </a:xfrm>
              <a:custGeom>
                <a:avLst/>
                <a:gdLst>
                  <a:gd name="T0" fmla="*/ 47795020 w 31"/>
                  <a:gd name="T1" fmla="*/ 0 h 11"/>
                  <a:gd name="T2" fmla="*/ 38236563 w 31"/>
                  <a:gd name="T3" fmla="*/ 5060195 h 11"/>
                  <a:gd name="T4" fmla="*/ 11470694 w 31"/>
                  <a:gd name="T5" fmla="*/ 8434525 h 11"/>
                  <a:gd name="T6" fmla="*/ 0 w 31"/>
                  <a:gd name="T7" fmla="*/ 13496020 h 11"/>
                  <a:gd name="T8" fmla="*/ 0 w 31"/>
                  <a:gd name="T9" fmla="*/ 13496020 h 11"/>
                  <a:gd name="T10" fmla="*/ 0 w 31"/>
                  <a:gd name="T11" fmla="*/ 13496020 h 11"/>
                  <a:gd name="T12" fmla="*/ 0 w 31"/>
                  <a:gd name="T13" fmla="*/ 18556214 h 11"/>
                  <a:gd name="T14" fmla="*/ 0 w 31"/>
                  <a:gd name="T15" fmla="*/ 18556214 h 11"/>
                  <a:gd name="T16" fmla="*/ 0 w 31"/>
                  <a:gd name="T17" fmla="*/ 18556214 h 11"/>
                  <a:gd name="T18" fmla="*/ 0 w 31"/>
                  <a:gd name="T19" fmla="*/ 18556214 h 11"/>
                  <a:gd name="T20" fmla="*/ 0 w 31"/>
                  <a:gd name="T21" fmla="*/ 18556214 h 11"/>
                  <a:gd name="T22" fmla="*/ 5735347 w 31"/>
                  <a:gd name="T23" fmla="*/ 18556214 h 11"/>
                  <a:gd name="T24" fmla="*/ 59265709 w 31"/>
                  <a:gd name="T25" fmla="*/ 5060195 h 11"/>
                  <a:gd name="T26" fmla="*/ 53530365 w 31"/>
                  <a:gd name="T27" fmla="*/ 5060195 h 11"/>
                  <a:gd name="T28" fmla="*/ 47795020 w 31"/>
                  <a:gd name="T29" fmla="*/ 5060195 h 11"/>
                  <a:gd name="T30" fmla="*/ 42059665 w 31"/>
                  <a:gd name="T31" fmla="*/ 8434525 h 11"/>
                  <a:gd name="T32" fmla="*/ 42059665 w 31"/>
                  <a:gd name="T33" fmla="*/ 8434525 h 11"/>
                  <a:gd name="T34" fmla="*/ 42059665 w 31"/>
                  <a:gd name="T35" fmla="*/ 5060195 h 11"/>
                  <a:gd name="T36" fmla="*/ 47795020 w 31"/>
                  <a:gd name="T37" fmla="*/ 0 h 11"/>
                  <a:gd name="T38" fmla="*/ 47795020 w 31"/>
                  <a:gd name="T39" fmla="*/ 0 h 1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1"/>
                  <a:gd name="T61" fmla="*/ 0 h 11"/>
                  <a:gd name="T62" fmla="*/ 31 w 31"/>
                  <a:gd name="T63" fmla="*/ 11 h 1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1" h="11">
                    <a:moveTo>
                      <a:pt x="25" y="0"/>
                    </a:moveTo>
                    <a:lnTo>
                      <a:pt x="20" y="3"/>
                    </a:lnTo>
                    <a:lnTo>
                      <a:pt x="6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25" y="3"/>
                    </a:lnTo>
                    <a:lnTo>
                      <a:pt x="22" y="5"/>
                    </a:lnTo>
                    <a:lnTo>
                      <a:pt x="22" y="3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1" name="Freeform 1329"/>
              <p:cNvSpPr>
                <a:spLocks noChangeAspect="1"/>
              </p:cNvSpPr>
              <p:nvPr>
                <p:custDataLst>
                  <p:tags r:id="rId446"/>
                </p:custDataLst>
              </p:nvPr>
            </p:nvSpPr>
            <p:spPr bwMode="gray">
              <a:xfrm>
                <a:off x="3715811" y="3247610"/>
                <a:ext cx="40998" cy="14190"/>
              </a:xfrm>
              <a:custGeom>
                <a:avLst/>
                <a:gdLst>
                  <a:gd name="T0" fmla="*/ 47795020 w 31"/>
                  <a:gd name="T1" fmla="*/ 0 h 11"/>
                  <a:gd name="T2" fmla="*/ 38236563 w 31"/>
                  <a:gd name="T3" fmla="*/ 5060195 h 11"/>
                  <a:gd name="T4" fmla="*/ 11470694 w 31"/>
                  <a:gd name="T5" fmla="*/ 8434525 h 11"/>
                  <a:gd name="T6" fmla="*/ 0 w 31"/>
                  <a:gd name="T7" fmla="*/ 13496020 h 11"/>
                  <a:gd name="T8" fmla="*/ 0 w 31"/>
                  <a:gd name="T9" fmla="*/ 13496020 h 11"/>
                  <a:gd name="T10" fmla="*/ 0 w 31"/>
                  <a:gd name="T11" fmla="*/ 13496020 h 11"/>
                  <a:gd name="T12" fmla="*/ 0 w 31"/>
                  <a:gd name="T13" fmla="*/ 18556214 h 11"/>
                  <a:gd name="T14" fmla="*/ 0 w 31"/>
                  <a:gd name="T15" fmla="*/ 18556214 h 11"/>
                  <a:gd name="T16" fmla="*/ 0 w 31"/>
                  <a:gd name="T17" fmla="*/ 18556214 h 11"/>
                  <a:gd name="T18" fmla="*/ 0 w 31"/>
                  <a:gd name="T19" fmla="*/ 18556214 h 11"/>
                  <a:gd name="T20" fmla="*/ 0 w 31"/>
                  <a:gd name="T21" fmla="*/ 18556214 h 11"/>
                  <a:gd name="T22" fmla="*/ 5735347 w 31"/>
                  <a:gd name="T23" fmla="*/ 18556214 h 11"/>
                  <a:gd name="T24" fmla="*/ 59265709 w 31"/>
                  <a:gd name="T25" fmla="*/ 5060195 h 11"/>
                  <a:gd name="T26" fmla="*/ 53530365 w 31"/>
                  <a:gd name="T27" fmla="*/ 5060195 h 11"/>
                  <a:gd name="T28" fmla="*/ 47795020 w 31"/>
                  <a:gd name="T29" fmla="*/ 5060195 h 11"/>
                  <a:gd name="T30" fmla="*/ 42059665 w 31"/>
                  <a:gd name="T31" fmla="*/ 8434525 h 11"/>
                  <a:gd name="T32" fmla="*/ 42059665 w 31"/>
                  <a:gd name="T33" fmla="*/ 8434525 h 11"/>
                  <a:gd name="T34" fmla="*/ 42059665 w 31"/>
                  <a:gd name="T35" fmla="*/ 5060195 h 11"/>
                  <a:gd name="T36" fmla="*/ 47795020 w 31"/>
                  <a:gd name="T37" fmla="*/ 0 h 11"/>
                  <a:gd name="T38" fmla="*/ 47795020 w 31"/>
                  <a:gd name="T39" fmla="*/ 0 h 1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1"/>
                  <a:gd name="T61" fmla="*/ 0 h 11"/>
                  <a:gd name="T62" fmla="*/ 31 w 31"/>
                  <a:gd name="T63" fmla="*/ 11 h 1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1" h="11">
                    <a:moveTo>
                      <a:pt x="25" y="0"/>
                    </a:moveTo>
                    <a:lnTo>
                      <a:pt x="20" y="3"/>
                    </a:lnTo>
                    <a:lnTo>
                      <a:pt x="6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25" y="3"/>
                    </a:lnTo>
                    <a:lnTo>
                      <a:pt x="22" y="5"/>
                    </a:lnTo>
                    <a:lnTo>
                      <a:pt x="22" y="3"/>
                    </a:lnTo>
                    <a:lnTo>
                      <a:pt x="2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2" name="Freeform 1330"/>
              <p:cNvSpPr>
                <a:spLocks noChangeAspect="1"/>
              </p:cNvSpPr>
              <p:nvPr>
                <p:custDataLst>
                  <p:tags r:id="rId447"/>
                </p:custDataLst>
              </p:nvPr>
            </p:nvSpPr>
            <p:spPr bwMode="gray">
              <a:xfrm>
                <a:off x="3814511" y="3164042"/>
                <a:ext cx="3037" cy="4731"/>
              </a:xfrm>
              <a:custGeom>
                <a:avLst/>
                <a:gdLst>
                  <a:gd name="T0" fmla="*/ 0 w 3"/>
                  <a:gd name="T1" fmla="*/ 0 h 3"/>
                  <a:gd name="T2" fmla="*/ 3360208 w 3"/>
                  <a:gd name="T3" fmla="*/ 7562057 h 3"/>
                  <a:gd name="T4" fmla="*/ 3360208 w 3"/>
                  <a:gd name="T5" fmla="*/ 7562057 h 3"/>
                  <a:gd name="T6" fmla="*/ 3360208 w 3"/>
                  <a:gd name="T7" fmla="*/ 7562057 h 3"/>
                  <a:gd name="T8" fmla="*/ 3360208 w 3"/>
                  <a:gd name="T9" fmla="*/ 0 h 3"/>
                  <a:gd name="T10" fmla="*/ 3360208 w 3"/>
                  <a:gd name="T11" fmla="*/ 0 h 3"/>
                  <a:gd name="T12" fmla="*/ 3360208 w 3"/>
                  <a:gd name="T13" fmla="*/ 0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3" name="Freeform 1331"/>
              <p:cNvSpPr>
                <a:spLocks noChangeAspect="1"/>
              </p:cNvSpPr>
              <p:nvPr>
                <p:custDataLst>
                  <p:tags r:id="rId448"/>
                </p:custDataLst>
              </p:nvPr>
            </p:nvSpPr>
            <p:spPr bwMode="gray">
              <a:xfrm>
                <a:off x="3814511" y="3164042"/>
                <a:ext cx="3037" cy="4731"/>
              </a:xfrm>
              <a:custGeom>
                <a:avLst/>
                <a:gdLst>
                  <a:gd name="T0" fmla="*/ 0 w 3"/>
                  <a:gd name="T1" fmla="*/ 0 h 3"/>
                  <a:gd name="T2" fmla="*/ 3360208 w 3"/>
                  <a:gd name="T3" fmla="*/ 7562057 h 3"/>
                  <a:gd name="T4" fmla="*/ 3360208 w 3"/>
                  <a:gd name="T5" fmla="*/ 7562057 h 3"/>
                  <a:gd name="T6" fmla="*/ 3360208 w 3"/>
                  <a:gd name="T7" fmla="*/ 7562057 h 3"/>
                  <a:gd name="T8" fmla="*/ 3360208 w 3"/>
                  <a:gd name="T9" fmla="*/ 0 h 3"/>
                  <a:gd name="T10" fmla="*/ 3360208 w 3"/>
                  <a:gd name="T11" fmla="*/ 0 h 3"/>
                  <a:gd name="T12" fmla="*/ 3360208 w 3"/>
                  <a:gd name="T13" fmla="*/ 0 h 3"/>
                  <a:gd name="T14" fmla="*/ 0 w 3"/>
                  <a:gd name="T15" fmla="*/ 0 h 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"/>
                  <a:gd name="T25" fmla="*/ 0 h 3"/>
                  <a:gd name="T26" fmla="*/ 3 w 3"/>
                  <a:gd name="T27" fmla="*/ 3 h 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" h="3">
                    <a:moveTo>
                      <a:pt x="0" y="0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4" name="Freeform 1332"/>
              <p:cNvSpPr>
                <a:spLocks noChangeAspect="1"/>
              </p:cNvSpPr>
              <p:nvPr>
                <p:custDataLst>
                  <p:tags r:id="rId449"/>
                </p:custDataLst>
              </p:nvPr>
            </p:nvSpPr>
            <p:spPr bwMode="gray">
              <a:xfrm>
                <a:off x="3817548" y="3159312"/>
                <a:ext cx="4555" cy="4730"/>
              </a:xfrm>
              <a:custGeom>
                <a:avLst/>
                <a:gdLst>
                  <a:gd name="T0" fmla="*/ 7558882 w 3"/>
                  <a:gd name="T1" fmla="*/ 7558882 h 3"/>
                  <a:gd name="T2" fmla="*/ 7558882 w 3"/>
                  <a:gd name="T3" fmla="*/ 7558882 h 3"/>
                  <a:gd name="T4" fmla="*/ 7558882 w 3"/>
                  <a:gd name="T5" fmla="*/ 7558882 h 3"/>
                  <a:gd name="T6" fmla="*/ 7558882 w 3"/>
                  <a:gd name="T7" fmla="*/ 0 h 3"/>
                  <a:gd name="T8" fmla="*/ 7558882 w 3"/>
                  <a:gd name="T9" fmla="*/ 0 h 3"/>
                  <a:gd name="T10" fmla="*/ 0 w 3"/>
                  <a:gd name="T11" fmla="*/ 7558882 h 3"/>
                  <a:gd name="T12" fmla="*/ 7558882 w 3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5" name="Freeform 1333"/>
              <p:cNvSpPr>
                <a:spLocks noChangeAspect="1"/>
              </p:cNvSpPr>
              <p:nvPr>
                <p:custDataLst>
                  <p:tags r:id="rId450"/>
                </p:custDataLst>
              </p:nvPr>
            </p:nvSpPr>
            <p:spPr bwMode="gray">
              <a:xfrm>
                <a:off x="3817548" y="3159312"/>
                <a:ext cx="4555" cy="4730"/>
              </a:xfrm>
              <a:custGeom>
                <a:avLst/>
                <a:gdLst>
                  <a:gd name="T0" fmla="*/ 7558882 w 3"/>
                  <a:gd name="T1" fmla="*/ 7558882 h 3"/>
                  <a:gd name="T2" fmla="*/ 7558882 w 3"/>
                  <a:gd name="T3" fmla="*/ 7558882 h 3"/>
                  <a:gd name="T4" fmla="*/ 7558882 w 3"/>
                  <a:gd name="T5" fmla="*/ 7558882 h 3"/>
                  <a:gd name="T6" fmla="*/ 7558882 w 3"/>
                  <a:gd name="T7" fmla="*/ 0 h 3"/>
                  <a:gd name="T8" fmla="*/ 7558882 w 3"/>
                  <a:gd name="T9" fmla="*/ 0 h 3"/>
                  <a:gd name="T10" fmla="*/ 0 w 3"/>
                  <a:gd name="T11" fmla="*/ 7558882 h 3"/>
                  <a:gd name="T12" fmla="*/ 7558882 w 3"/>
                  <a:gd name="T13" fmla="*/ 7558882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3"/>
                  <a:gd name="T23" fmla="*/ 3 w 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6" name="Freeform 1334"/>
              <p:cNvSpPr>
                <a:spLocks noChangeAspect="1"/>
              </p:cNvSpPr>
              <p:nvPr>
                <p:custDataLst>
                  <p:tags r:id="rId451"/>
                </p:custDataLst>
              </p:nvPr>
            </p:nvSpPr>
            <p:spPr bwMode="gray">
              <a:xfrm>
                <a:off x="3822103" y="3164042"/>
                <a:ext cx="1519" cy="4731"/>
              </a:xfrm>
              <a:custGeom>
                <a:avLst/>
                <a:gdLst>
                  <a:gd name="T0" fmla="*/ 0 w 1588"/>
                  <a:gd name="T1" fmla="*/ 7562057 h 3"/>
                  <a:gd name="T2" fmla="*/ 0 w 1588"/>
                  <a:gd name="T3" fmla="*/ 7562057 h 3"/>
                  <a:gd name="T4" fmla="*/ 0 w 1588"/>
                  <a:gd name="T5" fmla="*/ 7562057 h 3"/>
                  <a:gd name="T6" fmla="*/ 0 w 1588"/>
                  <a:gd name="T7" fmla="*/ 7562057 h 3"/>
                  <a:gd name="T8" fmla="*/ 0 w 1588"/>
                  <a:gd name="T9" fmla="*/ 0 h 3"/>
                  <a:gd name="T10" fmla="*/ 0 w 1588"/>
                  <a:gd name="T11" fmla="*/ 756205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8"/>
                  <a:gd name="T19" fmla="*/ 0 h 3"/>
                  <a:gd name="T20" fmla="*/ 1588 w 158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8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7" name="Freeform 1335"/>
              <p:cNvSpPr>
                <a:spLocks noChangeAspect="1"/>
              </p:cNvSpPr>
              <p:nvPr>
                <p:custDataLst>
                  <p:tags r:id="rId452"/>
                </p:custDataLst>
              </p:nvPr>
            </p:nvSpPr>
            <p:spPr bwMode="gray">
              <a:xfrm>
                <a:off x="3822103" y="3164042"/>
                <a:ext cx="1519" cy="4731"/>
              </a:xfrm>
              <a:custGeom>
                <a:avLst/>
                <a:gdLst>
                  <a:gd name="T0" fmla="*/ 0 w 1588"/>
                  <a:gd name="T1" fmla="*/ 7562057 h 3"/>
                  <a:gd name="T2" fmla="*/ 0 w 1588"/>
                  <a:gd name="T3" fmla="*/ 7562057 h 3"/>
                  <a:gd name="T4" fmla="*/ 0 w 1588"/>
                  <a:gd name="T5" fmla="*/ 7562057 h 3"/>
                  <a:gd name="T6" fmla="*/ 0 w 1588"/>
                  <a:gd name="T7" fmla="*/ 7562057 h 3"/>
                  <a:gd name="T8" fmla="*/ 0 w 1588"/>
                  <a:gd name="T9" fmla="*/ 0 h 3"/>
                  <a:gd name="T10" fmla="*/ 0 w 1588"/>
                  <a:gd name="T11" fmla="*/ 756205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8"/>
                  <a:gd name="T19" fmla="*/ 0 h 3"/>
                  <a:gd name="T20" fmla="*/ 1588 w 158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8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8" name="Freeform 1336"/>
              <p:cNvSpPr>
                <a:spLocks noChangeAspect="1"/>
              </p:cNvSpPr>
              <p:nvPr>
                <p:custDataLst>
                  <p:tags r:id="rId453"/>
                </p:custDataLst>
              </p:nvPr>
            </p:nvSpPr>
            <p:spPr bwMode="gray">
              <a:xfrm>
                <a:off x="2406902" y="2651602"/>
                <a:ext cx="171586" cy="182902"/>
              </a:xfrm>
              <a:custGeom>
                <a:avLst/>
                <a:gdLst>
                  <a:gd name="T0" fmla="*/ 20626877 w 131"/>
                  <a:gd name="T1" fmla="*/ 42044549 h 142"/>
                  <a:gd name="T2" fmla="*/ 46879151 w 131"/>
                  <a:gd name="T3" fmla="*/ 31953912 h 142"/>
                  <a:gd name="T4" fmla="*/ 52504537 w 131"/>
                  <a:gd name="T5" fmla="*/ 18499291 h 142"/>
                  <a:gd name="T6" fmla="*/ 67506022 w 131"/>
                  <a:gd name="T7" fmla="*/ 3363979 h 142"/>
                  <a:gd name="T8" fmla="*/ 93759671 w 131"/>
                  <a:gd name="T9" fmla="*/ 8408651 h 142"/>
                  <a:gd name="T10" fmla="*/ 110635829 w 131"/>
                  <a:gd name="T11" fmla="*/ 31953912 h 142"/>
                  <a:gd name="T12" fmla="*/ 125637314 w 131"/>
                  <a:gd name="T13" fmla="*/ 50453208 h 142"/>
                  <a:gd name="T14" fmla="*/ 172516443 w 131"/>
                  <a:gd name="T15" fmla="*/ 126132362 h 142"/>
                  <a:gd name="T16" fmla="*/ 178143199 w 131"/>
                  <a:gd name="T17" fmla="*/ 134541010 h 142"/>
                  <a:gd name="T18" fmla="*/ 213771599 w 131"/>
                  <a:gd name="T19" fmla="*/ 168176901 h 142"/>
                  <a:gd name="T20" fmla="*/ 240023857 w 131"/>
                  <a:gd name="T21" fmla="*/ 210221481 h 142"/>
                  <a:gd name="T22" fmla="*/ 240023857 w 131"/>
                  <a:gd name="T23" fmla="*/ 223676097 h 142"/>
                  <a:gd name="T24" fmla="*/ 225022371 w 131"/>
                  <a:gd name="T25" fmla="*/ 238811404 h 142"/>
                  <a:gd name="T26" fmla="*/ 219396985 w 131"/>
                  <a:gd name="T27" fmla="*/ 238811404 h 142"/>
                  <a:gd name="T28" fmla="*/ 219396985 w 131"/>
                  <a:gd name="T29" fmla="*/ 228720767 h 142"/>
                  <a:gd name="T30" fmla="*/ 225022371 w 131"/>
                  <a:gd name="T31" fmla="*/ 223676097 h 142"/>
                  <a:gd name="T32" fmla="*/ 219396985 w 131"/>
                  <a:gd name="T33" fmla="*/ 215266151 h 142"/>
                  <a:gd name="T34" fmla="*/ 213771599 w 131"/>
                  <a:gd name="T35" fmla="*/ 196766865 h 142"/>
                  <a:gd name="T36" fmla="*/ 208144844 w 131"/>
                  <a:gd name="T37" fmla="*/ 181631557 h 142"/>
                  <a:gd name="T38" fmla="*/ 204395499 w 131"/>
                  <a:gd name="T39" fmla="*/ 181631557 h 142"/>
                  <a:gd name="T40" fmla="*/ 193144727 w 131"/>
                  <a:gd name="T41" fmla="*/ 186676228 h 142"/>
                  <a:gd name="T42" fmla="*/ 187517972 w 131"/>
                  <a:gd name="T43" fmla="*/ 196766865 h 142"/>
                  <a:gd name="T44" fmla="*/ 183768628 w 131"/>
                  <a:gd name="T45" fmla="*/ 205175514 h 142"/>
                  <a:gd name="T46" fmla="*/ 178143199 w 131"/>
                  <a:gd name="T47" fmla="*/ 196766865 h 142"/>
                  <a:gd name="T48" fmla="*/ 183768628 w 131"/>
                  <a:gd name="T49" fmla="*/ 176585590 h 142"/>
                  <a:gd name="T50" fmla="*/ 187517972 w 131"/>
                  <a:gd name="T51" fmla="*/ 168176901 h 142"/>
                  <a:gd name="T52" fmla="*/ 178143199 w 131"/>
                  <a:gd name="T53" fmla="*/ 149677615 h 142"/>
                  <a:gd name="T54" fmla="*/ 166891057 w 131"/>
                  <a:gd name="T55" fmla="*/ 144631648 h 142"/>
                  <a:gd name="T56" fmla="*/ 161265672 w 131"/>
                  <a:gd name="T57" fmla="*/ 139586977 h 142"/>
                  <a:gd name="T58" fmla="*/ 157514958 w 131"/>
                  <a:gd name="T59" fmla="*/ 131178329 h 142"/>
                  <a:gd name="T60" fmla="*/ 151889572 w 131"/>
                  <a:gd name="T61" fmla="*/ 131178329 h 142"/>
                  <a:gd name="T62" fmla="*/ 146264186 w 131"/>
                  <a:gd name="T63" fmla="*/ 131178329 h 142"/>
                  <a:gd name="T64" fmla="*/ 146264186 w 131"/>
                  <a:gd name="T65" fmla="*/ 121087691 h 142"/>
                  <a:gd name="T66" fmla="*/ 140638800 w 131"/>
                  <a:gd name="T67" fmla="*/ 116041724 h 142"/>
                  <a:gd name="T68" fmla="*/ 140638800 w 131"/>
                  <a:gd name="T69" fmla="*/ 110997054 h 142"/>
                  <a:gd name="T70" fmla="*/ 135013414 w 131"/>
                  <a:gd name="T71" fmla="*/ 107633076 h 142"/>
                  <a:gd name="T72" fmla="*/ 157514958 w 131"/>
                  <a:gd name="T73" fmla="*/ 110997054 h 142"/>
                  <a:gd name="T74" fmla="*/ 146264186 w 131"/>
                  <a:gd name="T75" fmla="*/ 102588405 h 142"/>
                  <a:gd name="T76" fmla="*/ 140638800 w 131"/>
                  <a:gd name="T77" fmla="*/ 92497768 h 142"/>
                  <a:gd name="T78" fmla="*/ 135013414 w 131"/>
                  <a:gd name="T79" fmla="*/ 92497768 h 142"/>
                  <a:gd name="T80" fmla="*/ 131262700 w 131"/>
                  <a:gd name="T81" fmla="*/ 87451800 h 142"/>
                  <a:gd name="T82" fmla="*/ 135013414 w 131"/>
                  <a:gd name="T83" fmla="*/ 84089099 h 142"/>
                  <a:gd name="T84" fmla="*/ 131262700 w 131"/>
                  <a:gd name="T85" fmla="*/ 79043132 h 142"/>
                  <a:gd name="T86" fmla="*/ 120011928 w 131"/>
                  <a:gd name="T87" fmla="*/ 79043132 h 142"/>
                  <a:gd name="T88" fmla="*/ 114386542 w 131"/>
                  <a:gd name="T89" fmla="*/ 73998461 h 142"/>
                  <a:gd name="T90" fmla="*/ 93759671 w 131"/>
                  <a:gd name="T91" fmla="*/ 55497878 h 142"/>
                  <a:gd name="T92" fmla="*/ 78758164 w 131"/>
                  <a:gd name="T93" fmla="*/ 21863274 h 142"/>
                  <a:gd name="T94" fmla="*/ 93759671 w 131"/>
                  <a:gd name="T95" fmla="*/ 68952494 h 142"/>
                  <a:gd name="T96" fmla="*/ 78758164 w 131"/>
                  <a:gd name="T97" fmla="*/ 65588516 h 142"/>
                  <a:gd name="T98" fmla="*/ 73132778 w 131"/>
                  <a:gd name="T99" fmla="*/ 60543846 h 142"/>
                  <a:gd name="T100" fmla="*/ 67506022 w 131"/>
                  <a:gd name="T101" fmla="*/ 45407241 h 142"/>
                  <a:gd name="T102" fmla="*/ 58131292 w 131"/>
                  <a:gd name="T103" fmla="*/ 50453208 h 142"/>
                  <a:gd name="T104" fmla="*/ 46879151 w 131"/>
                  <a:gd name="T105" fmla="*/ 42044549 h 142"/>
                  <a:gd name="T106" fmla="*/ 37503040 w 131"/>
                  <a:gd name="T107" fmla="*/ 42044549 h 142"/>
                  <a:gd name="T108" fmla="*/ 46879151 w 131"/>
                  <a:gd name="T109" fmla="*/ 45407241 h 142"/>
                  <a:gd name="T110" fmla="*/ 52504537 w 131"/>
                  <a:gd name="T111" fmla="*/ 55497878 h 142"/>
                  <a:gd name="T112" fmla="*/ 61880636 w 131"/>
                  <a:gd name="T113" fmla="*/ 60543846 h 142"/>
                  <a:gd name="T114" fmla="*/ 52504537 w 131"/>
                  <a:gd name="T115" fmla="*/ 68952494 h 142"/>
                  <a:gd name="T116" fmla="*/ 37503040 w 131"/>
                  <a:gd name="T117" fmla="*/ 65588516 h 142"/>
                  <a:gd name="T118" fmla="*/ 20626877 w 131"/>
                  <a:gd name="T119" fmla="*/ 50453208 h 142"/>
                  <a:gd name="T120" fmla="*/ 0 w 131"/>
                  <a:gd name="T121" fmla="*/ 31953912 h 1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31"/>
                  <a:gd name="T184" fmla="*/ 0 h 142"/>
                  <a:gd name="T185" fmla="*/ 131 w 131"/>
                  <a:gd name="T186" fmla="*/ 142 h 1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31" h="142">
                    <a:moveTo>
                      <a:pt x="3" y="11"/>
                    </a:moveTo>
                    <a:lnTo>
                      <a:pt x="8" y="13"/>
                    </a:lnTo>
                    <a:lnTo>
                      <a:pt x="11" y="22"/>
                    </a:lnTo>
                    <a:lnTo>
                      <a:pt x="11" y="25"/>
                    </a:lnTo>
                    <a:lnTo>
                      <a:pt x="17" y="22"/>
                    </a:lnTo>
                    <a:lnTo>
                      <a:pt x="20" y="19"/>
                    </a:lnTo>
                    <a:lnTo>
                      <a:pt x="25" y="19"/>
                    </a:lnTo>
                    <a:lnTo>
                      <a:pt x="25" y="16"/>
                    </a:lnTo>
                    <a:lnTo>
                      <a:pt x="25" y="13"/>
                    </a:lnTo>
                    <a:lnTo>
                      <a:pt x="28" y="11"/>
                    </a:lnTo>
                    <a:lnTo>
                      <a:pt x="31" y="8"/>
                    </a:lnTo>
                    <a:lnTo>
                      <a:pt x="31" y="5"/>
                    </a:lnTo>
                    <a:lnTo>
                      <a:pt x="36" y="2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50" y="5"/>
                    </a:lnTo>
                    <a:lnTo>
                      <a:pt x="50" y="8"/>
                    </a:lnTo>
                    <a:lnTo>
                      <a:pt x="56" y="16"/>
                    </a:lnTo>
                    <a:lnTo>
                      <a:pt x="59" y="19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67" y="30"/>
                    </a:lnTo>
                    <a:lnTo>
                      <a:pt x="86" y="64"/>
                    </a:lnTo>
                    <a:lnTo>
                      <a:pt x="89" y="69"/>
                    </a:lnTo>
                    <a:lnTo>
                      <a:pt x="92" y="75"/>
                    </a:lnTo>
                    <a:lnTo>
                      <a:pt x="92" y="78"/>
                    </a:lnTo>
                    <a:lnTo>
                      <a:pt x="92" y="80"/>
                    </a:lnTo>
                    <a:lnTo>
                      <a:pt x="95" y="80"/>
                    </a:lnTo>
                    <a:lnTo>
                      <a:pt x="98" y="89"/>
                    </a:lnTo>
                    <a:lnTo>
                      <a:pt x="100" y="94"/>
                    </a:lnTo>
                    <a:lnTo>
                      <a:pt x="103" y="97"/>
                    </a:lnTo>
                    <a:lnTo>
                      <a:pt x="114" y="100"/>
                    </a:lnTo>
                    <a:lnTo>
                      <a:pt x="123" y="105"/>
                    </a:lnTo>
                    <a:lnTo>
                      <a:pt x="128" y="108"/>
                    </a:lnTo>
                    <a:lnTo>
                      <a:pt x="131" y="111"/>
                    </a:lnTo>
                    <a:lnTo>
                      <a:pt x="128" y="125"/>
                    </a:lnTo>
                    <a:lnTo>
                      <a:pt x="131" y="130"/>
                    </a:lnTo>
                    <a:lnTo>
                      <a:pt x="128" y="133"/>
                    </a:lnTo>
                    <a:lnTo>
                      <a:pt x="128" y="136"/>
                    </a:lnTo>
                    <a:lnTo>
                      <a:pt x="125" y="136"/>
                    </a:lnTo>
                    <a:lnTo>
                      <a:pt x="123" y="139"/>
                    </a:lnTo>
                    <a:lnTo>
                      <a:pt x="120" y="142"/>
                    </a:lnTo>
                    <a:lnTo>
                      <a:pt x="117" y="142"/>
                    </a:lnTo>
                    <a:lnTo>
                      <a:pt x="117" y="139"/>
                    </a:lnTo>
                    <a:lnTo>
                      <a:pt x="117" y="142"/>
                    </a:lnTo>
                    <a:lnTo>
                      <a:pt x="114" y="142"/>
                    </a:lnTo>
                    <a:lnTo>
                      <a:pt x="114" y="136"/>
                    </a:lnTo>
                    <a:lnTo>
                      <a:pt x="117" y="136"/>
                    </a:lnTo>
                    <a:lnTo>
                      <a:pt x="120" y="136"/>
                    </a:lnTo>
                    <a:lnTo>
                      <a:pt x="120" y="133"/>
                    </a:lnTo>
                    <a:lnTo>
                      <a:pt x="120" y="128"/>
                    </a:lnTo>
                    <a:lnTo>
                      <a:pt x="117" y="128"/>
                    </a:lnTo>
                    <a:lnTo>
                      <a:pt x="117" y="122"/>
                    </a:lnTo>
                    <a:lnTo>
                      <a:pt x="114" y="119"/>
                    </a:lnTo>
                    <a:lnTo>
                      <a:pt x="114" y="117"/>
                    </a:lnTo>
                    <a:lnTo>
                      <a:pt x="114" y="114"/>
                    </a:lnTo>
                    <a:lnTo>
                      <a:pt x="111" y="111"/>
                    </a:lnTo>
                    <a:lnTo>
                      <a:pt x="111" y="108"/>
                    </a:lnTo>
                    <a:lnTo>
                      <a:pt x="114" y="108"/>
                    </a:lnTo>
                    <a:lnTo>
                      <a:pt x="111" y="105"/>
                    </a:lnTo>
                    <a:lnTo>
                      <a:pt x="109" y="108"/>
                    </a:lnTo>
                    <a:lnTo>
                      <a:pt x="106" y="111"/>
                    </a:lnTo>
                    <a:lnTo>
                      <a:pt x="103" y="111"/>
                    </a:lnTo>
                    <a:lnTo>
                      <a:pt x="100" y="111"/>
                    </a:lnTo>
                    <a:lnTo>
                      <a:pt x="103" y="114"/>
                    </a:lnTo>
                    <a:lnTo>
                      <a:pt x="100" y="117"/>
                    </a:lnTo>
                    <a:lnTo>
                      <a:pt x="100" y="119"/>
                    </a:lnTo>
                    <a:lnTo>
                      <a:pt x="98" y="119"/>
                    </a:lnTo>
                    <a:lnTo>
                      <a:pt x="98" y="122"/>
                    </a:lnTo>
                    <a:lnTo>
                      <a:pt x="95" y="119"/>
                    </a:lnTo>
                    <a:lnTo>
                      <a:pt x="95" y="117"/>
                    </a:lnTo>
                    <a:lnTo>
                      <a:pt x="95" y="114"/>
                    </a:lnTo>
                    <a:lnTo>
                      <a:pt x="98" y="114"/>
                    </a:lnTo>
                    <a:lnTo>
                      <a:pt x="98" y="108"/>
                    </a:lnTo>
                    <a:lnTo>
                      <a:pt x="98" y="105"/>
                    </a:lnTo>
                    <a:lnTo>
                      <a:pt x="100" y="103"/>
                    </a:lnTo>
                    <a:lnTo>
                      <a:pt x="106" y="103"/>
                    </a:lnTo>
                    <a:lnTo>
                      <a:pt x="100" y="100"/>
                    </a:lnTo>
                    <a:lnTo>
                      <a:pt x="98" y="100"/>
                    </a:lnTo>
                    <a:lnTo>
                      <a:pt x="95" y="97"/>
                    </a:lnTo>
                    <a:lnTo>
                      <a:pt x="95" y="94"/>
                    </a:lnTo>
                    <a:lnTo>
                      <a:pt x="95" y="89"/>
                    </a:lnTo>
                    <a:lnTo>
                      <a:pt x="92" y="89"/>
                    </a:lnTo>
                    <a:lnTo>
                      <a:pt x="89" y="89"/>
                    </a:lnTo>
                    <a:lnTo>
                      <a:pt x="89" y="86"/>
                    </a:lnTo>
                    <a:lnTo>
                      <a:pt x="86" y="86"/>
                    </a:lnTo>
                    <a:lnTo>
                      <a:pt x="84" y="80"/>
                    </a:lnTo>
                    <a:lnTo>
                      <a:pt x="86" y="83"/>
                    </a:lnTo>
                    <a:lnTo>
                      <a:pt x="86" y="80"/>
                    </a:lnTo>
                    <a:lnTo>
                      <a:pt x="86" y="78"/>
                    </a:lnTo>
                    <a:lnTo>
                      <a:pt x="84" y="78"/>
                    </a:lnTo>
                    <a:lnTo>
                      <a:pt x="84" y="80"/>
                    </a:lnTo>
                    <a:lnTo>
                      <a:pt x="81" y="80"/>
                    </a:lnTo>
                    <a:lnTo>
                      <a:pt x="81" y="78"/>
                    </a:lnTo>
                    <a:lnTo>
                      <a:pt x="78" y="78"/>
                    </a:lnTo>
                    <a:lnTo>
                      <a:pt x="75" y="75"/>
                    </a:lnTo>
                    <a:lnTo>
                      <a:pt x="75" y="72"/>
                    </a:lnTo>
                    <a:lnTo>
                      <a:pt x="78" y="72"/>
                    </a:lnTo>
                    <a:lnTo>
                      <a:pt x="81" y="72"/>
                    </a:lnTo>
                    <a:lnTo>
                      <a:pt x="78" y="72"/>
                    </a:lnTo>
                    <a:lnTo>
                      <a:pt x="75" y="69"/>
                    </a:lnTo>
                    <a:lnTo>
                      <a:pt x="75" y="66"/>
                    </a:lnTo>
                    <a:lnTo>
                      <a:pt x="75" y="64"/>
                    </a:lnTo>
                    <a:lnTo>
                      <a:pt x="72" y="64"/>
                    </a:lnTo>
                    <a:lnTo>
                      <a:pt x="72" y="61"/>
                    </a:lnTo>
                    <a:lnTo>
                      <a:pt x="78" y="64"/>
                    </a:lnTo>
                    <a:lnTo>
                      <a:pt x="81" y="66"/>
                    </a:lnTo>
                    <a:lnTo>
                      <a:pt x="84" y="66"/>
                    </a:lnTo>
                    <a:lnTo>
                      <a:pt x="81" y="66"/>
                    </a:lnTo>
                    <a:lnTo>
                      <a:pt x="81" y="64"/>
                    </a:lnTo>
                    <a:lnTo>
                      <a:pt x="81" y="61"/>
                    </a:lnTo>
                    <a:lnTo>
                      <a:pt x="78" y="61"/>
                    </a:lnTo>
                    <a:lnTo>
                      <a:pt x="75" y="58"/>
                    </a:lnTo>
                    <a:lnTo>
                      <a:pt x="75" y="55"/>
                    </a:lnTo>
                    <a:lnTo>
                      <a:pt x="78" y="55"/>
                    </a:lnTo>
                    <a:lnTo>
                      <a:pt x="72" y="55"/>
                    </a:lnTo>
                    <a:lnTo>
                      <a:pt x="72" y="58"/>
                    </a:lnTo>
                    <a:lnTo>
                      <a:pt x="70" y="55"/>
                    </a:lnTo>
                    <a:lnTo>
                      <a:pt x="70" y="52"/>
                    </a:lnTo>
                    <a:lnTo>
                      <a:pt x="72" y="52"/>
                    </a:lnTo>
                    <a:lnTo>
                      <a:pt x="75" y="50"/>
                    </a:lnTo>
                    <a:lnTo>
                      <a:pt x="72" y="50"/>
                    </a:lnTo>
                    <a:lnTo>
                      <a:pt x="72" y="47"/>
                    </a:lnTo>
                    <a:lnTo>
                      <a:pt x="70" y="47"/>
                    </a:lnTo>
                    <a:lnTo>
                      <a:pt x="70" y="50"/>
                    </a:lnTo>
                    <a:lnTo>
                      <a:pt x="67" y="52"/>
                    </a:lnTo>
                    <a:lnTo>
                      <a:pt x="67" y="50"/>
                    </a:lnTo>
                    <a:lnTo>
                      <a:pt x="64" y="47"/>
                    </a:lnTo>
                    <a:lnTo>
                      <a:pt x="64" y="44"/>
                    </a:lnTo>
                    <a:lnTo>
                      <a:pt x="61" y="44"/>
                    </a:lnTo>
                    <a:lnTo>
                      <a:pt x="59" y="41"/>
                    </a:lnTo>
                    <a:lnTo>
                      <a:pt x="53" y="41"/>
                    </a:lnTo>
                    <a:lnTo>
                      <a:pt x="50" y="33"/>
                    </a:lnTo>
                    <a:lnTo>
                      <a:pt x="50" y="27"/>
                    </a:lnTo>
                    <a:lnTo>
                      <a:pt x="50" y="30"/>
                    </a:lnTo>
                    <a:lnTo>
                      <a:pt x="45" y="11"/>
                    </a:lnTo>
                    <a:lnTo>
                      <a:pt x="42" y="13"/>
                    </a:lnTo>
                    <a:lnTo>
                      <a:pt x="45" y="16"/>
                    </a:lnTo>
                    <a:lnTo>
                      <a:pt x="45" y="19"/>
                    </a:lnTo>
                    <a:lnTo>
                      <a:pt x="42" y="16"/>
                    </a:lnTo>
                    <a:lnTo>
                      <a:pt x="50" y="41"/>
                    </a:lnTo>
                    <a:lnTo>
                      <a:pt x="47" y="44"/>
                    </a:lnTo>
                    <a:lnTo>
                      <a:pt x="45" y="44"/>
                    </a:lnTo>
                    <a:lnTo>
                      <a:pt x="45" y="39"/>
                    </a:lnTo>
                    <a:lnTo>
                      <a:pt x="42" y="39"/>
                    </a:lnTo>
                    <a:lnTo>
                      <a:pt x="42" y="41"/>
                    </a:lnTo>
                    <a:lnTo>
                      <a:pt x="36" y="41"/>
                    </a:lnTo>
                    <a:lnTo>
                      <a:pt x="36" y="36"/>
                    </a:lnTo>
                    <a:lnTo>
                      <a:pt x="39" y="36"/>
                    </a:lnTo>
                    <a:lnTo>
                      <a:pt x="36" y="33"/>
                    </a:lnTo>
                    <a:lnTo>
                      <a:pt x="33" y="30"/>
                    </a:lnTo>
                    <a:lnTo>
                      <a:pt x="33" y="27"/>
                    </a:lnTo>
                    <a:lnTo>
                      <a:pt x="36" y="27"/>
                    </a:lnTo>
                    <a:lnTo>
                      <a:pt x="33" y="25"/>
                    </a:lnTo>
                    <a:lnTo>
                      <a:pt x="31" y="27"/>
                    </a:lnTo>
                    <a:lnTo>
                      <a:pt x="31" y="30"/>
                    </a:lnTo>
                    <a:lnTo>
                      <a:pt x="28" y="27"/>
                    </a:lnTo>
                    <a:lnTo>
                      <a:pt x="25" y="22"/>
                    </a:lnTo>
                    <a:lnTo>
                      <a:pt x="25" y="25"/>
                    </a:lnTo>
                    <a:lnTo>
                      <a:pt x="20" y="22"/>
                    </a:lnTo>
                    <a:lnTo>
                      <a:pt x="22" y="25"/>
                    </a:lnTo>
                    <a:lnTo>
                      <a:pt x="20" y="25"/>
                    </a:lnTo>
                    <a:lnTo>
                      <a:pt x="22" y="25"/>
                    </a:lnTo>
                    <a:lnTo>
                      <a:pt x="25" y="27"/>
                    </a:lnTo>
                    <a:lnTo>
                      <a:pt x="25" y="30"/>
                    </a:lnTo>
                    <a:lnTo>
                      <a:pt x="28" y="30"/>
                    </a:lnTo>
                    <a:lnTo>
                      <a:pt x="28" y="33"/>
                    </a:lnTo>
                    <a:lnTo>
                      <a:pt x="31" y="33"/>
                    </a:lnTo>
                    <a:lnTo>
                      <a:pt x="33" y="36"/>
                    </a:lnTo>
                    <a:lnTo>
                      <a:pt x="33" y="41"/>
                    </a:lnTo>
                    <a:lnTo>
                      <a:pt x="31" y="41"/>
                    </a:lnTo>
                    <a:lnTo>
                      <a:pt x="28" y="41"/>
                    </a:lnTo>
                    <a:lnTo>
                      <a:pt x="28" y="44"/>
                    </a:lnTo>
                    <a:lnTo>
                      <a:pt x="25" y="44"/>
                    </a:lnTo>
                    <a:lnTo>
                      <a:pt x="20" y="39"/>
                    </a:lnTo>
                    <a:lnTo>
                      <a:pt x="17" y="39"/>
                    </a:lnTo>
                    <a:lnTo>
                      <a:pt x="11" y="36"/>
                    </a:lnTo>
                    <a:lnTo>
                      <a:pt x="8" y="36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8" y="33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3" y="13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9" name="Freeform 1344"/>
              <p:cNvSpPr>
                <a:spLocks noChangeAspect="1"/>
              </p:cNvSpPr>
              <p:nvPr>
                <p:custDataLst>
                  <p:tags r:id="rId454"/>
                </p:custDataLst>
              </p:nvPr>
            </p:nvSpPr>
            <p:spPr bwMode="gray">
              <a:xfrm>
                <a:off x="3469821" y="3906686"/>
                <a:ext cx="21259" cy="22075"/>
              </a:xfrm>
              <a:custGeom>
                <a:avLst/>
                <a:gdLst>
                  <a:gd name="T0" fmla="*/ 8546165 w 17"/>
                  <a:gd name="T1" fmla="*/ 0 h 17"/>
                  <a:gd name="T2" fmla="*/ 8546165 w 17"/>
                  <a:gd name="T3" fmla="*/ 5127437 h 17"/>
                  <a:gd name="T4" fmla="*/ 8546165 w 17"/>
                  <a:gd name="T5" fmla="*/ 5127437 h 17"/>
                  <a:gd name="T6" fmla="*/ 13673603 w 17"/>
                  <a:gd name="T7" fmla="*/ 5127437 h 17"/>
                  <a:gd name="T8" fmla="*/ 23928480 w 17"/>
                  <a:gd name="T9" fmla="*/ 13673603 h 17"/>
                  <a:gd name="T10" fmla="*/ 29055916 w 17"/>
                  <a:gd name="T11" fmla="*/ 18801039 h 17"/>
                  <a:gd name="T12" fmla="*/ 29055916 w 17"/>
                  <a:gd name="T13" fmla="*/ 18801039 h 17"/>
                  <a:gd name="T14" fmla="*/ 29055916 w 17"/>
                  <a:gd name="T15" fmla="*/ 29055916 h 17"/>
                  <a:gd name="T16" fmla="*/ 29055916 w 17"/>
                  <a:gd name="T17" fmla="*/ 29055916 h 17"/>
                  <a:gd name="T18" fmla="*/ 23928480 w 17"/>
                  <a:gd name="T19" fmla="*/ 29055916 h 17"/>
                  <a:gd name="T20" fmla="*/ 23928480 w 17"/>
                  <a:gd name="T21" fmla="*/ 29055916 h 17"/>
                  <a:gd name="T22" fmla="*/ 18801039 w 17"/>
                  <a:gd name="T23" fmla="*/ 29055916 h 17"/>
                  <a:gd name="T24" fmla="*/ 8546165 w 17"/>
                  <a:gd name="T25" fmla="*/ 18801039 h 17"/>
                  <a:gd name="T26" fmla="*/ 0 w 17"/>
                  <a:gd name="T27" fmla="*/ 5127437 h 17"/>
                  <a:gd name="T28" fmla="*/ 0 w 17"/>
                  <a:gd name="T29" fmla="*/ 0 h 17"/>
                  <a:gd name="T30" fmla="*/ 5127437 w 17"/>
                  <a:gd name="T31" fmla="*/ 0 h 17"/>
                  <a:gd name="T32" fmla="*/ 5127437 w 17"/>
                  <a:gd name="T33" fmla="*/ 0 h 17"/>
                  <a:gd name="T34" fmla="*/ 8546165 w 17"/>
                  <a:gd name="T35" fmla="*/ 0 h 17"/>
                  <a:gd name="T36" fmla="*/ 8546165 w 17"/>
                  <a:gd name="T37" fmla="*/ 0 h 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7"/>
                  <a:gd name="T58" fmla="*/ 0 h 17"/>
                  <a:gd name="T59" fmla="*/ 17 w 17"/>
                  <a:gd name="T60" fmla="*/ 17 h 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7" h="17">
                    <a:moveTo>
                      <a:pt x="5" y="0"/>
                    </a:moveTo>
                    <a:lnTo>
                      <a:pt x="5" y="3"/>
                    </a:lnTo>
                    <a:lnTo>
                      <a:pt x="8" y="3"/>
                    </a:lnTo>
                    <a:lnTo>
                      <a:pt x="14" y="8"/>
                    </a:lnTo>
                    <a:lnTo>
                      <a:pt x="17" y="11"/>
                    </a:lnTo>
                    <a:lnTo>
                      <a:pt x="17" y="17"/>
                    </a:lnTo>
                    <a:lnTo>
                      <a:pt x="14" y="17"/>
                    </a:lnTo>
                    <a:lnTo>
                      <a:pt x="11" y="17"/>
                    </a:lnTo>
                    <a:lnTo>
                      <a:pt x="5" y="11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0" name="Freeform 1345"/>
              <p:cNvSpPr>
                <a:spLocks noChangeAspect="1"/>
              </p:cNvSpPr>
              <p:nvPr>
                <p:custDataLst>
                  <p:tags r:id="rId455"/>
                </p:custDataLst>
              </p:nvPr>
            </p:nvSpPr>
            <p:spPr bwMode="gray">
              <a:xfrm>
                <a:off x="3793252" y="4458547"/>
                <a:ext cx="28850" cy="22075"/>
              </a:xfrm>
              <a:custGeom>
                <a:avLst/>
                <a:gdLst>
                  <a:gd name="T0" fmla="*/ 9398204 w 22"/>
                  <a:gd name="T1" fmla="*/ 0 h 17"/>
                  <a:gd name="T2" fmla="*/ 15037128 w 22"/>
                  <a:gd name="T3" fmla="*/ 0 h 17"/>
                  <a:gd name="T4" fmla="*/ 20676049 w 22"/>
                  <a:gd name="T5" fmla="*/ 5127437 h 17"/>
                  <a:gd name="T6" fmla="*/ 26314976 w 22"/>
                  <a:gd name="T7" fmla="*/ 13673603 h 17"/>
                  <a:gd name="T8" fmla="*/ 30074256 w 22"/>
                  <a:gd name="T9" fmla="*/ 13673603 h 17"/>
                  <a:gd name="T10" fmla="*/ 35713177 w 22"/>
                  <a:gd name="T11" fmla="*/ 13673603 h 17"/>
                  <a:gd name="T12" fmla="*/ 35713177 w 22"/>
                  <a:gd name="T13" fmla="*/ 13673603 h 17"/>
                  <a:gd name="T14" fmla="*/ 35713177 w 22"/>
                  <a:gd name="T15" fmla="*/ 18801039 h 17"/>
                  <a:gd name="T16" fmla="*/ 41352098 w 22"/>
                  <a:gd name="T17" fmla="*/ 23928480 h 17"/>
                  <a:gd name="T18" fmla="*/ 41352098 w 22"/>
                  <a:gd name="T19" fmla="*/ 29055916 h 17"/>
                  <a:gd name="T20" fmla="*/ 41352098 w 22"/>
                  <a:gd name="T21" fmla="*/ 29055916 h 17"/>
                  <a:gd name="T22" fmla="*/ 30074256 w 22"/>
                  <a:gd name="T23" fmla="*/ 29055916 h 17"/>
                  <a:gd name="T24" fmla="*/ 30074256 w 22"/>
                  <a:gd name="T25" fmla="*/ 23928480 h 17"/>
                  <a:gd name="T26" fmla="*/ 30074256 w 22"/>
                  <a:gd name="T27" fmla="*/ 23928480 h 17"/>
                  <a:gd name="T28" fmla="*/ 35713177 w 22"/>
                  <a:gd name="T29" fmla="*/ 23928480 h 17"/>
                  <a:gd name="T30" fmla="*/ 35713177 w 22"/>
                  <a:gd name="T31" fmla="*/ 23928480 h 17"/>
                  <a:gd name="T32" fmla="*/ 30074256 w 22"/>
                  <a:gd name="T33" fmla="*/ 18801039 h 17"/>
                  <a:gd name="T34" fmla="*/ 30074256 w 22"/>
                  <a:gd name="T35" fmla="*/ 18801039 h 17"/>
                  <a:gd name="T36" fmla="*/ 26314976 w 22"/>
                  <a:gd name="T37" fmla="*/ 23928480 h 17"/>
                  <a:gd name="T38" fmla="*/ 26314976 w 22"/>
                  <a:gd name="T39" fmla="*/ 23928480 h 17"/>
                  <a:gd name="T40" fmla="*/ 20676049 w 22"/>
                  <a:gd name="T41" fmla="*/ 23928480 h 17"/>
                  <a:gd name="T42" fmla="*/ 9398204 w 22"/>
                  <a:gd name="T43" fmla="*/ 13673603 h 17"/>
                  <a:gd name="T44" fmla="*/ 3759282 w 22"/>
                  <a:gd name="T45" fmla="*/ 13673603 h 17"/>
                  <a:gd name="T46" fmla="*/ 0 w 22"/>
                  <a:gd name="T47" fmla="*/ 13673603 h 17"/>
                  <a:gd name="T48" fmla="*/ 0 w 22"/>
                  <a:gd name="T49" fmla="*/ 10254874 h 17"/>
                  <a:gd name="T50" fmla="*/ 0 w 22"/>
                  <a:gd name="T51" fmla="*/ 5127437 h 17"/>
                  <a:gd name="T52" fmla="*/ 3759282 w 22"/>
                  <a:gd name="T53" fmla="*/ 0 h 17"/>
                  <a:gd name="T54" fmla="*/ 3759282 w 22"/>
                  <a:gd name="T55" fmla="*/ 0 h 17"/>
                  <a:gd name="T56" fmla="*/ 3759282 w 22"/>
                  <a:gd name="T57" fmla="*/ 0 h 17"/>
                  <a:gd name="T58" fmla="*/ 9398204 w 22"/>
                  <a:gd name="T59" fmla="*/ 0 h 17"/>
                  <a:gd name="T60" fmla="*/ 9398204 w 22"/>
                  <a:gd name="T61" fmla="*/ 0 h 17"/>
                  <a:gd name="T62" fmla="*/ 9398204 w 22"/>
                  <a:gd name="T63" fmla="*/ 0 h 1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2"/>
                  <a:gd name="T97" fmla="*/ 0 h 17"/>
                  <a:gd name="T98" fmla="*/ 22 w 22"/>
                  <a:gd name="T99" fmla="*/ 17 h 1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2" h="17">
                    <a:moveTo>
                      <a:pt x="5" y="0"/>
                    </a:moveTo>
                    <a:lnTo>
                      <a:pt x="8" y="0"/>
                    </a:lnTo>
                    <a:lnTo>
                      <a:pt x="11" y="3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9" y="8"/>
                    </a:lnTo>
                    <a:lnTo>
                      <a:pt x="19" y="11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16" y="17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16" y="11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1" name="Freeform 1346"/>
              <p:cNvSpPr>
                <a:spLocks noChangeAspect="1"/>
              </p:cNvSpPr>
              <p:nvPr>
                <p:custDataLst>
                  <p:tags r:id="rId456"/>
                </p:custDataLst>
              </p:nvPr>
            </p:nvSpPr>
            <p:spPr bwMode="gray">
              <a:xfrm>
                <a:off x="4156165" y="4778624"/>
                <a:ext cx="31888" cy="47302"/>
              </a:xfrm>
              <a:custGeom>
                <a:avLst/>
                <a:gdLst>
                  <a:gd name="T0" fmla="*/ 24895488 w 25"/>
                  <a:gd name="T1" fmla="*/ 0 h 36"/>
                  <a:gd name="T2" fmla="*/ 30230900 w 25"/>
                  <a:gd name="T3" fmla="*/ 5250655 h 36"/>
                  <a:gd name="T4" fmla="*/ 30230900 w 25"/>
                  <a:gd name="T5" fmla="*/ 8751093 h 36"/>
                  <a:gd name="T6" fmla="*/ 30230900 w 25"/>
                  <a:gd name="T7" fmla="*/ 14000426 h 36"/>
                  <a:gd name="T8" fmla="*/ 35564978 w 25"/>
                  <a:gd name="T9" fmla="*/ 14000426 h 36"/>
                  <a:gd name="T10" fmla="*/ 35564978 w 25"/>
                  <a:gd name="T11" fmla="*/ 14000426 h 36"/>
                  <a:gd name="T12" fmla="*/ 44456897 w 25"/>
                  <a:gd name="T13" fmla="*/ 8751093 h 36"/>
                  <a:gd name="T14" fmla="*/ 44456897 w 25"/>
                  <a:gd name="T15" fmla="*/ 8751093 h 36"/>
                  <a:gd name="T16" fmla="*/ 44456897 w 25"/>
                  <a:gd name="T17" fmla="*/ 8751093 h 36"/>
                  <a:gd name="T18" fmla="*/ 44456897 w 25"/>
                  <a:gd name="T19" fmla="*/ 14000426 h 36"/>
                  <a:gd name="T20" fmla="*/ 44456897 w 25"/>
                  <a:gd name="T21" fmla="*/ 14000426 h 36"/>
                  <a:gd name="T22" fmla="*/ 44456897 w 25"/>
                  <a:gd name="T23" fmla="*/ 19251080 h 36"/>
                  <a:gd name="T24" fmla="*/ 44456897 w 25"/>
                  <a:gd name="T25" fmla="*/ 14000426 h 36"/>
                  <a:gd name="T26" fmla="*/ 39121475 w 25"/>
                  <a:gd name="T27" fmla="*/ 14000426 h 36"/>
                  <a:gd name="T28" fmla="*/ 39121475 w 25"/>
                  <a:gd name="T29" fmla="*/ 24501740 h 36"/>
                  <a:gd name="T30" fmla="*/ 35564978 w 25"/>
                  <a:gd name="T31" fmla="*/ 28002176 h 36"/>
                  <a:gd name="T32" fmla="*/ 35564978 w 25"/>
                  <a:gd name="T33" fmla="*/ 28002176 h 36"/>
                  <a:gd name="T34" fmla="*/ 35564978 w 25"/>
                  <a:gd name="T35" fmla="*/ 33251507 h 36"/>
                  <a:gd name="T36" fmla="*/ 30230900 w 25"/>
                  <a:gd name="T37" fmla="*/ 38502161 h 36"/>
                  <a:gd name="T38" fmla="*/ 24895488 w 25"/>
                  <a:gd name="T39" fmla="*/ 49003479 h 36"/>
                  <a:gd name="T40" fmla="*/ 10669493 w 25"/>
                  <a:gd name="T41" fmla="*/ 57753246 h 36"/>
                  <a:gd name="T42" fmla="*/ 10669493 w 25"/>
                  <a:gd name="T43" fmla="*/ 57753246 h 36"/>
                  <a:gd name="T44" fmla="*/ 5335413 w 25"/>
                  <a:gd name="T45" fmla="*/ 57753246 h 36"/>
                  <a:gd name="T46" fmla="*/ 5335413 w 25"/>
                  <a:gd name="T47" fmla="*/ 63003900 h 36"/>
                  <a:gd name="T48" fmla="*/ 0 w 25"/>
                  <a:gd name="T49" fmla="*/ 57753246 h 36"/>
                  <a:gd name="T50" fmla="*/ 0 w 25"/>
                  <a:gd name="T51" fmla="*/ 57753246 h 36"/>
                  <a:gd name="T52" fmla="*/ 0 w 25"/>
                  <a:gd name="T53" fmla="*/ 52502592 h 36"/>
                  <a:gd name="T54" fmla="*/ 0 w 25"/>
                  <a:gd name="T55" fmla="*/ 52502592 h 36"/>
                  <a:gd name="T56" fmla="*/ 5335413 w 25"/>
                  <a:gd name="T57" fmla="*/ 52502592 h 36"/>
                  <a:gd name="T58" fmla="*/ 5335413 w 25"/>
                  <a:gd name="T59" fmla="*/ 43752825 h 36"/>
                  <a:gd name="T60" fmla="*/ 5335413 w 25"/>
                  <a:gd name="T61" fmla="*/ 43752825 h 36"/>
                  <a:gd name="T62" fmla="*/ 14225992 w 25"/>
                  <a:gd name="T63" fmla="*/ 43752825 h 36"/>
                  <a:gd name="T64" fmla="*/ 14225992 w 25"/>
                  <a:gd name="T65" fmla="*/ 38502161 h 36"/>
                  <a:gd name="T66" fmla="*/ 14225992 w 25"/>
                  <a:gd name="T67" fmla="*/ 38502161 h 36"/>
                  <a:gd name="T68" fmla="*/ 19561404 w 25"/>
                  <a:gd name="T69" fmla="*/ 38502161 h 36"/>
                  <a:gd name="T70" fmla="*/ 19561404 w 25"/>
                  <a:gd name="T71" fmla="*/ 24501740 h 36"/>
                  <a:gd name="T72" fmla="*/ 24895488 w 25"/>
                  <a:gd name="T73" fmla="*/ 24501740 h 36"/>
                  <a:gd name="T74" fmla="*/ 24895488 w 25"/>
                  <a:gd name="T75" fmla="*/ 24501740 h 36"/>
                  <a:gd name="T76" fmla="*/ 24895488 w 25"/>
                  <a:gd name="T77" fmla="*/ 0 h 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5"/>
                  <a:gd name="T118" fmla="*/ 0 h 36"/>
                  <a:gd name="T119" fmla="*/ 25 w 25"/>
                  <a:gd name="T120" fmla="*/ 36 h 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5" h="36">
                    <a:moveTo>
                      <a:pt x="14" y="0"/>
                    </a:moveTo>
                    <a:lnTo>
                      <a:pt x="17" y="3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20" y="8"/>
                    </a:lnTo>
                    <a:lnTo>
                      <a:pt x="25" y="5"/>
                    </a:lnTo>
                    <a:lnTo>
                      <a:pt x="25" y="8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2" y="8"/>
                    </a:lnTo>
                    <a:lnTo>
                      <a:pt x="22" y="14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7" y="22"/>
                    </a:lnTo>
                    <a:lnTo>
                      <a:pt x="14" y="28"/>
                    </a:lnTo>
                    <a:lnTo>
                      <a:pt x="6" y="33"/>
                    </a:lnTo>
                    <a:lnTo>
                      <a:pt x="3" y="33"/>
                    </a:lnTo>
                    <a:lnTo>
                      <a:pt x="3" y="36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8" y="25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2" name="Freeform 1353"/>
              <p:cNvSpPr>
                <a:spLocks noChangeAspect="1"/>
              </p:cNvSpPr>
              <p:nvPr>
                <p:custDataLst>
                  <p:tags r:id="rId457"/>
                </p:custDataLst>
              </p:nvPr>
            </p:nvSpPr>
            <p:spPr bwMode="gray">
              <a:xfrm>
                <a:off x="3567002" y="3586610"/>
                <a:ext cx="10630" cy="11038"/>
              </a:xfrm>
              <a:custGeom>
                <a:avLst/>
                <a:gdLst>
                  <a:gd name="T0" fmla="*/ 5788484 w 8"/>
                  <a:gd name="T1" fmla="*/ 9148467 h 9"/>
                  <a:gd name="T2" fmla="*/ 5788484 w 8"/>
                  <a:gd name="T3" fmla="*/ 9148467 h 9"/>
                  <a:gd name="T4" fmla="*/ 5788484 w 8"/>
                  <a:gd name="T5" fmla="*/ 9148467 h 9"/>
                  <a:gd name="T6" fmla="*/ 11578357 w 8"/>
                  <a:gd name="T7" fmla="*/ 13722084 h 9"/>
                  <a:gd name="T8" fmla="*/ 11578357 w 8"/>
                  <a:gd name="T9" fmla="*/ 9148467 h 9"/>
                  <a:gd name="T10" fmla="*/ 15437344 w 8"/>
                  <a:gd name="T11" fmla="*/ 4573616 h 9"/>
                  <a:gd name="T12" fmla="*/ 15437344 w 8"/>
                  <a:gd name="T13" fmla="*/ 4573616 h 9"/>
                  <a:gd name="T14" fmla="*/ 15437344 w 8"/>
                  <a:gd name="T15" fmla="*/ 0 h 9"/>
                  <a:gd name="T16" fmla="*/ 11578357 w 8"/>
                  <a:gd name="T17" fmla="*/ 0 h 9"/>
                  <a:gd name="T18" fmla="*/ 11578357 w 8"/>
                  <a:gd name="T19" fmla="*/ 0 h 9"/>
                  <a:gd name="T20" fmla="*/ 5788484 w 8"/>
                  <a:gd name="T21" fmla="*/ 0 h 9"/>
                  <a:gd name="T22" fmla="*/ 0 w 8"/>
                  <a:gd name="T23" fmla="*/ 4573616 h 9"/>
                  <a:gd name="T24" fmla="*/ 0 w 8"/>
                  <a:gd name="T25" fmla="*/ 4573616 h 9"/>
                  <a:gd name="T26" fmla="*/ 5788484 w 8"/>
                  <a:gd name="T27" fmla="*/ 4573616 h 9"/>
                  <a:gd name="T28" fmla="*/ 5788484 w 8"/>
                  <a:gd name="T29" fmla="*/ 9148467 h 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9"/>
                  <a:gd name="T47" fmla="*/ 8 w 8"/>
                  <a:gd name="T48" fmla="*/ 9 h 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9">
                    <a:moveTo>
                      <a:pt x="3" y="6"/>
                    </a:moveTo>
                    <a:lnTo>
                      <a:pt x="3" y="6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3" name="Freeform 1354"/>
              <p:cNvSpPr>
                <a:spLocks noChangeAspect="1"/>
              </p:cNvSpPr>
              <p:nvPr>
                <p:custDataLst>
                  <p:tags r:id="rId458"/>
                </p:custDataLst>
              </p:nvPr>
            </p:nvSpPr>
            <p:spPr bwMode="gray">
              <a:xfrm>
                <a:off x="3567002" y="3586610"/>
                <a:ext cx="10630" cy="11038"/>
              </a:xfrm>
              <a:custGeom>
                <a:avLst/>
                <a:gdLst>
                  <a:gd name="T0" fmla="*/ 5788484 w 8"/>
                  <a:gd name="T1" fmla="*/ 9148467 h 9"/>
                  <a:gd name="T2" fmla="*/ 5788484 w 8"/>
                  <a:gd name="T3" fmla="*/ 9148467 h 9"/>
                  <a:gd name="T4" fmla="*/ 5788484 w 8"/>
                  <a:gd name="T5" fmla="*/ 9148467 h 9"/>
                  <a:gd name="T6" fmla="*/ 11578357 w 8"/>
                  <a:gd name="T7" fmla="*/ 13722084 h 9"/>
                  <a:gd name="T8" fmla="*/ 11578357 w 8"/>
                  <a:gd name="T9" fmla="*/ 9148467 h 9"/>
                  <a:gd name="T10" fmla="*/ 15437344 w 8"/>
                  <a:gd name="T11" fmla="*/ 4573616 h 9"/>
                  <a:gd name="T12" fmla="*/ 15437344 w 8"/>
                  <a:gd name="T13" fmla="*/ 4573616 h 9"/>
                  <a:gd name="T14" fmla="*/ 15437344 w 8"/>
                  <a:gd name="T15" fmla="*/ 0 h 9"/>
                  <a:gd name="T16" fmla="*/ 11578357 w 8"/>
                  <a:gd name="T17" fmla="*/ 0 h 9"/>
                  <a:gd name="T18" fmla="*/ 11578357 w 8"/>
                  <a:gd name="T19" fmla="*/ 0 h 9"/>
                  <a:gd name="T20" fmla="*/ 5788484 w 8"/>
                  <a:gd name="T21" fmla="*/ 0 h 9"/>
                  <a:gd name="T22" fmla="*/ 0 w 8"/>
                  <a:gd name="T23" fmla="*/ 4573616 h 9"/>
                  <a:gd name="T24" fmla="*/ 0 w 8"/>
                  <a:gd name="T25" fmla="*/ 4573616 h 9"/>
                  <a:gd name="T26" fmla="*/ 5788484 w 8"/>
                  <a:gd name="T27" fmla="*/ 4573616 h 9"/>
                  <a:gd name="T28" fmla="*/ 5788484 w 8"/>
                  <a:gd name="T29" fmla="*/ 9148467 h 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"/>
                  <a:gd name="T46" fmla="*/ 0 h 9"/>
                  <a:gd name="T47" fmla="*/ 8 w 8"/>
                  <a:gd name="T48" fmla="*/ 9 h 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" h="9">
                    <a:moveTo>
                      <a:pt x="3" y="6"/>
                    </a:moveTo>
                    <a:lnTo>
                      <a:pt x="3" y="6"/>
                    </a:lnTo>
                    <a:lnTo>
                      <a:pt x="6" y="9"/>
                    </a:lnTo>
                    <a:lnTo>
                      <a:pt x="6" y="6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4" name="Freeform 1358"/>
              <p:cNvSpPr>
                <a:spLocks noChangeAspect="1"/>
              </p:cNvSpPr>
              <p:nvPr>
                <p:custDataLst>
                  <p:tags r:id="rId459"/>
                </p:custDataLst>
              </p:nvPr>
            </p:nvSpPr>
            <p:spPr bwMode="gray">
              <a:xfrm>
                <a:off x="3595853" y="3153008"/>
                <a:ext cx="83515" cy="39418"/>
              </a:xfrm>
              <a:custGeom>
                <a:avLst/>
                <a:gdLst>
                  <a:gd name="T0" fmla="*/ 5583874 w 64"/>
                  <a:gd name="T1" fmla="*/ 40974907 h 31"/>
                  <a:gd name="T2" fmla="*/ 5583874 w 64"/>
                  <a:gd name="T3" fmla="*/ 37696250 h 31"/>
                  <a:gd name="T4" fmla="*/ 16750259 w 64"/>
                  <a:gd name="T5" fmla="*/ 27862838 h 31"/>
                  <a:gd name="T6" fmla="*/ 57696855 w 64"/>
                  <a:gd name="T7" fmla="*/ 19668109 h 31"/>
                  <a:gd name="T8" fmla="*/ 72586272 w 64"/>
                  <a:gd name="T9" fmla="*/ 22945491 h 31"/>
                  <a:gd name="T10" fmla="*/ 72586272 w 64"/>
                  <a:gd name="T11" fmla="*/ 22945491 h 31"/>
                  <a:gd name="T12" fmla="*/ 78168781 w 64"/>
                  <a:gd name="T13" fmla="*/ 22945491 h 31"/>
                  <a:gd name="T14" fmla="*/ 78168781 w 64"/>
                  <a:gd name="T15" fmla="*/ 22945491 h 31"/>
                  <a:gd name="T16" fmla="*/ 72586272 w 64"/>
                  <a:gd name="T17" fmla="*/ 19668109 h 31"/>
                  <a:gd name="T18" fmla="*/ 72586272 w 64"/>
                  <a:gd name="T19" fmla="*/ 19668109 h 31"/>
                  <a:gd name="T20" fmla="*/ 72586272 w 64"/>
                  <a:gd name="T21" fmla="*/ 14750763 h 31"/>
                  <a:gd name="T22" fmla="*/ 78168781 w 64"/>
                  <a:gd name="T23" fmla="*/ 14750763 h 31"/>
                  <a:gd name="T24" fmla="*/ 78168781 w 64"/>
                  <a:gd name="T25" fmla="*/ 14750763 h 31"/>
                  <a:gd name="T26" fmla="*/ 83752653 w 64"/>
                  <a:gd name="T27" fmla="*/ 19668109 h 31"/>
                  <a:gd name="T28" fmla="*/ 104225964 w 64"/>
                  <a:gd name="T29" fmla="*/ 9833414 h 31"/>
                  <a:gd name="T30" fmla="*/ 109809837 w 64"/>
                  <a:gd name="T31" fmla="*/ 9833414 h 31"/>
                  <a:gd name="T32" fmla="*/ 119115382 w 64"/>
                  <a:gd name="T33" fmla="*/ 0 h 31"/>
                  <a:gd name="T34" fmla="*/ 115392345 w 64"/>
                  <a:gd name="T35" fmla="*/ 4917347 h 31"/>
                  <a:gd name="T36" fmla="*/ 115392345 w 64"/>
                  <a:gd name="T37" fmla="*/ 9833414 h 31"/>
                  <a:gd name="T38" fmla="*/ 104225964 w 64"/>
                  <a:gd name="T39" fmla="*/ 14750763 h 31"/>
                  <a:gd name="T40" fmla="*/ 98642092 w 64"/>
                  <a:gd name="T41" fmla="*/ 19668109 h 31"/>
                  <a:gd name="T42" fmla="*/ 98642092 w 64"/>
                  <a:gd name="T43" fmla="*/ 19668109 h 31"/>
                  <a:gd name="T44" fmla="*/ 104225964 w 64"/>
                  <a:gd name="T45" fmla="*/ 19668109 h 31"/>
                  <a:gd name="T46" fmla="*/ 104225964 w 64"/>
                  <a:gd name="T47" fmla="*/ 19668109 h 31"/>
                  <a:gd name="T48" fmla="*/ 104225964 w 64"/>
                  <a:gd name="T49" fmla="*/ 22945491 h 31"/>
                  <a:gd name="T50" fmla="*/ 104225964 w 64"/>
                  <a:gd name="T51" fmla="*/ 22945491 h 31"/>
                  <a:gd name="T52" fmla="*/ 104225964 w 64"/>
                  <a:gd name="T53" fmla="*/ 22945491 h 31"/>
                  <a:gd name="T54" fmla="*/ 98642092 w 64"/>
                  <a:gd name="T55" fmla="*/ 22945491 h 31"/>
                  <a:gd name="T56" fmla="*/ 104225964 w 64"/>
                  <a:gd name="T57" fmla="*/ 27862838 h 31"/>
                  <a:gd name="T58" fmla="*/ 104225964 w 64"/>
                  <a:gd name="T59" fmla="*/ 27862838 h 31"/>
                  <a:gd name="T60" fmla="*/ 104225964 w 64"/>
                  <a:gd name="T61" fmla="*/ 32780184 h 31"/>
                  <a:gd name="T62" fmla="*/ 104225964 w 64"/>
                  <a:gd name="T63" fmla="*/ 37696250 h 31"/>
                  <a:gd name="T64" fmla="*/ 93058219 w 64"/>
                  <a:gd name="T65" fmla="*/ 37696250 h 31"/>
                  <a:gd name="T66" fmla="*/ 89336526 w 64"/>
                  <a:gd name="T67" fmla="*/ 45890983 h 31"/>
                  <a:gd name="T68" fmla="*/ 72586272 w 64"/>
                  <a:gd name="T69" fmla="*/ 45890983 h 31"/>
                  <a:gd name="T70" fmla="*/ 67002400 w 64"/>
                  <a:gd name="T71" fmla="*/ 45890983 h 31"/>
                  <a:gd name="T72" fmla="*/ 63279363 w 64"/>
                  <a:gd name="T73" fmla="*/ 45890983 h 31"/>
                  <a:gd name="T74" fmla="*/ 57696855 w 64"/>
                  <a:gd name="T75" fmla="*/ 40974907 h 31"/>
                  <a:gd name="T76" fmla="*/ 46529110 w 64"/>
                  <a:gd name="T77" fmla="*/ 40974907 h 31"/>
                  <a:gd name="T78" fmla="*/ 11166384 w 64"/>
                  <a:gd name="T79" fmla="*/ 50808329 h 31"/>
                  <a:gd name="T80" fmla="*/ 0 w 64"/>
                  <a:gd name="T81" fmla="*/ 45890983 h 31"/>
                  <a:gd name="T82" fmla="*/ 5583874 w 64"/>
                  <a:gd name="T83" fmla="*/ 40974907 h 3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64"/>
                  <a:gd name="T127" fmla="*/ 0 h 31"/>
                  <a:gd name="T128" fmla="*/ 64 w 64"/>
                  <a:gd name="T129" fmla="*/ 31 h 3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64" h="31">
                    <a:moveTo>
                      <a:pt x="3" y="25"/>
                    </a:moveTo>
                    <a:lnTo>
                      <a:pt x="3" y="23"/>
                    </a:lnTo>
                    <a:lnTo>
                      <a:pt x="9" y="17"/>
                    </a:lnTo>
                    <a:lnTo>
                      <a:pt x="31" y="12"/>
                    </a:lnTo>
                    <a:lnTo>
                      <a:pt x="39" y="14"/>
                    </a:lnTo>
                    <a:lnTo>
                      <a:pt x="42" y="14"/>
                    </a:lnTo>
                    <a:lnTo>
                      <a:pt x="39" y="12"/>
                    </a:lnTo>
                    <a:lnTo>
                      <a:pt x="39" y="9"/>
                    </a:lnTo>
                    <a:lnTo>
                      <a:pt x="42" y="9"/>
                    </a:lnTo>
                    <a:lnTo>
                      <a:pt x="45" y="12"/>
                    </a:lnTo>
                    <a:lnTo>
                      <a:pt x="56" y="6"/>
                    </a:lnTo>
                    <a:lnTo>
                      <a:pt x="59" y="6"/>
                    </a:lnTo>
                    <a:lnTo>
                      <a:pt x="64" y="0"/>
                    </a:lnTo>
                    <a:lnTo>
                      <a:pt x="62" y="3"/>
                    </a:lnTo>
                    <a:lnTo>
                      <a:pt x="62" y="6"/>
                    </a:lnTo>
                    <a:lnTo>
                      <a:pt x="56" y="9"/>
                    </a:lnTo>
                    <a:lnTo>
                      <a:pt x="53" y="12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3" y="14"/>
                    </a:lnTo>
                    <a:lnTo>
                      <a:pt x="56" y="17"/>
                    </a:lnTo>
                    <a:lnTo>
                      <a:pt x="56" y="20"/>
                    </a:lnTo>
                    <a:lnTo>
                      <a:pt x="56" y="23"/>
                    </a:lnTo>
                    <a:lnTo>
                      <a:pt x="50" y="23"/>
                    </a:lnTo>
                    <a:lnTo>
                      <a:pt x="48" y="28"/>
                    </a:lnTo>
                    <a:lnTo>
                      <a:pt x="39" y="28"/>
                    </a:lnTo>
                    <a:lnTo>
                      <a:pt x="36" y="28"/>
                    </a:lnTo>
                    <a:lnTo>
                      <a:pt x="34" y="28"/>
                    </a:lnTo>
                    <a:lnTo>
                      <a:pt x="31" y="25"/>
                    </a:lnTo>
                    <a:lnTo>
                      <a:pt x="25" y="25"/>
                    </a:lnTo>
                    <a:lnTo>
                      <a:pt x="6" y="31"/>
                    </a:lnTo>
                    <a:lnTo>
                      <a:pt x="0" y="28"/>
                    </a:lnTo>
                    <a:lnTo>
                      <a:pt x="3" y="2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5" name="Freeform 1359"/>
              <p:cNvSpPr>
                <a:spLocks noChangeAspect="1"/>
              </p:cNvSpPr>
              <p:nvPr>
                <p:custDataLst>
                  <p:tags r:id="rId460"/>
                </p:custDataLst>
              </p:nvPr>
            </p:nvSpPr>
            <p:spPr bwMode="gray">
              <a:xfrm>
                <a:off x="3346828" y="3023715"/>
                <a:ext cx="154883" cy="77259"/>
              </a:xfrm>
              <a:custGeom>
                <a:avLst/>
                <a:gdLst>
                  <a:gd name="T0" fmla="*/ 36416934 w 120"/>
                  <a:gd name="T1" fmla="*/ 97341877 h 59"/>
                  <a:gd name="T2" fmla="*/ 36416934 w 120"/>
                  <a:gd name="T3" fmla="*/ 92126194 h 59"/>
                  <a:gd name="T4" fmla="*/ 30953316 w 120"/>
                  <a:gd name="T5" fmla="*/ 81697444 h 59"/>
                  <a:gd name="T6" fmla="*/ 5462270 w 120"/>
                  <a:gd name="T7" fmla="*/ 97341877 h 59"/>
                  <a:gd name="T8" fmla="*/ 0 w 120"/>
                  <a:gd name="T9" fmla="*/ 92126194 h 59"/>
                  <a:gd name="T10" fmla="*/ 56445712 w 120"/>
                  <a:gd name="T11" fmla="*/ 53885303 h 59"/>
                  <a:gd name="T12" fmla="*/ 76474480 w 120"/>
                  <a:gd name="T13" fmla="*/ 34764198 h 59"/>
                  <a:gd name="T14" fmla="*/ 81936749 w 120"/>
                  <a:gd name="T15" fmla="*/ 34764198 h 59"/>
                  <a:gd name="T16" fmla="*/ 91041001 w 120"/>
                  <a:gd name="T17" fmla="*/ 15644417 h 59"/>
                  <a:gd name="T18" fmla="*/ 91041001 w 120"/>
                  <a:gd name="T19" fmla="*/ 24335469 h 59"/>
                  <a:gd name="T20" fmla="*/ 101965538 w 120"/>
                  <a:gd name="T21" fmla="*/ 5214366 h 59"/>
                  <a:gd name="T22" fmla="*/ 101965538 w 120"/>
                  <a:gd name="T23" fmla="*/ 19121100 h 59"/>
                  <a:gd name="T24" fmla="*/ 101965538 w 120"/>
                  <a:gd name="T25" fmla="*/ 19121100 h 59"/>
                  <a:gd name="T26" fmla="*/ 111069769 w 120"/>
                  <a:gd name="T27" fmla="*/ 15644417 h 59"/>
                  <a:gd name="T28" fmla="*/ 111069769 w 120"/>
                  <a:gd name="T29" fmla="*/ 5214366 h 59"/>
                  <a:gd name="T30" fmla="*/ 111069769 w 120"/>
                  <a:gd name="T31" fmla="*/ 0 h 59"/>
                  <a:gd name="T32" fmla="*/ 142023074 w 120"/>
                  <a:gd name="T33" fmla="*/ 29549834 h 59"/>
                  <a:gd name="T34" fmla="*/ 147485343 w 120"/>
                  <a:gd name="T35" fmla="*/ 10430050 h 59"/>
                  <a:gd name="T36" fmla="*/ 162051842 w 120"/>
                  <a:gd name="T37" fmla="*/ 10430050 h 59"/>
                  <a:gd name="T38" fmla="*/ 178440040 w 120"/>
                  <a:gd name="T39" fmla="*/ 43456574 h 59"/>
                  <a:gd name="T40" fmla="*/ 203931076 w 120"/>
                  <a:gd name="T41" fmla="*/ 53885303 h 59"/>
                  <a:gd name="T42" fmla="*/ 207573038 w 120"/>
                  <a:gd name="T43" fmla="*/ 67792033 h 59"/>
                  <a:gd name="T44" fmla="*/ 207573038 w 120"/>
                  <a:gd name="T45" fmla="*/ 81697444 h 59"/>
                  <a:gd name="T46" fmla="*/ 213035307 w 120"/>
                  <a:gd name="T47" fmla="*/ 86911829 h 59"/>
                  <a:gd name="T48" fmla="*/ 213035307 w 120"/>
                  <a:gd name="T49" fmla="*/ 92126194 h 59"/>
                  <a:gd name="T50" fmla="*/ 213035307 w 120"/>
                  <a:gd name="T51" fmla="*/ 97341877 h 59"/>
                  <a:gd name="T52" fmla="*/ 218497576 w 120"/>
                  <a:gd name="T53" fmla="*/ 102556241 h 59"/>
                  <a:gd name="T54" fmla="*/ 198468808 w 120"/>
                  <a:gd name="T55" fmla="*/ 97341877 h 59"/>
                  <a:gd name="T56" fmla="*/ 198468808 w 120"/>
                  <a:gd name="T57" fmla="*/ 92126194 h 59"/>
                  <a:gd name="T58" fmla="*/ 187544270 w 120"/>
                  <a:gd name="T59" fmla="*/ 92126194 h 59"/>
                  <a:gd name="T60" fmla="*/ 156589574 w 120"/>
                  <a:gd name="T61" fmla="*/ 97341877 h 59"/>
                  <a:gd name="T62" fmla="*/ 152948961 w 120"/>
                  <a:gd name="T63" fmla="*/ 102556241 h 59"/>
                  <a:gd name="T64" fmla="*/ 132918843 w 120"/>
                  <a:gd name="T65" fmla="*/ 102556241 h 59"/>
                  <a:gd name="T66" fmla="*/ 116532038 w 120"/>
                  <a:gd name="T67" fmla="*/ 86911829 h 59"/>
                  <a:gd name="T68" fmla="*/ 107427807 w 120"/>
                  <a:gd name="T69" fmla="*/ 86911829 h 59"/>
                  <a:gd name="T70" fmla="*/ 101965538 w 120"/>
                  <a:gd name="T71" fmla="*/ 81697444 h 59"/>
                  <a:gd name="T72" fmla="*/ 107427807 w 120"/>
                  <a:gd name="T73" fmla="*/ 78220762 h 59"/>
                  <a:gd name="T74" fmla="*/ 121994306 w 120"/>
                  <a:gd name="T75" fmla="*/ 62576350 h 59"/>
                  <a:gd name="T76" fmla="*/ 121994306 w 120"/>
                  <a:gd name="T77" fmla="*/ 62576350 h 59"/>
                  <a:gd name="T78" fmla="*/ 76474480 w 120"/>
                  <a:gd name="T79" fmla="*/ 86911829 h 59"/>
                  <a:gd name="T80" fmla="*/ 50983444 w 120"/>
                  <a:gd name="T81" fmla="*/ 97341877 h 5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0"/>
                  <a:gd name="T124" fmla="*/ 0 h 59"/>
                  <a:gd name="T125" fmla="*/ 120 w 120"/>
                  <a:gd name="T126" fmla="*/ 59 h 5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0" h="59">
                    <a:moveTo>
                      <a:pt x="20" y="56"/>
                    </a:moveTo>
                    <a:lnTo>
                      <a:pt x="20" y="56"/>
                    </a:lnTo>
                    <a:lnTo>
                      <a:pt x="20" y="53"/>
                    </a:lnTo>
                    <a:lnTo>
                      <a:pt x="20" y="50"/>
                    </a:lnTo>
                    <a:lnTo>
                      <a:pt x="17" y="47"/>
                    </a:lnTo>
                    <a:lnTo>
                      <a:pt x="6" y="56"/>
                    </a:lnTo>
                    <a:lnTo>
                      <a:pt x="3" y="56"/>
                    </a:lnTo>
                    <a:lnTo>
                      <a:pt x="0" y="56"/>
                    </a:lnTo>
                    <a:lnTo>
                      <a:pt x="0" y="53"/>
                    </a:lnTo>
                    <a:lnTo>
                      <a:pt x="25" y="31"/>
                    </a:lnTo>
                    <a:lnTo>
                      <a:pt x="31" y="31"/>
                    </a:lnTo>
                    <a:lnTo>
                      <a:pt x="36" y="22"/>
                    </a:lnTo>
                    <a:lnTo>
                      <a:pt x="42" y="20"/>
                    </a:lnTo>
                    <a:lnTo>
                      <a:pt x="45" y="20"/>
                    </a:lnTo>
                    <a:lnTo>
                      <a:pt x="45" y="14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3" y="14"/>
                    </a:lnTo>
                    <a:lnTo>
                      <a:pt x="56" y="3"/>
                    </a:lnTo>
                    <a:lnTo>
                      <a:pt x="56" y="6"/>
                    </a:lnTo>
                    <a:lnTo>
                      <a:pt x="56" y="11"/>
                    </a:lnTo>
                    <a:lnTo>
                      <a:pt x="56" y="14"/>
                    </a:lnTo>
                    <a:lnTo>
                      <a:pt x="56" y="11"/>
                    </a:lnTo>
                    <a:lnTo>
                      <a:pt x="59" y="9"/>
                    </a:lnTo>
                    <a:lnTo>
                      <a:pt x="61" y="9"/>
                    </a:lnTo>
                    <a:lnTo>
                      <a:pt x="61" y="3"/>
                    </a:lnTo>
                    <a:lnTo>
                      <a:pt x="61" y="0"/>
                    </a:lnTo>
                    <a:lnTo>
                      <a:pt x="73" y="3"/>
                    </a:lnTo>
                    <a:lnTo>
                      <a:pt x="78" y="17"/>
                    </a:lnTo>
                    <a:lnTo>
                      <a:pt x="78" y="6"/>
                    </a:lnTo>
                    <a:lnTo>
                      <a:pt x="81" y="6"/>
                    </a:lnTo>
                    <a:lnTo>
                      <a:pt x="86" y="6"/>
                    </a:lnTo>
                    <a:lnTo>
                      <a:pt x="89" y="6"/>
                    </a:lnTo>
                    <a:lnTo>
                      <a:pt x="95" y="22"/>
                    </a:lnTo>
                    <a:lnTo>
                      <a:pt x="98" y="25"/>
                    </a:lnTo>
                    <a:lnTo>
                      <a:pt x="112" y="22"/>
                    </a:lnTo>
                    <a:lnTo>
                      <a:pt x="112" y="31"/>
                    </a:lnTo>
                    <a:lnTo>
                      <a:pt x="112" y="34"/>
                    </a:lnTo>
                    <a:lnTo>
                      <a:pt x="114" y="39"/>
                    </a:lnTo>
                    <a:lnTo>
                      <a:pt x="114" y="45"/>
                    </a:lnTo>
                    <a:lnTo>
                      <a:pt x="114" y="47"/>
                    </a:lnTo>
                    <a:lnTo>
                      <a:pt x="120" y="50"/>
                    </a:lnTo>
                    <a:lnTo>
                      <a:pt x="117" y="50"/>
                    </a:lnTo>
                    <a:lnTo>
                      <a:pt x="117" y="53"/>
                    </a:lnTo>
                    <a:lnTo>
                      <a:pt x="117" y="56"/>
                    </a:lnTo>
                    <a:lnTo>
                      <a:pt x="120" y="59"/>
                    </a:lnTo>
                    <a:lnTo>
                      <a:pt x="114" y="59"/>
                    </a:lnTo>
                    <a:lnTo>
                      <a:pt x="109" y="56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3" y="53"/>
                    </a:lnTo>
                    <a:lnTo>
                      <a:pt x="92" y="53"/>
                    </a:lnTo>
                    <a:lnTo>
                      <a:pt x="86" y="56"/>
                    </a:lnTo>
                    <a:lnTo>
                      <a:pt x="84" y="59"/>
                    </a:lnTo>
                    <a:lnTo>
                      <a:pt x="75" y="59"/>
                    </a:lnTo>
                    <a:lnTo>
                      <a:pt x="73" y="59"/>
                    </a:lnTo>
                    <a:lnTo>
                      <a:pt x="70" y="53"/>
                    </a:lnTo>
                    <a:lnTo>
                      <a:pt x="64" y="50"/>
                    </a:lnTo>
                    <a:lnTo>
                      <a:pt x="59" y="50"/>
                    </a:lnTo>
                    <a:lnTo>
                      <a:pt x="56" y="53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9" y="45"/>
                    </a:lnTo>
                    <a:lnTo>
                      <a:pt x="64" y="39"/>
                    </a:lnTo>
                    <a:lnTo>
                      <a:pt x="67" y="36"/>
                    </a:lnTo>
                    <a:lnTo>
                      <a:pt x="59" y="36"/>
                    </a:lnTo>
                    <a:lnTo>
                      <a:pt x="42" y="50"/>
                    </a:lnTo>
                    <a:lnTo>
                      <a:pt x="34" y="50"/>
                    </a:lnTo>
                    <a:lnTo>
                      <a:pt x="28" y="56"/>
                    </a:lnTo>
                    <a:lnTo>
                      <a:pt x="20" y="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6" name="Freeform 1360"/>
              <p:cNvSpPr>
                <a:spLocks noChangeAspect="1"/>
              </p:cNvSpPr>
              <p:nvPr>
                <p:custDataLst>
                  <p:tags r:id="rId461"/>
                </p:custDataLst>
              </p:nvPr>
            </p:nvSpPr>
            <p:spPr bwMode="gray">
              <a:xfrm>
                <a:off x="3530560" y="3206616"/>
                <a:ext cx="12148" cy="7884"/>
              </a:xfrm>
              <a:custGeom>
                <a:avLst/>
                <a:gdLst>
                  <a:gd name="T0" fmla="*/ 17921109 w 9"/>
                  <a:gd name="T1" fmla="*/ 5250325 h 6"/>
                  <a:gd name="T2" fmla="*/ 17921109 w 9"/>
                  <a:gd name="T3" fmla="*/ 10499327 h 6"/>
                  <a:gd name="T4" fmla="*/ 11947878 w 9"/>
                  <a:gd name="T5" fmla="*/ 10499327 h 6"/>
                  <a:gd name="T6" fmla="*/ 5973234 w 9"/>
                  <a:gd name="T7" fmla="*/ 10499327 h 6"/>
                  <a:gd name="T8" fmla="*/ 0 w 9"/>
                  <a:gd name="T9" fmla="*/ 10499327 h 6"/>
                  <a:gd name="T10" fmla="*/ 0 w 9"/>
                  <a:gd name="T11" fmla="*/ 10499327 h 6"/>
                  <a:gd name="T12" fmla="*/ 0 w 9"/>
                  <a:gd name="T13" fmla="*/ 5250325 h 6"/>
                  <a:gd name="T14" fmla="*/ 0 w 9"/>
                  <a:gd name="T15" fmla="*/ 5250325 h 6"/>
                  <a:gd name="T16" fmla="*/ 5973234 w 9"/>
                  <a:gd name="T17" fmla="*/ 0 h 6"/>
                  <a:gd name="T18" fmla="*/ 11947878 w 9"/>
                  <a:gd name="T19" fmla="*/ 0 h 6"/>
                  <a:gd name="T20" fmla="*/ 11947878 w 9"/>
                  <a:gd name="T21" fmla="*/ 5250325 h 6"/>
                  <a:gd name="T22" fmla="*/ 17921109 w 9"/>
                  <a:gd name="T23" fmla="*/ 5250325 h 6"/>
                  <a:gd name="T24" fmla="*/ 17921109 w 9"/>
                  <a:gd name="T25" fmla="*/ 5250325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"/>
                  <a:gd name="T40" fmla="*/ 0 h 6"/>
                  <a:gd name="T41" fmla="*/ 9 w 9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" h="6">
                    <a:moveTo>
                      <a:pt x="9" y="3"/>
                    </a:moveTo>
                    <a:lnTo>
                      <a:pt x="9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7" name="Freeform 1361"/>
              <p:cNvSpPr>
                <a:spLocks noChangeAspect="1"/>
              </p:cNvSpPr>
              <p:nvPr>
                <p:custDataLst>
                  <p:tags r:id="rId462"/>
                </p:custDataLst>
              </p:nvPr>
            </p:nvSpPr>
            <p:spPr bwMode="gray">
              <a:xfrm>
                <a:off x="3521449" y="3200308"/>
                <a:ext cx="92626" cy="37842"/>
              </a:xfrm>
              <a:custGeom>
                <a:avLst/>
                <a:gdLst>
                  <a:gd name="T0" fmla="*/ 95875001 w 72"/>
                  <a:gd name="T1" fmla="*/ 22580604 h 30"/>
                  <a:gd name="T2" fmla="*/ 79594098 w 72"/>
                  <a:gd name="T3" fmla="*/ 30645102 h 30"/>
                  <a:gd name="T4" fmla="*/ 75976125 w 72"/>
                  <a:gd name="T5" fmla="*/ 30645102 h 30"/>
                  <a:gd name="T6" fmla="*/ 45223348 w 72"/>
                  <a:gd name="T7" fmla="*/ 43548309 h 30"/>
                  <a:gd name="T8" fmla="*/ 39796377 w 72"/>
                  <a:gd name="T9" fmla="*/ 43548309 h 30"/>
                  <a:gd name="T10" fmla="*/ 30752787 w 72"/>
                  <a:gd name="T11" fmla="*/ 48387008 h 30"/>
                  <a:gd name="T12" fmla="*/ 19898861 w 72"/>
                  <a:gd name="T13" fmla="*/ 48387008 h 30"/>
                  <a:gd name="T14" fmla="*/ 19898861 w 72"/>
                  <a:gd name="T15" fmla="*/ 43548309 h 30"/>
                  <a:gd name="T16" fmla="*/ 14471900 w 72"/>
                  <a:gd name="T17" fmla="*/ 43548309 h 30"/>
                  <a:gd name="T18" fmla="*/ 9044937 w 72"/>
                  <a:gd name="T19" fmla="*/ 43548309 h 30"/>
                  <a:gd name="T20" fmla="*/ 9044937 w 72"/>
                  <a:gd name="T21" fmla="*/ 40322500 h 30"/>
                  <a:gd name="T22" fmla="*/ 0 w 72"/>
                  <a:gd name="T23" fmla="*/ 40322500 h 30"/>
                  <a:gd name="T24" fmla="*/ 9044937 w 72"/>
                  <a:gd name="T25" fmla="*/ 30645102 h 30"/>
                  <a:gd name="T26" fmla="*/ 19898861 w 72"/>
                  <a:gd name="T27" fmla="*/ 30645102 h 30"/>
                  <a:gd name="T28" fmla="*/ 19898861 w 72"/>
                  <a:gd name="T29" fmla="*/ 30645102 h 30"/>
                  <a:gd name="T30" fmla="*/ 30752787 w 72"/>
                  <a:gd name="T31" fmla="*/ 30645102 h 30"/>
                  <a:gd name="T32" fmla="*/ 30752787 w 72"/>
                  <a:gd name="T33" fmla="*/ 30645102 h 30"/>
                  <a:gd name="T34" fmla="*/ 39796377 w 72"/>
                  <a:gd name="T35" fmla="*/ 22580604 h 30"/>
                  <a:gd name="T36" fmla="*/ 45223348 w 72"/>
                  <a:gd name="T37" fmla="*/ 17741900 h 30"/>
                  <a:gd name="T38" fmla="*/ 50650308 w 72"/>
                  <a:gd name="T39" fmla="*/ 17741900 h 30"/>
                  <a:gd name="T40" fmla="*/ 50650308 w 72"/>
                  <a:gd name="T41" fmla="*/ 12903202 h 30"/>
                  <a:gd name="T42" fmla="*/ 54268282 w 72"/>
                  <a:gd name="T43" fmla="*/ 8064500 h 30"/>
                  <a:gd name="T44" fmla="*/ 65122203 w 72"/>
                  <a:gd name="T45" fmla="*/ 8064500 h 30"/>
                  <a:gd name="T46" fmla="*/ 85021059 w 72"/>
                  <a:gd name="T47" fmla="*/ 8064500 h 30"/>
                  <a:gd name="T48" fmla="*/ 90448041 w 72"/>
                  <a:gd name="T49" fmla="*/ 3225800 h 30"/>
                  <a:gd name="T50" fmla="*/ 115772512 w 72"/>
                  <a:gd name="T51" fmla="*/ 0 h 30"/>
                  <a:gd name="T52" fmla="*/ 130244407 w 72"/>
                  <a:gd name="T53" fmla="*/ 0 h 30"/>
                  <a:gd name="T54" fmla="*/ 124817446 w 72"/>
                  <a:gd name="T55" fmla="*/ 8064500 h 30"/>
                  <a:gd name="T56" fmla="*/ 121199473 w 72"/>
                  <a:gd name="T57" fmla="*/ 8064500 h 30"/>
                  <a:gd name="T58" fmla="*/ 121199473 w 72"/>
                  <a:gd name="T59" fmla="*/ 8064500 h 30"/>
                  <a:gd name="T60" fmla="*/ 121199473 w 72"/>
                  <a:gd name="T61" fmla="*/ 12903202 h 30"/>
                  <a:gd name="T62" fmla="*/ 99491630 w 72"/>
                  <a:gd name="T63" fmla="*/ 22580604 h 30"/>
                  <a:gd name="T64" fmla="*/ 95875001 w 72"/>
                  <a:gd name="T65" fmla="*/ 22580604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2"/>
                  <a:gd name="T100" fmla="*/ 0 h 30"/>
                  <a:gd name="T101" fmla="*/ 72 w 7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2" h="30">
                    <a:moveTo>
                      <a:pt x="53" y="14"/>
                    </a:moveTo>
                    <a:lnTo>
                      <a:pt x="44" y="19"/>
                    </a:lnTo>
                    <a:lnTo>
                      <a:pt x="42" y="19"/>
                    </a:lnTo>
                    <a:lnTo>
                      <a:pt x="25" y="27"/>
                    </a:lnTo>
                    <a:lnTo>
                      <a:pt x="22" y="27"/>
                    </a:lnTo>
                    <a:lnTo>
                      <a:pt x="17" y="30"/>
                    </a:lnTo>
                    <a:lnTo>
                      <a:pt x="11" y="30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5" y="19"/>
                    </a:lnTo>
                    <a:lnTo>
                      <a:pt x="11" y="19"/>
                    </a:lnTo>
                    <a:lnTo>
                      <a:pt x="17" y="19"/>
                    </a:lnTo>
                    <a:lnTo>
                      <a:pt x="22" y="14"/>
                    </a:lnTo>
                    <a:lnTo>
                      <a:pt x="25" y="11"/>
                    </a:lnTo>
                    <a:lnTo>
                      <a:pt x="28" y="11"/>
                    </a:lnTo>
                    <a:lnTo>
                      <a:pt x="28" y="8"/>
                    </a:lnTo>
                    <a:lnTo>
                      <a:pt x="30" y="5"/>
                    </a:lnTo>
                    <a:lnTo>
                      <a:pt x="36" y="5"/>
                    </a:lnTo>
                    <a:lnTo>
                      <a:pt x="47" y="5"/>
                    </a:lnTo>
                    <a:lnTo>
                      <a:pt x="50" y="2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69" y="5"/>
                    </a:lnTo>
                    <a:lnTo>
                      <a:pt x="67" y="5"/>
                    </a:lnTo>
                    <a:lnTo>
                      <a:pt x="67" y="8"/>
                    </a:lnTo>
                    <a:lnTo>
                      <a:pt x="55" y="14"/>
                    </a:lnTo>
                    <a:lnTo>
                      <a:pt x="53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8" name="Freeform 1369"/>
              <p:cNvSpPr>
                <a:spLocks noChangeAspect="1"/>
              </p:cNvSpPr>
              <p:nvPr>
                <p:custDataLst>
                  <p:tags r:id="rId463"/>
                </p:custDataLst>
              </p:nvPr>
            </p:nvSpPr>
            <p:spPr bwMode="gray">
              <a:xfrm>
                <a:off x="3430342" y="3096246"/>
                <a:ext cx="165512" cy="135599"/>
              </a:xfrm>
              <a:custGeom>
                <a:avLst/>
                <a:gdLst>
                  <a:gd name="T0" fmla="*/ 10964929 w 128"/>
                  <a:gd name="T1" fmla="*/ 175840366 h 106"/>
                  <a:gd name="T2" fmla="*/ 25585289 w 128"/>
                  <a:gd name="T3" fmla="*/ 54742665 h 106"/>
                  <a:gd name="T4" fmla="*/ 16448070 w 128"/>
                  <a:gd name="T5" fmla="*/ 64696108 h 106"/>
                  <a:gd name="T6" fmla="*/ 0 w 128"/>
                  <a:gd name="T7" fmla="*/ 72990643 h 106"/>
                  <a:gd name="T8" fmla="*/ 36550215 w 128"/>
                  <a:gd name="T9" fmla="*/ 28201430 h 106"/>
                  <a:gd name="T10" fmla="*/ 40205641 w 128"/>
                  <a:gd name="T11" fmla="*/ 36494678 h 106"/>
                  <a:gd name="T12" fmla="*/ 65790930 w 128"/>
                  <a:gd name="T13" fmla="*/ 18247983 h 106"/>
                  <a:gd name="T14" fmla="*/ 91376229 w 128"/>
                  <a:gd name="T15" fmla="*/ 28201430 h 106"/>
                  <a:gd name="T16" fmla="*/ 96859368 w 128"/>
                  <a:gd name="T17" fmla="*/ 23224709 h 106"/>
                  <a:gd name="T18" fmla="*/ 111478369 w 128"/>
                  <a:gd name="T19" fmla="*/ 23224709 h 106"/>
                  <a:gd name="T20" fmla="*/ 111478369 w 128"/>
                  <a:gd name="T21" fmla="*/ 23224709 h 106"/>
                  <a:gd name="T22" fmla="*/ 107824295 w 128"/>
                  <a:gd name="T23" fmla="*/ 13271262 h 106"/>
                  <a:gd name="T24" fmla="*/ 102341156 w 128"/>
                  <a:gd name="T25" fmla="*/ 4976722 h 106"/>
                  <a:gd name="T26" fmla="*/ 102341156 w 128"/>
                  <a:gd name="T27" fmla="*/ 0 h 106"/>
                  <a:gd name="T28" fmla="*/ 107824295 w 128"/>
                  <a:gd name="T29" fmla="*/ 8294538 h 106"/>
                  <a:gd name="T30" fmla="*/ 116961508 w 128"/>
                  <a:gd name="T31" fmla="*/ 8294538 h 106"/>
                  <a:gd name="T32" fmla="*/ 148029925 w 128"/>
                  <a:gd name="T33" fmla="*/ 13271262 h 106"/>
                  <a:gd name="T34" fmla="*/ 158994851 w 128"/>
                  <a:gd name="T35" fmla="*/ 13271262 h 106"/>
                  <a:gd name="T36" fmla="*/ 182752459 w 128"/>
                  <a:gd name="T37" fmla="*/ 23224709 h 106"/>
                  <a:gd name="T38" fmla="*/ 204682311 w 128"/>
                  <a:gd name="T39" fmla="*/ 23224709 h 106"/>
                  <a:gd name="T40" fmla="*/ 213820876 w 128"/>
                  <a:gd name="T41" fmla="*/ 41471399 h 106"/>
                  <a:gd name="T42" fmla="*/ 224785802 w 128"/>
                  <a:gd name="T43" fmla="*/ 46448130 h 106"/>
                  <a:gd name="T44" fmla="*/ 224785802 w 128"/>
                  <a:gd name="T45" fmla="*/ 54742665 h 106"/>
                  <a:gd name="T46" fmla="*/ 233923015 w 128"/>
                  <a:gd name="T47" fmla="*/ 64696108 h 106"/>
                  <a:gd name="T48" fmla="*/ 228439876 w 128"/>
                  <a:gd name="T49" fmla="*/ 64696108 h 106"/>
                  <a:gd name="T50" fmla="*/ 224785802 w 128"/>
                  <a:gd name="T51" fmla="*/ 64696108 h 106"/>
                  <a:gd name="T52" fmla="*/ 224785802 w 128"/>
                  <a:gd name="T53" fmla="*/ 72990643 h 106"/>
                  <a:gd name="T54" fmla="*/ 204682311 w 128"/>
                  <a:gd name="T55" fmla="*/ 69672829 h 106"/>
                  <a:gd name="T56" fmla="*/ 199200524 w 128"/>
                  <a:gd name="T57" fmla="*/ 64696108 h 106"/>
                  <a:gd name="T58" fmla="*/ 193717385 w 128"/>
                  <a:gd name="T59" fmla="*/ 59719387 h 106"/>
                  <a:gd name="T60" fmla="*/ 188234246 w 128"/>
                  <a:gd name="T61" fmla="*/ 49765944 h 106"/>
                  <a:gd name="T62" fmla="*/ 182752459 w 128"/>
                  <a:gd name="T63" fmla="*/ 49765944 h 106"/>
                  <a:gd name="T64" fmla="*/ 188234246 w 128"/>
                  <a:gd name="T65" fmla="*/ 72990643 h 106"/>
                  <a:gd name="T66" fmla="*/ 173615203 w 128"/>
                  <a:gd name="T67" fmla="*/ 119438773 h 106"/>
                  <a:gd name="T68" fmla="*/ 162648925 w 128"/>
                  <a:gd name="T69" fmla="*/ 129392216 h 106"/>
                  <a:gd name="T70" fmla="*/ 153511712 w 128"/>
                  <a:gd name="T71" fmla="*/ 119438773 h 106"/>
                  <a:gd name="T72" fmla="*/ 137063647 w 128"/>
                  <a:gd name="T73" fmla="*/ 92896260 h 106"/>
                  <a:gd name="T74" fmla="*/ 127926434 w 128"/>
                  <a:gd name="T75" fmla="*/ 101190796 h 106"/>
                  <a:gd name="T76" fmla="*/ 111478369 w 128"/>
                  <a:gd name="T77" fmla="*/ 106167517 h 106"/>
                  <a:gd name="T78" fmla="*/ 127926434 w 128"/>
                  <a:gd name="T79" fmla="*/ 82944086 h 106"/>
                  <a:gd name="T80" fmla="*/ 127926434 w 128"/>
                  <a:gd name="T81" fmla="*/ 54742665 h 106"/>
                  <a:gd name="T82" fmla="*/ 127926434 w 128"/>
                  <a:gd name="T83" fmla="*/ 49765944 h 106"/>
                  <a:gd name="T84" fmla="*/ 111478369 w 128"/>
                  <a:gd name="T85" fmla="*/ 41471399 h 106"/>
                  <a:gd name="T86" fmla="*/ 102341156 w 128"/>
                  <a:gd name="T87" fmla="*/ 31517956 h 106"/>
                  <a:gd name="T88" fmla="*/ 91376229 w 128"/>
                  <a:gd name="T89" fmla="*/ 31517956 h 106"/>
                  <a:gd name="T90" fmla="*/ 82238995 w 128"/>
                  <a:gd name="T91" fmla="*/ 41471399 h 106"/>
                  <a:gd name="T92" fmla="*/ 71274069 w 128"/>
                  <a:gd name="T93" fmla="*/ 49765944 h 106"/>
                  <a:gd name="T94" fmla="*/ 65790930 w 128"/>
                  <a:gd name="T95" fmla="*/ 64696108 h 106"/>
                  <a:gd name="T96" fmla="*/ 65790930 w 128"/>
                  <a:gd name="T97" fmla="*/ 54742665 h 106"/>
                  <a:gd name="T98" fmla="*/ 51170578 w 128"/>
                  <a:gd name="T99" fmla="*/ 64696108 h 106"/>
                  <a:gd name="T100" fmla="*/ 45687439 w 128"/>
                  <a:gd name="T101" fmla="*/ 82944086 h 106"/>
                  <a:gd name="T102" fmla="*/ 40205641 w 128"/>
                  <a:gd name="T103" fmla="*/ 106167517 h 106"/>
                  <a:gd name="T104" fmla="*/ 36550215 w 128"/>
                  <a:gd name="T105" fmla="*/ 170863645 h 10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8"/>
                  <a:gd name="T160" fmla="*/ 0 h 106"/>
                  <a:gd name="T161" fmla="*/ 128 w 128"/>
                  <a:gd name="T162" fmla="*/ 106 h 10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8" h="106">
                    <a:moveTo>
                      <a:pt x="11" y="106"/>
                    </a:moveTo>
                    <a:lnTo>
                      <a:pt x="9" y="106"/>
                    </a:lnTo>
                    <a:lnTo>
                      <a:pt x="6" y="106"/>
                    </a:lnTo>
                    <a:lnTo>
                      <a:pt x="3" y="95"/>
                    </a:lnTo>
                    <a:lnTo>
                      <a:pt x="0" y="72"/>
                    </a:lnTo>
                    <a:lnTo>
                      <a:pt x="14" y="33"/>
                    </a:lnTo>
                    <a:lnTo>
                      <a:pt x="14" y="30"/>
                    </a:lnTo>
                    <a:lnTo>
                      <a:pt x="9" y="33"/>
                    </a:lnTo>
                    <a:lnTo>
                      <a:pt x="9" y="39"/>
                    </a:lnTo>
                    <a:lnTo>
                      <a:pt x="6" y="39"/>
                    </a:lnTo>
                    <a:lnTo>
                      <a:pt x="0" y="44"/>
                    </a:lnTo>
                    <a:lnTo>
                      <a:pt x="14" y="19"/>
                    </a:lnTo>
                    <a:lnTo>
                      <a:pt x="17" y="19"/>
                    </a:lnTo>
                    <a:lnTo>
                      <a:pt x="20" y="17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6" y="14"/>
                    </a:lnTo>
                    <a:lnTo>
                      <a:pt x="36" y="11"/>
                    </a:lnTo>
                    <a:lnTo>
                      <a:pt x="42" y="11"/>
                    </a:lnTo>
                    <a:lnTo>
                      <a:pt x="48" y="14"/>
                    </a:lnTo>
                    <a:lnTo>
                      <a:pt x="50" y="17"/>
                    </a:lnTo>
                    <a:lnTo>
                      <a:pt x="53" y="14"/>
                    </a:lnTo>
                    <a:lnTo>
                      <a:pt x="56" y="14"/>
                    </a:lnTo>
                    <a:lnTo>
                      <a:pt x="61" y="14"/>
                    </a:lnTo>
                    <a:lnTo>
                      <a:pt x="61" y="11"/>
                    </a:lnTo>
                    <a:lnTo>
                      <a:pt x="59" y="11"/>
                    </a:lnTo>
                    <a:lnTo>
                      <a:pt x="59" y="8"/>
                    </a:lnTo>
                    <a:lnTo>
                      <a:pt x="59" y="5"/>
                    </a:lnTo>
                    <a:lnTo>
                      <a:pt x="56" y="5"/>
                    </a:lnTo>
                    <a:lnTo>
                      <a:pt x="56" y="3"/>
                    </a:lnTo>
                    <a:lnTo>
                      <a:pt x="56" y="0"/>
                    </a:lnTo>
                    <a:lnTo>
                      <a:pt x="59" y="0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4" y="5"/>
                    </a:lnTo>
                    <a:lnTo>
                      <a:pt x="75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4" y="11"/>
                    </a:lnTo>
                    <a:lnTo>
                      <a:pt x="87" y="8"/>
                    </a:lnTo>
                    <a:lnTo>
                      <a:pt x="95" y="11"/>
                    </a:lnTo>
                    <a:lnTo>
                      <a:pt x="100" y="11"/>
                    </a:lnTo>
                    <a:lnTo>
                      <a:pt x="100" y="14"/>
                    </a:lnTo>
                    <a:lnTo>
                      <a:pt x="103" y="14"/>
                    </a:lnTo>
                    <a:lnTo>
                      <a:pt x="112" y="14"/>
                    </a:lnTo>
                    <a:lnTo>
                      <a:pt x="114" y="17"/>
                    </a:lnTo>
                    <a:lnTo>
                      <a:pt x="114" y="22"/>
                    </a:lnTo>
                    <a:lnTo>
                      <a:pt x="117" y="25"/>
                    </a:lnTo>
                    <a:lnTo>
                      <a:pt x="120" y="25"/>
                    </a:lnTo>
                    <a:lnTo>
                      <a:pt x="123" y="28"/>
                    </a:lnTo>
                    <a:lnTo>
                      <a:pt x="125" y="30"/>
                    </a:lnTo>
                    <a:lnTo>
                      <a:pt x="123" y="33"/>
                    </a:lnTo>
                    <a:lnTo>
                      <a:pt x="125" y="36"/>
                    </a:lnTo>
                    <a:lnTo>
                      <a:pt x="128" y="36"/>
                    </a:lnTo>
                    <a:lnTo>
                      <a:pt x="128" y="39"/>
                    </a:lnTo>
                    <a:lnTo>
                      <a:pt x="125" y="39"/>
                    </a:lnTo>
                    <a:lnTo>
                      <a:pt x="123" y="39"/>
                    </a:lnTo>
                    <a:lnTo>
                      <a:pt x="125" y="42"/>
                    </a:lnTo>
                    <a:lnTo>
                      <a:pt x="125" y="44"/>
                    </a:lnTo>
                    <a:lnTo>
                      <a:pt x="123" y="44"/>
                    </a:lnTo>
                    <a:lnTo>
                      <a:pt x="120" y="44"/>
                    </a:lnTo>
                    <a:lnTo>
                      <a:pt x="114" y="44"/>
                    </a:lnTo>
                    <a:lnTo>
                      <a:pt x="112" y="42"/>
                    </a:lnTo>
                    <a:lnTo>
                      <a:pt x="109" y="44"/>
                    </a:lnTo>
                    <a:lnTo>
                      <a:pt x="109" y="39"/>
                    </a:lnTo>
                    <a:lnTo>
                      <a:pt x="109" y="36"/>
                    </a:lnTo>
                    <a:lnTo>
                      <a:pt x="106" y="36"/>
                    </a:lnTo>
                    <a:lnTo>
                      <a:pt x="103" y="30"/>
                    </a:lnTo>
                    <a:lnTo>
                      <a:pt x="98" y="28"/>
                    </a:lnTo>
                    <a:lnTo>
                      <a:pt x="98" y="30"/>
                    </a:lnTo>
                    <a:lnTo>
                      <a:pt x="100" y="30"/>
                    </a:lnTo>
                    <a:lnTo>
                      <a:pt x="103" y="39"/>
                    </a:lnTo>
                    <a:lnTo>
                      <a:pt x="103" y="44"/>
                    </a:lnTo>
                    <a:lnTo>
                      <a:pt x="98" y="53"/>
                    </a:lnTo>
                    <a:lnTo>
                      <a:pt x="95" y="69"/>
                    </a:lnTo>
                    <a:lnTo>
                      <a:pt x="95" y="72"/>
                    </a:lnTo>
                    <a:lnTo>
                      <a:pt x="92" y="72"/>
                    </a:lnTo>
                    <a:lnTo>
                      <a:pt x="89" y="75"/>
                    </a:lnTo>
                    <a:lnTo>
                      <a:pt x="89" y="78"/>
                    </a:lnTo>
                    <a:lnTo>
                      <a:pt x="87" y="75"/>
                    </a:lnTo>
                    <a:lnTo>
                      <a:pt x="87" y="78"/>
                    </a:lnTo>
                    <a:lnTo>
                      <a:pt x="84" y="72"/>
                    </a:lnTo>
                    <a:lnTo>
                      <a:pt x="84" y="64"/>
                    </a:lnTo>
                    <a:lnTo>
                      <a:pt x="78" y="56"/>
                    </a:lnTo>
                    <a:lnTo>
                      <a:pt x="75" y="56"/>
                    </a:lnTo>
                    <a:lnTo>
                      <a:pt x="73" y="58"/>
                    </a:lnTo>
                    <a:lnTo>
                      <a:pt x="70" y="58"/>
                    </a:lnTo>
                    <a:lnTo>
                      <a:pt x="70" y="61"/>
                    </a:lnTo>
                    <a:lnTo>
                      <a:pt x="64" y="64"/>
                    </a:lnTo>
                    <a:lnTo>
                      <a:pt x="61" y="64"/>
                    </a:lnTo>
                    <a:lnTo>
                      <a:pt x="64" y="58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3" y="50"/>
                    </a:lnTo>
                    <a:lnTo>
                      <a:pt x="73" y="47"/>
                    </a:lnTo>
                    <a:lnTo>
                      <a:pt x="70" y="33"/>
                    </a:lnTo>
                    <a:lnTo>
                      <a:pt x="73" y="33"/>
                    </a:lnTo>
                    <a:lnTo>
                      <a:pt x="70" y="30"/>
                    </a:lnTo>
                    <a:lnTo>
                      <a:pt x="67" y="28"/>
                    </a:lnTo>
                    <a:lnTo>
                      <a:pt x="64" y="25"/>
                    </a:lnTo>
                    <a:lnTo>
                      <a:pt x="61" y="25"/>
                    </a:lnTo>
                    <a:lnTo>
                      <a:pt x="56" y="22"/>
                    </a:lnTo>
                    <a:lnTo>
                      <a:pt x="56" y="19"/>
                    </a:lnTo>
                    <a:lnTo>
                      <a:pt x="53" y="22"/>
                    </a:lnTo>
                    <a:lnTo>
                      <a:pt x="53" y="19"/>
                    </a:lnTo>
                    <a:lnTo>
                      <a:pt x="50" y="19"/>
                    </a:lnTo>
                    <a:lnTo>
                      <a:pt x="48" y="19"/>
                    </a:lnTo>
                    <a:lnTo>
                      <a:pt x="45" y="22"/>
                    </a:lnTo>
                    <a:lnTo>
                      <a:pt x="45" y="25"/>
                    </a:lnTo>
                    <a:lnTo>
                      <a:pt x="48" y="28"/>
                    </a:lnTo>
                    <a:lnTo>
                      <a:pt x="45" y="28"/>
                    </a:lnTo>
                    <a:lnTo>
                      <a:pt x="39" y="30"/>
                    </a:lnTo>
                    <a:lnTo>
                      <a:pt x="39" y="36"/>
                    </a:lnTo>
                    <a:lnTo>
                      <a:pt x="36" y="36"/>
                    </a:lnTo>
                    <a:lnTo>
                      <a:pt x="36" y="39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31" y="36"/>
                    </a:lnTo>
                    <a:lnTo>
                      <a:pt x="28" y="39"/>
                    </a:lnTo>
                    <a:lnTo>
                      <a:pt x="25" y="42"/>
                    </a:lnTo>
                    <a:lnTo>
                      <a:pt x="25" y="50"/>
                    </a:lnTo>
                    <a:lnTo>
                      <a:pt x="25" y="53"/>
                    </a:lnTo>
                    <a:lnTo>
                      <a:pt x="22" y="64"/>
                    </a:lnTo>
                    <a:lnTo>
                      <a:pt x="25" y="75"/>
                    </a:lnTo>
                    <a:lnTo>
                      <a:pt x="25" y="86"/>
                    </a:lnTo>
                    <a:lnTo>
                      <a:pt x="20" y="103"/>
                    </a:lnTo>
                    <a:lnTo>
                      <a:pt x="11" y="10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9" name="Freeform 1384"/>
              <p:cNvSpPr>
                <a:spLocks noChangeAspect="1"/>
              </p:cNvSpPr>
              <p:nvPr>
                <p:custDataLst>
                  <p:tags r:id="rId464"/>
                </p:custDataLst>
              </p:nvPr>
            </p:nvSpPr>
            <p:spPr bwMode="gray">
              <a:xfrm>
                <a:off x="3469821" y="3906687"/>
                <a:ext cx="21259" cy="23651"/>
              </a:xfrm>
              <a:custGeom>
                <a:avLst/>
                <a:gdLst>
                  <a:gd name="T0" fmla="*/ 8546165 w 17"/>
                  <a:gd name="T1" fmla="*/ 0 h 17"/>
                  <a:gd name="T2" fmla="*/ 8546165 w 17"/>
                  <a:gd name="T3" fmla="*/ 5885766 h 17"/>
                  <a:gd name="T4" fmla="*/ 8546165 w 17"/>
                  <a:gd name="T5" fmla="*/ 5885766 h 17"/>
                  <a:gd name="T6" fmla="*/ 13673603 w 17"/>
                  <a:gd name="T7" fmla="*/ 5885766 h 17"/>
                  <a:gd name="T8" fmla="*/ 23928480 w 17"/>
                  <a:gd name="T9" fmla="*/ 15696309 h 17"/>
                  <a:gd name="T10" fmla="*/ 29055916 w 17"/>
                  <a:gd name="T11" fmla="*/ 21582072 h 17"/>
                  <a:gd name="T12" fmla="*/ 29055916 w 17"/>
                  <a:gd name="T13" fmla="*/ 21582072 h 17"/>
                  <a:gd name="T14" fmla="*/ 29055916 w 17"/>
                  <a:gd name="T15" fmla="*/ 33353604 h 17"/>
                  <a:gd name="T16" fmla="*/ 29055916 w 17"/>
                  <a:gd name="T17" fmla="*/ 33353604 h 17"/>
                  <a:gd name="T18" fmla="*/ 23928480 w 17"/>
                  <a:gd name="T19" fmla="*/ 33353604 h 17"/>
                  <a:gd name="T20" fmla="*/ 23928480 w 17"/>
                  <a:gd name="T21" fmla="*/ 33353604 h 17"/>
                  <a:gd name="T22" fmla="*/ 18801039 w 17"/>
                  <a:gd name="T23" fmla="*/ 33353604 h 17"/>
                  <a:gd name="T24" fmla="*/ 8546165 w 17"/>
                  <a:gd name="T25" fmla="*/ 21582072 h 17"/>
                  <a:gd name="T26" fmla="*/ 0 w 17"/>
                  <a:gd name="T27" fmla="*/ 5885766 h 17"/>
                  <a:gd name="T28" fmla="*/ 0 w 17"/>
                  <a:gd name="T29" fmla="*/ 0 h 17"/>
                  <a:gd name="T30" fmla="*/ 5127437 w 17"/>
                  <a:gd name="T31" fmla="*/ 0 h 17"/>
                  <a:gd name="T32" fmla="*/ 5127437 w 17"/>
                  <a:gd name="T33" fmla="*/ 0 h 17"/>
                  <a:gd name="T34" fmla="*/ 8546165 w 17"/>
                  <a:gd name="T35" fmla="*/ 0 h 17"/>
                  <a:gd name="T36" fmla="*/ 8546165 w 17"/>
                  <a:gd name="T37" fmla="*/ 0 h 1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7"/>
                  <a:gd name="T58" fmla="*/ 0 h 17"/>
                  <a:gd name="T59" fmla="*/ 17 w 17"/>
                  <a:gd name="T60" fmla="*/ 17 h 1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7" h="17">
                    <a:moveTo>
                      <a:pt x="5" y="0"/>
                    </a:moveTo>
                    <a:lnTo>
                      <a:pt x="5" y="3"/>
                    </a:lnTo>
                    <a:lnTo>
                      <a:pt x="8" y="3"/>
                    </a:lnTo>
                    <a:lnTo>
                      <a:pt x="14" y="8"/>
                    </a:lnTo>
                    <a:lnTo>
                      <a:pt x="17" y="11"/>
                    </a:lnTo>
                    <a:lnTo>
                      <a:pt x="17" y="17"/>
                    </a:lnTo>
                    <a:lnTo>
                      <a:pt x="14" y="17"/>
                    </a:lnTo>
                    <a:lnTo>
                      <a:pt x="11" y="17"/>
                    </a:lnTo>
                    <a:lnTo>
                      <a:pt x="5" y="11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0" name="Freeform 1386"/>
              <p:cNvSpPr>
                <a:spLocks noChangeAspect="1"/>
              </p:cNvSpPr>
              <p:nvPr>
                <p:custDataLst>
                  <p:tags r:id="rId465"/>
                </p:custDataLst>
              </p:nvPr>
            </p:nvSpPr>
            <p:spPr bwMode="gray">
              <a:xfrm>
                <a:off x="3794771" y="4458547"/>
                <a:ext cx="28851" cy="22075"/>
              </a:xfrm>
              <a:custGeom>
                <a:avLst/>
                <a:gdLst>
                  <a:gd name="T0" fmla="*/ 9398516 w 22"/>
                  <a:gd name="T1" fmla="*/ 0 h 17"/>
                  <a:gd name="T2" fmla="*/ 15037627 w 22"/>
                  <a:gd name="T3" fmla="*/ 0 h 17"/>
                  <a:gd name="T4" fmla="*/ 20678106 w 22"/>
                  <a:gd name="T5" fmla="*/ 5127437 h 17"/>
                  <a:gd name="T6" fmla="*/ 26317219 w 22"/>
                  <a:gd name="T7" fmla="*/ 13673603 h 17"/>
                  <a:gd name="T8" fmla="*/ 30076624 w 22"/>
                  <a:gd name="T9" fmla="*/ 13673603 h 17"/>
                  <a:gd name="T10" fmla="*/ 35715732 w 22"/>
                  <a:gd name="T11" fmla="*/ 13673603 h 17"/>
                  <a:gd name="T12" fmla="*/ 35715732 w 22"/>
                  <a:gd name="T13" fmla="*/ 13673603 h 17"/>
                  <a:gd name="T14" fmla="*/ 35715732 w 22"/>
                  <a:gd name="T15" fmla="*/ 18801039 h 17"/>
                  <a:gd name="T16" fmla="*/ 41354840 w 22"/>
                  <a:gd name="T17" fmla="*/ 23928480 h 17"/>
                  <a:gd name="T18" fmla="*/ 41354840 w 22"/>
                  <a:gd name="T19" fmla="*/ 29055916 h 17"/>
                  <a:gd name="T20" fmla="*/ 41354840 w 22"/>
                  <a:gd name="T21" fmla="*/ 29055916 h 17"/>
                  <a:gd name="T22" fmla="*/ 30076624 w 22"/>
                  <a:gd name="T23" fmla="*/ 29055916 h 17"/>
                  <a:gd name="T24" fmla="*/ 30076624 w 22"/>
                  <a:gd name="T25" fmla="*/ 23928480 h 17"/>
                  <a:gd name="T26" fmla="*/ 30076624 w 22"/>
                  <a:gd name="T27" fmla="*/ 23928480 h 17"/>
                  <a:gd name="T28" fmla="*/ 35715732 w 22"/>
                  <a:gd name="T29" fmla="*/ 23928480 h 17"/>
                  <a:gd name="T30" fmla="*/ 35715732 w 22"/>
                  <a:gd name="T31" fmla="*/ 23928480 h 17"/>
                  <a:gd name="T32" fmla="*/ 30076624 w 22"/>
                  <a:gd name="T33" fmla="*/ 18801039 h 17"/>
                  <a:gd name="T34" fmla="*/ 30076624 w 22"/>
                  <a:gd name="T35" fmla="*/ 18801039 h 17"/>
                  <a:gd name="T36" fmla="*/ 26317219 w 22"/>
                  <a:gd name="T37" fmla="*/ 23928480 h 17"/>
                  <a:gd name="T38" fmla="*/ 26317219 w 22"/>
                  <a:gd name="T39" fmla="*/ 23928480 h 17"/>
                  <a:gd name="T40" fmla="*/ 20678106 w 22"/>
                  <a:gd name="T41" fmla="*/ 23928480 h 17"/>
                  <a:gd name="T42" fmla="*/ 9398516 w 22"/>
                  <a:gd name="T43" fmla="*/ 13673603 h 17"/>
                  <a:gd name="T44" fmla="*/ 3759407 w 22"/>
                  <a:gd name="T45" fmla="*/ 13673603 h 17"/>
                  <a:gd name="T46" fmla="*/ 0 w 22"/>
                  <a:gd name="T47" fmla="*/ 13673603 h 17"/>
                  <a:gd name="T48" fmla="*/ 0 w 22"/>
                  <a:gd name="T49" fmla="*/ 10254874 h 17"/>
                  <a:gd name="T50" fmla="*/ 0 w 22"/>
                  <a:gd name="T51" fmla="*/ 5127437 h 17"/>
                  <a:gd name="T52" fmla="*/ 3759407 w 22"/>
                  <a:gd name="T53" fmla="*/ 0 h 17"/>
                  <a:gd name="T54" fmla="*/ 3759407 w 22"/>
                  <a:gd name="T55" fmla="*/ 0 h 17"/>
                  <a:gd name="T56" fmla="*/ 3759407 w 22"/>
                  <a:gd name="T57" fmla="*/ 0 h 17"/>
                  <a:gd name="T58" fmla="*/ 9398516 w 22"/>
                  <a:gd name="T59" fmla="*/ 0 h 17"/>
                  <a:gd name="T60" fmla="*/ 9398516 w 22"/>
                  <a:gd name="T61" fmla="*/ 0 h 17"/>
                  <a:gd name="T62" fmla="*/ 9398516 w 22"/>
                  <a:gd name="T63" fmla="*/ 0 h 1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2"/>
                  <a:gd name="T97" fmla="*/ 0 h 17"/>
                  <a:gd name="T98" fmla="*/ 22 w 22"/>
                  <a:gd name="T99" fmla="*/ 17 h 1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2" h="17">
                    <a:moveTo>
                      <a:pt x="5" y="0"/>
                    </a:moveTo>
                    <a:lnTo>
                      <a:pt x="8" y="0"/>
                    </a:lnTo>
                    <a:lnTo>
                      <a:pt x="11" y="3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9" y="8"/>
                    </a:lnTo>
                    <a:lnTo>
                      <a:pt x="19" y="11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16" y="17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16" y="11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5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5" y="0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1" name="Freeform 1387"/>
              <p:cNvSpPr>
                <a:spLocks noChangeAspect="1"/>
              </p:cNvSpPr>
              <p:nvPr>
                <p:custDataLst>
                  <p:tags r:id="rId466"/>
                </p:custDataLst>
              </p:nvPr>
            </p:nvSpPr>
            <p:spPr bwMode="gray">
              <a:xfrm>
                <a:off x="4156164" y="4780199"/>
                <a:ext cx="31888" cy="45725"/>
              </a:xfrm>
              <a:custGeom>
                <a:avLst/>
                <a:gdLst>
                  <a:gd name="T0" fmla="*/ 24895488 w 25"/>
                  <a:gd name="T1" fmla="*/ 0 h 36"/>
                  <a:gd name="T2" fmla="*/ 30230900 w 25"/>
                  <a:gd name="T3" fmla="*/ 4905497 h 36"/>
                  <a:gd name="T4" fmla="*/ 30230900 w 25"/>
                  <a:gd name="T5" fmla="*/ 8176682 h 36"/>
                  <a:gd name="T6" fmla="*/ 30230900 w 25"/>
                  <a:gd name="T7" fmla="*/ 13082180 h 36"/>
                  <a:gd name="T8" fmla="*/ 35564978 w 25"/>
                  <a:gd name="T9" fmla="*/ 13082180 h 36"/>
                  <a:gd name="T10" fmla="*/ 35564978 w 25"/>
                  <a:gd name="T11" fmla="*/ 13082180 h 36"/>
                  <a:gd name="T12" fmla="*/ 44456897 w 25"/>
                  <a:gd name="T13" fmla="*/ 8176682 h 36"/>
                  <a:gd name="T14" fmla="*/ 44456897 w 25"/>
                  <a:gd name="T15" fmla="*/ 8176682 h 36"/>
                  <a:gd name="T16" fmla="*/ 44456897 w 25"/>
                  <a:gd name="T17" fmla="*/ 8176682 h 36"/>
                  <a:gd name="T18" fmla="*/ 44456897 w 25"/>
                  <a:gd name="T19" fmla="*/ 13082180 h 36"/>
                  <a:gd name="T20" fmla="*/ 44456897 w 25"/>
                  <a:gd name="T21" fmla="*/ 13082180 h 36"/>
                  <a:gd name="T22" fmla="*/ 44456897 w 25"/>
                  <a:gd name="T23" fmla="*/ 17988955 h 36"/>
                  <a:gd name="T24" fmla="*/ 44456897 w 25"/>
                  <a:gd name="T25" fmla="*/ 13082180 h 36"/>
                  <a:gd name="T26" fmla="*/ 39121475 w 25"/>
                  <a:gd name="T27" fmla="*/ 13082180 h 36"/>
                  <a:gd name="T28" fmla="*/ 39121475 w 25"/>
                  <a:gd name="T29" fmla="*/ 22894456 h 36"/>
                  <a:gd name="T30" fmla="*/ 35564978 w 25"/>
                  <a:gd name="T31" fmla="*/ 26165639 h 36"/>
                  <a:gd name="T32" fmla="*/ 35564978 w 25"/>
                  <a:gd name="T33" fmla="*/ 26165639 h 36"/>
                  <a:gd name="T34" fmla="*/ 35564978 w 25"/>
                  <a:gd name="T35" fmla="*/ 31071135 h 36"/>
                  <a:gd name="T36" fmla="*/ 30230900 w 25"/>
                  <a:gd name="T37" fmla="*/ 35977910 h 36"/>
                  <a:gd name="T38" fmla="*/ 24895488 w 25"/>
                  <a:gd name="T39" fmla="*/ 45790191 h 36"/>
                  <a:gd name="T40" fmla="*/ 10669493 w 25"/>
                  <a:gd name="T41" fmla="*/ 53966870 h 36"/>
                  <a:gd name="T42" fmla="*/ 10669493 w 25"/>
                  <a:gd name="T43" fmla="*/ 53966870 h 36"/>
                  <a:gd name="T44" fmla="*/ 5335413 w 25"/>
                  <a:gd name="T45" fmla="*/ 53966870 h 36"/>
                  <a:gd name="T46" fmla="*/ 5335413 w 25"/>
                  <a:gd name="T47" fmla="*/ 58872366 h 36"/>
                  <a:gd name="T48" fmla="*/ 0 w 25"/>
                  <a:gd name="T49" fmla="*/ 53966870 h 36"/>
                  <a:gd name="T50" fmla="*/ 0 w 25"/>
                  <a:gd name="T51" fmla="*/ 53966870 h 36"/>
                  <a:gd name="T52" fmla="*/ 0 w 25"/>
                  <a:gd name="T53" fmla="*/ 49060096 h 36"/>
                  <a:gd name="T54" fmla="*/ 0 w 25"/>
                  <a:gd name="T55" fmla="*/ 49060096 h 36"/>
                  <a:gd name="T56" fmla="*/ 5335413 w 25"/>
                  <a:gd name="T57" fmla="*/ 49060096 h 36"/>
                  <a:gd name="T58" fmla="*/ 5335413 w 25"/>
                  <a:gd name="T59" fmla="*/ 40883406 h 36"/>
                  <a:gd name="T60" fmla="*/ 5335413 w 25"/>
                  <a:gd name="T61" fmla="*/ 40883406 h 36"/>
                  <a:gd name="T62" fmla="*/ 14225992 w 25"/>
                  <a:gd name="T63" fmla="*/ 40883406 h 36"/>
                  <a:gd name="T64" fmla="*/ 14225992 w 25"/>
                  <a:gd name="T65" fmla="*/ 35977910 h 36"/>
                  <a:gd name="T66" fmla="*/ 14225992 w 25"/>
                  <a:gd name="T67" fmla="*/ 35977910 h 36"/>
                  <a:gd name="T68" fmla="*/ 19561404 w 25"/>
                  <a:gd name="T69" fmla="*/ 35977910 h 36"/>
                  <a:gd name="T70" fmla="*/ 19561404 w 25"/>
                  <a:gd name="T71" fmla="*/ 22894456 h 36"/>
                  <a:gd name="T72" fmla="*/ 24895488 w 25"/>
                  <a:gd name="T73" fmla="*/ 22894456 h 36"/>
                  <a:gd name="T74" fmla="*/ 24895488 w 25"/>
                  <a:gd name="T75" fmla="*/ 22894456 h 36"/>
                  <a:gd name="T76" fmla="*/ 24895488 w 25"/>
                  <a:gd name="T77" fmla="*/ 0 h 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5"/>
                  <a:gd name="T118" fmla="*/ 0 h 36"/>
                  <a:gd name="T119" fmla="*/ 25 w 25"/>
                  <a:gd name="T120" fmla="*/ 36 h 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5" h="36">
                    <a:moveTo>
                      <a:pt x="14" y="0"/>
                    </a:moveTo>
                    <a:lnTo>
                      <a:pt x="17" y="3"/>
                    </a:lnTo>
                    <a:lnTo>
                      <a:pt x="17" y="5"/>
                    </a:lnTo>
                    <a:lnTo>
                      <a:pt x="17" y="8"/>
                    </a:lnTo>
                    <a:lnTo>
                      <a:pt x="20" y="8"/>
                    </a:lnTo>
                    <a:lnTo>
                      <a:pt x="25" y="5"/>
                    </a:lnTo>
                    <a:lnTo>
                      <a:pt x="25" y="8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22" y="8"/>
                    </a:lnTo>
                    <a:lnTo>
                      <a:pt x="22" y="14"/>
                    </a:lnTo>
                    <a:lnTo>
                      <a:pt x="20" y="16"/>
                    </a:lnTo>
                    <a:lnTo>
                      <a:pt x="20" y="19"/>
                    </a:lnTo>
                    <a:lnTo>
                      <a:pt x="17" y="22"/>
                    </a:lnTo>
                    <a:lnTo>
                      <a:pt x="14" y="28"/>
                    </a:lnTo>
                    <a:lnTo>
                      <a:pt x="6" y="33"/>
                    </a:lnTo>
                    <a:lnTo>
                      <a:pt x="3" y="33"/>
                    </a:lnTo>
                    <a:lnTo>
                      <a:pt x="3" y="36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8" y="25"/>
                    </a:lnTo>
                    <a:lnTo>
                      <a:pt x="8" y="22"/>
                    </a:lnTo>
                    <a:lnTo>
                      <a:pt x="11" y="22"/>
                    </a:lnTo>
                    <a:lnTo>
                      <a:pt x="11" y="14"/>
                    </a:lnTo>
                    <a:lnTo>
                      <a:pt x="14" y="14"/>
                    </a:lnTo>
                    <a:lnTo>
                      <a:pt x="14" y="0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2" name="Freeform 1389"/>
              <p:cNvSpPr>
                <a:spLocks noChangeAspect="1"/>
              </p:cNvSpPr>
              <p:nvPr>
                <p:custDataLst>
                  <p:tags r:id="rId467"/>
                </p:custDataLst>
              </p:nvPr>
            </p:nvSpPr>
            <p:spPr bwMode="gray">
              <a:xfrm>
                <a:off x="3530559" y="3208192"/>
                <a:ext cx="12148" cy="6307"/>
              </a:xfrm>
              <a:custGeom>
                <a:avLst/>
                <a:gdLst>
                  <a:gd name="T0" fmla="*/ 17921109 w 9"/>
                  <a:gd name="T1" fmla="*/ 3360208 h 6"/>
                  <a:gd name="T2" fmla="*/ 17921109 w 9"/>
                  <a:gd name="T3" fmla="*/ 6720417 h 6"/>
                  <a:gd name="T4" fmla="*/ 11947878 w 9"/>
                  <a:gd name="T5" fmla="*/ 6720417 h 6"/>
                  <a:gd name="T6" fmla="*/ 5973234 w 9"/>
                  <a:gd name="T7" fmla="*/ 6720417 h 6"/>
                  <a:gd name="T8" fmla="*/ 0 w 9"/>
                  <a:gd name="T9" fmla="*/ 6720417 h 6"/>
                  <a:gd name="T10" fmla="*/ 0 w 9"/>
                  <a:gd name="T11" fmla="*/ 6720417 h 6"/>
                  <a:gd name="T12" fmla="*/ 0 w 9"/>
                  <a:gd name="T13" fmla="*/ 3360208 h 6"/>
                  <a:gd name="T14" fmla="*/ 0 w 9"/>
                  <a:gd name="T15" fmla="*/ 3360208 h 6"/>
                  <a:gd name="T16" fmla="*/ 5973234 w 9"/>
                  <a:gd name="T17" fmla="*/ 0 h 6"/>
                  <a:gd name="T18" fmla="*/ 11947878 w 9"/>
                  <a:gd name="T19" fmla="*/ 0 h 6"/>
                  <a:gd name="T20" fmla="*/ 11947878 w 9"/>
                  <a:gd name="T21" fmla="*/ 3360208 h 6"/>
                  <a:gd name="T22" fmla="*/ 17921109 w 9"/>
                  <a:gd name="T23" fmla="*/ 3360208 h 6"/>
                  <a:gd name="T24" fmla="*/ 17921109 w 9"/>
                  <a:gd name="T25" fmla="*/ 3360208 h 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"/>
                  <a:gd name="T40" fmla="*/ 0 h 6"/>
                  <a:gd name="T41" fmla="*/ 9 w 9"/>
                  <a:gd name="T42" fmla="*/ 6 h 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" h="6">
                    <a:moveTo>
                      <a:pt x="9" y="3"/>
                    </a:moveTo>
                    <a:lnTo>
                      <a:pt x="9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6" y="3"/>
                    </a:lnTo>
                    <a:lnTo>
                      <a:pt x="9" y="3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3" name="Freeform 1396"/>
              <p:cNvSpPr>
                <a:spLocks noChangeAspect="1"/>
              </p:cNvSpPr>
              <p:nvPr>
                <p:custDataLst>
                  <p:tags r:id="rId468"/>
                </p:custDataLst>
              </p:nvPr>
            </p:nvSpPr>
            <p:spPr bwMode="gray">
              <a:xfrm>
                <a:off x="3346815" y="3023708"/>
                <a:ext cx="154883" cy="77259"/>
              </a:xfrm>
              <a:custGeom>
                <a:avLst/>
                <a:gdLst>
                  <a:gd name="T0" fmla="*/ 36416934 w 120"/>
                  <a:gd name="T1" fmla="*/ 97341877 h 59"/>
                  <a:gd name="T2" fmla="*/ 36416934 w 120"/>
                  <a:gd name="T3" fmla="*/ 92126194 h 59"/>
                  <a:gd name="T4" fmla="*/ 30953316 w 120"/>
                  <a:gd name="T5" fmla="*/ 81697444 h 59"/>
                  <a:gd name="T6" fmla="*/ 5462270 w 120"/>
                  <a:gd name="T7" fmla="*/ 97341877 h 59"/>
                  <a:gd name="T8" fmla="*/ 0 w 120"/>
                  <a:gd name="T9" fmla="*/ 92126194 h 59"/>
                  <a:gd name="T10" fmla="*/ 56445712 w 120"/>
                  <a:gd name="T11" fmla="*/ 53885303 h 59"/>
                  <a:gd name="T12" fmla="*/ 76474480 w 120"/>
                  <a:gd name="T13" fmla="*/ 34764198 h 59"/>
                  <a:gd name="T14" fmla="*/ 81936749 w 120"/>
                  <a:gd name="T15" fmla="*/ 34764198 h 59"/>
                  <a:gd name="T16" fmla="*/ 91041001 w 120"/>
                  <a:gd name="T17" fmla="*/ 15644417 h 59"/>
                  <a:gd name="T18" fmla="*/ 91041001 w 120"/>
                  <a:gd name="T19" fmla="*/ 24335469 h 59"/>
                  <a:gd name="T20" fmla="*/ 101965538 w 120"/>
                  <a:gd name="T21" fmla="*/ 5214366 h 59"/>
                  <a:gd name="T22" fmla="*/ 101965538 w 120"/>
                  <a:gd name="T23" fmla="*/ 19121100 h 59"/>
                  <a:gd name="T24" fmla="*/ 101965538 w 120"/>
                  <a:gd name="T25" fmla="*/ 19121100 h 59"/>
                  <a:gd name="T26" fmla="*/ 111069769 w 120"/>
                  <a:gd name="T27" fmla="*/ 15644417 h 59"/>
                  <a:gd name="T28" fmla="*/ 111069769 w 120"/>
                  <a:gd name="T29" fmla="*/ 5214366 h 59"/>
                  <a:gd name="T30" fmla="*/ 111069769 w 120"/>
                  <a:gd name="T31" fmla="*/ 0 h 59"/>
                  <a:gd name="T32" fmla="*/ 142023074 w 120"/>
                  <a:gd name="T33" fmla="*/ 29549834 h 59"/>
                  <a:gd name="T34" fmla="*/ 147485343 w 120"/>
                  <a:gd name="T35" fmla="*/ 10430050 h 59"/>
                  <a:gd name="T36" fmla="*/ 162051842 w 120"/>
                  <a:gd name="T37" fmla="*/ 10430050 h 59"/>
                  <a:gd name="T38" fmla="*/ 178440040 w 120"/>
                  <a:gd name="T39" fmla="*/ 43456574 h 59"/>
                  <a:gd name="T40" fmla="*/ 203931076 w 120"/>
                  <a:gd name="T41" fmla="*/ 53885303 h 59"/>
                  <a:gd name="T42" fmla="*/ 207573038 w 120"/>
                  <a:gd name="T43" fmla="*/ 67792033 h 59"/>
                  <a:gd name="T44" fmla="*/ 207573038 w 120"/>
                  <a:gd name="T45" fmla="*/ 81697444 h 59"/>
                  <a:gd name="T46" fmla="*/ 213035307 w 120"/>
                  <a:gd name="T47" fmla="*/ 86911829 h 59"/>
                  <a:gd name="T48" fmla="*/ 213035307 w 120"/>
                  <a:gd name="T49" fmla="*/ 92126194 h 59"/>
                  <a:gd name="T50" fmla="*/ 213035307 w 120"/>
                  <a:gd name="T51" fmla="*/ 97341877 h 59"/>
                  <a:gd name="T52" fmla="*/ 218497576 w 120"/>
                  <a:gd name="T53" fmla="*/ 102556241 h 59"/>
                  <a:gd name="T54" fmla="*/ 198468808 w 120"/>
                  <a:gd name="T55" fmla="*/ 97341877 h 59"/>
                  <a:gd name="T56" fmla="*/ 198468808 w 120"/>
                  <a:gd name="T57" fmla="*/ 92126194 h 59"/>
                  <a:gd name="T58" fmla="*/ 187544270 w 120"/>
                  <a:gd name="T59" fmla="*/ 92126194 h 59"/>
                  <a:gd name="T60" fmla="*/ 156589574 w 120"/>
                  <a:gd name="T61" fmla="*/ 97341877 h 59"/>
                  <a:gd name="T62" fmla="*/ 152948961 w 120"/>
                  <a:gd name="T63" fmla="*/ 102556241 h 59"/>
                  <a:gd name="T64" fmla="*/ 132918843 w 120"/>
                  <a:gd name="T65" fmla="*/ 102556241 h 59"/>
                  <a:gd name="T66" fmla="*/ 116532038 w 120"/>
                  <a:gd name="T67" fmla="*/ 86911829 h 59"/>
                  <a:gd name="T68" fmla="*/ 107427807 w 120"/>
                  <a:gd name="T69" fmla="*/ 86911829 h 59"/>
                  <a:gd name="T70" fmla="*/ 101965538 w 120"/>
                  <a:gd name="T71" fmla="*/ 81697444 h 59"/>
                  <a:gd name="T72" fmla="*/ 107427807 w 120"/>
                  <a:gd name="T73" fmla="*/ 78220762 h 59"/>
                  <a:gd name="T74" fmla="*/ 121994306 w 120"/>
                  <a:gd name="T75" fmla="*/ 62576350 h 59"/>
                  <a:gd name="T76" fmla="*/ 121994306 w 120"/>
                  <a:gd name="T77" fmla="*/ 62576350 h 59"/>
                  <a:gd name="T78" fmla="*/ 76474480 w 120"/>
                  <a:gd name="T79" fmla="*/ 86911829 h 59"/>
                  <a:gd name="T80" fmla="*/ 50983444 w 120"/>
                  <a:gd name="T81" fmla="*/ 97341877 h 5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0"/>
                  <a:gd name="T124" fmla="*/ 0 h 59"/>
                  <a:gd name="T125" fmla="*/ 120 w 120"/>
                  <a:gd name="T126" fmla="*/ 59 h 5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0" h="59">
                    <a:moveTo>
                      <a:pt x="20" y="56"/>
                    </a:moveTo>
                    <a:lnTo>
                      <a:pt x="20" y="56"/>
                    </a:lnTo>
                    <a:lnTo>
                      <a:pt x="20" y="53"/>
                    </a:lnTo>
                    <a:lnTo>
                      <a:pt x="20" y="50"/>
                    </a:lnTo>
                    <a:lnTo>
                      <a:pt x="17" y="47"/>
                    </a:lnTo>
                    <a:lnTo>
                      <a:pt x="6" y="56"/>
                    </a:lnTo>
                    <a:lnTo>
                      <a:pt x="3" y="56"/>
                    </a:lnTo>
                    <a:lnTo>
                      <a:pt x="0" y="56"/>
                    </a:lnTo>
                    <a:lnTo>
                      <a:pt x="0" y="53"/>
                    </a:lnTo>
                    <a:lnTo>
                      <a:pt x="25" y="31"/>
                    </a:lnTo>
                    <a:lnTo>
                      <a:pt x="31" y="31"/>
                    </a:lnTo>
                    <a:lnTo>
                      <a:pt x="36" y="22"/>
                    </a:lnTo>
                    <a:lnTo>
                      <a:pt x="42" y="20"/>
                    </a:lnTo>
                    <a:lnTo>
                      <a:pt x="45" y="20"/>
                    </a:lnTo>
                    <a:lnTo>
                      <a:pt x="45" y="14"/>
                    </a:lnTo>
                    <a:lnTo>
                      <a:pt x="50" y="9"/>
                    </a:lnTo>
                    <a:lnTo>
                      <a:pt x="50" y="14"/>
                    </a:lnTo>
                    <a:lnTo>
                      <a:pt x="53" y="14"/>
                    </a:lnTo>
                    <a:lnTo>
                      <a:pt x="56" y="3"/>
                    </a:lnTo>
                    <a:lnTo>
                      <a:pt x="56" y="6"/>
                    </a:lnTo>
                    <a:lnTo>
                      <a:pt x="56" y="11"/>
                    </a:lnTo>
                    <a:lnTo>
                      <a:pt x="56" y="14"/>
                    </a:lnTo>
                    <a:lnTo>
                      <a:pt x="56" y="11"/>
                    </a:lnTo>
                    <a:lnTo>
                      <a:pt x="59" y="9"/>
                    </a:lnTo>
                    <a:lnTo>
                      <a:pt x="61" y="9"/>
                    </a:lnTo>
                    <a:lnTo>
                      <a:pt x="61" y="3"/>
                    </a:lnTo>
                    <a:lnTo>
                      <a:pt x="61" y="0"/>
                    </a:lnTo>
                    <a:lnTo>
                      <a:pt x="73" y="3"/>
                    </a:lnTo>
                    <a:lnTo>
                      <a:pt x="78" y="17"/>
                    </a:lnTo>
                    <a:lnTo>
                      <a:pt x="78" y="6"/>
                    </a:lnTo>
                    <a:lnTo>
                      <a:pt x="81" y="6"/>
                    </a:lnTo>
                    <a:lnTo>
                      <a:pt x="86" y="6"/>
                    </a:lnTo>
                    <a:lnTo>
                      <a:pt x="89" y="6"/>
                    </a:lnTo>
                    <a:lnTo>
                      <a:pt x="95" y="22"/>
                    </a:lnTo>
                    <a:lnTo>
                      <a:pt x="98" y="25"/>
                    </a:lnTo>
                    <a:lnTo>
                      <a:pt x="112" y="22"/>
                    </a:lnTo>
                    <a:lnTo>
                      <a:pt x="112" y="31"/>
                    </a:lnTo>
                    <a:lnTo>
                      <a:pt x="112" y="34"/>
                    </a:lnTo>
                    <a:lnTo>
                      <a:pt x="114" y="39"/>
                    </a:lnTo>
                    <a:lnTo>
                      <a:pt x="114" y="45"/>
                    </a:lnTo>
                    <a:lnTo>
                      <a:pt x="114" y="47"/>
                    </a:lnTo>
                    <a:lnTo>
                      <a:pt x="120" y="50"/>
                    </a:lnTo>
                    <a:lnTo>
                      <a:pt x="117" y="50"/>
                    </a:lnTo>
                    <a:lnTo>
                      <a:pt x="117" y="53"/>
                    </a:lnTo>
                    <a:lnTo>
                      <a:pt x="117" y="56"/>
                    </a:lnTo>
                    <a:lnTo>
                      <a:pt x="120" y="59"/>
                    </a:lnTo>
                    <a:lnTo>
                      <a:pt x="114" y="59"/>
                    </a:lnTo>
                    <a:lnTo>
                      <a:pt x="109" y="56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3" y="53"/>
                    </a:lnTo>
                    <a:lnTo>
                      <a:pt x="92" y="53"/>
                    </a:lnTo>
                    <a:lnTo>
                      <a:pt x="86" y="56"/>
                    </a:lnTo>
                    <a:lnTo>
                      <a:pt x="84" y="59"/>
                    </a:lnTo>
                    <a:lnTo>
                      <a:pt x="75" y="59"/>
                    </a:lnTo>
                    <a:lnTo>
                      <a:pt x="73" y="59"/>
                    </a:lnTo>
                    <a:lnTo>
                      <a:pt x="70" y="53"/>
                    </a:lnTo>
                    <a:lnTo>
                      <a:pt x="64" y="50"/>
                    </a:lnTo>
                    <a:lnTo>
                      <a:pt x="59" y="50"/>
                    </a:lnTo>
                    <a:lnTo>
                      <a:pt x="56" y="53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9" y="45"/>
                    </a:lnTo>
                    <a:lnTo>
                      <a:pt x="64" y="39"/>
                    </a:lnTo>
                    <a:lnTo>
                      <a:pt x="67" y="36"/>
                    </a:lnTo>
                    <a:lnTo>
                      <a:pt x="59" y="36"/>
                    </a:lnTo>
                    <a:lnTo>
                      <a:pt x="42" y="50"/>
                    </a:lnTo>
                    <a:lnTo>
                      <a:pt x="34" y="50"/>
                    </a:lnTo>
                    <a:lnTo>
                      <a:pt x="28" y="56"/>
                    </a:lnTo>
                    <a:lnTo>
                      <a:pt x="20" y="56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4" name="Freeform 1397"/>
              <p:cNvSpPr>
                <a:spLocks noChangeAspect="1"/>
              </p:cNvSpPr>
              <p:nvPr>
                <p:custDataLst>
                  <p:tags r:id="rId469"/>
                </p:custDataLst>
              </p:nvPr>
            </p:nvSpPr>
            <p:spPr bwMode="gray">
              <a:xfrm>
                <a:off x="3521441" y="3200325"/>
                <a:ext cx="92626" cy="37842"/>
              </a:xfrm>
              <a:custGeom>
                <a:avLst/>
                <a:gdLst>
                  <a:gd name="T0" fmla="*/ 95875001 w 72"/>
                  <a:gd name="T1" fmla="*/ 22580604 h 30"/>
                  <a:gd name="T2" fmla="*/ 79594098 w 72"/>
                  <a:gd name="T3" fmla="*/ 30645102 h 30"/>
                  <a:gd name="T4" fmla="*/ 75976125 w 72"/>
                  <a:gd name="T5" fmla="*/ 30645102 h 30"/>
                  <a:gd name="T6" fmla="*/ 45223348 w 72"/>
                  <a:gd name="T7" fmla="*/ 43548309 h 30"/>
                  <a:gd name="T8" fmla="*/ 39796377 w 72"/>
                  <a:gd name="T9" fmla="*/ 43548309 h 30"/>
                  <a:gd name="T10" fmla="*/ 30752787 w 72"/>
                  <a:gd name="T11" fmla="*/ 48387008 h 30"/>
                  <a:gd name="T12" fmla="*/ 19898861 w 72"/>
                  <a:gd name="T13" fmla="*/ 48387008 h 30"/>
                  <a:gd name="T14" fmla="*/ 19898861 w 72"/>
                  <a:gd name="T15" fmla="*/ 43548309 h 30"/>
                  <a:gd name="T16" fmla="*/ 14471900 w 72"/>
                  <a:gd name="T17" fmla="*/ 43548309 h 30"/>
                  <a:gd name="T18" fmla="*/ 9044937 w 72"/>
                  <a:gd name="T19" fmla="*/ 43548309 h 30"/>
                  <a:gd name="T20" fmla="*/ 9044937 w 72"/>
                  <a:gd name="T21" fmla="*/ 40322500 h 30"/>
                  <a:gd name="T22" fmla="*/ 0 w 72"/>
                  <a:gd name="T23" fmla="*/ 40322500 h 30"/>
                  <a:gd name="T24" fmla="*/ 9044937 w 72"/>
                  <a:gd name="T25" fmla="*/ 30645102 h 30"/>
                  <a:gd name="T26" fmla="*/ 19898861 w 72"/>
                  <a:gd name="T27" fmla="*/ 30645102 h 30"/>
                  <a:gd name="T28" fmla="*/ 19898861 w 72"/>
                  <a:gd name="T29" fmla="*/ 30645102 h 30"/>
                  <a:gd name="T30" fmla="*/ 30752787 w 72"/>
                  <a:gd name="T31" fmla="*/ 30645102 h 30"/>
                  <a:gd name="T32" fmla="*/ 30752787 w 72"/>
                  <a:gd name="T33" fmla="*/ 30645102 h 30"/>
                  <a:gd name="T34" fmla="*/ 39796377 w 72"/>
                  <a:gd name="T35" fmla="*/ 22580604 h 30"/>
                  <a:gd name="T36" fmla="*/ 45223348 w 72"/>
                  <a:gd name="T37" fmla="*/ 17741900 h 30"/>
                  <a:gd name="T38" fmla="*/ 50650308 w 72"/>
                  <a:gd name="T39" fmla="*/ 17741900 h 30"/>
                  <a:gd name="T40" fmla="*/ 50650308 w 72"/>
                  <a:gd name="T41" fmla="*/ 12903202 h 30"/>
                  <a:gd name="T42" fmla="*/ 54268282 w 72"/>
                  <a:gd name="T43" fmla="*/ 8064500 h 30"/>
                  <a:gd name="T44" fmla="*/ 65122203 w 72"/>
                  <a:gd name="T45" fmla="*/ 8064500 h 30"/>
                  <a:gd name="T46" fmla="*/ 85021059 w 72"/>
                  <a:gd name="T47" fmla="*/ 8064500 h 30"/>
                  <a:gd name="T48" fmla="*/ 90448041 w 72"/>
                  <a:gd name="T49" fmla="*/ 3225800 h 30"/>
                  <a:gd name="T50" fmla="*/ 115772512 w 72"/>
                  <a:gd name="T51" fmla="*/ 0 h 30"/>
                  <a:gd name="T52" fmla="*/ 130244407 w 72"/>
                  <a:gd name="T53" fmla="*/ 0 h 30"/>
                  <a:gd name="T54" fmla="*/ 124817446 w 72"/>
                  <a:gd name="T55" fmla="*/ 8064500 h 30"/>
                  <a:gd name="T56" fmla="*/ 121199473 w 72"/>
                  <a:gd name="T57" fmla="*/ 8064500 h 30"/>
                  <a:gd name="T58" fmla="*/ 121199473 w 72"/>
                  <a:gd name="T59" fmla="*/ 8064500 h 30"/>
                  <a:gd name="T60" fmla="*/ 121199473 w 72"/>
                  <a:gd name="T61" fmla="*/ 12903202 h 30"/>
                  <a:gd name="T62" fmla="*/ 99491630 w 72"/>
                  <a:gd name="T63" fmla="*/ 22580604 h 30"/>
                  <a:gd name="T64" fmla="*/ 95875001 w 72"/>
                  <a:gd name="T65" fmla="*/ 22580604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2"/>
                  <a:gd name="T100" fmla="*/ 0 h 30"/>
                  <a:gd name="T101" fmla="*/ 72 w 72"/>
                  <a:gd name="T102" fmla="*/ 30 h 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2" h="30">
                    <a:moveTo>
                      <a:pt x="53" y="14"/>
                    </a:moveTo>
                    <a:lnTo>
                      <a:pt x="44" y="19"/>
                    </a:lnTo>
                    <a:lnTo>
                      <a:pt x="42" y="19"/>
                    </a:lnTo>
                    <a:lnTo>
                      <a:pt x="25" y="27"/>
                    </a:lnTo>
                    <a:lnTo>
                      <a:pt x="22" y="27"/>
                    </a:lnTo>
                    <a:lnTo>
                      <a:pt x="17" y="30"/>
                    </a:lnTo>
                    <a:lnTo>
                      <a:pt x="11" y="30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5" y="19"/>
                    </a:lnTo>
                    <a:lnTo>
                      <a:pt x="11" y="19"/>
                    </a:lnTo>
                    <a:lnTo>
                      <a:pt x="17" y="19"/>
                    </a:lnTo>
                    <a:lnTo>
                      <a:pt x="22" y="14"/>
                    </a:lnTo>
                    <a:lnTo>
                      <a:pt x="25" y="11"/>
                    </a:lnTo>
                    <a:lnTo>
                      <a:pt x="28" y="11"/>
                    </a:lnTo>
                    <a:lnTo>
                      <a:pt x="28" y="8"/>
                    </a:lnTo>
                    <a:lnTo>
                      <a:pt x="30" y="5"/>
                    </a:lnTo>
                    <a:lnTo>
                      <a:pt x="36" y="5"/>
                    </a:lnTo>
                    <a:lnTo>
                      <a:pt x="47" y="5"/>
                    </a:lnTo>
                    <a:lnTo>
                      <a:pt x="50" y="2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69" y="5"/>
                    </a:lnTo>
                    <a:lnTo>
                      <a:pt x="67" y="5"/>
                    </a:lnTo>
                    <a:lnTo>
                      <a:pt x="67" y="8"/>
                    </a:lnTo>
                    <a:lnTo>
                      <a:pt x="55" y="14"/>
                    </a:lnTo>
                    <a:lnTo>
                      <a:pt x="53" y="14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5" name="Freeform 1399"/>
              <p:cNvSpPr>
                <a:spLocks noChangeAspect="1"/>
              </p:cNvSpPr>
              <p:nvPr>
                <p:custDataLst>
                  <p:tags r:id="rId470"/>
                </p:custDataLst>
              </p:nvPr>
            </p:nvSpPr>
            <p:spPr bwMode="gray">
              <a:xfrm>
                <a:off x="3430341" y="3096244"/>
                <a:ext cx="165512" cy="137177"/>
              </a:xfrm>
              <a:custGeom>
                <a:avLst/>
                <a:gdLst>
                  <a:gd name="T0" fmla="*/ 10964929 w 128"/>
                  <a:gd name="T1" fmla="*/ 179952148 h 106"/>
                  <a:gd name="T2" fmla="*/ 25585289 w 128"/>
                  <a:gd name="T3" fmla="*/ 56022661 h 106"/>
                  <a:gd name="T4" fmla="*/ 16448070 w 128"/>
                  <a:gd name="T5" fmla="*/ 66209070 h 106"/>
                  <a:gd name="T6" fmla="*/ 0 w 128"/>
                  <a:gd name="T7" fmla="*/ 74697744 h 106"/>
                  <a:gd name="T8" fmla="*/ 36550215 w 128"/>
                  <a:gd name="T9" fmla="*/ 28860198 h 106"/>
                  <a:gd name="T10" fmla="*/ 40205641 w 128"/>
                  <a:gd name="T11" fmla="*/ 37348872 h 106"/>
                  <a:gd name="T12" fmla="*/ 65790930 w 128"/>
                  <a:gd name="T13" fmla="*/ 18673784 h 106"/>
                  <a:gd name="T14" fmla="*/ 91376229 w 128"/>
                  <a:gd name="T15" fmla="*/ 28860198 h 106"/>
                  <a:gd name="T16" fmla="*/ 96859368 w 128"/>
                  <a:gd name="T17" fmla="*/ 23766994 h 106"/>
                  <a:gd name="T18" fmla="*/ 111478369 w 128"/>
                  <a:gd name="T19" fmla="*/ 23766994 h 106"/>
                  <a:gd name="T20" fmla="*/ 111478369 w 128"/>
                  <a:gd name="T21" fmla="*/ 23766994 h 106"/>
                  <a:gd name="T22" fmla="*/ 107824295 w 128"/>
                  <a:gd name="T23" fmla="*/ 13581883 h 106"/>
                  <a:gd name="T24" fmla="*/ 102341156 w 128"/>
                  <a:gd name="T25" fmla="*/ 5093206 h 106"/>
                  <a:gd name="T26" fmla="*/ 102341156 w 128"/>
                  <a:gd name="T27" fmla="*/ 0 h 106"/>
                  <a:gd name="T28" fmla="*/ 107824295 w 128"/>
                  <a:gd name="T29" fmla="*/ 8488676 h 106"/>
                  <a:gd name="T30" fmla="*/ 116961508 w 128"/>
                  <a:gd name="T31" fmla="*/ 8488676 h 106"/>
                  <a:gd name="T32" fmla="*/ 148029925 w 128"/>
                  <a:gd name="T33" fmla="*/ 13581883 h 106"/>
                  <a:gd name="T34" fmla="*/ 158994851 w 128"/>
                  <a:gd name="T35" fmla="*/ 13581883 h 106"/>
                  <a:gd name="T36" fmla="*/ 182752459 w 128"/>
                  <a:gd name="T37" fmla="*/ 23766994 h 106"/>
                  <a:gd name="T38" fmla="*/ 204682311 w 128"/>
                  <a:gd name="T39" fmla="*/ 23766994 h 106"/>
                  <a:gd name="T40" fmla="*/ 213820876 w 128"/>
                  <a:gd name="T41" fmla="*/ 42442076 h 106"/>
                  <a:gd name="T42" fmla="*/ 224785802 w 128"/>
                  <a:gd name="T43" fmla="*/ 47533988 h 106"/>
                  <a:gd name="T44" fmla="*/ 224785802 w 128"/>
                  <a:gd name="T45" fmla="*/ 56022661 h 106"/>
                  <a:gd name="T46" fmla="*/ 233923015 w 128"/>
                  <a:gd name="T47" fmla="*/ 66209070 h 106"/>
                  <a:gd name="T48" fmla="*/ 228439876 w 128"/>
                  <a:gd name="T49" fmla="*/ 66209070 h 106"/>
                  <a:gd name="T50" fmla="*/ 224785802 w 128"/>
                  <a:gd name="T51" fmla="*/ 66209070 h 106"/>
                  <a:gd name="T52" fmla="*/ 224785802 w 128"/>
                  <a:gd name="T53" fmla="*/ 74697744 h 106"/>
                  <a:gd name="T54" fmla="*/ 204682311 w 128"/>
                  <a:gd name="T55" fmla="*/ 71302274 h 106"/>
                  <a:gd name="T56" fmla="*/ 199200524 w 128"/>
                  <a:gd name="T57" fmla="*/ 66209070 h 106"/>
                  <a:gd name="T58" fmla="*/ 193717385 w 128"/>
                  <a:gd name="T59" fmla="*/ 61115866 h 106"/>
                  <a:gd name="T60" fmla="*/ 188234246 w 128"/>
                  <a:gd name="T61" fmla="*/ 50929457 h 106"/>
                  <a:gd name="T62" fmla="*/ 182752459 w 128"/>
                  <a:gd name="T63" fmla="*/ 50929457 h 106"/>
                  <a:gd name="T64" fmla="*/ 188234246 w 128"/>
                  <a:gd name="T65" fmla="*/ 74697744 h 106"/>
                  <a:gd name="T66" fmla="*/ 173615203 w 128"/>
                  <a:gd name="T67" fmla="*/ 122231731 h 106"/>
                  <a:gd name="T68" fmla="*/ 162648925 w 128"/>
                  <a:gd name="T69" fmla="*/ 132418140 h 106"/>
                  <a:gd name="T70" fmla="*/ 153511712 w 128"/>
                  <a:gd name="T71" fmla="*/ 122231731 h 106"/>
                  <a:gd name="T72" fmla="*/ 137063647 w 128"/>
                  <a:gd name="T73" fmla="*/ 95069278 h 106"/>
                  <a:gd name="T74" fmla="*/ 127926434 w 128"/>
                  <a:gd name="T75" fmla="*/ 103557952 h 106"/>
                  <a:gd name="T76" fmla="*/ 111478369 w 128"/>
                  <a:gd name="T77" fmla="*/ 108649853 h 106"/>
                  <a:gd name="T78" fmla="*/ 127926434 w 128"/>
                  <a:gd name="T79" fmla="*/ 84882849 h 106"/>
                  <a:gd name="T80" fmla="*/ 127926434 w 128"/>
                  <a:gd name="T81" fmla="*/ 56022661 h 106"/>
                  <a:gd name="T82" fmla="*/ 127926434 w 128"/>
                  <a:gd name="T83" fmla="*/ 50929457 h 106"/>
                  <a:gd name="T84" fmla="*/ 111478369 w 128"/>
                  <a:gd name="T85" fmla="*/ 42442076 h 106"/>
                  <a:gd name="T86" fmla="*/ 102341156 w 128"/>
                  <a:gd name="T87" fmla="*/ 32255668 h 106"/>
                  <a:gd name="T88" fmla="*/ 91376229 w 128"/>
                  <a:gd name="T89" fmla="*/ 32255668 h 106"/>
                  <a:gd name="T90" fmla="*/ 82238995 w 128"/>
                  <a:gd name="T91" fmla="*/ 42442076 h 106"/>
                  <a:gd name="T92" fmla="*/ 71274069 w 128"/>
                  <a:gd name="T93" fmla="*/ 50929457 h 106"/>
                  <a:gd name="T94" fmla="*/ 65790930 w 128"/>
                  <a:gd name="T95" fmla="*/ 66209070 h 106"/>
                  <a:gd name="T96" fmla="*/ 65790930 w 128"/>
                  <a:gd name="T97" fmla="*/ 56022661 h 106"/>
                  <a:gd name="T98" fmla="*/ 51170578 w 128"/>
                  <a:gd name="T99" fmla="*/ 66209070 h 106"/>
                  <a:gd name="T100" fmla="*/ 45687439 w 128"/>
                  <a:gd name="T101" fmla="*/ 84882849 h 106"/>
                  <a:gd name="T102" fmla="*/ 40205641 w 128"/>
                  <a:gd name="T103" fmla="*/ 108649853 h 106"/>
                  <a:gd name="T104" fmla="*/ 36550215 w 128"/>
                  <a:gd name="T105" fmla="*/ 174858944 h 10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8"/>
                  <a:gd name="T160" fmla="*/ 0 h 106"/>
                  <a:gd name="T161" fmla="*/ 128 w 128"/>
                  <a:gd name="T162" fmla="*/ 106 h 10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8" h="106">
                    <a:moveTo>
                      <a:pt x="11" y="106"/>
                    </a:moveTo>
                    <a:lnTo>
                      <a:pt x="9" y="106"/>
                    </a:lnTo>
                    <a:lnTo>
                      <a:pt x="6" y="106"/>
                    </a:lnTo>
                    <a:lnTo>
                      <a:pt x="3" y="95"/>
                    </a:lnTo>
                    <a:lnTo>
                      <a:pt x="0" y="72"/>
                    </a:lnTo>
                    <a:lnTo>
                      <a:pt x="14" y="33"/>
                    </a:lnTo>
                    <a:lnTo>
                      <a:pt x="14" y="30"/>
                    </a:lnTo>
                    <a:lnTo>
                      <a:pt x="9" y="33"/>
                    </a:lnTo>
                    <a:lnTo>
                      <a:pt x="9" y="39"/>
                    </a:lnTo>
                    <a:lnTo>
                      <a:pt x="6" y="39"/>
                    </a:lnTo>
                    <a:lnTo>
                      <a:pt x="0" y="44"/>
                    </a:lnTo>
                    <a:lnTo>
                      <a:pt x="14" y="19"/>
                    </a:lnTo>
                    <a:lnTo>
                      <a:pt x="17" y="19"/>
                    </a:lnTo>
                    <a:lnTo>
                      <a:pt x="20" y="17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6" y="14"/>
                    </a:lnTo>
                    <a:lnTo>
                      <a:pt x="36" y="11"/>
                    </a:lnTo>
                    <a:lnTo>
                      <a:pt x="42" y="11"/>
                    </a:lnTo>
                    <a:lnTo>
                      <a:pt x="48" y="14"/>
                    </a:lnTo>
                    <a:lnTo>
                      <a:pt x="50" y="17"/>
                    </a:lnTo>
                    <a:lnTo>
                      <a:pt x="53" y="14"/>
                    </a:lnTo>
                    <a:lnTo>
                      <a:pt x="56" y="14"/>
                    </a:lnTo>
                    <a:lnTo>
                      <a:pt x="61" y="14"/>
                    </a:lnTo>
                    <a:lnTo>
                      <a:pt x="61" y="11"/>
                    </a:lnTo>
                    <a:lnTo>
                      <a:pt x="59" y="11"/>
                    </a:lnTo>
                    <a:lnTo>
                      <a:pt x="59" y="8"/>
                    </a:lnTo>
                    <a:lnTo>
                      <a:pt x="59" y="5"/>
                    </a:lnTo>
                    <a:lnTo>
                      <a:pt x="56" y="5"/>
                    </a:lnTo>
                    <a:lnTo>
                      <a:pt x="56" y="3"/>
                    </a:lnTo>
                    <a:lnTo>
                      <a:pt x="56" y="0"/>
                    </a:lnTo>
                    <a:lnTo>
                      <a:pt x="59" y="0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4" y="5"/>
                    </a:lnTo>
                    <a:lnTo>
                      <a:pt x="75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4" y="11"/>
                    </a:lnTo>
                    <a:lnTo>
                      <a:pt x="87" y="8"/>
                    </a:lnTo>
                    <a:lnTo>
                      <a:pt x="95" y="11"/>
                    </a:lnTo>
                    <a:lnTo>
                      <a:pt x="100" y="11"/>
                    </a:lnTo>
                    <a:lnTo>
                      <a:pt x="100" y="14"/>
                    </a:lnTo>
                    <a:lnTo>
                      <a:pt x="103" y="14"/>
                    </a:lnTo>
                    <a:lnTo>
                      <a:pt x="112" y="14"/>
                    </a:lnTo>
                    <a:lnTo>
                      <a:pt x="114" y="17"/>
                    </a:lnTo>
                    <a:lnTo>
                      <a:pt x="114" y="22"/>
                    </a:lnTo>
                    <a:lnTo>
                      <a:pt x="117" y="25"/>
                    </a:lnTo>
                    <a:lnTo>
                      <a:pt x="120" y="25"/>
                    </a:lnTo>
                    <a:lnTo>
                      <a:pt x="123" y="28"/>
                    </a:lnTo>
                    <a:lnTo>
                      <a:pt x="125" y="30"/>
                    </a:lnTo>
                    <a:lnTo>
                      <a:pt x="123" y="33"/>
                    </a:lnTo>
                    <a:lnTo>
                      <a:pt x="125" y="36"/>
                    </a:lnTo>
                    <a:lnTo>
                      <a:pt x="128" y="36"/>
                    </a:lnTo>
                    <a:lnTo>
                      <a:pt x="128" y="39"/>
                    </a:lnTo>
                    <a:lnTo>
                      <a:pt x="125" y="39"/>
                    </a:lnTo>
                    <a:lnTo>
                      <a:pt x="123" y="39"/>
                    </a:lnTo>
                    <a:lnTo>
                      <a:pt x="125" y="42"/>
                    </a:lnTo>
                    <a:lnTo>
                      <a:pt x="125" y="44"/>
                    </a:lnTo>
                    <a:lnTo>
                      <a:pt x="123" y="44"/>
                    </a:lnTo>
                    <a:lnTo>
                      <a:pt x="120" y="44"/>
                    </a:lnTo>
                    <a:lnTo>
                      <a:pt x="114" y="44"/>
                    </a:lnTo>
                    <a:lnTo>
                      <a:pt x="112" y="42"/>
                    </a:lnTo>
                    <a:lnTo>
                      <a:pt x="109" y="44"/>
                    </a:lnTo>
                    <a:lnTo>
                      <a:pt x="109" y="39"/>
                    </a:lnTo>
                    <a:lnTo>
                      <a:pt x="109" y="36"/>
                    </a:lnTo>
                    <a:lnTo>
                      <a:pt x="106" y="36"/>
                    </a:lnTo>
                    <a:lnTo>
                      <a:pt x="103" y="30"/>
                    </a:lnTo>
                    <a:lnTo>
                      <a:pt x="98" y="28"/>
                    </a:lnTo>
                    <a:lnTo>
                      <a:pt x="98" y="30"/>
                    </a:lnTo>
                    <a:lnTo>
                      <a:pt x="100" y="30"/>
                    </a:lnTo>
                    <a:lnTo>
                      <a:pt x="103" y="39"/>
                    </a:lnTo>
                    <a:lnTo>
                      <a:pt x="103" y="44"/>
                    </a:lnTo>
                    <a:lnTo>
                      <a:pt x="98" y="53"/>
                    </a:lnTo>
                    <a:lnTo>
                      <a:pt x="95" y="69"/>
                    </a:lnTo>
                    <a:lnTo>
                      <a:pt x="95" y="72"/>
                    </a:lnTo>
                    <a:lnTo>
                      <a:pt x="92" y="72"/>
                    </a:lnTo>
                    <a:lnTo>
                      <a:pt x="89" y="75"/>
                    </a:lnTo>
                    <a:lnTo>
                      <a:pt x="89" y="78"/>
                    </a:lnTo>
                    <a:lnTo>
                      <a:pt x="87" y="75"/>
                    </a:lnTo>
                    <a:lnTo>
                      <a:pt x="87" y="78"/>
                    </a:lnTo>
                    <a:lnTo>
                      <a:pt x="84" y="72"/>
                    </a:lnTo>
                    <a:lnTo>
                      <a:pt x="84" y="64"/>
                    </a:lnTo>
                    <a:lnTo>
                      <a:pt x="78" y="56"/>
                    </a:lnTo>
                    <a:lnTo>
                      <a:pt x="75" y="56"/>
                    </a:lnTo>
                    <a:lnTo>
                      <a:pt x="73" y="58"/>
                    </a:lnTo>
                    <a:lnTo>
                      <a:pt x="70" y="58"/>
                    </a:lnTo>
                    <a:lnTo>
                      <a:pt x="70" y="61"/>
                    </a:lnTo>
                    <a:lnTo>
                      <a:pt x="64" y="64"/>
                    </a:lnTo>
                    <a:lnTo>
                      <a:pt x="61" y="64"/>
                    </a:lnTo>
                    <a:lnTo>
                      <a:pt x="64" y="58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3" y="50"/>
                    </a:lnTo>
                    <a:lnTo>
                      <a:pt x="73" y="47"/>
                    </a:lnTo>
                    <a:lnTo>
                      <a:pt x="70" y="33"/>
                    </a:lnTo>
                    <a:lnTo>
                      <a:pt x="73" y="33"/>
                    </a:lnTo>
                    <a:lnTo>
                      <a:pt x="70" y="30"/>
                    </a:lnTo>
                    <a:lnTo>
                      <a:pt x="67" y="28"/>
                    </a:lnTo>
                    <a:lnTo>
                      <a:pt x="64" y="25"/>
                    </a:lnTo>
                    <a:lnTo>
                      <a:pt x="61" y="25"/>
                    </a:lnTo>
                    <a:lnTo>
                      <a:pt x="56" y="22"/>
                    </a:lnTo>
                    <a:lnTo>
                      <a:pt x="56" y="19"/>
                    </a:lnTo>
                    <a:lnTo>
                      <a:pt x="53" y="22"/>
                    </a:lnTo>
                    <a:lnTo>
                      <a:pt x="53" y="19"/>
                    </a:lnTo>
                    <a:lnTo>
                      <a:pt x="50" y="19"/>
                    </a:lnTo>
                    <a:lnTo>
                      <a:pt x="48" y="19"/>
                    </a:lnTo>
                    <a:lnTo>
                      <a:pt x="45" y="22"/>
                    </a:lnTo>
                    <a:lnTo>
                      <a:pt x="45" y="25"/>
                    </a:lnTo>
                    <a:lnTo>
                      <a:pt x="48" y="28"/>
                    </a:lnTo>
                    <a:lnTo>
                      <a:pt x="45" y="28"/>
                    </a:lnTo>
                    <a:lnTo>
                      <a:pt x="39" y="30"/>
                    </a:lnTo>
                    <a:lnTo>
                      <a:pt x="39" y="36"/>
                    </a:lnTo>
                    <a:lnTo>
                      <a:pt x="36" y="36"/>
                    </a:lnTo>
                    <a:lnTo>
                      <a:pt x="36" y="39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31" y="36"/>
                    </a:lnTo>
                    <a:lnTo>
                      <a:pt x="28" y="39"/>
                    </a:lnTo>
                    <a:lnTo>
                      <a:pt x="25" y="42"/>
                    </a:lnTo>
                    <a:lnTo>
                      <a:pt x="25" y="50"/>
                    </a:lnTo>
                    <a:lnTo>
                      <a:pt x="25" y="53"/>
                    </a:lnTo>
                    <a:lnTo>
                      <a:pt x="22" y="64"/>
                    </a:lnTo>
                    <a:lnTo>
                      <a:pt x="25" y="75"/>
                    </a:lnTo>
                    <a:lnTo>
                      <a:pt x="25" y="86"/>
                    </a:lnTo>
                    <a:lnTo>
                      <a:pt x="20" y="103"/>
                    </a:lnTo>
                    <a:lnTo>
                      <a:pt x="11" y="106"/>
                    </a:lnTo>
                  </a:path>
                </a:pathLst>
              </a:custGeom>
              <a:grpFill/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l" defTabSz="913943" rtl="0">
                  <a:defRPr/>
                </a:pPr>
                <a:endParaRPr lang="en-US" sz="1799" dirty="0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POLYSILICON Is Represented Globally with 3 Production Sites</a:t>
            </a:r>
          </a:p>
        </p:txBody>
      </p:sp>
      <p:sp>
        <p:nvSpPr>
          <p:cNvPr id="1302" name="Textfeld 1301"/>
          <p:cNvSpPr txBox="1"/>
          <p:nvPr/>
        </p:nvSpPr>
        <p:spPr bwMode="gray">
          <a:xfrm>
            <a:off x="8590399" y="3626294"/>
            <a:ext cx="1037221" cy="28801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none" lIns="35983" tIns="35983" rIns="35983" bIns="35983" rtlCol="0" anchor="ctr" anchorCtr="0">
            <a:spAutoFit/>
          </a:bodyPr>
          <a:lstStyle/>
          <a:p>
            <a:pPr algn="ctr" defTabSz="995192" rtl="0"/>
            <a:r>
              <a:rPr lang="en-US" sz="1399" kern="1200" dirty="0" err="1">
                <a:solidFill>
                  <a:srgbClr val="313131"/>
                </a:solidFill>
                <a:latin typeface="Arial"/>
                <a:ea typeface="+mn-ea"/>
                <a:cs typeface="+mn-cs"/>
              </a:rPr>
              <a:t>Burghausen</a:t>
            </a:r>
            <a:endParaRPr lang="en-US" sz="13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293" name="Rechteck 1292"/>
          <p:cNvSpPr/>
          <p:nvPr/>
        </p:nvSpPr>
        <p:spPr bwMode="auto">
          <a:xfrm>
            <a:off x="3553117" y="1441344"/>
            <a:ext cx="9385626" cy="4677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l" defTabSz="995192" rtl="0">
              <a:spcBef>
                <a:spcPts val="800"/>
              </a:spcBef>
              <a:spcAft>
                <a:spcPts val="800"/>
              </a:spcAft>
            </a:pPr>
            <a:r>
              <a:rPr lang="en-US" sz="1999" b="1" kern="1200" dirty="0">
                <a:solidFill>
                  <a:srgbClr val="496EA5"/>
                </a:solidFill>
                <a:latin typeface="Arial" pitchFamily="34" charset="0"/>
                <a:ea typeface="+mn-ea"/>
                <a:cs typeface="Arial" pitchFamily="34" charset="0"/>
              </a:rPr>
              <a:t>Office Locations, Sites and Nameplate Capacities*</a:t>
            </a:r>
          </a:p>
        </p:txBody>
      </p:sp>
      <p:sp>
        <p:nvSpPr>
          <p:cNvPr id="1322" name="Rectangle 111"/>
          <p:cNvSpPr>
            <a:spLocks noChangeArrowheads="1"/>
          </p:cNvSpPr>
          <p:nvPr/>
        </p:nvSpPr>
        <p:spPr bwMode="auto">
          <a:xfrm>
            <a:off x="7507727" y="5682338"/>
            <a:ext cx="2452974" cy="430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l" defTabSz="995192" rtl="0"/>
            <a:r>
              <a:rPr lang="en-US" sz="13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Production site and head office</a:t>
            </a:r>
          </a:p>
          <a:p>
            <a:pPr algn="l" defTabSz="995192" rtl="0"/>
            <a:r>
              <a:rPr lang="en-US" sz="13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Production site </a:t>
            </a:r>
          </a:p>
        </p:txBody>
      </p:sp>
      <p:sp>
        <p:nvSpPr>
          <p:cNvPr id="1323" name="Oval 123"/>
          <p:cNvSpPr>
            <a:spLocks noChangeArrowheads="1"/>
          </p:cNvSpPr>
          <p:nvPr/>
        </p:nvSpPr>
        <p:spPr bwMode="auto">
          <a:xfrm>
            <a:off x="7299179" y="5939615"/>
            <a:ext cx="145959" cy="12609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25" name="Oval 128"/>
          <p:cNvSpPr>
            <a:spLocks noChangeArrowheads="1"/>
          </p:cNvSpPr>
          <p:nvPr/>
        </p:nvSpPr>
        <p:spPr bwMode="auto">
          <a:xfrm>
            <a:off x="7299179" y="5713772"/>
            <a:ext cx="145959" cy="127523"/>
          </a:xfrm>
          <a:prstGeom prst="ellipse">
            <a:avLst/>
          </a:prstGeom>
          <a:solidFill>
            <a:srgbClr val="FD5E17"/>
          </a:solidFill>
          <a:ln>
            <a:noFill/>
          </a:ln>
          <a:effectLst/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27" name="Oval 119"/>
          <p:cNvSpPr>
            <a:spLocks noChangeArrowheads="1"/>
          </p:cNvSpPr>
          <p:nvPr/>
        </p:nvSpPr>
        <p:spPr bwMode="auto">
          <a:xfrm>
            <a:off x="6042625" y="3988687"/>
            <a:ext cx="145959" cy="127524"/>
          </a:xfrm>
          <a:prstGeom prst="ellipse">
            <a:avLst/>
          </a:prstGeom>
          <a:solidFill>
            <a:srgbClr val="8B3B3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28" name="Rechteck 1327"/>
          <p:cNvSpPr/>
          <p:nvPr/>
        </p:nvSpPr>
        <p:spPr bwMode="auto">
          <a:xfrm>
            <a:off x="5941495" y="3112513"/>
            <a:ext cx="345453" cy="64769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66" tIns="107949" rIns="71966" bIns="107949" numCol="1" rtlCol="0" anchor="ctr" anchorCtr="0" compatLnSpc="1">
            <a:prstTxWarp prst="textNoShape">
              <a:avLst/>
            </a:prstTxWarp>
          </a:bodyPr>
          <a:lstStyle/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329" name="Oval 130" descr="Diagonal dunkel nach oben"/>
          <p:cNvSpPr>
            <a:spLocks noChangeArrowheads="1"/>
          </p:cNvSpPr>
          <p:nvPr/>
        </p:nvSpPr>
        <p:spPr bwMode="auto">
          <a:xfrm>
            <a:off x="6045061" y="3819408"/>
            <a:ext cx="145959" cy="12609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30" name="Text Box 116"/>
          <p:cNvSpPr txBox="1">
            <a:spLocks noChangeArrowheads="1"/>
          </p:cNvSpPr>
          <p:nvPr/>
        </p:nvSpPr>
        <p:spPr bwMode="auto">
          <a:xfrm>
            <a:off x="6311044" y="2986978"/>
            <a:ext cx="500137" cy="24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 b="1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defTabSz="995192" rtl="0" eaLnBrk="1" hangingPunct="1">
              <a:spcBef>
                <a:spcPct val="50000"/>
              </a:spcBef>
            </a:pPr>
            <a:r>
              <a:rPr lang="de-DE" sz="1599" kern="1200" dirty="0">
                <a:solidFill>
                  <a:srgbClr val="313131"/>
                </a:solidFill>
                <a:ea typeface="+mn-ea"/>
                <a:cs typeface="+mn-cs"/>
              </a:rPr>
              <a:t>20KT</a:t>
            </a:r>
          </a:p>
        </p:txBody>
      </p:sp>
      <p:sp>
        <p:nvSpPr>
          <p:cNvPr id="1331" name="Oval 125"/>
          <p:cNvSpPr>
            <a:spLocks noChangeArrowheads="1"/>
          </p:cNvSpPr>
          <p:nvPr/>
        </p:nvSpPr>
        <p:spPr bwMode="auto">
          <a:xfrm>
            <a:off x="8513991" y="3385762"/>
            <a:ext cx="145959" cy="127523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32" name="Oval 126"/>
          <p:cNvSpPr>
            <a:spLocks noChangeArrowheads="1"/>
          </p:cNvSpPr>
          <p:nvPr/>
        </p:nvSpPr>
        <p:spPr bwMode="auto">
          <a:xfrm>
            <a:off x="8471786" y="3477465"/>
            <a:ext cx="145959" cy="127523"/>
          </a:xfrm>
          <a:prstGeom prst="ellipse">
            <a:avLst/>
          </a:prstGeom>
          <a:solidFill>
            <a:srgbClr val="FD5E17"/>
          </a:solidFill>
          <a:ln>
            <a:noFill/>
          </a:ln>
          <a:effectLst/>
        </p:spPr>
        <p:txBody>
          <a:bodyPr wrap="none" anchor="ctr"/>
          <a:lstStyle/>
          <a:p>
            <a:pPr algn="l" defTabSz="995192" rtl="0"/>
            <a:endParaRPr lang="de-DE" sz="1199" kern="120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33" name="Textfeld 1332"/>
          <p:cNvSpPr txBox="1"/>
          <p:nvPr/>
        </p:nvSpPr>
        <p:spPr bwMode="gray">
          <a:xfrm>
            <a:off x="8707625" y="3287011"/>
            <a:ext cx="828929" cy="28801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none" lIns="35983" tIns="35983" rIns="35983" bIns="35983" rtlCol="0" anchor="ctr" anchorCtr="0">
            <a:spAutoFit/>
          </a:bodyPr>
          <a:lstStyle/>
          <a:p>
            <a:pPr algn="ctr" defTabSz="995192" rtl="0"/>
            <a:r>
              <a:rPr lang="en-US" sz="1399" kern="1200" dirty="0" err="1">
                <a:solidFill>
                  <a:srgbClr val="313131"/>
                </a:solidFill>
                <a:latin typeface="Arial"/>
                <a:ea typeface="+mn-ea"/>
                <a:cs typeface="+mn-cs"/>
              </a:rPr>
              <a:t>Nünchritz</a:t>
            </a:r>
            <a:endParaRPr lang="en-US" sz="13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34" name="Rechteck 1333"/>
          <p:cNvSpPr/>
          <p:nvPr/>
        </p:nvSpPr>
        <p:spPr bwMode="auto">
          <a:xfrm>
            <a:off x="7196605" y="2464819"/>
            <a:ext cx="318888" cy="1295388"/>
          </a:xfrm>
          <a:prstGeom prst="rect">
            <a:avLst/>
          </a:prstGeom>
          <a:solidFill>
            <a:srgbClr val="FD5E17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66" tIns="107949" rIns="71966" bIns="107949" numCol="1" rtlCol="0" anchor="ctr" anchorCtr="0" compatLnSpc="1">
            <a:prstTxWarp prst="textNoShape">
              <a:avLst/>
            </a:prstTxWarp>
          </a:bodyPr>
          <a:lstStyle/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335" name="Rechteck 1334"/>
          <p:cNvSpPr/>
          <p:nvPr/>
        </p:nvSpPr>
        <p:spPr bwMode="auto">
          <a:xfrm>
            <a:off x="7592042" y="3112513"/>
            <a:ext cx="337531" cy="647694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1966" tIns="107949" rIns="71966" bIns="107949" numCol="1" rtlCol="0" anchor="ctr" anchorCtr="0" compatLnSpc="1">
            <a:prstTxWarp prst="textNoShape">
              <a:avLst/>
            </a:prstTxWarp>
          </a:bodyPr>
          <a:lstStyle/>
          <a:p>
            <a:pPr algn="ctr" defTabSz="913943" rtl="0" fontAlgn="base">
              <a:spcBef>
                <a:spcPct val="0"/>
              </a:spcBef>
              <a:spcAft>
                <a:spcPct val="0"/>
              </a:spcAft>
            </a:pPr>
            <a:endParaRPr lang="de-DE" sz="1199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336" name="Text Box 116"/>
          <p:cNvSpPr txBox="1">
            <a:spLocks noChangeArrowheads="1"/>
          </p:cNvSpPr>
          <p:nvPr/>
        </p:nvSpPr>
        <p:spPr bwMode="auto">
          <a:xfrm>
            <a:off x="7576702" y="2371406"/>
            <a:ext cx="500137" cy="24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 b="1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defTabSz="995192" rtl="0" eaLnBrk="1" hangingPunct="1">
              <a:spcBef>
                <a:spcPct val="50000"/>
              </a:spcBef>
            </a:pPr>
            <a:r>
              <a:rPr lang="de-DE" sz="1599" kern="1200" dirty="0">
                <a:solidFill>
                  <a:srgbClr val="313131"/>
                </a:solidFill>
                <a:ea typeface="+mn-ea"/>
                <a:cs typeface="+mn-cs"/>
              </a:rPr>
              <a:t>40KT</a:t>
            </a:r>
          </a:p>
        </p:txBody>
      </p:sp>
      <p:sp>
        <p:nvSpPr>
          <p:cNvPr id="1337" name="Text Box 116"/>
          <p:cNvSpPr txBox="1">
            <a:spLocks noChangeArrowheads="1"/>
          </p:cNvSpPr>
          <p:nvPr/>
        </p:nvSpPr>
        <p:spPr bwMode="auto">
          <a:xfrm>
            <a:off x="7925013" y="2833689"/>
            <a:ext cx="500137" cy="24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 b="1">
                <a:solidFill>
                  <a:srgbClr val="000000"/>
                </a:solidFill>
                <a:latin typeface="Arial" charset="0"/>
              </a:defRPr>
            </a:lvl1pPr>
            <a:lvl2pPr marL="742950" indent="-28575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2pPr>
            <a:lvl3pPr marL="11430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3pPr>
            <a:lvl4pPr marL="16002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4pPr>
            <a:lvl5pPr marL="2057400" indent="-228600" eaLnBrk="0" hangingPunct="0">
              <a:defRPr sz="2400" b="1">
                <a:solidFill>
                  <a:srgbClr val="000000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l" defTabSz="995192" rtl="0" eaLnBrk="1" hangingPunct="1">
              <a:spcBef>
                <a:spcPct val="50000"/>
              </a:spcBef>
            </a:pPr>
            <a:r>
              <a:rPr lang="de-DE" sz="1599" kern="1200" dirty="0">
                <a:solidFill>
                  <a:srgbClr val="313131"/>
                </a:solidFill>
                <a:ea typeface="+mn-ea"/>
                <a:cs typeface="+mn-cs"/>
              </a:rPr>
              <a:t>20KT</a:t>
            </a:r>
          </a:p>
        </p:txBody>
      </p:sp>
      <p:sp>
        <p:nvSpPr>
          <p:cNvPr id="3" name="Textfeld 2"/>
          <p:cNvSpPr txBox="1"/>
          <p:nvPr/>
        </p:nvSpPr>
        <p:spPr bwMode="gray">
          <a:xfrm>
            <a:off x="3564987" y="6545816"/>
            <a:ext cx="9383501" cy="266574"/>
          </a:xfrm>
          <a:prstGeom prst="rect">
            <a:avLst/>
          </a:prstGeom>
          <a:noFill/>
        </p:spPr>
        <p:txBody>
          <a:bodyPr wrap="square" lIns="35983" tIns="0" rIns="71966" bIns="0" rtlCol="0">
            <a:noAutofit/>
          </a:bodyPr>
          <a:lstStyle/>
          <a:p>
            <a:pPr algn="r" defTabSz="995192" rtl="0"/>
            <a:r>
              <a:rPr lang="de-DE" sz="11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* in </a:t>
            </a:r>
            <a:r>
              <a:rPr lang="de-DE" sz="1199" kern="1200" dirty="0" err="1">
                <a:solidFill>
                  <a:srgbClr val="313131"/>
                </a:solidFill>
                <a:latin typeface="Arial"/>
                <a:ea typeface="+mn-ea"/>
                <a:cs typeface="+mn-cs"/>
              </a:rPr>
              <a:t>metric</a:t>
            </a:r>
            <a:r>
              <a:rPr lang="de-DE" sz="11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</a:t>
            </a:r>
            <a:r>
              <a:rPr lang="de-DE" sz="1199" kern="1200" dirty="0" err="1">
                <a:solidFill>
                  <a:srgbClr val="313131"/>
                </a:solidFill>
                <a:latin typeface="Arial"/>
                <a:ea typeface="+mn-ea"/>
                <a:cs typeface="+mn-cs"/>
              </a:rPr>
              <a:t>tons</a:t>
            </a:r>
            <a:r>
              <a:rPr lang="de-DE" sz="11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 per </a:t>
            </a:r>
            <a:r>
              <a:rPr lang="de-DE" sz="1199" kern="1200" dirty="0" err="1">
                <a:solidFill>
                  <a:srgbClr val="313131"/>
                </a:solidFill>
                <a:latin typeface="Arial"/>
                <a:ea typeface="+mn-ea"/>
                <a:cs typeface="+mn-cs"/>
              </a:rPr>
              <a:t>year</a:t>
            </a:r>
            <a:endParaRPr lang="de-DE" sz="11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03" name="Textfeld 1302"/>
          <p:cNvSpPr txBox="1"/>
          <p:nvPr/>
        </p:nvSpPr>
        <p:spPr bwMode="gray">
          <a:xfrm>
            <a:off x="6226697" y="3850416"/>
            <a:ext cx="937882" cy="28801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none" lIns="35983" tIns="35983" rIns="35983" bIns="35983" rtlCol="0" anchor="ctr" anchorCtr="0">
            <a:spAutoFit/>
          </a:bodyPr>
          <a:lstStyle/>
          <a:p>
            <a:pPr algn="ctr" defTabSz="995192" rtl="0"/>
            <a:r>
              <a:rPr lang="en-US" sz="1399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Charlest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F9B83B-E35B-4E5B-A5E5-000FE2D6903E}"/>
              </a:ext>
            </a:extLst>
          </p:cNvPr>
          <p:cNvSpPr txBox="1"/>
          <p:nvPr/>
        </p:nvSpPr>
        <p:spPr bwMode="gray">
          <a:xfrm>
            <a:off x="151988" y="2966507"/>
            <a:ext cx="4404643" cy="3579308"/>
          </a:xfrm>
          <a:prstGeom prst="rect">
            <a:avLst/>
          </a:prstGeom>
          <a:noFill/>
        </p:spPr>
        <p:txBody>
          <a:bodyPr wrap="square" lIns="104257" tIns="52128" rIns="104257" bIns="52128" rtlCol="0">
            <a:noAutofit/>
          </a:bodyPr>
          <a:lstStyle/>
          <a:p>
            <a:pPr algn="l" defTabSz="995192" rtl="0"/>
            <a:r>
              <a:rPr lang="en-US" sz="19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WACKER is:</a:t>
            </a:r>
          </a:p>
          <a:p>
            <a:pPr algn="l" defTabSz="995192" rtl="0"/>
            <a:endParaRPr lang="en-US" sz="1999" b="1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  <a:p>
            <a:pPr algn="l" defTabSz="995192" rtl="0"/>
            <a:r>
              <a:rPr lang="en-US" sz="19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* World’s Largest Semiconductor Polysilicon Manufacturer </a:t>
            </a:r>
          </a:p>
          <a:p>
            <a:pPr algn="l" defTabSz="995192" rtl="0"/>
            <a:endParaRPr lang="en-US" sz="19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  <a:p>
            <a:pPr algn="l" defTabSz="995192" rtl="0"/>
            <a:endParaRPr lang="en-US" sz="1999" kern="1200" dirty="0">
              <a:solidFill>
                <a:srgbClr val="313131"/>
              </a:solidFill>
              <a:latin typeface="Arial"/>
              <a:ea typeface="+mn-ea"/>
              <a:cs typeface="+mn-cs"/>
            </a:endParaRPr>
          </a:p>
          <a:p>
            <a:pPr algn="l" defTabSz="995192" rtl="0"/>
            <a:r>
              <a:rPr lang="en-US" sz="1999" b="1" kern="1200" dirty="0">
                <a:solidFill>
                  <a:srgbClr val="313131"/>
                </a:solidFill>
                <a:latin typeface="Arial"/>
                <a:ea typeface="+mn-ea"/>
                <a:cs typeface="+mn-cs"/>
              </a:rPr>
              <a:t>* World’s Largest Solar Polysilicon Manufacturer (outside China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522EA3-F7DB-5170-0E1D-3323509119A4}"/>
              </a:ext>
            </a:extLst>
          </p:cNvPr>
          <p:cNvSpPr txBox="1"/>
          <p:nvPr/>
        </p:nvSpPr>
        <p:spPr bwMode="gray">
          <a:xfrm>
            <a:off x="10299700" y="47625"/>
            <a:ext cx="2895600" cy="1143000"/>
          </a:xfrm>
          <a:prstGeom prst="rect">
            <a:avLst/>
          </a:prstGeom>
          <a:solidFill>
            <a:srgbClr val="FFFF00"/>
          </a:solidFill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800" b="1" dirty="0"/>
              <a:t>80KT = </a:t>
            </a:r>
          </a:p>
          <a:p>
            <a:r>
              <a:rPr lang="en-US" sz="2800" b="1" dirty="0"/>
              <a:t>Western Leader</a:t>
            </a:r>
          </a:p>
          <a:p>
            <a:r>
              <a:rPr lang="en-US" sz="1000" b="1" dirty="0"/>
              <a:t>All Non-China Manufacturing: ~180KT total</a:t>
            </a:r>
          </a:p>
        </p:txBody>
      </p:sp>
    </p:spTree>
    <p:extLst>
      <p:ext uri="{BB962C8B-B14F-4D97-AF65-F5344CB8AC3E}">
        <p14:creationId xmlns:p14="http://schemas.microsoft.com/office/powerpoint/2010/main" val="58506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A1B1EA-FE5D-67E2-A6D0-66D2E43B1F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833100" y="6561364"/>
            <a:ext cx="2438400" cy="355238"/>
          </a:xfrm>
        </p:spPr>
        <p:txBody>
          <a:bodyPr/>
          <a:lstStyle/>
          <a:p>
            <a:r>
              <a:rPr lang="en-US" dirty="0"/>
              <a:t>DOE Office of Energy Efficiency &amp; Renewable Energy:</a:t>
            </a:r>
          </a:p>
          <a:p>
            <a:r>
              <a:rPr lang="en-US" dirty="0"/>
              <a:t>Building a Bridge to a More Robust and Secure Solar Energy Supply Chai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6C7F5E-336B-AA1F-4F9D-A9948D777F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9992" y="26420"/>
            <a:ext cx="9231708" cy="753643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0A99F32-D364-D3FF-F15F-A0A283521E25}"/>
              </a:ext>
            </a:extLst>
          </p:cNvPr>
          <p:cNvSpPr/>
          <p:nvPr/>
        </p:nvSpPr>
        <p:spPr>
          <a:xfrm>
            <a:off x="3898900" y="3095625"/>
            <a:ext cx="1905000" cy="3048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50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>
            <a:extLst>
              <a:ext uri="{FF2B5EF4-FFF2-40B4-BE49-F238E27FC236}">
                <a16:creationId xmlns:a16="http://schemas.microsoft.com/office/drawing/2014/main" id="{AB0456F6-0BE5-4223-978C-F0053B41805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15268" y="1830516"/>
            <a:ext cx="8082905" cy="5083948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7EA6FCF-4073-4E07-9B3C-E5C91A1D9B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951" y="6653813"/>
            <a:ext cx="12122770" cy="262843"/>
          </a:xfrm>
        </p:spPr>
        <p:txBody>
          <a:bodyPr/>
          <a:lstStyle/>
          <a:p>
            <a:r>
              <a:rPr lang="de-DE" sz="1000" dirty="0"/>
              <a:t>Source: GB-P </a:t>
            </a:r>
            <a:r>
              <a:rPr lang="de-DE" sz="1000" dirty="0" err="1"/>
              <a:t>analysis</a:t>
            </a:r>
            <a:r>
              <a:rPr lang="de-DE" sz="1000" dirty="0"/>
              <a:t>; *) </a:t>
            </a:r>
            <a:r>
              <a:rPr lang="de-DE" sz="1000" dirty="0" err="1"/>
              <a:t>cumulated</a:t>
            </a:r>
            <a:r>
              <a:rPr lang="de-DE" sz="1000" dirty="0"/>
              <a:t> PV </a:t>
            </a:r>
            <a:r>
              <a:rPr lang="de-DE" sz="1000" dirty="0" err="1"/>
              <a:t>capacity</a:t>
            </a:r>
            <a:endParaRPr lang="de-DE" sz="1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730501C-D09C-4481-A29D-79DD13D8D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537" y="196892"/>
            <a:ext cx="12122770" cy="369332"/>
          </a:xfrm>
        </p:spPr>
        <p:txBody>
          <a:bodyPr/>
          <a:lstStyle/>
          <a:p>
            <a:r>
              <a:rPr lang="en-US" dirty="0"/>
              <a:t>Tipping Point in 2022 – New Era of Solar Growth Expected Globally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1EFC1E7-F238-469B-ABF4-4CF163E97CD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3103" y="1541563"/>
            <a:ext cx="12125635" cy="276999"/>
          </a:xfrm>
        </p:spPr>
        <p:txBody>
          <a:bodyPr/>
          <a:lstStyle/>
          <a:p>
            <a:r>
              <a:rPr lang="en-US" dirty="0"/>
              <a:t>Solar Market Development (GW)</a:t>
            </a: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CADAFE7F-5A37-4574-ADDE-61C902EAFD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2453" y="1506386"/>
            <a:ext cx="5836286" cy="28725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indent="0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1800" b="0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225425" lvl="1" indent="-225425"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Wingdings 3" pitchFamily="18" charset="2"/>
              <a:buChar char="}"/>
              <a:defRPr sz="1600" b="0">
                <a:solidFill>
                  <a:srgbClr val="000000">
                    <a:lumMod val="65000"/>
                    <a:lumOff val="35000"/>
                  </a:srgbClr>
                </a:solidFill>
                <a:latin typeface="Arial" pitchFamily="34" charset="0"/>
                <a:cs typeface="Arial" pitchFamily="34" charset="0"/>
              </a:defRPr>
            </a:lvl2pPr>
            <a:lvl3pPr marL="432000" indent="-2268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Char char="}"/>
              <a:defRPr sz="16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662400" indent="-216000" defTabSz="80645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849600" indent="-18720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2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849600" indent="-18720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2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6pPr>
            <a:lvl7pPr marL="849600" indent="-18720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2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7pPr>
            <a:lvl8pPr marL="849600" indent="-18720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8pPr>
            <a:lvl9pPr marL="849600" indent="-187200">
              <a:spcBef>
                <a:spcPts val="6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Wingdings 3" pitchFamily="18" charset="2"/>
              <a:buChar char="}"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en-US" sz="2000" b="1" dirty="0">
                <a:solidFill>
                  <a:schemeClr val="accent1"/>
                </a:solidFill>
              </a:rPr>
              <a:t>Market Dynamics</a:t>
            </a:r>
          </a:p>
          <a:p>
            <a:pPr lvl="1"/>
            <a:r>
              <a:rPr lang="en-US" sz="2000" dirty="0">
                <a:solidFill>
                  <a:srgbClr val="FF0000"/>
                </a:solidFill>
              </a:rPr>
              <a:t>Solar lowest cost electricity source</a:t>
            </a:r>
          </a:p>
          <a:p>
            <a:pPr lvl="1"/>
            <a:r>
              <a:rPr lang="en-US" sz="2000" dirty="0">
                <a:solidFill>
                  <a:schemeClr val="tx1"/>
                </a:solidFill>
              </a:rPr>
              <a:t>Urgent need to decarbonize our societies</a:t>
            </a:r>
          </a:p>
          <a:p>
            <a:pPr lvl="1"/>
            <a:r>
              <a:rPr lang="en-US" sz="2000" dirty="0">
                <a:solidFill>
                  <a:schemeClr val="tx1"/>
                </a:solidFill>
              </a:rPr>
              <a:t>Substitution of fossil-based electricity generation</a:t>
            </a:r>
          </a:p>
          <a:p>
            <a:pPr lvl="1"/>
            <a:r>
              <a:rPr lang="en-US" sz="2000" dirty="0">
                <a:solidFill>
                  <a:schemeClr val="tx1"/>
                </a:solidFill>
              </a:rPr>
              <a:t>Electrification of heating / transport / industry</a:t>
            </a:r>
          </a:p>
          <a:p>
            <a:pPr lvl="1"/>
            <a:r>
              <a:rPr lang="en-US" sz="2000" dirty="0">
                <a:solidFill>
                  <a:schemeClr val="tx1"/>
                </a:solidFill>
              </a:rPr>
              <a:t>Global spread of Photovoltaics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C98C526-9CFB-4D0A-A546-AF7C82E7A7D0}"/>
              </a:ext>
            </a:extLst>
          </p:cNvPr>
          <p:cNvSpPr txBox="1"/>
          <p:nvPr/>
        </p:nvSpPr>
        <p:spPr bwMode="gray">
          <a:xfrm>
            <a:off x="5671489" y="3520464"/>
            <a:ext cx="704076" cy="289855"/>
          </a:xfrm>
          <a:prstGeom prst="rect">
            <a:avLst/>
          </a:prstGeom>
          <a:noFill/>
        </p:spPr>
        <p:txBody>
          <a:bodyPr wrap="square" lIns="104256" tIns="52129" rIns="104256" bIns="52129" rtlCol="0">
            <a:spAutoFit/>
          </a:bodyPr>
          <a:lstStyle/>
          <a:p>
            <a:r>
              <a:rPr lang="de-DE" sz="1200" b="1" dirty="0"/>
              <a:t>~7400*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C5FB169-38B2-4E44-956A-7FE60BDAF035}"/>
              </a:ext>
            </a:extLst>
          </p:cNvPr>
          <p:cNvSpPr txBox="1"/>
          <p:nvPr/>
        </p:nvSpPr>
        <p:spPr bwMode="gray">
          <a:xfrm>
            <a:off x="5679192" y="4068357"/>
            <a:ext cx="699284" cy="289855"/>
          </a:xfrm>
          <a:prstGeom prst="rect">
            <a:avLst/>
          </a:prstGeom>
          <a:noFill/>
        </p:spPr>
        <p:txBody>
          <a:bodyPr wrap="square" lIns="104256" tIns="52129" rIns="104256" bIns="52129" rtlCol="0">
            <a:spAutoFit/>
          </a:bodyPr>
          <a:lstStyle/>
          <a:p>
            <a:r>
              <a:rPr lang="de-DE" sz="1200" b="1" dirty="0"/>
              <a:t>~6300*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BAF1BC2-197D-4D80-B4D6-2F2A9DD6DE66}"/>
              </a:ext>
            </a:extLst>
          </p:cNvPr>
          <p:cNvSpPr txBox="1"/>
          <p:nvPr/>
        </p:nvSpPr>
        <p:spPr bwMode="gray">
          <a:xfrm>
            <a:off x="5671490" y="2979499"/>
            <a:ext cx="704077" cy="289855"/>
          </a:xfrm>
          <a:prstGeom prst="rect">
            <a:avLst/>
          </a:prstGeom>
          <a:noFill/>
        </p:spPr>
        <p:txBody>
          <a:bodyPr wrap="square" lIns="104256" tIns="52129" rIns="104256" bIns="52129" rtlCol="0">
            <a:spAutoFit/>
          </a:bodyPr>
          <a:lstStyle/>
          <a:p>
            <a:r>
              <a:rPr lang="de-DE" sz="1200" b="1" dirty="0"/>
              <a:t>~8500*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D3ABD6C-C792-42E1-A102-A0EF161026BC}"/>
              </a:ext>
            </a:extLst>
          </p:cNvPr>
          <p:cNvSpPr txBox="1"/>
          <p:nvPr/>
        </p:nvSpPr>
        <p:spPr bwMode="gray">
          <a:xfrm>
            <a:off x="5671491" y="1746836"/>
            <a:ext cx="822661" cy="289855"/>
          </a:xfrm>
          <a:prstGeom prst="rect">
            <a:avLst/>
          </a:prstGeom>
          <a:noFill/>
        </p:spPr>
        <p:txBody>
          <a:bodyPr wrap="square" lIns="104256" tIns="52129" rIns="104256" bIns="52129" rtlCol="0">
            <a:spAutoFit/>
          </a:bodyPr>
          <a:lstStyle/>
          <a:p>
            <a:r>
              <a:rPr lang="de-DE" sz="1200" b="1" dirty="0"/>
              <a:t>~10200*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A1DDBFF-CDF1-4789-A8CB-E1F7CEEC9761}"/>
              </a:ext>
            </a:extLst>
          </p:cNvPr>
          <p:cNvSpPr txBox="1"/>
          <p:nvPr/>
        </p:nvSpPr>
        <p:spPr bwMode="gray">
          <a:xfrm>
            <a:off x="2982142" y="6021287"/>
            <a:ext cx="614316" cy="289855"/>
          </a:xfrm>
          <a:prstGeom prst="rect">
            <a:avLst/>
          </a:prstGeom>
          <a:noFill/>
        </p:spPr>
        <p:txBody>
          <a:bodyPr wrap="none" lIns="104256" tIns="52129" rIns="104256" bIns="52129" rtlCol="0">
            <a:spAutoFit/>
          </a:bodyPr>
          <a:lstStyle/>
          <a:p>
            <a:r>
              <a:rPr lang="de-DE" sz="1200" b="1" dirty="0"/>
              <a:t>~950*</a:t>
            </a: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C0B40150-63F4-AB84-1FC0-1AD4102D4C56}"/>
              </a:ext>
            </a:extLst>
          </p:cNvPr>
          <p:cNvSpPr/>
          <p:nvPr/>
        </p:nvSpPr>
        <p:spPr>
          <a:xfrm>
            <a:off x="3975100" y="3887554"/>
            <a:ext cx="228600" cy="1344512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C7E1B8-D069-422C-8E3A-49F4E3611AA2}"/>
              </a:ext>
            </a:extLst>
          </p:cNvPr>
          <p:cNvSpPr txBox="1"/>
          <p:nvPr/>
        </p:nvSpPr>
        <p:spPr>
          <a:xfrm>
            <a:off x="10985500" y="677136"/>
            <a:ext cx="2057400" cy="92333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Opportunity: Huge Growth Market</a:t>
            </a:r>
          </a:p>
        </p:txBody>
      </p:sp>
    </p:spTree>
    <p:extLst>
      <p:ext uri="{BB962C8B-B14F-4D97-AF65-F5344CB8AC3E}">
        <p14:creationId xmlns:p14="http://schemas.microsoft.com/office/powerpoint/2010/main" val="99477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AAECD-6360-9E42-9160-D18DFA86C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541" y="225373"/>
            <a:ext cx="12805867" cy="369332"/>
          </a:xfrm>
        </p:spPr>
        <p:txBody>
          <a:bodyPr/>
          <a:lstStyle/>
          <a:p>
            <a:r>
              <a:rPr lang="en-US" dirty="0"/>
              <a:t>Relevant Topic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A9954F-98CE-1E68-183E-B7B646768E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147" y="1739455"/>
            <a:ext cx="12098655" cy="43088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Solar only presently represents ~5%  of overall US energy consump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Solar is the cheapest form of energy, global deployment expected to increase significant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Polysilicon as an Energy User </a:t>
            </a:r>
            <a:r>
              <a:rPr lang="en-US" sz="2800" dirty="0">
                <a:sym typeface="Wingdings" panose="05000000000000000000" pitchFamily="2" charset="2"/>
              </a:rPr>
              <a:t> And key foundational component of Utility Solar Pan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ym typeface="Wingdings" panose="05000000000000000000" pitchFamily="2" charset="2"/>
              </a:rPr>
              <a:t>COVID / UFLPA / Political Actions Impacts on Supply Chain Risk and Energy Independence 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884081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2688D2-C9A2-84A6-D3E1-F55922A9A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541" y="225373"/>
            <a:ext cx="12805867" cy="369332"/>
          </a:xfrm>
        </p:spPr>
        <p:txBody>
          <a:bodyPr/>
          <a:lstStyle/>
          <a:p>
            <a:r>
              <a:rPr lang="en-US" dirty="0"/>
              <a:t>Backup /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B9B3ED-1628-6A9E-9F25-E11A493432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420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8ck94n0EmTW2CDImBd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gaDGQ1u022g3kqig3pA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pb02HQLUOG2yegcbYNU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NIs7kDtUOn7Tq8YAsT.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DzxUQX0UOxjcBMdj1Oi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8wrxTTE2RpaId2cdMq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GIGqrVLU2zk.KruHVeE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UAnsClqkmtmPV9rTcZN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EoXN_nEix8ttcH4_JV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3DJat3z0qmPEjCW4ogV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S92mmBECNjp5jwM8Sm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G5JTE3_0exXLuRvXWBJ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LQnTRTHEeO7xhlc9Bzx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6LL0W5u0qXoSJyvD6wf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Drsg5T90yzht62EhVW0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mgFyM8vkaEyNwI123ha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e7bWi3gk26Qz6o2Imm3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ATMhAXo0eFzhOKn.Jyt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Pm_kqIn0OaKZEMAY2be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y7wgsNwEmcSi1CYPab2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SK7EdpkUe9HtjsEwYDr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cIuSWx9kGkacRHZQ.lCg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U.NWPe3k2hThBD2KvM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zyKMtkU.Wk_TVZOR9K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w4KRszI0.smY8E1fklN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aEqkYtE0is3FetCfrA2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8c_jOQHUmRhSWAjAzXX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1s6YJ9JESzfK7H2PiCh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0msvT0SUScXEqD2_UK_w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jOOT6scUuTLbLbEu63a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tVBDoG6kGPnhtt7ajqI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jdoywCDUWH_JouG02Mb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85F7EXB0egXP8ttWT3X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dM_kXuE0yDqMtvaY3B0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H0lFyyEqwr4M7z2u2Ew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B77q1pqUKgBACz71Vhe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AQsA9t2keSBrxAnKyS5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o76FAawEGNSm9xCRMgS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HSU4GQgESb0ejbtartY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wdx94hJEie7T3xQYUY9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fI3Q2uFk2RP54QH88ot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jGlIGpakq9ixRRKEBQQ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wn_23F6EO7WDUmwMSHg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fjWQ9BekeQkTUlbBd9E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iPHfOls0miyIuNQ8OdH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Kx4JfFkk.t1GX2bAFyt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Zmx.c2.kOb3Iv2dmThfg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6CYIeuyEWE5Ca46p5Ei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wBjxw03UaaTcQZQJjCug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Y3JraRck.RGPsfSdh.a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9YKYYx5kmJVN.sZNw1W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jLCezODkGW8p7oqvVNc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VoEonxuky4nEoLDsO6v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72u8pfAUiFdz6sf7hJtg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MQOIZzjES48w1.U3dYM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6yv_a7dU2LuEWTFsM8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fxnV6KTkmZWZKVJLXsa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ZlfK4W60alQ0uDi20MW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JymSGNL0uEBo_eir0sYw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3t_RmVdU67JIZ0W8AETw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Bqo90jyUCxVoRN5oXb1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rA_RjKU2HGUnAareRN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6Rlwx20qACnV7ZSI3G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7nhKk1ZkKLpQcRBAema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HYycE26UG9qdkLII62t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j2SVEU1EeUN1F147gNR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K3dHQXpES.R8wXSqai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UiT2wFNEeeDwILkRxqu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vcnpubdUCPFuqesfL14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uiBAZOe02eNftR06fYw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0sNy.QGEqrpsr2xTdTC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qqqVVDu0S.KNDqWqyBh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b0XIG370Ch39_iy6zqO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xdsOOus0qGAZC6wg_5g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dKGIp520ms6pH8gTDXZ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5MxaYVnkiyjObsvmPzJ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T90GjSKk2QUxHnP_4tG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yWVfM9GUezlqq3wjE7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qwlIngxUaL8ElpwTtwx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6BEhhM0KGadtjw7xkl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X.SKs2NEmLH7kTjJFr7g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mIO.l5fkKm4I6o1lFof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T2Y1Dmn0S6CD_Ndz4x0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lKMI3Nm0G.8jCNTKu7_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ULOpe9GUSBrbdhtHx_F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oJK8RTwkK1.iyQiXuCl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ogmIcpqUug4VdWofOOe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Z7DJVQ.UOO7J0XwqMRMg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v4Q0S0i0CZCn76Ic74q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mMXt6l4kSPSgz5fTzajg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p2bIz4zE26jBvFoT2j9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l.JoOCSUGoy.fNJ.v.V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ATgKGpf02uXWAjY1q5E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_wLRaa1EOZJbUdBBBDM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Z7ERTPGkymaeGmlThpt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QR9bFidUCT2sXVVsT7s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WSHutq_EOLxWA4lj6AW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Po.wiecEiBgwiBxTWJs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tNOC5ESEG6To8mcWMG_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NF_sPK5UupXqF_MaD6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qkhVNa_UCYcS5z_ILL8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E5RYLgj0q.OX6VC1IS6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I7hg8F2Equy14MlbO5J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MwU0iBkOeeeZ9oAjo0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.H7jS2C0q0wvurSyh6i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pGsNA0JU6sgjN4cNJ4U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hOatFjt0SYXUW98rPi.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iFs5Vx0qSVhQp7QU_j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f.7XwHw0ubNXaPkYFfZ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hi0Q26MU6Al3ogRP.oPw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grX1vdf0yXkyANbCrx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Wz83T7JEqry1d0tz5VD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B_t_gTG0azrMfHkJ3Xu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uEQE5NdUKbmm4M26kDrA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cN6otzoEOj_iaOjSedH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9qP0XZS0.OfKaEUhUlP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dUU0z2HkygtLrUMrN_d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0PCkcZ0CnF9aCk5AzI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ziJdYaGESOXYg3f6i98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S4B_S7v02IIv43SyUWC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HE1Z7r2EWTU4PAYlUvd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52Haad4USkclXx4Quqcg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qvrSbmIUipv5nm1isX7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2K0S1k7kyQyj5rOk3hk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5ebRuw6EmBxtXF3E5HiA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5FaJWjLk2_YJTQ3rlcS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mwxO_57E.U1M0oDWGsJA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07FUFm2Uy25umPYMwm3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Lr8aWh7k6IdVpgPo4Ud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4_nZdUUiN7vM.ROoLz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QhrVo58kOpAzpcvnBgJ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7o6HCypk6fp7rdlU2rY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AZcJz_MkCgMqtT9xwbL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eSnU9zEOuLzTNpd9r9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AYUyj7yEG8cloiXi4oB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5Y0mCKyE2IZI3KPKlZB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0gJLGYlkqKmMak9ldUaQ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2cBRjvRkyky_CfC9JK3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c0RwlCrEq.dVgauVswV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yMZTOaTUyvjyWNSb5NiA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iqkJZ.3UGVoh0YmM5oZ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5ZxqtjukSsbqxST6Jg.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6Di2FvC0ChtKMgjCESb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ABY5hCgE2_VHf6M9b1bw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jv9KTR.kymbRwlQm9oy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bpYVXVa0qENnugSEU.4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BAsmye902jW6uUsamka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SMkj3PIE.OMdqAy61lPg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0J59EvDU.1JkOS1AN7E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7JzI.GcU.8obImtP2Gk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RykM7ba0CsAbKjLnK8X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ToOVW5ykCGXPGDRyGv6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_Cz4WaX0O_eRw1d.RbY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JIH67cWEah1lyYKNAgG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nBgZ42kkeqwh2_Su22L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WeobAHJkyOBVsPfF9N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y06Ka.kEmQPMhzEb6CG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.N4RA1AUalShK8PwJWF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cdwge9T0G0gpTQldXeX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u1zUyGdkyaWBUDq.fZN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dVaS7MNUqG2NVzxVAHZ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sT8h5siESrG20lCjq.3w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6JwaLAQUednSO70A.Jy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EA3.y4ikShJxtr2BV.h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skQ3Rdg0WOaNSUXMV3g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r6ENK9bESIGRFCia1Kx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Sy5XYl9kqR340PRg5S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C0n0uyv0qMfRpWf8DAb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eqV8v6US5WuP1sWH1s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r11IkcFEuGLSdUYXtWF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HGi6rM0S1sx5fSAAvCQ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.GD23c1Eqov00UlcTpy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3.Wwdm0EiqFYKwO5QvS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LtvIlBHUSlmRpG0u_kg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GrFf60X02O_SvojQSQQ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YHdZt6IUCZLcFNFFVkZ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X7JnnvJ0S0O3hJOVCq0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cwGGvoJUm08uyJ53S3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zE2u.AZESx4eb79XfsTw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yj65w4wk2ELvme23jH3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.ZIirXP02ClZyKCHCwa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yMcrnFEKbmOEyGZ5ip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gQopXYxEKX0pLEilzQ2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FU64Jwwkam3OW3pdqbt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QbPOLNRUmbaGWw4ypkJ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OAgPsaLUaSjHwU3dAdo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bTlmMdhk.9L.z7azgjN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5qADjNcUSz3JUzkq0w5w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S4sHeAEeAw79aba49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S_w5nFKE2PXIaZL1YJG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.GZkh0302JQu0xZTxJ7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WQqYmcykKFoaV4d58xn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fBXvj90eZpPXWf.Gnpw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bmhLaAhk6y9woo3rZGMw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h1EIatmUehTVXvVzyWA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_TMpwtdU..ewvBErOLh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_7tV6on0ah9rmsat7chw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61NfA5Hk..snR898GpdQ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koQ91qkECRzUmwg5K.ww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2k85.WYkGNQgyluvVE9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tbWMNlfECLq0JIxWl4E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0tGXUOUE6tX8SWxQ793w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w6Emk1ZUmRSaiRPVdZD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oO2ZpMbE2YQCZ1q7918g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UkEqmCaE68BlGwHI4LD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FrRAzHa0qrQ3TVyhYF3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KsL5Cl5U2o335fjJ2QK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U6KnoYpk.47luJ2Bn_w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MDSi5D_EyUsJKUE2kqF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UfiTadP06GOpEpZ2LdD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zDefewkG0aFZ2zKCw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E0E_dCk0y5cbT00B1jg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jLsFILdEmYcuVjwilA1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uTwXVtfU2nR39jIfqKr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Txcjgiqkelfex2l8mRJ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Sjl7XjeEeyef2CwcOBVg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7zjXZlTUu7lFDE9Lwpp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BjBv_6mUe0xI8NDpPSP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Adx5WMk2RfFu675h9c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8qOaii3Ueei8pyr3cru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mr.QCBekCTsH_Weq5Qi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ItQmXUS0.Jsem1exj.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JVw129wkSyApHrk6aUp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9f3oEVUEa64v6mOIf2kg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IvcxNuEESo9F1oAaqzT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xcVUqrg0CQ7nbeOzy6G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yj5VOHTEWaDitmf_C9V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sHNBwNU0.ihAelEiRL6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eKO3AnV0i.5xHTATgCQ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2WWwCd9kKLZeelWqKj6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yC9sEzVkeSNS85xBFoUw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cdCQ1jC0yOfvwkjBhjng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FREvQUTUm6h85AxmivA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71mQNy0SxvI9ungs8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E_F6Xc_UWYfWX3NzqodA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n.BFvMSkO0MdmZQ8PN_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M_6oOFjUmCE91ogFlCX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1daOpWV06SF9rHXS3wC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n2N3FDNU6bENEnn61V1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7Bhmz5H0K2j8DNE4iFX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8MkNM6k0eu9PsZpegOH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fSb7e.80WARNLDOKw5JA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iR4MhdEqYJ6bN76LPng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oy9CAj1U.u4LUTbbw1Cw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7EHOGJM06jy0bPQO4t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JpHRpNUKKOm88YWUuR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HJUry7FkmDfVZVY7bd2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T98_gYxUibD_lDfTf0W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P5QLZy4k..VmO8pdrl_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3oQrRVP0uyHSxtFCI1KA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eUewLqQUS2bV9C05v54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cAEjoWAUSJJ70lA4KQaw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TQRyA8e0SSyqISJlGeEw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vHxpZKM0CraVPRYXQo0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yE0DadIEG3CQbEiotCCA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uFgQpNGEWOInATcOQ0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Yg3cJd20S7a._HDD0hF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OdF2RpnEueQZKxc2lwTw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zu5WSDAkWmBsG8fxe91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QZJyuLE0WABOCo9J6LLg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fubLAiCUSojv1_.XHyZ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57oloA0GAe.f1ZRTrNg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nQOOlJM02YEQ_O5TljB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pHSb4SdUaeYdzRS358W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pb9W_huUujNUvJopkcn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_xboQFk6Oq_NP7fIdfg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CDLY8rbUGxeg8jALbb8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8do28YpkSAH.ycl8i.xA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kNHE5Aj0yQW7s9NHDPf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tPgtEdLEi9K2J52mMkvw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vFIQMagEigjeZKdvyvP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hCPsjXbUeqGl8LwMa_9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H9Vs1U1EuOLh61_ANf.w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Po1GoN70qVcNQ3aTlri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2WzUlNw02MUtwbJXpuE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DmHgTxn0GNNhCmTMAn3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hK6ukmLECbyJCNr9CD9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PXyr878k2zjMUQS926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r7NLIuUS6NvGgIajysw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wgBss1fUCbleyafOkza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U7elNWzkSSp32p2Lz.dA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9iE4mL00mwQkxCpj4lA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yreXAezEu2uf0n5ALHp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JBkITXkGnp1CH7br2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VWVELTEkuWWNq9gCHU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NIFTbkCkKftcN_4s5cP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iYio64802u18MdiI_sP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oeqOmk3EKY6ifZfvf6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OwLKg8o0OVG3rhL3Ph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TK9C9ZBU.6U.w9jvo5Y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8kgUe5t0uFKzoApUaw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aUxthaYkave87_01JVI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3JE6l7JEKxV2N7XhHI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e.Nw6QikOwKWxxDRny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oJ5HNx3kuJn3l_PJyFU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WqttsUKUKSbLTcI3yrp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OawLLnV0WY7goMx57oB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yr3MLvskWmjOkfYRDD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VI163GB061jZ6cNS6i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.vvHANE0605vr36C_V4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SbvF9heU2gof.qMMtQf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KFX.9CH0e8NGLDdAZv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R9_a55Q06iMyjXRLFum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3N.x.zl0mHEQSjN1E_N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jR8nLlzkiFQqZ0ca.T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4FmSH050OkYp4cIjY5J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Cn.dOHkqZao5qm0Ub.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ryHsGHKkSOFisQIRG.D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SCLf1QdkCviklM.Fdn3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N0fBuVz0KoXEcD2xop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a5IoluE0SM88W8dF_8h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o6IZInEWrghSQdOUrI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YmrqfxYU2mcm6WA5Ngr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gkWJz1wU.MYdGpoTTL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oXWNn2v0iRz11soaENP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JT6THYtkCbWyZch89Ou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goUnSr1EijzgoHAOGq_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04M97DcE2XNynPK5jj2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zW_4ry60uFEAEPa__wZ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.xRMy.oUORgDStsf41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cNGIvpc0CBcLYHP0mz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hTqCym5EmLGAGm8h5ZJ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_W5GuXdkGvvKyCOOuo_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wtvuYDHkexr0QRoYkj3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4byExMkGQKymZHlw6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tiFFzs0ESQJf08_Vgk6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6ewe24NUCK.1UN49f.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3XIkktDkCYoQ2DFz0IP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CWBOxM80qtf78yy_66g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q1caH5sUOmGAQMctfgt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IfvSF0NUuqYQAKL6yCK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H4RPoC10CHWbGUxsYR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8YKIFNZ0yfVU3eFZFS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W0jeA2rEKov5bR3NSP1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1rcyC6CkesTw2ZSLFtd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TDghJKl0S5LPu2K5BEf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n1VlP_E0Kb.c_s2S1Vd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cHesu3x0uihqSCAsmFM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WF9fg6qUKYWdYbnH1ek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YCYr.PCEqQvLnObi17R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CV7Y2U28p11fDBiBJ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ZItTg8G0igoptyx8Drg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X6gHG19U6MWMiQA.K6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1UwapbC023LiyaxA.X_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L00ivX6E2Riusarz5V4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kvy5gEi02fUeNZzi0V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MimsJ380.V91xmRjhJ9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tVFEoi6ESwg6o3iXGnk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qcsA_6J0qdvYDupSfI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YoSXzCdUKwLZE68HLo9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i5F7qbTEKURjkRNaBUP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VflZG1ECL93h.J8fg3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0.xCOSEU6HH.tGcaEYX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Apy_on5k2b7_K7Z5dL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XWUbvZmku1tvomvxol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AMnlGQWkqXYdUWfvYBP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52mSO39UWAfT3tHFYFw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MNgPfMw0S2aq6_ZwNDF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tLhQb6pUS99kdIBmy2m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M_TIPdzk..26mbAPorA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peodd9U0usUVUnHFUMQ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YxOixunE.OpAqMPUe70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zjFxltl0eskJd17E7U0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9_91i4kKOLEUI76bOz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uokfhprEm2WueUYGVp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3cslE4M0a0Y1jAqCcu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9KFJvYNki0NCoQVec_u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_TbDuKU0SfH7Fm4TbwR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mGkAA7LEGV6ktzerLcE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1qoP6U5EmTADjnkW52C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jdlTT9V02p2ozgoBuI3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r6xudMEUOyZS9yCfajz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NYn7ggzU68q.t_8_FnL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jbFXmfUSclWpx339Ti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.q56l0yUqYUNz.ErnGa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dXbY8CX0i8UOiDuGcH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pMR2dBR0KV4i_QlXGW5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BlreOkKVnACBevWQb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8AByfbr0e6xoG2tGgXd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Za5lEttEOWb8tgcAKBJ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WW6d._pky_y1iynEexF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tHRgw.U6UK1KyIiF.N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n1p0VQj0m_08xVgiGT0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qGRZIsDEaIKzY5DsvKx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WJjxV.r0ytCkDpf9Adu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nH0c_p0O6blwng7QJX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53EFwJ9EOnFbgPKDjX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soCvqE.U.cKHuc.mDU2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KJUuqUM0.cE1_oWsOR5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FfHNVNWkKS6tkErViQY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QA.dlhFECXN0PCQHs5k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OYOUUgQEiKRr5gV3qQF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LCStWKWEiDhY0uxJsmp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g77O7TGEyBJqYc1SX_L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BtY1FJIEK2vHOv41_Lk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dKZ3SxK0mrgL0ypBS_E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enlCZccU2EjHdJoaCUV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Y_tjhmEm8NFy9KWJd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mGfoVV50WxFRzwQmGgx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k2OpNTmkqtrgPBySKyn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7k4uaQkq7.edcFFOMU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ZfJ41YTUWClph_MbTX8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LyIEgpTkSIV._KWZYrS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XG8ncUU.PhTuqPyyUs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OjFaIggkehkMrvz8goF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9j31C5P0KsgWjXBk27N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cBQMFymEyOfCkq..dI7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GSjPOAgU284rWxJb0kJ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9kYFXrkukCCIzChss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xC16G66kKPM3HJe26x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FV5C8CiEy5hmxaDE1_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ywtpcPE06MNlaZ6MDJ.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l1FUWeSkixrZ1EEK.h7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9cxqep7EaMjH1eRONx.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2O8Iywr0KnfjUD6Oo_l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uVDdB9E0.KmtRiuessI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mtZy23DU.Ojcr3cI8Xo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5frhDdS06ZEsmzc6COD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jq9Ess_0W5FpxZOL7nw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5Nd.KV60W1d64eMHcT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fVWfNnf0KOXPs_38E1j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o9g.2QUU2CU3gJkV._X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UPnNGsrku2_eaIA2eb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Uc1muZY0ajUNsIaDhMI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BPxtwYKEugJsRazfKac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TMS68UGUei_BTEoTrO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_udLvPWE69PjZYATY2C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xIbj40BU.x93W.jtHcB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I8pOve4UWktK30RynPP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HP9NPLb0WKp_.2QurRl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0Gk6KWMU2s4MKHA4wQ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MM1Sj.8UOEX8lRo6x6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VySgXgE0Wbc_RP_1SZK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fH5keZ2k.Xym0kYiYcr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3Jjzg62US56z5hG5TQ7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8A2L0QY0iRmZ6djnix3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A4V9Mg9kq5X8Wr_YkUX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VXHG3mf0KniEEKrv03O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R1SklOR0SFNZLmxNzB5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tQNQ0TZUi5S6ZIlzTu5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MTDppvN0WiqhCAsfgf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GWIPvXVEml9NNsfHK7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hyDmV3UEmDovsYf_Ypc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slB0hrUuFEN5QyXok3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vhn11SokCV1OFnva7gj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wAFPkOXk2u7yls4ZcYH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PLaYhD8UqExnnsJIW6X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2KYuLN0iG2IFZHBcT5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l33fvqTUGr.v6ldMvIT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Wf_FRzc0GFGHYAQdLbl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SnCP6n1kuBs4SY6cqen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qIOiKxU.Q8hCfmXLr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IXixKCuEmzPfZEfY.i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fKYplia0KcSE9e_iN13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5PgyXHzESAz2amXHgL5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1eGrOuhEaHwYW2dGqdA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64iOS1wEikV_nX_Vsgf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vaesYUdUOUIQRPh9YY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RDDqDF60uHknw8xa6Kg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7CvRB380iK6hXovny5C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IhK_E7E..jUNVcL25u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2pKvWwjEaQBK2YmERNh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kuH1hbmkaK0VLEtdtX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Z434ZVLU6u1e_RuZKY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7YC7CEjUC3k5X4KqOOV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pv6iUqKUS7MDOlEMHDt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EHvP_dd0yOv5R2KkrOn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XwI.zaS0yublenDRKqx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XdRztW5EKvY9MGu6snb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fm8mHPekyugMNzHBOr2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7ho8hwS0eSSXJveQRri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EvdS6nfkykXKiMk5b9e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0omBU3REmIiOC_WUI_5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dLqN2WLUmYBQFLyT2Dm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o7wa9vOU6I3KN6sBNS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Np2K3iBE6Li9uN2v0g6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3ZayFTNUmU5AwF1pd4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go35Y_QEyhSGNNI5b55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5zFiZay0W.bsTNPEvQp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XhoIUWk0mzy0UouIYzH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4ABmsLZEmup5ctjhod4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2UUtL59ESh7A.X7Nd4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XzuRdlDE6u6Y3MiqZFp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2668J9dE2IU.1zDrcvS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sgl0kFoUK3fZCVyqR05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xyIBM2EmFM41oW3ot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p1VxyBZUiEflALddt6Z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8EsbJ8TE.Snp.ImizmY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DrXPcqXUepJ9lgw_gDv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saJdH.n0qTsNSjmbZ1h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0BqW8rXESft9cpM2_fd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J.Hc.3ykSj_X3HDrxC9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.SBkTXtE6r8x9OcfYVu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HNZsd2I0aPyffkqYBN1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JFRX_9Jk2p3aMVso9m_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ZbbKRvaEqsi2f0fv7zz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B3I20pEm5neaHOz11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u3tvZaIkCZmLclXZv0M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nc4RNwSECHMubeYxpC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ZYMBj2C0SSHIeFNaYJY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yESQrJqESP3oYzO4xPB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Bp1.8rYkmbj44LYEr_j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iRj1YsxkS05_z0rw0DW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aT0PdjEWWyqGaaSXF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TVltubekqknduvAgE8X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m.Wj3GBUuk9jxXQHA_x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OQbtSNtk679JQIfqtX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2CoxNF70Gsos2Y8.Qq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wYlXZY9UCqiFF__tSQ5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76TDim2EecujJ83vBV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8GxedlekKf54cFCU1Er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sTvZZKSEy9OXjzr_4Pq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zAEcTUP0yDTN9X0Setf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w4HMg8kEy_aZKbzEtsU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8vm__GqEqQvzkBb6Lt7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zt8Qv_ku35HuSxe4O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6AZ.B_MUm7iYhG3ANcw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QcUA0Wy0Oyl34oF._0C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lfJbKnHkO4A3bAiEcv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Klth.ZwEGN7fC4WXgYn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cLq4qqUa1WeGmXKDj.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2ZAnbF90iFW0tuxYC_g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0RrN99PEa7fQ9HyYK2c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EPKhnxt0qg9jDazr.X4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2GY3MWvUqIsvC_p3Snr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eyMUWbB0624IZ_.R8qs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sKl0KZhE.mw4sG3cr5o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8XDcQ9okmBvH2XpyVF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dnE5KB0uR7y8sX8tMm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21yGMcDkeDEXSdscbi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UaRvrjSk2rH3KpVPtrH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DV7c_tkeZOyM35Iegu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ObW1GQz0.FZxEnAhqoH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7qDwVHzEmXWAMvlp3eR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qxuCo5hk2LF3.romS7W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.GZwJhUesK_KpTjos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OwOB9whkO1IhbZdFCO9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aTuDpwTE2D.nphZ6kE5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kfe4_.LkS0sGCa0h4ov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HI07N2KUGg6MCSPRvay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G4wBPMS06frkQz_.U_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mtdx38hUWCHB3ezQCkM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65GScmT0aanVnWiWn1R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3Y8A0z0KgTlp6ZP12y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fA4DktIkC9_syJmF.N.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NNuTn7OEGjqn6GJ8Dcb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KfyoJlkkC1ZvvxQ6dmq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Bp1j0JXkGY_vRfC7X9S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yh.5168ECHzHwxorNg4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bFORbVfkCnuRMRY0gVO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rgMANQp0O7YeBiwSnSn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.74GlYkGZJ37xPFYg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imKt_aJEK46IhTar3ca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kJFlsolEulvrgAhfjMA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kcpOHizkCGgKh8Jig4x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1OWukOKkGkIH5zvLbIS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z_tT7qF0mWuljUm8JUx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DXn0ROz0Wel8ScVJtWH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lcJCTDEEqUgHM6xXEzV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KvgOanpEajkLtNfiiem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EO2FS5u0uhCl8u71Ywi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.HLzuCdUyEprOFKxHBz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XUcooQ8EOYukYk3LJH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l5.c59fU2hvMwsFF.QB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BeNikskCwqdlA1JAFn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B_hrsmAUqR8ihUYK6rw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90h9p2NESajatSNshxf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RwpqgiKUOXwaqGEOxKN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af7UIZAE.FbhxHuo711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Vm0OgxG0WBAOvhdn_Lp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mR_ZKcRkq22uAK1yjE2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J21doZzUuhr7TsaNEfX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7GgD8zCUi.wivSzBvOk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gwptSJukOicaM9kWAQ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mSyfZvuk6Zyk7CDNHbI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9X6jg1Tk.B5HqGOXQxG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UbftCarEW9sCCLsrCd4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Gvf7i7BUWF.nP6Azig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BN_VZnEkOsGRi7MPs5t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_kHeO2pUyjJHjvL1SkX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q1YQjwcUCP1XdKw9VRP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BJqNiKqEeW71yNO8zs1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YCWCKz.06BE89VlmMN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5sQKg0zUmBr9gXKzmve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cwM5Hoy0K0DaEpuoo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uv4Z7C0CQd37inKK9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rzDg5rCU._fU8cB2CSk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lLg1LEg0KvZienttbk4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Ku0ENg2kqpk.KVfARFM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TV4kMdaEapacPyMKr_4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p8IXONC0Gojp69nHVx0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H3pQz97kqmlTZRlOkhm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26zyRYsECkitLcAx0vg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WAd7jNMk6Yo0ZC3dO9t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l0AihTZEiCX6pGQNAcx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4VpGcJr06.FJelRrsbc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vhx.W8QUu3h4czzL.T1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Oi2xkW10ePTntusDJmj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7HR0aORUG1JGYzZ4LA9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S4CBU6UE2eFeli.AdHr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BhVM3zlkiu4IitKHco.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GP7fx7y0mH_STt6z9C4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kEuVlK1UaXmX.pNhscD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cquwsByUqAgQ_ARHE_i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XrsQUQ80aunt7CQbfOh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pDLyZjUKQQivEbXnDm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Ym6Dvk6Ei.315QqFZEm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Jz_PB2DEWcLvaiZaK9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ci_Sna7EG5cl89yOHh7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eGvWpeEkC3Ak5_Z_GIy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9XsS.nNk.dnS.mNRs4P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xbLpctdU2GUS8.I_uSc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7DaC5vlEuhyAo17efoK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ozWNKV2E..cWMpQOp4h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Eg1jrL8UqL8aN84cXze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eOg7OB1UCXESUXFRJvY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_qQP8qE06xf48x2nied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n4T6YP9UmWGNutz3nDc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c4STFdGE2I6m4gLTff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kq9VCbZ0qOPhl8iJsiS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bKaD0ski9yVkYIU1BS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12lHHQnkOlQAJj30yXa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bsgNlPFEKtJdAU0t1Op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Zp_ac_S0OEYQU0q5Ja2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.76t8tg0Gi6XeG0hEln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iLE0VMYkOOAQKs959dD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3UY8dPlkW_zfVj8CvrZ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FuA2fDDkmBhz119_4q8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kvMtHYU.kcQ_WfOXs4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IaQw1AfE6uCWFhHfQv9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Mhvth1FkmW4FHd8_tzL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z.uBIWYU2nzoZmqLswo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k2OOLBE2eWSL3pWgEX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qLdXagHkGtuFY3aMjUF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g8diDT40e1z_g_dlEji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0lucqDUCTGTKcjY6eX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VAq6ylEa1O97VmV1em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RmkuWxhkuV3vzdMNb7E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Chms1DEE6K4cnDTnJlg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dL8Yq7IEObVRnlD7Fks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WRE_JfLUi0XEEIjjMV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zPJ9OMVE.GEexKfWHte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5MuG0.rEi.avTt78NJP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qJ_BO1yUGcVXOBDRxZK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8ofnOc4UScEB5d2XUcB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hKeQZDUeVnkLP5iijm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ZcUZ41f0Ccg.2B7xkzX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ULj3WtDky18QK0ee2_E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TxEk9hTEeRBlSI0zHFy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Yb.sua4kGBsKlo5N_dh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le.vXgt02SNjlmxaJbF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r.zEqO9EGnWtZAHauH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I7V.cxuU.6n9aY7VT3L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3jgUg9Q0uoa6m0JhSKA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uag8THYEOGrZn7UvxVV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8Y.y9ERUOznC5M8k2_t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ZfS1TOjUaTjhGx_dfJA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_.N0YoDUWgsqc8BSe1N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0lzY0ZN0Kf41VPsdWpo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vIKzW65EmCkq.HyAg.C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k_YomsQ0qKl.8OGVObC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CCv9YAP0SZ.o_LLftYS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nmPaGKkClhsr9u7UW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GFan0owEqiEBR3LDzrB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GpeJYobkaVQktKJ0M8G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5lkct0Uur_.MPwNvtZ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LHuwBohEuh02iIMY55V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ldHw9REEa7k5RT9IjlV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2Y6Mmb7k6QiBT_865Gj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G3x89vJkWMT_s1BTxaq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HBmcSPZ0qJD4j2kH2rL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E0eDDer0eXQG_GDqvom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hKPBxs3kei.l_iR_hP2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06pUSmYE2AbIQPag5L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vid.CokqvKSfY_6PjZ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LKuC62eEmccJBRwX1ot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FEzgHTBUaJH3zXJD5Ar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O7o4SyPkue8FX4kh7SO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gy1oWRt0u4jJeVL9.T_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poUKtpT0uimfM78F6Ft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yd8SKdFEKMCGciUX1wz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3BBaGWr0a_04SsP5WDy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RBjuk43Ea_cTYZXa6_y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50BSXH7UaNolRExiwYH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S5guosqkKcRDJfg0Dr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0Vw2vOJEOpW8u865CRL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.OeNSJOkOG1Og9CS0WH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e4v.HyH0S83ofoUSEgi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MyLeOhqk2ERAC7kBJ_h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5..3XECU2WoCmuKNQQ6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2NsXTQHUCkRC37W7pI.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A0JwMswkeUt5Hm7CJFI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GrmuMMXkmizyWa6Jtxe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xDx9o.zUabSvpkPkwV4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iX5lRIYEq3h_fz8tBXh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Z3RM.a8EqIgaHasKz0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sfx45yOUez.eNda8KE6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ybU25780.Dq4ttEQ.ai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ix8sWGE2eqd5TlSW0r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UvUTF.xkaBzvASjx8kD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6kTD1ZOUuXTEOkoxAk8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RcLvsjuUyz2gGn5QRBH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.k8JPT5UmCfGBEeBxnq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qeGXkL.k2r2WRhHO072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dlvd9Jh0eV2ZYHCD0UG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apIZPhhEmwu7cnfNj3n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4tYYDsTEKZaCDvJk97w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WEnyMAL0O.HHVXfx_.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Rh8pfPcUCzy4R6smy3a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HeCGAc8EWwSIcG5fT2.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70aERGD0mZrmr5QMDGb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r6K1m3JkSeSEVuc3RIc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Yn0X6EKUe8YCjCTx9G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I_6SfT4kWOOu2ePVv7V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hqX8jvpkuJumHYj8oui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wmv0My80ej0OQaU.4MH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dnvx1g02qmqYuyC3WB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rgKgTY6kGjgrZTi4Xpf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D7kSp6T02aSMv_9xe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j96Xz0AUiNMRasqLkx9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jDEf8M8EuRsmTZh4sh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ZkMgvUaHejsafiMZs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BgnqEm7UuFp3n8vpYP6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CM1_OkEGTmu4ca3Kki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KlKw_LZ0O9oojBKZsLK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UUG1T2EOg5G8jVJP0y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_nw5PdJk.HqVl92EW7R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6BbQFXj0.4VaSMlRFEM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qO5DZmok.nH9nOqAk6e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22HTTk0iWWUAEas5l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uD7UN60k.FUv0LgIRZZ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KPMxhMUGl2d.zVEt4E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4PutSbVUqzGRpN6hG2T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Tum8O4EUqmcLpC1SZW9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buBpU.X0uSXR_V3yaD7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s2N23EIkaqBJSVEUjOR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sREjJ240SPJMeIpYlRa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GEeYb6JE.u_qYtUBIae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fbRt4nW0W8eivSpzxq2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F2zjCRREejXlBVlCpf4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D1eUWbKkSZrQLSl_DB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racUqQeEikC4JZduQ9b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Sfyn85x0Wnlw59ySXM2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uTZb1OFkC7ppCJoarZg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wvbeggCESma0in.tLkn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Stip_CzUiJuYnRn_SLc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0jt1Yf5EmmCbz_OrQhA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zQCWIiQ0CMWJhFsldnl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0_Qp2AckWhDqX.9A0j0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JJOx09V0Ko27tydqNx9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tXH_XEtEyl7foPVyKxk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PqIpAd8EKDQAKOGT7C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uneAzkEGFVFr0e6KEp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gL55Mpu0WZlMKxEzCKDw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l7nl7ZokqGRuJ_9eJkR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.vZmSz7ESjO6RtQjPcD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n1Om1hJEWz9EVR525WD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91YcBVD02kpYiq.tCl8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Eap8Vm0yvY1xfd0rgz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AGhHPPgkyf7GimKGS0h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SFuIjLZ02YzyMprZRYe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eNNpMcP0WcmImaD2SCY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1sRt1Eq0WW3s0Km9f9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DdihKTdEOIO9yNJzYzH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08dG782U.Ahk1UHs_TD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jeVBD4bEe7zmnbbauP9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EuUOAC5U2TGW7fnGnhu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tx7q56pEi6aDVXiX2WM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UJGEWVl02rj2J80.shZ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KW3G3rkEKdk8Wby3i1U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xa4_ctOEOr28TpnDBRU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cfs064t0y_ue95JYD_Y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Cr1vVdPkmDqq2mulePW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_sePZoME20S_rF3gtj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pNuXIWhEyuoJ1b_htlY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xZmIgYukGz7kQlrg6rV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vAIZT41Ey_JwJoZg0_z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AG_LKVh0ivOz7RaabFM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u68jfQ2kaFny6r72Sb8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znkHj1v0.PKrk8OAgz8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XPS8Jcd02h8kK4kyvJd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M7GepDDEKD6w1kwyQYJ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5RxdtslUq78.WlNViMm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InOHc350SmACP6QZdFS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_TsVE650aWRYP4aTVPR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bHUqPcFU.4msjylznDU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h6FYKf7kqz2ppVSFk9i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GsDClzQUycwOJmKIkmZ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NWwDU51EqARpq8JvQg8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Kr4ZO7Uy02aFPmdb8v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HWc3V9tk6wrCcmOJ7YT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w8p9lnpEqD9lMncB8J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exGR5CFkKk_QEu4dr6j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9uSoDCWE6jX_x8e.zgz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6uxkO2lka7yCDt4wTUR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Of7m52RkifjsOZebDq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kmoEkVwk2NEAnEl8Z3F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cbFBtX90GSmx.vREV3O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8nWCAJs0CUghTSX8nGW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Km.q42S0ec6jgiNSCss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b4RceZNkq.lsDOEsuot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8GluJ2.kqeXGk1wrZmI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F4srbEr0SnHIPSv3GdE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kQtUVQ.EeBRCkN_brIT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4zkkGUEylkNEUwipLn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pq4Y4SDEazgStu8scRX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1pl.LLS0WXi.insV.K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21aA483Ui_z3j1kNCC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Zb6idZ3Uqw0fngAJ8Pn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u8Sj_uVkiwHDL4HJ0_Z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z.nKns00.J1N77ldh5S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bi3uhrCki8LbyHe_OVO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8gS4brU0Op4Cm7lN.gK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N9WjFcHkOVPN6vzrk7l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WAW41hN0iHDnuxWbMr0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kn0I10kk.7TANUM7aW.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5bhLDKf0WES76IhBqv.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aJqQDv7060rUJ.d14O.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DehCAq3UiOvo1HhztX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4swvYgWk6.j8Gl80ax5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cwutR740qjGOHpHoHIZ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XppYEWDUiwUPyO.qUyL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7zf4nEwUWPIdCZhArnX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l4Now980W8QU5sImR70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UGMB0nJkmXBIJ87nvW1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o8zlIUEUmxSNaeufsKz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OxnVFoQ02EgFNnD7HWa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D_NJ6MDk2Aj28vRSF4n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KSK5Dqxk6zeGr9edPkP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.Y9bFJmUSz4N_HyH5T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Xrw_8j30ufCeqllMt0d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nP1GnMKUyyTsvMx2MDx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iqtG5svkSCfyCW9cfPf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LoNog1h02vzTB8V0QTP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RueiKQrEKoRtnXs1wXx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ipaUOF3Ey8_TudyVYvG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UeEy6qUe2OnW2o8fVl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y37iC7UO1quOzbJLr_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XhmuUN9UO.gKWmhEmbh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i4MRWKaUqlj_Y0MoreL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BGv8yQeEa3ajHWre5t3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lEO2k0nEu4nCtt4lTyl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RvU_A5tkSppmyqR_kYD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jVQEYha06VK8XwbhvFW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k6S.3YvEysxtE58IJWs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3y.zeWUSnrf.QFlz2o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B7P0YQy0OUVLk9RvisB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8FWQ7r.0eptER5e5PbR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INvd_a7ESeblVDbR1pQ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hMCqJ8_0WKXt9L6DNfv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qwNqYQiEGkXChw2ob6_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.YRD0LC0G4oP_ErxZ6C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wLDsIOqkywPNobKJcn.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n9C4v02P4i37OiwnQ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9hNRrHw02SQtOJqwYYR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vJmE402ONZV97MZiB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_p5EtGSUmC3NGLFM1Ya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CBdmclsUS3MCiNW8GCP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khqGXJUUyPMX5B0mMDx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KCq8vIiEus0DrjzKgBA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AkBAAx40.n72gZAVnka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Cb87ZR0i6CtzZ1Deoa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kPeCNKEOCtjsFe_XW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BGGo7INk6By94LP_RH2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bQMlH9o0CS8DUjWshxi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2GPFWftEmZ9q4GXCcFb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3JDi0jv0KVo9GY5Ibhl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A3SVNOkykcsMjk5GIw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nfjdQ7W0WQMGEosrrxz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TDHpGWvk2c2VA.uwqjD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C6m1VCrEKrv2xNVxuBE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tKehBxB0SnxwAAR8hGx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Lxs4zz.EqrtFUgeMRs1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oCxfnPHkq095GUc2wR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BIGS5Wk.i8G4u39ub6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.8r9QhPEubEUBEQbmsz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vwdg6Tgk.Q4QV7ZxSxd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N3CkKoZUGeWTzANK6Wf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2kjKWgTECMPOM52aLxB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fEP._JN0WqR393kZE7e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ptS0n9rkyauez6e9By4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tzgnPRHU6ApG_3Wlvbe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lFy7hQakujuQvItTNh3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CUSPWP0kqbe_Iqr36wI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wMFT9WVk.DOFzBbEeu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7LxxBgw0GusiYlwy0Uk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ouSE.20eYm1wJKKCZ2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eK6so6tUm._zKBQ2S1Y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uAsk88m0uvJ74Mg_ZQN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E.G18es0uTErZzUxDGa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324EyhO0m_6EI97idX9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.R7NHRVk.EK9u_Xuf.y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52YVEGMEeUJQ7A6TOv7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Fo2j82ikmVPqYlTwtQv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vjPNHovke2nZnJSyM1W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EEKeev0Kpo8cO1mDh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z01hll40CZFABfV.g2A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l8kvBeZUCdvX9bZ0dwO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Bkte4h4U6jGf9h00Yw5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QPF7FVD0SFEFX7p.DVs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8i3o4NfUesnFCW.T1eT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oTV6T.D0KsbEu6Xegv3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JNEEjw3UWqWNBIKMH47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jdSK9cTUmE5PYXL3u_F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R5Wx9lVUSlelYnOt_mE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dxCIGgqUSopi6JKUeJ0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iU_GSd60imIiJa5eyd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pOA7PUCk6g9ot.7pxk5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dd8WV5Lk6Z4Hqd1QPGi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n4Uxjgb0a9BObyh.lQt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MeBT.Kb0GWxEA6mlGhJ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8zKlUSg0WtOry6.KTk7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r8.JIvwkSt6VSo4bBKo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VeEIkps0au1K85H6n_i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7Vvi79kUyIvUejBeBe3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MtsiAzqEu0Lg64gI7Tl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xKQ2Kq2kCeFQLodWp.8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.OKobdGk.9hKFHtJTm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5y.xkCWEavX4NXNmqZv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iZE4IwD0eFyfAxPVcJe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.H1wUkH0.ORQtr_cizv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4sBbX910C7fAlGj28Sq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VmEtV760GH4AK3Pa0Jp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oxg8MIwUOqgzkWfpw5I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2f0q4T0E28aD7X_cCxb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_jgXh3.0yg11xBR_lMI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4TA2vXFUuYW_flum9lL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mUyR9jVk.2qEbne98E0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qnx5gs60yYK5KL2Oemk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UWVeCo4E.sQds6vCji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2p9XoZlEaKoltnhn5Zf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7Qu1GxTEicc3SqSXHJ0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UowszfXEOO90WrPrOSw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hQ2ufgjkuZdH.bq7nUE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.gmDI5UUue2Gt6uju9b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warb_R6kqDxvYR4EsVs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Wt3CxDOUOCECXyfBLOz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DzlvJy7kq3vJtFpABV7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jc9.NwbkmNHOZoG01rK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mQLhbl8EexQoiwkrZ1O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lP1PPoM0ujdTXlR_glz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rtvdDCDUetISoF5k9f8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giM31c_UOOHGdXPrxPf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mWX0uFY0eMCIbwLOahY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j8MEg4SkmE8zenMkuhR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p1xqXRck6ZIZoPt2FeM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6FLAhx9U.J5nCs4Wdyq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5vSPmIiUGUjYxl.vU2v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sy.jHHNUuwIgNOMd9SL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z9IX_K.UyGLWgc3GOrz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gdqSsEJkSoewToTptci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szJmjLVUqHgN.qCfYLI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QIgDy44ECAmzume1KU6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wqg9U3HUyIDOwmkSooQ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mbI.IFZkWx1WMkzRLSu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2ws_b9OkO2T6mChOJO6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EOfsEnOkCPMpuGau4e0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S.8hEW8UmMHl9GvyyhH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F813Sx0EOoQZiW4OYCb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flOAKkOmwspGK1ld0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l9KuI0P0Cio0fymhXWI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HtV5ZmbEGGpd_NCY4mF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uAgEnrJU2zdGIwSBUN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TF4iLpaEaKxdZHNIQ3n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zAk_HgU0GrY.iSJ7NDP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v82dmR6E6koIBrYrPzF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.W4AmuKUa12Ux8swTSb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xvQrJ4pUuyCUIdMX97J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GQEdqz8EC7SeseCR4kL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bjYhaVgUSF3z7WgYZil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8rsqTKFkqBJT6S4llEf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KQhaj8mEeiSmxrmQQPd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tQybSw6UWjnZX12sGox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HDVfe1UUi5Oj7xlTDA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25pUJmXEKnYQ70SrYWa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NLnORHo0KYr7VvdK.E9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xeKvGtkEiakQC23onNL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S7_DFdaEykDmaVDAM2l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zdbNknvkWdjwhhviXnj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G5.kgtY0WwG3xtIKEPY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1.hwjoPUm.I9UOq.Olo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KNfmOV0aDyc_mO7H_4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xnGCqW90yC0vwXPPrW6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wAnMLd0EK67lgInyURz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3_WddSvEC8scysyK8EI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iIxj0xSUCjj7DcN4MaG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iahkuNT02dgRbKNAbIz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iSWRPSiUWk7KgY7J3Dc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VH5HB.g0eUTYFJi4Id4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_NsQjqc02RxS52ub7LEg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qKX7_cwU6DRkWePBYID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c2e2Iwik2JoX8n7E6EN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UfskgPuUKafhz7hzR5y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vjGQIWg0OlMWnCdcqin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AFjgpm.0GCJtfD0MXv2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rSFG1qgUeDlGGC1B6h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IKF93AkSdSTAT_JSkG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3SYm.9f0yE38mwpMdV9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XrHcI5aEu7zVgXkFshN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qaKDeeL0yyHJrfpQfr0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C4r1p1uUaFfHgQrfavi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3tdUYmzUW71CmKEj8ni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rdXHReGkumRL8gTnpK.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CQRBaxB0SL5wToO0MMk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kKy_WDRU.TuYUL66VNY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RqMh_NqU6mCNKG1KRKI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fWzNEx3UGlu1wk_qC4k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ADGVtHtEGiMF9XF6OzW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ogWQqnMkS6FxQxi3Qh1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o9ZEUd3E.LKbnIikFEO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Dy_9AoU0e3wLW1cigs_Q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gnEM6DTUqqYOM9O8TpB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TwW28uXEupE6reoc_.Fw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IBf.k8ukiZKDfIU7heh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qE3H8bnEm70F_kMSRpi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poUloJL0mqG647pB2vd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4dEgjet0KAPYO04Dax3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BR2TdGE0CEYQxwPiSp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ijYsIYY0OrL8XZMScYj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FPvDRwhUui3uLVYM4DI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_fvUHdDUWgpwlP8PRvn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TiOQkVEkCt613cliNgW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Vy.2nYH0qFxq5CtfwI7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6wIxwWBUOJAqUcaVeeO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mm5Xsevk.X.YV87UmXd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vyNQSi30iDQ_JieAhNm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aoVoSCf0SQj7SZcCx2U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i38ay4sU2k6ZntcUMz4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kI5EA0QECbK1i2A.5O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9H9Ax0k0WkEX1_brlm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uK_SJaSU.Lya8v8GCxc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x09bh3dk2.736SNF6mm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P3dscPTEGg6JtfGmFAr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xjLpwIW0.X0D75BpFXA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vXyOgykmCQZmsrJN0Z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MCBjGBk6Mj2LVv605i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Z7yRWhqUamT_Fws.Js_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TZvy1ZiEGQFTxMK8C1Y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LIDAo7rU.XaxKqyUhrT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r5yPgEckyg06iyhsDq7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V5TmU4SU2kWtA49EQ7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TIyWGIJkqw8i6COiKWb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6kqBzCckGD4YT2KCHjsw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9NxOj3hkK9wUWMaoZaS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dSRUpSnk2a8YmzLUCW3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YWHvf1.UOCc.tdS9StN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VYN.YfEyYaduA7nzG8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LFNhMR0km7hSSpTbfv4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1Gmfes8kO2TaQ6C4tSpg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JY7qWkm06niHySZtv0H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zH4G.OG0iWNVo1oEqW.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b9E6f.kaVKUYL2tjb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ssMJ3ZkUaHZTpdfU2.M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AiMAkSvEenHNzNIyGd2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6subdXuEuvXkK7J.czI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Wa_bIlZ0yfd6sWckdEf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ZAEdLDN0mrM94q21iez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5brIFb5kGbrP41YlIxa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8pLxbKrE67Psan352Tc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KqE3.SXEyoLvKMhV6so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LO5.J4u06hjKRAXJdCf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0z_EVTEEOLqQsTenzeF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Gz9motdUWoBgUKGhOL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.GjuaWSEmrMemRuXZn3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h12Ucy5U.pER1HMiF0N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JrQvxqH0G8PSlYAh_7j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YiNrzct0O7lQNK_onwP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W78utEPE.Y6niOHJviG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v6A83zf0qvxFHV78yFc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9d435rE064DtHlBZuD4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wL3m3NSUOsCb3Ljuw_4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L2I8QeJ0qCqV4VHZGwI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1uPva.7kSFJSd1hdpbQ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fZH4aowEeByjNYUXCc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_Rg6DTMEquLmhH1GrTY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yJovKEc0mr4CPhRwsOO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FSELaElkiGXojRhHrpl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P4vQytdEWRmTeJWXXyd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wkm0uJAkSZ6_u8BXUlm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42XsoZVUOgKimbFUa_W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YsbQyBJUujMK75Ty8TW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NxESGyyUGWou99J5TNW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Fcu8GNaUuepFgpb_i18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mb_7.0Jk2qb93h_Xpu.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OTd3JZuEGHhprLtjAL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FTiKaJ9kSZmwAadf6M8w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tKwA.npkmAJSRC4TVPc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oMO8ZpakO7z6uRzc1nlw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O5Yy3zxEKI54r41LJI.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FExYR3uk6nnj76L96I3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5rp.cYIkCjG.SxnNPee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6j1LNGm0ac4OqDCkwC4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oyj9tW60CJtVd71WpK8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ByjlD1tU2jm0O0nkrV7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a9HOJbVku44KBA.KjWg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aMtH1nQ0Okr2YOoizh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yfVBAtbUefWihBwLLv9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0blgipuU29xOYDe5vOv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nDdO3P.UqRMr3bV9nhb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GZzP2hZEe5n3NpZ35z.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1Ngk9Q.UuglP9B7K8BL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tJ5AKMiEqDTs7gZmBzi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JUcv_BWUiuGo9K.vd4U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knfPvb2kWTIy.ZEsdAB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IY5mPB30.SH1dtFgMXP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iQ_x8sT0qmwYV5oJvZp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GRdRqAakyEDa8Ct1HoF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pyLtcKsEK15iwaGKsvGw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PRvD2_aEmLX5RPsqGdVw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qrMdAwWE6wBft1x2Dof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3aF5OC0Ee.YPEn6olTF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tn4iIXUE.0wNCVDHVCm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aujch_2UWEOQZJUoBGC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HEHn_57kip9uuhIhYIH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2syekUJ0ihp1woA5NY6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_Wac3PfU23daw5cWCS9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mflN.vjkWqVUd0Hg2CK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BVRpx7gEu2xw963x.J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9BUp.btUSPfr_4du8DV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7htpRdfEalnXukleLZq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kVcao1kUGJ20QCmhWRe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SlbeZbikO.f7a4NRyS9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S0GEpoeU6Yn6Oh1IQm_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iIuXVDp0ucP2Nr0OBe1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cynP6lkkmXLkOqFxcxd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83PI1mxUmleH4tS.5xX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liV3jDeUeVM5mKZdOJp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khBaWknEqTERhgPKFda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foZ8Xv4kOucOnz4cii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pMx0x7VUS47.fWz2mKf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idaoAhkayDYrLlfjlf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gFSvD.ZEiw1qLQMzJFr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Ga665o06jz66UKm_6x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RaZF_JpkaLafMFN9OjE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OR0x7WLkCiJdf6fnxpz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0frpGN506nqO_qSVE75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ZXIUbwxk.wWkU9KQcXV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BxHlpSj0KUAH7sO5bnY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iVw65P20KUlqnp0XjGa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74zd5TT0W.pP4ofwz.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RJyc9cUSwu.qzKvleU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62OTz1Ue5ewfUyB_KY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5ZJAsGvkGeMiriic6jT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09ezkM3kOdlBa2YkJUv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clBZVyGU.SwHGQohzsH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b_YxJluUmrxEWBL4x5a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vHjLyTtkW7NS13Y7fEK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8AVRjO20awkS2fZ0f98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_w3SWqQ0OlSnIwQbpYA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y8VAuQkiq3kHWzCXbf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Vx6S_TkqcA82IJ43Uh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WHNwxV_k6Pql4NGSJ0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f.FKu2zEi2ouqGnr4GJ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n.mwixVECTW01PBt9pf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FD7mssh0ecZihT2m7Rq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kQNr5nw0yE8bJo5RBLC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.5XmDP6kKcDEpDmRK7Y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YJosq8wUyqULGAwWIhv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PJGBSAUikNjqQWjTDu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ejpmF9ECmOOXXQI7YA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tJQp6Bf0iTE1bwX_wPo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1zRvSTmU6oNhtOC5qwU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3L_Qksh0OqW0JRSvO0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MHBNoE.JDBnfrw1K8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QFAzIK0UCWnGObKHkp.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.SkyGi0USIJZh6KlyzA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bflAr6aU.uv3RBslgFZ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TA.DgDEiI4d52kmi1Y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lcRKosykOcxjXl86hq1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SWgoRHDEqk3kizVjC8b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aFQFC4jUqTUkT83EkcK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vltJybq0SH8ymm1caR5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KF1MqVyEm9g.HNMyaTP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bjaYhmU6nOzPbYQhf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U7YVRuE0C_1r71Db2NG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hVIy5XF02aSOgFqXbUn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EtyRX5yEKpZRQuuAYuy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SgAPiOUSjHuubRwILH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29vpZD8kGj3_IhyjfIT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GzMuey8Um_RLXtGJ14n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ip3K8rokCKKVYKTtTa8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KsSsKaTk63VAnvRP0Ih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c8aMlFYEqh19NWWGZ.v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W0DdCso0yDnQk7xnV39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N5UVB4UWqV4E8jIQg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FeXjDJgUy8HH_aC42nZ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3HvaA3CUiydQ91KDpV7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E5jMQ2T0eY3yU_22vao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RYehs_kE6Idu3sU8fT1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7nOSMSAUmC14isXQRet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Ww7yfEY0eq8AkwFi6R7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U3cbXuxUGR9h83utDWf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tdn5RMoEGpxocjmoUN0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dVDx3fiUCe6ZuNBh6Xb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PQm2KiJUSwGu1mBeBAU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.zuhlOfU.CgnnqfM_u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GGzEg9_0SMhacllIbrN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i7S2DzRE.NSQL_IgZQC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c3b4i9.Uy6BkNdbYBn0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7w1lJeIECEf93KyVBgd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lX97G9Wk2ECZGB.wAD8g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vYLtXoakO38McHjgS1x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3cJ66cmkau3guMVLMdYg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3Rg7O3PEO5XQeZq_.Sb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IkplRxPEeUTvmxD4yty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JbJGCCBk.N_i3FMgPR0Q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8iH6SRc0ifLY10xRYP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Rad57CaUqUKqe_4GfHoQ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ipy1BEx0CbOK55xLWXD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Hu0uGaOEi8.Np3dUs1d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OuMdaXr0.374L2zVA5c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rYZ3o6BkGG9xS6MvBk.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hxscVAjUq9TQE3eJ4Ps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PwRehLkyIY6ZBGaUhT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JBHPTey0mjCVYe4rZTp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SDuQxBT0myCtQLWQ81A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IrhJGrl0CIe3.bzbym0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xo9Kd1hU2dInxYAh3Z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tCfKVs_0y3WmBYJtLIXg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zlBcRsBUanxwc5J4S_Y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nitYhFEEezzm5LXVupq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.iDYfc.U23K_Jdb1Lsw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SPgoG9q06N9H1Sq8Pic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E6QcL8iEWUX068VSbJq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kEJqETck2qw38DNSJ4S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UjIqZ6rk6jFJqE.ImA2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F4641aYU.VOoyldeqAD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KFbptRokeK4owIlv_Yr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SAtyQikEa39AfVWW_2W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LyWprIWkafbU_E8zcxZ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1k77QjnUyfKOY0ggu4i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ynSILn1EKo3P2z.zEC2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SnqtJ5qEGrGAxUJxqIo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lN3PWDdECv5xt3HCwuW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StosIqj0KDlWUY5wdf7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i9gYWpGUuJnecFs6UVH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JYUcyW_0ue.M7wqw1bF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fbpGGFgEG.xfMpZxnppw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ZV4J3GekmxSSenElgmE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wzb8EsUOgBQD3r8QAk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ROc4LS_0e68Dqxqgtgr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nHL5dEuUehUdTgyP7oH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ueIedrmUeQoWa84wQ_A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Rv8CI3kS8YVW3Y5WEX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mTDhUxE0exx07miJBNn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nrgkoqY0.ayyIG3NLdd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rD4BcwBE60Rqs0ensv9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RSpLv1iE.KTsHsngZuE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w6.AcP0OZzL2aZz87J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LCm.po0KO7p0y7lv0fg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q8MIKlHEin2Na2DJ4k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3_11_25_PV &amp; Wind in China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
  </Template>
  <TotalTime>0</TotalTime>
  <Words>322</Words>
  <Application>Microsoft Office PowerPoint</Application>
  <PresentationFormat>Custom</PresentationFormat>
  <Paragraphs>7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Wingdings 3</vt:lpstr>
      <vt:lpstr>Office Theme</vt:lpstr>
      <vt:lpstr>2013_11_25_PV &amp; Wind in China</vt:lpstr>
      <vt:lpstr>think-cell Folie</vt:lpstr>
      <vt:lpstr>PowerPoint Presentation</vt:lpstr>
      <vt:lpstr>Polysilicon – The Essential Base Material for Semiconductors and Solar Panels</vt:lpstr>
      <vt:lpstr>POLYSILICON Is Represented Globally with 3 Production Sites</vt:lpstr>
      <vt:lpstr>PowerPoint Presentation</vt:lpstr>
      <vt:lpstr>Tipping Point in 2022 – New Era of Solar Growth Expected Globally</vt:lpstr>
      <vt:lpstr>Relevant Topics</vt:lpstr>
      <vt:lpstr>Backup / 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Brabec, Gregory</cp:lastModifiedBy>
  <cp:revision>22</cp:revision>
  <cp:lastPrinted>1900-01-01T07:00:00Z</cp:lastPrinted>
  <dcterms:created xsi:type="dcterms:W3CDTF">1900-01-01T07:00:00Z</dcterms:created>
  <dcterms:modified xsi:type="dcterms:W3CDTF">2024-02-15T02:33:57Z</dcterms:modified>
</cp:coreProperties>
</file>